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slides/slide167.xml" ContentType="application/vnd.openxmlformats-officedocument.presentationml.slide+xml"/>
  <Override PartName="/ppt/slides/slide168.xml" ContentType="application/vnd.openxmlformats-officedocument.presentationml.slide+xml"/>
  <Override PartName="/ppt/slides/slide169.xml" ContentType="application/vnd.openxmlformats-officedocument.presentationml.slide+xml"/>
  <Override PartName="/ppt/slides/slide170.xml" ContentType="application/vnd.openxmlformats-officedocument.presentationml.slide+xml"/>
  <Override PartName="/ppt/slides/slide171.xml" ContentType="application/vnd.openxmlformats-officedocument.presentationml.slide+xml"/>
  <Override PartName="/ppt/slides/slide172.xml" ContentType="application/vnd.openxmlformats-officedocument.presentationml.slide+xml"/>
  <Override PartName="/ppt/slides/slide173.xml" ContentType="application/vnd.openxmlformats-officedocument.presentationml.slide+xml"/>
  <Override PartName="/ppt/slides/slide174.xml" ContentType="application/vnd.openxmlformats-officedocument.presentationml.slide+xml"/>
  <Override PartName="/ppt/slides/slide175.xml" ContentType="application/vnd.openxmlformats-officedocument.presentationml.slide+xml"/>
  <Override PartName="/ppt/slides/slide176.xml" ContentType="application/vnd.openxmlformats-officedocument.presentationml.slide+xml"/>
  <Override PartName="/ppt/slides/slide177.xml" ContentType="application/vnd.openxmlformats-officedocument.presentationml.slide+xml"/>
  <Override PartName="/ppt/slides/slide178.xml" ContentType="application/vnd.openxmlformats-officedocument.presentationml.slide+xml"/>
  <Override PartName="/ppt/slides/slide179.xml" ContentType="application/vnd.openxmlformats-officedocument.presentationml.slide+xml"/>
  <Override PartName="/ppt/slides/slide180.xml" ContentType="application/vnd.openxmlformats-officedocument.presentationml.slide+xml"/>
  <Override PartName="/ppt/slides/slide181.xml" ContentType="application/vnd.openxmlformats-officedocument.presentationml.slide+xml"/>
  <Override PartName="/ppt/slides/slide182.xml" ContentType="application/vnd.openxmlformats-officedocument.presentationml.slide+xml"/>
  <Override PartName="/ppt/slides/slide183.xml" ContentType="application/vnd.openxmlformats-officedocument.presentationml.slide+xml"/>
  <Override PartName="/ppt/slides/slide184.xml" ContentType="application/vnd.openxmlformats-officedocument.presentationml.slide+xml"/>
  <Override PartName="/ppt/slides/slide185.xml" ContentType="application/vnd.openxmlformats-officedocument.presentationml.slide+xml"/>
  <Override PartName="/ppt/slides/slide186.xml" ContentType="application/vnd.openxmlformats-officedocument.presentationml.slide+xml"/>
  <Override PartName="/ppt/slides/slide187.xml" ContentType="application/vnd.openxmlformats-officedocument.presentationml.slide+xml"/>
  <Override PartName="/ppt/slides/slide188.xml" ContentType="application/vnd.openxmlformats-officedocument.presentationml.slide+xml"/>
  <Override PartName="/ppt/slides/slide189.xml" ContentType="application/vnd.openxmlformats-officedocument.presentationml.slide+xml"/>
  <Override PartName="/ppt/slides/slide190.xml" ContentType="application/vnd.openxmlformats-officedocument.presentationml.slide+xml"/>
  <Override PartName="/ppt/slides/slide191.xml" ContentType="application/vnd.openxmlformats-officedocument.presentationml.slide+xml"/>
  <Override PartName="/ppt/slides/slide192.xml" ContentType="application/vnd.openxmlformats-officedocument.presentationml.slide+xml"/>
  <Override PartName="/ppt/slides/slide193.xml" ContentType="application/vnd.openxmlformats-officedocument.presentationml.slide+xml"/>
  <Override PartName="/ppt/slides/slide194.xml" ContentType="application/vnd.openxmlformats-officedocument.presentationml.slide+xml"/>
  <Override PartName="/ppt/slides/slide195.xml" ContentType="application/vnd.openxmlformats-officedocument.presentationml.slide+xml"/>
  <Override PartName="/ppt/slides/slide196.xml" ContentType="application/vnd.openxmlformats-officedocument.presentationml.slide+xml"/>
  <Override PartName="/ppt/slides/slide197.xml" ContentType="application/vnd.openxmlformats-officedocument.presentationml.slide+xml"/>
  <Override PartName="/ppt/slides/slide198.xml" ContentType="application/vnd.openxmlformats-officedocument.presentationml.slide+xml"/>
  <Override PartName="/ppt/slides/slide199.xml" ContentType="application/vnd.openxmlformats-officedocument.presentationml.slide+xml"/>
  <Override PartName="/ppt/slides/slide200.xml" ContentType="application/vnd.openxmlformats-officedocument.presentationml.slide+xml"/>
  <Override PartName="/ppt/slides/slide201.xml" ContentType="application/vnd.openxmlformats-officedocument.presentationml.slide+xml"/>
  <Override PartName="/ppt/slides/slide202.xml" ContentType="application/vnd.openxmlformats-officedocument.presentationml.slide+xml"/>
  <Override PartName="/ppt/slides/slide203.xml" ContentType="application/vnd.openxmlformats-officedocument.presentationml.slide+xml"/>
  <Override PartName="/ppt/slides/slide204.xml" ContentType="application/vnd.openxmlformats-officedocument.presentationml.slide+xml"/>
  <Override PartName="/ppt/slides/slide205.xml" ContentType="application/vnd.openxmlformats-officedocument.presentationml.slide+xml"/>
  <Override PartName="/ppt/slides/slide206.xml" ContentType="application/vnd.openxmlformats-officedocument.presentationml.slide+xml"/>
  <Override PartName="/ppt/slides/slide207.xml" ContentType="application/vnd.openxmlformats-officedocument.presentationml.slide+xml"/>
  <Override PartName="/ppt/slides/slide208.xml" ContentType="application/vnd.openxmlformats-officedocument.presentationml.slide+xml"/>
  <Override PartName="/ppt/slides/slide209.xml" ContentType="application/vnd.openxmlformats-officedocument.presentationml.slide+xml"/>
  <Override PartName="/ppt/slides/slide210.xml" ContentType="application/vnd.openxmlformats-officedocument.presentationml.slide+xml"/>
  <Override PartName="/ppt/slides/slide211.xml" ContentType="application/vnd.openxmlformats-officedocument.presentationml.slide+xml"/>
  <Override PartName="/ppt/slides/slide212.xml" ContentType="application/vnd.openxmlformats-officedocument.presentationml.slide+xml"/>
  <Override PartName="/ppt/slides/slide213.xml" ContentType="application/vnd.openxmlformats-officedocument.presentationml.slide+xml"/>
  <Override PartName="/ppt/slides/slide214.xml" ContentType="application/vnd.openxmlformats-officedocument.presentationml.slide+xml"/>
  <Override PartName="/ppt/slides/slide215.xml" ContentType="application/vnd.openxmlformats-officedocument.presentationml.slide+xml"/>
  <Override PartName="/ppt/slides/slide2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64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65.xml" ContentType="application/vnd.openxmlformats-officedocument.presentationml.tags+xml"/>
  <Override PartName="/ppt/charts/chart5.xml" ContentType="application/vnd.openxmlformats-officedocument.drawingml.chart+xml"/>
  <Override PartName="/ppt/tags/tag66.xml" ContentType="application/vnd.openxmlformats-officedocument.presentationml.tags+xml"/>
  <Override PartName="/ppt/charts/chart6.xml" ContentType="application/vnd.openxmlformats-officedocument.drawingml.chart+xml"/>
  <Override PartName="/ppt/tags/tag67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68.xml" ContentType="application/vnd.openxmlformats-officedocument.presentationml.tag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11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12.xml" ContentType="application/vnd.openxmlformats-officedocument.drawingml.chart+xml"/>
  <Override PartName="/ppt/notesSlides/notesSlide6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notesSlides/notesSlide7.xml" ContentType="application/vnd.openxmlformats-officedocument.presentationml.notesSl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8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9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6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21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notesSlides/notesSlide24.xml" ContentType="application/vnd.openxmlformats-officedocument.presentationml.notesSlide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notesSlides/notesSlide25.xml" ContentType="application/vnd.openxmlformats-officedocument.presentationml.notesSlide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notesSlides/notesSlide26.xml" ContentType="application/vnd.openxmlformats-officedocument.presentationml.notesSlid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notesSlides/notesSlide27.xml" ContentType="application/vnd.openxmlformats-officedocument.presentationml.notesSlide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notesSlides/notesSlide28.xml" ContentType="application/vnd.openxmlformats-officedocument.presentationml.notesSlide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notesSlides/notesSlide29.xml" ContentType="application/vnd.openxmlformats-officedocument.presentationml.notesSlide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30.xml" ContentType="application/vnd.openxmlformats-officedocument.presentationml.notesSlide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31.xml" ContentType="application/vnd.openxmlformats-officedocument.presentationml.notesSlide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notesSlides/notesSlide34.xml" ContentType="application/vnd.openxmlformats-officedocument.presentationml.notesSlide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notesSlides/notesSlide35.xml" ContentType="application/vnd.openxmlformats-officedocument.presentationml.notesSlide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notesSlides/notesSlide41.xml" ContentType="application/vnd.openxmlformats-officedocument.presentationml.notesSlide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tags/tag417.xml" ContentType="application/vnd.openxmlformats-officedocument.presentationml.tags+xml"/>
  <Override PartName="/ppt/notesSlides/notesSlide44.xml" ContentType="application/vnd.openxmlformats-officedocument.presentationml.notesSlide+xml"/>
  <Override PartName="/ppt/tags/tag418.xml" ContentType="application/vnd.openxmlformats-officedocument.presentationml.tags+xml"/>
  <Override PartName="/ppt/notesSlides/notesSlide45.xml" ContentType="application/vnd.openxmlformats-officedocument.presentationml.notesSlide+xml"/>
  <Override PartName="/ppt/tags/tag419.xml" ContentType="application/vnd.openxmlformats-officedocument.presentationml.tags+xml"/>
  <Override PartName="/ppt/notesSlides/notesSlide46.xml" ContentType="application/vnd.openxmlformats-officedocument.presentationml.notesSlide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notesSlides/notesSlide47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charts/chart46.xml" ContentType="application/vnd.openxmlformats-officedocument.drawingml.chart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tags/tag452.xml" ContentType="application/vnd.openxmlformats-officedocument.presentationml.tags+xml"/>
  <Override PartName="/ppt/charts/chart51.xml" ContentType="application/vnd.openxmlformats-officedocument.drawingml.chart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chart81.xml" ContentType="application/vnd.openxmlformats-officedocument.drawingml.chart+xml"/>
  <Override PartName="/ppt/charts/chart82.xml" ContentType="application/vnd.openxmlformats-officedocument.drawingml.chart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chart93.xml" ContentType="application/vnd.openxmlformats-officedocument.drawingml.chart+xml"/>
  <Override PartName="/ppt/charts/chart94.xml" ContentType="application/vnd.openxmlformats-officedocument.drawingml.chart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notesSlides/notesSlide48.xml" ContentType="application/vnd.openxmlformats-officedocument.presentationml.notesSlide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charts/chart105.xml" ContentType="application/vnd.openxmlformats-officedocument.drawingml.chart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charts/chart106.xml" ContentType="application/vnd.openxmlformats-officedocument.drawingml.chart+xml"/>
  <Override PartName="/ppt/tags/tag474.xml" ContentType="application/vnd.openxmlformats-officedocument.presentationml.tags+xml"/>
  <Override PartName="/ppt/charts/chart107.xml" ContentType="application/vnd.openxmlformats-officedocument.drawingml.chart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charts/chart108.xml" ContentType="application/vnd.openxmlformats-officedocument.drawingml.chart+xml"/>
  <Override PartName="/ppt/charts/chart109.xml" ContentType="application/vnd.openxmlformats-officedocument.drawingml.chart+xml"/>
  <Override PartName="/ppt/notesSlides/notesSlide49.xml" ContentType="application/vnd.openxmlformats-officedocument.presentationml.notesSlide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notesSlides/notesSlide50.xml" ContentType="application/vnd.openxmlformats-officedocument.presentationml.notesSlide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notesSlides/notesSlide51.xml" ContentType="application/vnd.openxmlformats-officedocument.presentationml.notesSlide+xml"/>
  <Override PartName="/ppt/charts/chart110.xml" ContentType="application/vnd.openxmlformats-officedocument.drawingml.chart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charts/chart113.xml" ContentType="application/vnd.openxmlformats-officedocument.drawingml.chart+xml"/>
  <Override PartName="/ppt/charts/chart114.xml" ContentType="application/vnd.openxmlformats-officedocument.drawingml.chart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charts/chart117.xml" ContentType="application/vnd.openxmlformats-officedocument.drawingml.chart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57" r:id="rId1"/>
  </p:sldMasterIdLst>
  <p:notesMasterIdLst>
    <p:notesMasterId r:id="rId218"/>
  </p:notesMasterIdLst>
  <p:handoutMasterIdLst>
    <p:handoutMasterId r:id="rId219"/>
  </p:handoutMasterIdLst>
  <p:sldIdLst>
    <p:sldId id="258" r:id="rId2"/>
    <p:sldId id="266" r:id="rId3"/>
    <p:sldId id="267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  <p:sldId id="278" r:id="rId15"/>
    <p:sldId id="279" r:id="rId16"/>
    <p:sldId id="300" r:id="rId17"/>
    <p:sldId id="301" r:id="rId18"/>
    <p:sldId id="302" r:id="rId19"/>
    <p:sldId id="303" r:id="rId20"/>
    <p:sldId id="304" r:id="rId21"/>
    <p:sldId id="305" r:id="rId22"/>
    <p:sldId id="306" r:id="rId23"/>
    <p:sldId id="307" r:id="rId24"/>
    <p:sldId id="308" r:id="rId25"/>
    <p:sldId id="320" r:id="rId26"/>
    <p:sldId id="321" r:id="rId27"/>
    <p:sldId id="322" r:id="rId28"/>
    <p:sldId id="323" r:id="rId29"/>
    <p:sldId id="324" r:id="rId30"/>
    <p:sldId id="326" r:id="rId31"/>
    <p:sldId id="335" r:id="rId32"/>
    <p:sldId id="336" r:id="rId33"/>
    <p:sldId id="337" r:id="rId34"/>
    <p:sldId id="338" r:id="rId35"/>
    <p:sldId id="339" r:id="rId36"/>
    <p:sldId id="340" r:id="rId37"/>
    <p:sldId id="341" r:id="rId38"/>
    <p:sldId id="342" r:id="rId39"/>
    <p:sldId id="343" r:id="rId40"/>
    <p:sldId id="344" r:id="rId41"/>
    <p:sldId id="345" r:id="rId42"/>
    <p:sldId id="346" r:id="rId43"/>
    <p:sldId id="347" r:id="rId44"/>
    <p:sldId id="348" r:id="rId45"/>
    <p:sldId id="349" r:id="rId46"/>
    <p:sldId id="350" r:id="rId47"/>
    <p:sldId id="351" r:id="rId48"/>
    <p:sldId id="352" r:id="rId49"/>
    <p:sldId id="353" r:id="rId50"/>
    <p:sldId id="354" r:id="rId51"/>
    <p:sldId id="355" r:id="rId52"/>
    <p:sldId id="356" r:id="rId53"/>
    <p:sldId id="357" r:id="rId54"/>
    <p:sldId id="358" r:id="rId55"/>
    <p:sldId id="359" r:id="rId56"/>
    <p:sldId id="360" r:id="rId57"/>
    <p:sldId id="361" r:id="rId58"/>
    <p:sldId id="362" r:id="rId59"/>
    <p:sldId id="363" r:id="rId60"/>
    <p:sldId id="364" r:id="rId61"/>
    <p:sldId id="365" r:id="rId62"/>
    <p:sldId id="366" r:id="rId63"/>
    <p:sldId id="367" r:id="rId64"/>
    <p:sldId id="368" r:id="rId65"/>
    <p:sldId id="369" r:id="rId66"/>
    <p:sldId id="370" r:id="rId67"/>
    <p:sldId id="371" r:id="rId68"/>
    <p:sldId id="372" r:id="rId69"/>
    <p:sldId id="373" r:id="rId70"/>
    <p:sldId id="374" r:id="rId71"/>
    <p:sldId id="375" r:id="rId72"/>
    <p:sldId id="376" r:id="rId73"/>
    <p:sldId id="377" r:id="rId74"/>
    <p:sldId id="378" r:id="rId75"/>
    <p:sldId id="379" r:id="rId76"/>
    <p:sldId id="380" r:id="rId77"/>
    <p:sldId id="381" r:id="rId78"/>
    <p:sldId id="382" r:id="rId79"/>
    <p:sldId id="383" r:id="rId80"/>
    <p:sldId id="384" r:id="rId81"/>
    <p:sldId id="385" r:id="rId82"/>
    <p:sldId id="386" r:id="rId83"/>
    <p:sldId id="387" r:id="rId84"/>
    <p:sldId id="388" r:id="rId85"/>
    <p:sldId id="389" r:id="rId86"/>
    <p:sldId id="390" r:id="rId87"/>
    <p:sldId id="391" r:id="rId88"/>
    <p:sldId id="392" r:id="rId89"/>
    <p:sldId id="393" r:id="rId90"/>
    <p:sldId id="394" r:id="rId91"/>
    <p:sldId id="395" r:id="rId92"/>
    <p:sldId id="396" r:id="rId93"/>
    <p:sldId id="397" r:id="rId94"/>
    <p:sldId id="398" r:id="rId95"/>
    <p:sldId id="399" r:id="rId96"/>
    <p:sldId id="400" r:id="rId97"/>
    <p:sldId id="401" r:id="rId98"/>
    <p:sldId id="402" r:id="rId99"/>
    <p:sldId id="403" r:id="rId100"/>
    <p:sldId id="404" r:id="rId101"/>
    <p:sldId id="405" r:id="rId102"/>
    <p:sldId id="406" r:id="rId103"/>
    <p:sldId id="407" r:id="rId104"/>
    <p:sldId id="408" r:id="rId105"/>
    <p:sldId id="409" r:id="rId106"/>
    <p:sldId id="410" r:id="rId107"/>
    <p:sldId id="411" r:id="rId108"/>
    <p:sldId id="412" r:id="rId109"/>
    <p:sldId id="413" r:id="rId110"/>
    <p:sldId id="414" r:id="rId111"/>
    <p:sldId id="415" r:id="rId112"/>
    <p:sldId id="416" r:id="rId113"/>
    <p:sldId id="417" r:id="rId114"/>
    <p:sldId id="418" r:id="rId115"/>
    <p:sldId id="419" r:id="rId116"/>
    <p:sldId id="420" r:id="rId117"/>
    <p:sldId id="421" r:id="rId118"/>
    <p:sldId id="422" r:id="rId119"/>
    <p:sldId id="423" r:id="rId120"/>
    <p:sldId id="424" r:id="rId121"/>
    <p:sldId id="425" r:id="rId122"/>
    <p:sldId id="426" r:id="rId123"/>
    <p:sldId id="427" r:id="rId124"/>
    <p:sldId id="428" r:id="rId125"/>
    <p:sldId id="429" r:id="rId126"/>
    <p:sldId id="430" r:id="rId127"/>
    <p:sldId id="431" r:id="rId128"/>
    <p:sldId id="432" r:id="rId129"/>
    <p:sldId id="433" r:id="rId130"/>
    <p:sldId id="434" r:id="rId131"/>
    <p:sldId id="435" r:id="rId132"/>
    <p:sldId id="436" r:id="rId133"/>
    <p:sldId id="437" r:id="rId134"/>
    <p:sldId id="438" r:id="rId135"/>
    <p:sldId id="439" r:id="rId136"/>
    <p:sldId id="440" r:id="rId137"/>
    <p:sldId id="441" r:id="rId138"/>
    <p:sldId id="442" r:id="rId139"/>
    <p:sldId id="443" r:id="rId140"/>
    <p:sldId id="444" r:id="rId141"/>
    <p:sldId id="445" r:id="rId142"/>
    <p:sldId id="446" r:id="rId143"/>
    <p:sldId id="447" r:id="rId144"/>
    <p:sldId id="448" r:id="rId145"/>
    <p:sldId id="449" r:id="rId146"/>
    <p:sldId id="450" r:id="rId147"/>
    <p:sldId id="451" r:id="rId148"/>
    <p:sldId id="452" r:id="rId149"/>
    <p:sldId id="453" r:id="rId150"/>
    <p:sldId id="454" r:id="rId151"/>
    <p:sldId id="455" r:id="rId152"/>
    <p:sldId id="456" r:id="rId153"/>
    <p:sldId id="457" r:id="rId154"/>
    <p:sldId id="458" r:id="rId155"/>
    <p:sldId id="459" r:id="rId156"/>
    <p:sldId id="460" r:id="rId157"/>
    <p:sldId id="461" r:id="rId158"/>
    <p:sldId id="462" r:id="rId159"/>
    <p:sldId id="463" r:id="rId160"/>
    <p:sldId id="464" r:id="rId161"/>
    <p:sldId id="465" r:id="rId162"/>
    <p:sldId id="466" r:id="rId163"/>
    <p:sldId id="467" r:id="rId164"/>
    <p:sldId id="468" r:id="rId165"/>
    <p:sldId id="469" r:id="rId166"/>
    <p:sldId id="470" r:id="rId167"/>
    <p:sldId id="471" r:id="rId168"/>
    <p:sldId id="472" r:id="rId169"/>
    <p:sldId id="473" r:id="rId170"/>
    <p:sldId id="474" r:id="rId171"/>
    <p:sldId id="475" r:id="rId172"/>
    <p:sldId id="476" r:id="rId173"/>
    <p:sldId id="477" r:id="rId174"/>
    <p:sldId id="478" r:id="rId175"/>
    <p:sldId id="479" r:id="rId176"/>
    <p:sldId id="480" r:id="rId177"/>
    <p:sldId id="481" r:id="rId178"/>
    <p:sldId id="482" r:id="rId179"/>
    <p:sldId id="483" r:id="rId180"/>
    <p:sldId id="484" r:id="rId181"/>
    <p:sldId id="485" r:id="rId182"/>
    <p:sldId id="486" r:id="rId183"/>
    <p:sldId id="487" r:id="rId184"/>
    <p:sldId id="488" r:id="rId185"/>
    <p:sldId id="489" r:id="rId186"/>
    <p:sldId id="490" r:id="rId187"/>
    <p:sldId id="491" r:id="rId188"/>
    <p:sldId id="492" r:id="rId189"/>
    <p:sldId id="493" r:id="rId190"/>
    <p:sldId id="494" r:id="rId191"/>
    <p:sldId id="495" r:id="rId192"/>
    <p:sldId id="496" r:id="rId193"/>
    <p:sldId id="497" r:id="rId194"/>
    <p:sldId id="498" r:id="rId195"/>
    <p:sldId id="499" r:id="rId196"/>
    <p:sldId id="500" r:id="rId197"/>
    <p:sldId id="501" r:id="rId198"/>
    <p:sldId id="502" r:id="rId199"/>
    <p:sldId id="503" r:id="rId200"/>
    <p:sldId id="504" r:id="rId201"/>
    <p:sldId id="505" r:id="rId202"/>
    <p:sldId id="506" r:id="rId203"/>
    <p:sldId id="507" r:id="rId204"/>
    <p:sldId id="508" r:id="rId205"/>
    <p:sldId id="509" r:id="rId206"/>
    <p:sldId id="510" r:id="rId207"/>
    <p:sldId id="511" r:id="rId208"/>
    <p:sldId id="512" r:id="rId209"/>
    <p:sldId id="513" r:id="rId210"/>
    <p:sldId id="514" r:id="rId211"/>
    <p:sldId id="515" r:id="rId212"/>
    <p:sldId id="516" r:id="rId213"/>
    <p:sldId id="517" r:id="rId214"/>
    <p:sldId id="518" r:id="rId215"/>
    <p:sldId id="523" r:id="rId216"/>
    <p:sldId id="524" r:id="rId217"/>
  </p:sldIdLst>
  <p:sldSz cx="10691813" cy="7559675"/>
  <p:notesSz cx="6794500" cy="9931400"/>
  <p:embeddedFontLst>
    <p:embeddedFont>
      <p:font typeface="Calibri" panose="020F0502020204030204" pitchFamily="34" charset="0"/>
      <p:regular r:id="rId220"/>
      <p:bold r:id="rId221"/>
      <p:italic r:id="rId222"/>
      <p:boldItalic r:id="rId223"/>
    </p:embeddedFont>
    <p:embeddedFont>
      <p:font typeface="SimonKucher" pitchFamily="2" charset="0"/>
      <p:regular r:id="rId224"/>
      <p:bold r:id="rId225"/>
      <p:italic r:id="rId226"/>
      <p:boldItalic r:id="rId227"/>
    </p:embeddedFont>
    <p:embeddedFont>
      <p:font typeface="Gulim" panose="020B0600000101010101" pitchFamily="34" charset="-127"/>
      <p:regular r:id="rId228"/>
    </p:embeddedFont>
    <p:embeddedFont>
      <p:font typeface="MS PGothic" panose="020B0600070205080204" pitchFamily="34" charset="-128"/>
      <p:regular r:id="rId229"/>
    </p:embeddedFont>
    <p:embeddedFont>
      <p:font typeface="Tahoma" panose="020B0604030504040204" pitchFamily="34" charset="0"/>
      <p:regular r:id="rId230"/>
      <p:bold r:id="rId231"/>
    </p:embeddedFont>
    <p:embeddedFont>
      <p:font typeface="Verdana" panose="020B0604030504040204" pitchFamily="34" charset="0"/>
      <p:regular r:id="rId232"/>
      <p:bold r:id="rId233"/>
      <p:italic r:id="rId234"/>
      <p:boldItalic r:id="rId235"/>
    </p:embeddedFont>
    <p:embeddedFont>
      <p:font typeface="宋体" panose="02010600030101010101" pitchFamily="2" charset="-122"/>
      <p:regular r:id="rId236"/>
    </p:embeddedFont>
  </p:embeddedFontLst>
  <p:custDataLst>
    <p:tags r:id="rId237"/>
  </p:custDataLst>
  <p:defaultTextStyle>
    <a:defPPr>
      <a:defRPr lang="de-DE"/>
    </a:defPPr>
    <a:lvl1pPr marL="0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45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491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36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0982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27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473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19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1964" algn="l" defTabSz="99549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967" userDrawn="1">
          <p15:clr>
            <a:srgbClr val="A4A3A4"/>
          </p15:clr>
        </p15:guide>
        <p15:guide id="2" orient="horz" pos="23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B2B2B2"/>
    <a:srgbClr val="292929"/>
    <a:srgbClr val="4D4D4D"/>
    <a:srgbClr val="C0C0C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017" autoAdjust="0"/>
  </p:normalViewPr>
  <p:slideViewPr>
    <p:cSldViewPr snapToGrid="0" snapToObjects="1" showGuides="1">
      <p:cViewPr varScale="1">
        <p:scale>
          <a:sx n="82" d="100"/>
          <a:sy n="82" d="100"/>
        </p:scale>
        <p:origin x="379" y="77"/>
      </p:cViewPr>
      <p:guideLst>
        <p:guide pos="4967"/>
        <p:guide orient="horz" pos="23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280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63" Type="http://schemas.openxmlformats.org/officeDocument/2006/relationships/slide" Target="slides/slide62.xml"/><Relationship Id="rId84" Type="http://schemas.openxmlformats.org/officeDocument/2006/relationships/slide" Target="slides/slide83.xml"/><Relationship Id="rId138" Type="http://schemas.openxmlformats.org/officeDocument/2006/relationships/slide" Target="slides/slide137.xml"/><Relationship Id="rId159" Type="http://schemas.openxmlformats.org/officeDocument/2006/relationships/slide" Target="slides/slide158.xml"/><Relationship Id="rId170" Type="http://schemas.openxmlformats.org/officeDocument/2006/relationships/slide" Target="slides/slide169.xml"/><Relationship Id="rId191" Type="http://schemas.openxmlformats.org/officeDocument/2006/relationships/slide" Target="slides/slide190.xml"/><Relationship Id="rId205" Type="http://schemas.openxmlformats.org/officeDocument/2006/relationships/slide" Target="slides/slide204.xml"/><Relationship Id="rId226" Type="http://schemas.openxmlformats.org/officeDocument/2006/relationships/font" Target="fonts/font7.fntdata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53" Type="http://schemas.openxmlformats.org/officeDocument/2006/relationships/slide" Target="slides/slide52.xml"/><Relationship Id="rId74" Type="http://schemas.openxmlformats.org/officeDocument/2006/relationships/slide" Target="slides/slide73.xml"/><Relationship Id="rId128" Type="http://schemas.openxmlformats.org/officeDocument/2006/relationships/slide" Target="slides/slide127.xml"/><Relationship Id="rId149" Type="http://schemas.openxmlformats.org/officeDocument/2006/relationships/slide" Target="slides/slide148.xml"/><Relationship Id="rId5" Type="http://schemas.openxmlformats.org/officeDocument/2006/relationships/slide" Target="slides/slide4.xml"/><Relationship Id="rId95" Type="http://schemas.openxmlformats.org/officeDocument/2006/relationships/slide" Target="slides/slide94.xml"/><Relationship Id="rId160" Type="http://schemas.openxmlformats.org/officeDocument/2006/relationships/slide" Target="slides/slide159.xml"/><Relationship Id="rId181" Type="http://schemas.openxmlformats.org/officeDocument/2006/relationships/slide" Target="slides/slide180.xml"/><Relationship Id="rId216" Type="http://schemas.openxmlformats.org/officeDocument/2006/relationships/slide" Target="slides/slide215.xml"/><Relationship Id="rId237" Type="http://schemas.openxmlformats.org/officeDocument/2006/relationships/tags" Target="tags/tag1.xml"/><Relationship Id="rId22" Type="http://schemas.openxmlformats.org/officeDocument/2006/relationships/slide" Target="slides/slide21.xml"/><Relationship Id="rId43" Type="http://schemas.openxmlformats.org/officeDocument/2006/relationships/slide" Target="slides/slide42.xml"/><Relationship Id="rId64" Type="http://schemas.openxmlformats.org/officeDocument/2006/relationships/slide" Target="slides/slide63.xml"/><Relationship Id="rId118" Type="http://schemas.openxmlformats.org/officeDocument/2006/relationships/slide" Target="slides/slide117.xml"/><Relationship Id="rId139" Type="http://schemas.openxmlformats.org/officeDocument/2006/relationships/slide" Target="slides/slide138.xml"/><Relationship Id="rId85" Type="http://schemas.openxmlformats.org/officeDocument/2006/relationships/slide" Target="slides/slide84.xml"/><Relationship Id="rId150" Type="http://schemas.openxmlformats.org/officeDocument/2006/relationships/slide" Target="slides/slide149.xml"/><Relationship Id="rId171" Type="http://schemas.openxmlformats.org/officeDocument/2006/relationships/slide" Target="slides/slide170.xml"/><Relationship Id="rId192" Type="http://schemas.openxmlformats.org/officeDocument/2006/relationships/slide" Target="slides/slide191.xml"/><Relationship Id="rId206" Type="http://schemas.openxmlformats.org/officeDocument/2006/relationships/slide" Target="slides/slide205.xml"/><Relationship Id="rId227" Type="http://schemas.openxmlformats.org/officeDocument/2006/relationships/font" Target="fonts/font8.fntdata"/><Relationship Id="rId201" Type="http://schemas.openxmlformats.org/officeDocument/2006/relationships/slide" Target="slides/slide200.xml"/><Relationship Id="rId222" Type="http://schemas.openxmlformats.org/officeDocument/2006/relationships/font" Target="fonts/font3.fntdata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24" Type="http://schemas.openxmlformats.org/officeDocument/2006/relationships/slide" Target="slides/slide123.xml"/><Relationship Id="rId129" Type="http://schemas.openxmlformats.org/officeDocument/2006/relationships/slide" Target="slides/slide128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40" Type="http://schemas.openxmlformats.org/officeDocument/2006/relationships/slide" Target="slides/slide139.xml"/><Relationship Id="rId145" Type="http://schemas.openxmlformats.org/officeDocument/2006/relationships/slide" Target="slides/slide144.xml"/><Relationship Id="rId161" Type="http://schemas.openxmlformats.org/officeDocument/2006/relationships/slide" Target="slides/slide160.xml"/><Relationship Id="rId166" Type="http://schemas.openxmlformats.org/officeDocument/2006/relationships/slide" Target="slides/slide165.xml"/><Relationship Id="rId182" Type="http://schemas.openxmlformats.org/officeDocument/2006/relationships/slide" Target="slides/slide181.xml"/><Relationship Id="rId187" Type="http://schemas.openxmlformats.org/officeDocument/2006/relationships/slide" Target="slides/slide186.xml"/><Relationship Id="rId217" Type="http://schemas.openxmlformats.org/officeDocument/2006/relationships/slide" Target="slides/slide2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12" Type="http://schemas.openxmlformats.org/officeDocument/2006/relationships/slide" Target="slides/slide211.xml"/><Relationship Id="rId233" Type="http://schemas.openxmlformats.org/officeDocument/2006/relationships/font" Target="fonts/font14.fntdata"/><Relationship Id="rId238" Type="http://schemas.openxmlformats.org/officeDocument/2006/relationships/presProps" Target="presProps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130" Type="http://schemas.openxmlformats.org/officeDocument/2006/relationships/slide" Target="slides/slide129.xml"/><Relationship Id="rId135" Type="http://schemas.openxmlformats.org/officeDocument/2006/relationships/slide" Target="slides/slide134.xml"/><Relationship Id="rId151" Type="http://schemas.openxmlformats.org/officeDocument/2006/relationships/slide" Target="slides/slide150.xml"/><Relationship Id="rId156" Type="http://schemas.openxmlformats.org/officeDocument/2006/relationships/slide" Target="slides/slide155.xml"/><Relationship Id="rId177" Type="http://schemas.openxmlformats.org/officeDocument/2006/relationships/slide" Target="slides/slide176.xml"/><Relationship Id="rId198" Type="http://schemas.openxmlformats.org/officeDocument/2006/relationships/slide" Target="slides/slide197.xml"/><Relationship Id="rId172" Type="http://schemas.openxmlformats.org/officeDocument/2006/relationships/slide" Target="slides/slide171.xml"/><Relationship Id="rId193" Type="http://schemas.openxmlformats.org/officeDocument/2006/relationships/slide" Target="slides/slide192.xml"/><Relationship Id="rId202" Type="http://schemas.openxmlformats.org/officeDocument/2006/relationships/slide" Target="slides/slide201.xml"/><Relationship Id="rId207" Type="http://schemas.openxmlformats.org/officeDocument/2006/relationships/slide" Target="slides/slide206.xml"/><Relationship Id="rId223" Type="http://schemas.openxmlformats.org/officeDocument/2006/relationships/font" Target="fonts/font4.fntdata"/><Relationship Id="rId228" Type="http://schemas.openxmlformats.org/officeDocument/2006/relationships/font" Target="fonts/font9.fntdata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slide" Target="slides/slide124.xml"/><Relationship Id="rId141" Type="http://schemas.openxmlformats.org/officeDocument/2006/relationships/slide" Target="slides/slide140.xml"/><Relationship Id="rId146" Type="http://schemas.openxmlformats.org/officeDocument/2006/relationships/slide" Target="slides/slide145.xml"/><Relationship Id="rId167" Type="http://schemas.openxmlformats.org/officeDocument/2006/relationships/slide" Target="slides/slide166.xml"/><Relationship Id="rId188" Type="http://schemas.openxmlformats.org/officeDocument/2006/relationships/slide" Target="slides/slide187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162" Type="http://schemas.openxmlformats.org/officeDocument/2006/relationships/slide" Target="slides/slide161.xml"/><Relationship Id="rId183" Type="http://schemas.openxmlformats.org/officeDocument/2006/relationships/slide" Target="slides/slide182.xml"/><Relationship Id="rId213" Type="http://schemas.openxmlformats.org/officeDocument/2006/relationships/slide" Target="slides/slide212.xml"/><Relationship Id="rId218" Type="http://schemas.openxmlformats.org/officeDocument/2006/relationships/notesMaster" Target="notesMasters/notesMaster1.xml"/><Relationship Id="rId234" Type="http://schemas.openxmlformats.org/officeDocument/2006/relationships/font" Target="fonts/font15.fntdata"/><Relationship Id="rId239" Type="http://schemas.openxmlformats.org/officeDocument/2006/relationships/viewProps" Target="view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131" Type="http://schemas.openxmlformats.org/officeDocument/2006/relationships/slide" Target="slides/slide130.xml"/><Relationship Id="rId136" Type="http://schemas.openxmlformats.org/officeDocument/2006/relationships/slide" Target="slides/slide135.xml"/><Relationship Id="rId157" Type="http://schemas.openxmlformats.org/officeDocument/2006/relationships/slide" Target="slides/slide156.xml"/><Relationship Id="rId178" Type="http://schemas.openxmlformats.org/officeDocument/2006/relationships/slide" Target="slides/slide177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52" Type="http://schemas.openxmlformats.org/officeDocument/2006/relationships/slide" Target="slides/slide151.xml"/><Relationship Id="rId173" Type="http://schemas.openxmlformats.org/officeDocument/2006/relationships/slide" Target="slides/slide172.xml"/><Relationship Id="rId194" Type="http://schemas.openxmlformats.org/officeDocument/2006/relationships/slide" Target="slides/slide193.xml"/><Relationship Id="rId199" Type="http://schemas.openxmlformats.org/officeDocument/2006/relationships/slide" Target="slides/slide198.xml"/><Relationship Id="rId203" Type="http://schemas.openxmlformats.org/officeDocument/2006/relationships/slide" Target="slides/slide202.xml"/><Relationship Id="rId208" Type="http://schemas.openxmlformats.org/officeDocument/2006/relationships/slide" Target="slides/slide207.xml"/><Relationship Id="rId229" Type="http://schemas.openxmlformats.org/officeDocument/2006/relationships/font" Target="fonts/font10.fntdata"/><Relationship Id="rId19" Type="http://schemas.openxmlformats.org/officeDocument/2006/relationships/slide" Target="slides/slide18.xml"/><Relationship Id="rId224" Type="http://schemas.openxmlformats.org/officeDocument/2006/relationships/font" Target="fonts/font5.fntdata"/><Relationship Id="rId240" Type="http://schemas.openxmlformats.org/officeDocument/2006/relationships/theme" Target="theme/theme1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26" Type="http://schemas.openxmlformats.org/officeDocument/2006/relationships/slide" Target="slides/slide125.xml"/><Relationship Id="rId147" Type="http://schemas.openxmlformats.org/officeDocument/2006/relationships/slide" Target="slides/slide146.xml"/><Relationship Id="rId168" Type="http://schemas.openxmlformats.org/officeDocument/2006/relationships/slide" Target="slides/slide167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142" Type="http://schemas.openxmlformats.org/officeDocument/2006/relationships/slide" Target="slides/slide141.xml"/><Relationship Id="rId163" Type="http://schemas.openxmlformats.org/officeDocument/2006/relationships/slide" Target="slides/slide162.xml"/><Relationship Id="rId184" Type="http://schemas.openxmlformats.org/officeDocument/2006/relationships/slide" Target="slides/slide183.xml"/><Relationship Id="rId189" Type="http://schemas.openxmlformats.org/officeDocument/2006/relationships/slide" Target="slides/slide188.xml"/><Relationship Id="rId21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4" Type="http://schemas.openxmlformats.org/officeDocument/2006/relationships/slide" Target="slides/slide213.xml"/><Relationship Id="rId230" Type="http://schemas.openxmlformats.org/officeDocument/2006/relationships/font" Target="fonts/font11.fntdata"/><Relationship Id="rId235" Type="http://schemas.openxmlformats.org/officeDocument/2006/relationships/font" Target="fonts/font16.fntdata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slide" Target="slides/slide115.xml"/><Relationship Id="rId137" Type="http://schemas.openxmlformats.org/officeDocument/2006/relationships/slide" Target="slides/slide136.xml"/><Relationship Id="rId158" Type="http://schemas.openxmlformats.org/officeDocument/2006/relationships/slide" Target="slides/slide157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32" Type="http://schemas.openxmlformats.org/officeDocument/2006/relationships/slide" Target="slides/slide131.xml"/><Relationship Id="rId153" Type="http://schemas.openxmlformats.org/officeDocument/2006/relationships/slide" Target="slides/slide152.xml"/><Relationship Id="rId174" Type="http://schemas.openxmlformats.org/officeDocument/2006/relationships/slide" Target="slides/slide173.xml"/><Relationship Id="rId179" Type="http://schemas.openxmlformats.org/officeDocument/2006/relationships/slide" Target="slides/slide178.xml"/><Relationship Id="rId195" Type="http://schemas.openxmlformats.org/officeDocument/2006/relationships/slide" Target="slides/slide194.xml"/><Relationship Id="rId209" Type="http://schemas.openxmlformats.org/officeDocument/2006/relationships/slide" Target="slides/slide208.xml"/><Relationship Id="rId190" Type="http://schemas.openxmlformats.org/officeDocument/2006/relationships/slide" Target="slides/slide189.xml"/><Relationship Id="rId204" Type="http://schemas.openxmlformats.org/officeDocument/2006/relationships/slide" Target="slides/slide203.xml"/><Relationship Id="rId220" Type="http://schemas.openxmlformats.org/officeDocument/2006/relationships/font" Target="fonts/font1.fntdata"/><Relationship Id="rId225" Type="http://schemas.openxmlformats.org/officeDocument/2006/relationships/font" Target="fonts/font6.fntdata"/><Relationship Id="rId241" Type="http://schemas.openxmlformats.org/officeDocument/2006/relationships/tableStyles" Target="tableStyles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27" Type="http://schemas.openxmlformats.org/officeDocument/2006/relationships/slide" Target="slides/slide12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143" Type="http://schemas.openxmlformats.org/officeDocument/2006/relationships/slide" Target="slides/slide142.xml"/><Relationship Id="rId148" Type="http://schemas.openxmlformats.org/officeDocument/2006/relationships/slide" Target="slides/slide147.xml"/><Relationship Id="rId164" Type="http://schemas.openxmlformats.org/officeDocument/2006/relationships/slide" Target="slides/slide163.xml"/><Relationship Id="rId169" Type="http://schemas.openxmlformats.org/officeDocument/2006/relationships/slide" Target="slides/slide168.xml"/><Relationship Id="rId185" Type="http://schemas.openxmlformats.org/officeDocument/2006/relationships/slide" Target="slides/slide18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80" Type="http://schemas.openxmlformats.org/officeDocument/2006/relationships/slide" Target="slides/slide179.xml"/><Relationship Id="rId210" Type="http://schemas.openxmlformats.org/officeDocument/2006/relationships/slide" Target="slides/slide209.xml"/><Relationship Id="rId215" Type="http://schemas.openxmlformats.org/officeDocument/2006/relationships/slide" Target="slides/slide214.xml"/><Relationship Id="rId236" Type="http://schemas.openxmlformats.org/officeDocument/2006/relationships/font" Target="fonts/font17.fntdata"/><Relationship Id="rId26" Type="http://schemas.openxmlformats.org/officeDocument/2006/relationships/slide" Target="slides/slide25.xml"/><Relationship Id="rId231" Type="http://schemas.openxmlformats.org/officeDocument/2006/relationships/font" Target="fonts/font12.fntdata"/><Relationship Id="rId47" Type="http://schemas.openxmlformats.org/officeDocument/2006/relationships/slide" Target="slides/slide46.xml"/><Relationship Id="rId68" Type="http://schemas.openxmlformats.org/officeDocument/2006/relationships/slide" Target="slides/slide67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33" Type="http://schemas.openxmlformats.org/officeDocument/2006/relationships/slide" Target="slides/slide132.xml"/><Relationship Id="rId154" Type="http://schemas.openxmlformats.org/officeDocument/2006/relationships/slide" Target="slides/slide153.xml"/><Relationship Id="rId175" Type="http://schemas.openxmlformats.org/officeDocument/2006/relationships/slide" Target="slides/slide174.xml"/><Relationship Id="rId196" Type="http://schemas.openxmlformats.org/officeDocument/2006/relationships/slide" Target="slides/slide195.xml"/><Relationship Id="rId200" Type="http://schemas.openxmlformats.org/officeDocument/2006/relationships/slide" Target="slides/slide199.xml"/><Relationship Id="rId16" Type="http://schemas.openxmlformats.org/officeDocument/2006/relationships/slide" Target="slides/slide15.xml"/><Relationship Id="rId221" Type="http://schemas.openxmlformats.org/officeDocument/2006/relationships/font" Target="fonts/font2.fntdata"/><Relationship Id="rId37" Type="http://schemas.openxmlformats.org/officeDocument/2006/relationships/slide" Target="slides/slide36.xml"/><Relationship Id="rId58" Type="http://schemas.openxmlformats.org/officeDocument/2006/relationships/slide" Target="slides/slide57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44" Type="http://schemas.openxmlformats.org/officeDocument/2006/relationships/slide" Target="slides/slide143.xml"/><Relationship Id="rId90" Type="http://schemas.openxmlformats.org/officeDocument/2006/relationships/slide" Target="slides/slide89.xml"/><Relationship Id="rId165" Type="http://schemas.openxmlformats.org/officeDocument/2006/relationships/slide" Target="slides/slide164.xml"/><Relationship Id="rId186" Type="http://schemas.openxmlformats.org/officeDocument/2006/relationships/slide" Target="slides/slide185.xml"/><Relationship Id="rId211" Type="http://schemas.openxmlformats.org/officeDocument/2006/relationships/slide" Target="slides/slide210.xml"/><Relationship Id="rId232" Type="http://schemas.openxmlformats.org/officeDocument/2006/relationships/font" Target="fonts/font13.fntdata"/><Relationship Id="rId27" Type="http://schemas.openxmlformats.org/officeDocument/2006/relationships/slide" Target="slides/slide26.xml"/><Relationship Id="rId48" Type="http://schemas.openxmlformats.org/officeDocument/2006/relationships/slide" Target="slides/slide47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34" Type="http://schemas.openxmlformats.org/officeDocument/2006/relationships/slide" Target="slides/slide133.xml"/><Relationship Id="rId80" Type="http://schemas.openxmlformats.org/officeDocument/2006/relationships/slide" Target="slides/slide79.xml"/><Relationship Id="rId155" Type="http://schemas.openxmlformats.org/officeDocument/2006/relationships/slide" Target="slides/slide154.xml"/><Relationship Id="rId176" Type="http://schemas.openxmlformats.org/officeDocument/2006/relationships/slide" Target="slides/slide175.xml"/><Relationship Id="rId197" Type="http://schemas.openxmlformats.org/officeDocument/2006/relationships/slide" Target="slides/slide19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0.xlsx"/></Relationships>
</file>

<file path=ppt/charts/_rels/chart1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1.xlsx"/></Relationships>
</file>

<file path=ppt/charts/_rels/chart1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3.xlsx"/></Relationships>
</file>

<file path=ppt/charts/_rels/chart10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4.xlsx"/></Relationships>
</file>

<file path=ppt/charts/_rels/chart10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5.xlsx"/></Relationships>
</file>

<file path=ppt/charts/_rels/chart10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6.xlsx"/></Relationships>
</file>

<file path=ppt/charts/_rels/chart1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7.xlsx"/></Relationships>
</file>

<file path=ppt/charts/_rels/chart10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8.xlsx"/></Relationships>
</file>

<file path=ppt/charts/_rels/chart10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0.xlsx"/></Relationships>
</file>

<file path=ppt/charts/_rels/chart1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1.xlsx"/></Relationships>
</file>

<file path=ppt/charts/_rels/chart1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2.xlsx"/></Relationships>
</file>

<file path=ppt/charts/_rels/chart1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3.xlsx"/></Relationships>
</file>

<file path=ppt/charts/_rels/chart1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4.xlsx"/></Relationships>
</file>

<file path=ppt/charts/_rels/chart1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5.xlsx"/></Relationships>
</file>

<file path=ppt/charts/_rels/chart1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6.xlsx"/></Relationships>
</file>

<file path=ppt/charts/_rels/chart1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7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3.xlsx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4.xlsx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5.xlsx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7.xlsx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8.xlsx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9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1.xlsx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2.xlsx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3.xlsx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4.xlsx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5.xlsx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6.xlsx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7.xlsx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9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0.xlsx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1.xlsx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2.xlsx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3.xlsx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4.xlsx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5.xlsx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7.xlsx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8.xlsx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9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0.xlsx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1.xlsx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2.xlsx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3.xlsx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5.xlsx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6.xlsx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7.xlsx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9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0.xlsx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1.xlsx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3.xlsx"/></Relationships>
</file>

<file path=ppt/charts/_rels/chart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4.xlsx"/></Relationships>
</file>

<file path=ppt/charts/_rels/chart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5.xlsx"/></Relationships>
</file>

<file path=ppt/charts/_rels/chart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7.xlsx"/></Relationships>
</file>

<file path=ppt/charts/_rels/chart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8.xlsx"/></Relationships>
</file>

<file path=ppt/charts/_rels/chart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9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1.xlsx"/></Relationships>
</file>

<file path=ppt/charts/_rels/chart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2.xlsx"/></Relationships>
</file>

<file path=ppt/charts/_rels/chart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3.xlsx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5.xlsx"/></Relationships>
</file>

<file path=ppt/charts/_rels/chart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6.xlsx"/></Relationships>
</file>

<file path=ppt/charts/_rels/chart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7.xlsx"/></Relationships>
</file>

<file path=ppt/charts/_rels/chart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8.xlsx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397408207343416E-2"/>
          <c:y val="5.3072625698324022E-2"/>
          <c:w val="0.94600431965442977"/>
          <c:h val="0.77653631284916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398020632"/>
        <c:axId val="398021024"/>
      </c:barChart>
      <c:catAx>
        <c:axId val="398020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10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0210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98020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94134073823083"/>
          <c:y val="0.14187871401039773"/>
          <c:w val="0.66286492274469255"/>
          <c:h val="0.74176486960645804"/>
        </c:manualLayout>
      </c:layout>
      <c:radarChart>
        <c:radarStyle val="marker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3.4210981186205192E-2"/>
                  <c:y val="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5571047273559765E-2"/>
                  <c:y val="-9.57076740975345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7018301977008927E-3"/>
                  <c:y val="-5.42343486552694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7.4123792570111188E-2"/>
                  <c:y val="-6.699537186827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9.4080198262064207E-2"/>
                  <c:y val="6.38051160650228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érie 2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2.2807320790803606E-2"/>
                  <c:y val="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8465556680457246E-2"/>
                  <c:y val="-6.38051160650223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7018301977008927E-3"/>
                  <c:y val="-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8465556680457246E-2"/>
                  <c:y val="-3.190255803251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4123792570111174E-2"/>
                  <c:y val="-6.38051160650228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8263352"/>
        <c:axId val="398263744"/>
      </c:radarChart>
      <c:catAx>
        <c:axId val="398263352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398263744"/>
        <c:crosses val="autoZero"/>
        <c:auto val="1"/>
        <c:lblAlgn val="ctr"/>
        <c:lblOffset val="100"/>
        <c:noMultiLvlLbl val="0"/>
      </c:catAx>
      <c:valAx>
        <c:axId val="398263744"/>
        <c:scaling>
          <c:orientation val="minMax"/>
        </c:scaling>
        <c:delete val="0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none"/>
        <c:minorTickMark val="none"/>
        <c:tickLblPos val="none"/>
        <c:crossAx val="3982633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75164674255262"/>
          <c:y val="2.8120123901554727E-2"/>
          <c:w val="0.15779815072137268"/>
          <c:h val="9.472246281719243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419804741980473E-2"/>
          <c:y val="3.2786885245901641E-2"/>
          <c:w val="0.9372384937238496"/>
          <c:h val="0.84972677595628421"/>
        </c:manualLayout>
      </c:layout>
      <c:scatterChart>
        <c:scatterStyle val="lineMarker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Y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xVal>
            <c:numRef>
              <c:f>Sheet1!$A$2:$A$17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130</c:v>
                </c:pt>
                <c:pt idx="9">
                  <c:v>130</c:v>
                </c:pt>
                <c:pt idx="10">
                  <c:v>130</c:v>
                </c:pt>
                <c:pt idx="11">
                  <c:v>150</c:v>
                </c:pt>
                <c:pt idx="12">
                  <c:v>150</c:v>
                </c:pt>
                <c:pt idx="13">
                  <c:v>150</c:v>
                </c:pt>
                <c:pt idx="14">
                  <c:v>165</c:v>
                </c:pt>
                <c:pt idx="15">
                  <c:v>165</c:v>
                </c:pt>
              </c:numCache>
            </c:numRef>
          </c:xVal>
          <c:yVal>
            <c:numRef>
              <c:f>Sheet1!$B$2:$B$17</c:f>
              <c:numCache>
                <c:formatCode>General</c:formatCode>
                <c:ptCount val="16"/>
                <c:pt idx="0">
                  <c:v>0</c:v>
                </c:pt>
                <c:pt idx="1">
                  <c:v>60</c:v>
                </c:pt>
                <c:pt idx="2">
                  <c:v>60</c:v>
                </c:pt>
                <c:pt idx="3">
                  <c:v>0</c:v>
                </c:pt>
                <c:pt idx="4">
                  <c:v>80</c:v>
                </c:pt>
                <c:pt idx="5">
                  <c:v>80</c:v>
                </c:pt>
                <c:pt idx="6">
                  <c:v>0</c:v>
                </c:pt>
                <c:pt idx="7">
                  <c:v>175</c:v>
                </c:pt>
                <c:pt idx="8">
                  <c:v>175</c:v>
                </c:pt>
                <c:pt idx="9">
                  <c:v>0</c:v>
                </c:pt>
                <c:pt idx="10">
                  <c:v>200</c:v>
                </c:pt>
                <c:pt idx="11">
                  <c:v>200</c:v>
                </c:pt>
                <c:pt idx="12">
                  <c:v>0</c:v>
                </c:pt>
                <c:pt idx="13">
                  <c:v>246</c:v>
                </c:pt>
                <c:pt idx="14">
                  <c:v>246</c:v>
                </c:pt>
                <c:pt idx="15">
                  <c:v>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4499632"/>
        <c:axId val="444500024"/>
      </c:scatterChart>
      <c:valAx>
        <c:axId val="444499632"/>
        <c:scaling>
          <c:orientation val="minMax"/>
          <c:max val="200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500024"/>
        <c:crosses val="autoZero"/>
        <c:crossBetween val="midCat"/>
        <c:majorUnit val="50"/>
      </c:valAx>
      <c:valAx>
        <c:axId val="444500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963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327485380117039E-2"/>
          <c:y val="6.7073170731707321E-2"/>
          <c:w val="0.92251461988304051"/>
          <c:h val="0.81097560975609762"/>
        </c:manualLayout>
      </c:layout>
      <c:stockChart>
        <c:ser>
          <c:idx val="0"/>
          <c:order val="0"/>
          <c:tx>
            <c:strRef>
              <c:f>Sheet1!$B$1</c:f>
              <c:strCache>
                <c:ptCount val="1"/>
                <c:pt idx="0">
                  <c:v>Alta</c:v>
                </c:pt>
              </c:strCache>
            </c:strRef>
          </c:tx>
          <c:spPr>
            <a:ln w="28575">
              <a:noFill/>
            </a:ln>
          </c:spPr>
          <c:marker>
            <c:symbol val="dash"/>
            <c:size val="7"/>
            <c:spPr>
              <a:solidFill>
                <a:schemeClr val="accent2"/>
              </a:solidFill>
              <a:ln>
                <a:solidFill>
                  <a:srgbClr val="4891D4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10</c:f>
              <c:numCache>
                <c:formatCode>#,##0</c:formatCode>
                <c:ptCount val="8"/>
                <c:pt idx="0">
                  <c:v>210</c:v>
                </c:pt>
                <c:pt idx="1">
                  <c:v>175</c:v>
                </c:pt>
                <c:pt idx="2">
                  <c:v>150</c:v>
                </c:pt>
                <c:pt idx="3">
                  <c:v>110</c:v>
                </c:pt>
                <c:pt idx="4">
                  <c:v>90</c:v>
                </c:pt>
                <c:pt idx="5">
                  <c:v>75</c:v>
                </c:pt>
                <c:pt idx="6">
                  <c:v>100</c:v>
                </c:pt>
                <c:pt idx="7">
                  <c:v>8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ixa</c:v>
                </c:pt>
              </c:strCache>
            </c:strRef>
          </c:tx>
          <c:spPr>
            <a:ln w="28575">
              <a:noFill/>
            </a:ln>
          </c:spPr>
          <c:marker>
            <c:symbol val="dash"/>
            <c:size val="7"/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0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10</c:f>
              <c:numCache>
                <c:formatCode>#,##0</c:formatCode>
                <c:ptCount val="8"/>
                <c:pt idx="0">
                  <c:v>90</c:v>
                </c:pt>
                <c:pt idx="1">
                  <c:v>75</c:v>
                </c:pt>
                <c:pt idx="2">
                  <c:v>60</c:v>
                </c:pt>
                <c:pt idx="3">
                  <c:v>60</c:v>
                </c:pt>
                <c:pt idx="4">
                  <c:v>45</c:v>
                </c:pt>
                <c:pt idx="5">
                  <c:v>30</c:v>
                </c:pt>
                <c:pt idx="6">
                  <c:v>50</c:v>
                </c:pt>
                <c:pt idx="7">
                  <c:v>4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édia</c:v>
                </c:pt>
              </c:strCache>
            </c:strRef>
          </c:tx>
          <c:spPr>
            <a:ln w="12700">
              <a:solidFill>
                <a:schemeClr val="tx2"/>
              </a:solidFill>
              <a:prstDash val="dash"/>
            </a:ln>
          </c:spPr>
          <c:marker>
            <c:symbol val="circle"/>
            <c:size val="5"/>
            <c:spPr>
              <a:solidFill>
                <a:schemeClr val="accent5"/>
              </a:solidFill>
              <a:ln w="12700">
                <a:solidFill>
                  <a:schemeClr val="accent5"/>
                </a:solidFill>
              </a:ln>
            </c:spPr>
          </c:marker>
          <c:cat>
            <c:numRef>
              <c:f>Sheet1!$A$2:$A$10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D$2:$D$10</c:f>
              <c:numCache>
                <c:formatCode>#,##0</c:formatCode>
                <c:ptCount val="8"/>
                <c:pt idx="0">
                  <c:v>150</c:v>
                </c:pt>
                <c:pt idx="1">
                  <c:v>125</c:v>
                </c:pt>
                <c:pt idx="2">
                  <c:v>130</c:v>
                </c:pt>
                <c:pt idx="3">
                  <c:v>90</c:v>
                </c:pt>
                <c:pt idx="4">
                  <c:v>60</c:v>
                </c:pt>
                <c:pt idx="5">
                  <c:v>50</c:v>
                </c:pt>
                <c:pt idx="6">
                  <c:v>75</c:v>
                </c:pt>
                <c:pt idx="7">
                  <c:v>6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hiLowLines>
          <c:spPr>
            <a:ln w="19050">
              <a:solidFill>
                <a:schemeClr val="accent2"/>
              </a:solidFill>
            </a:ln>
          </c:spPr>
        </c:hiLowLines>
        <c:axId val="444500808"/>
        <c:axId val="444501200"/>
      </c:stockChart>
      <c:catAx>
        <c:axId val="444500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5012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50120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one"/>
        <c:spPr>
          <a:ln>
            <a:noFill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44500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94134073823077"/>
          <c:y val="0.14187871401039773"/>
          <c:w val="0.66286492274469244"/>
          <c:h val="0.74176486960645804"/>
        </c:manualLayout>
      </c:layout>
      <c:radarChart>
        <c:radarStyle val="marker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marker>
            <c:symbol val="none"/>
          </c:marker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érie 2</c:v>
                </c:pt>
              </c:strCache>
            </c:strRef>
          </c:tx>
          <c:marker>
            <c:symbol val="none"/>
          </c:marker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4501984"/>
        <c:axId val="443945536"/>
      </c:radarChart>
      <c:catAx>
        <c:axId val="444501984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443945536"/>
        <c:crosses val="autoZero"/>
        <c:auto val="1"/>
        <c:lblAlgn val="ctr"/>
        <c:lblOffset val="100"/>
        <c:noMultiLvlLbl val="0"/>
      </c:catAx>
      <c:valAx>
        <c:axId val="443945536"/>
        <c:scaling>
          <c:orientation val="minMax"/>
        </c:scaling>
        <c:delete val="0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cross"/>
        <c:minorTickMark val="none"/>
        <c:tickLblPos val="nextTo"/>
        <c:crossAx val="4445019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75164674255262"/>
          <c:y val="2.8120123901554727E-2"/>
          <c:w val="0.1577981507213726"/>
          <c:h val="9.47224628171923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94134073823083"/>
          <c:y val="0.14187871401039773"/>
          <c:w val="0.66286492274469255"/>
          <c:h val="0.74176486960645804"/>
        </c:manualLayout>
      </c:layout>
      <c:radarChart>
        <c:radarStyle val="marker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3.4210981186205192E-2"/>
                  <c:y val="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5571047273559765E-2"/>
                  <c:y val="-9.570767409753450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7018301977008927E-3"/>
                  <c:y val="-5.42343486552694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7.4123792570111188E-2"/>
                  <c:y val="-6.6995371868274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9.4080198262064207E-2"/>
                  <c:y val="6.38051160650228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érie 2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2.2807320790803606E-2"/>
                  <c:y val="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8465556680457246E-2"/>
                  <c:y val="-6.38051160650223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7018301977008927E-3"/>
                  <c:y val="-5.74246044585209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8465556680457246E-2"/>
                  <c:y val="-3.190255803251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4123792570111174E-2"/>
                  <c:y val="-6.38051160650228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3946320"/>
        <c:axId val="443946712"/>
      </c:radarChart>
      <c:catAx>
        <c:axId val="44394632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443946712"/>
        <c:crosses val="autoZero"/>
        <c:auto val="1"/>
        <c:lblAlgn val="ctr"/>
        <c:lblOffset val="100"/>
        <c:noMultiLvlLbl val="0"/>
      </c:catAx>
      <c:valAx>
        <c:axId val="443946712"/>
        <c:scaling>
          <c:orientation val="minMax"/>
        </c:scaling>
        <c:delete val="0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none"/>
        <c:minorTickMark val="none"/>
        <c:tickLblPos val="none"/>
        <c:crossAx val="4439463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75164674255262"/>
          <c:y val="2.8120123901554727E-2"/>
          <c:w val="0.15779815072137268"/>
          <c:h val="9.472246281719243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912710566615784E-2"/>
          <c:y val="8.3304046454597089E-2"/>
          <c:w val="0.87918347242440853"/>
          <c:h val="0.80108921309478176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x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cat>
            <c:numRef>
              <c:f>Sheet1!$A$2:$A$7</c:f>
              <c:numCache>
                <c:formatCode>General</c:formatCode>
                <c:ptCount val="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</c:numCache>
            </c:numRef>
          </c:cat>
          <c:val>
            <c:numRef>
              <c:f>Sheet1!$B$2:$B$7</c:f>
              <c:numCache>
                <c:formatCode>#,##0</c:formatCode>
                <c:ptCount val="6"/>
                <c:pt idx="0">
                  <c:v>10</c:v>
                </c:pt>
                <c:pt idx="1">
                  <c:v>24</c:v>
                </c:pt>
                <c:pt idx="2">
                  <c:v>30</c:v>
                </c:pt>
                <c:pt idx="3">
                  <c:v>67</c:v>
                </c:pt>
                <c:pt idx="4">
                  <c:v>50</c:v>
                </c:pt>
                <c:pt idx="5">
                  <c:v>7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cat>
            <c:numRef>
              <c:f>Sheet1!$A$2:$A$7</c:f>
              <c:numCache>
                <c:formatCode>General</c:formatCode>
                <c:ptCount val="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</c:numCache>
            </c:numRef>
          </c:cat>
          <c:val>
            <c:numRef>
              <c:f>Sheet1!$C$2:$C$7</c:f>
              <c:numCache>
                <c:formatCode>#,##0</c:formatCode>
                <c:ptCount val="6"/>
                <c:pt idx="0">
                  <c:v>30</c:v>
                </c:pt>
                <c:pt idx="1">
                  <c:v>40</c:v>
                </c:pt>
                <c:pt idx="2">
                  <c:v>55</c:v>
                </c:pt>
                <c:pt idx="3">
                  <c:v>60</c:v>
                </c:pt>
                <c:pt idx="4">
                  <c:v>78</c:v>
                </c:pt>
                <c:pt idx="5">
                  <c:v>8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zz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cat>
            <c:numRef>
              <c:f>Sheet1!$A$2:$A$7</c:f>
              <c:numCache>
                <c:formatCode>General</c:formatCode>
                <c:ptCount val="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</c:numCache>
            </c:numRef>
          </c:cat>
          <c:val>
            <c:numRef>
              <c:f>Sheet1!$D$2:$D$7</c:f>
              <c:numCache>
                <c:formatCode>#,##0</c:formatCode>
                <c:ptCount val="6"/>
                <c:pt idx="0">
                  <c:v>45</c:v>
                </c:pt>
                <c:pt idx="1">
                  <c:v>60</c:v>
                </c:pt>
                <c:pt idx="2">
                  <c:v>60</c:v>
                </c:pt>
                <c:pt idx="3">
                  <c:v>75</c:v>
                </c:pt>
                <c:pt idx="4">
                  <c:v>85</c:v>
                </c:pt>
                <c:pt idx="5">
                  <c:v>9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3947496"/>
        <c:axId val="443947888"/>
      </c:areaChart>
      <c:catAx>
        <c:axId val="443947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39478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394788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3947496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7365340829708068"/>
          <c:y val="0"/>
          <c:w val="0.26076148818895006"/>
          <c:h val="5.304867349848890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45578231292446E-2"/>
          <c:y val="0.13288550643409822"/>
          <c:w val="0.84897959183673466"/>
          <c:h val="0.6841106363649670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  <c:pt idx="3">
                  <c:v>96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3948672"/>
        <c:axId val="443949064"/>
      </c:bar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xx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0</c:v>
                </c:pt>
                <c:pt idx="1">
                  <c:v>45</c:v>
                </c:pt>
                <c:pt idx="2">
                  <c:v>55</c:v>
                </c:pt>
                <c:pt idx="3">
                  <c:v>6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3949456"/>
        <c:axId val="443949848"/>
      </c:lineChart>
      <c:catAx>
        <c:axId val="443948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394906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39490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3948672"/>
        <c:crosses val="autoZero"/>
        <c:crossBetween val="between"/>
      </c:valAx>
      <c:catAx>
        <c:axId val="4439494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3949848"/>
        <c:crosses val="autoZero"/>
        <c:auto val="0"/>
        <c:lblAlgn val="ctr"/>
        <c:lblOffset val="100"/>
        <c:noMultiLvlLbl val="0"/>
      </c:catAx>
      <c:valAx>
        <c:axId val="44394984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3949456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67880479534048166"/>
          <c:y val="4.6998460344247931E-4"/>
          <c:w val="0.3115646258503425"/>
          <c:h val="7.2727272727272724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45578231292446E-2"/>
          <c:y val="0.13288550643409822"/>
          <c:w val="0.84897959183673466"/>
          <c:h val="0.6841106363649670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.4</c:v>
                </c:pt>
                <c:pt idx="1">
                  <c:v>35.6</c:v>
                </c:pt>
                <c:pt idx="2">
                  <c:v>46</c:v>
                </c:pt>
                <c:pt idx="3">
                  <c:v>70.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nd Qtr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15.6</c:v>
                </c:pt>
                <c:pt idx="1">
                  <c:v>25.3</c:v>
                </c:pt>
                <c:pt idx="2">
                  <c:v>23.5</c:v>
                </c:pt>
                <c:pt idx="3">
                  <c:v>35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3950632"/>
        <c:axId val="443951024"/>
      </c:bar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Line 1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Lbls>
            <c:dLbl>
              <c:idx val="3"/>
              <c:layout>
                <c:manualLayout>
                  <c:x val="-1.8169224211423723E-2"/>
                  <c:y val="-4.42251294586933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30</c:v>
                </c:pt>
                <c:pt idx="1">
                  <c:v>41</c:v>
                </c:pt>
                <c:pt idx="2">
                  <c:v>38</c:v>
                </c:pt>
                <c:pt idx="3">
                  <c:v>44.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ine 2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pPr>
              <a:ln>
                <a:solidFill>
                  <a:schemeClr val="tx2"/>
                </a:solidFill>
              </a:ln>
            </c:spPr>
          </c:marker>
          <c:dLbls>
            <c:dLbl>
              <c:idx val="3"/>
              <c:layout>
                <c:manualLayout>
                  <c:x val="-1.4617078715544188E-2"/>
                  <c:y val="-3.52301878738744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E$2:$E$5</c:f>
              <c:numCache>
                <c:formatCode>General</c:formatCode>
                <c:ptCount val="4"/>
                <c:pt idx="0">
                  <c:v>20</c:v>
                </c:pt>
                <c:pt idx="1">
                  <c:v>26.2</c:v>
                </c:pt>
                <c:pt idx="2">
                  <c:v>28</c:v>
                </c:pt>
                <c:pt idx="3">
                  <c:v>36.300000000000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3951808"/>
        <c:axId val="443951416"/>
      </c:lineChart>
      <c:catAx>
        <c:axId val="443950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395102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3951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3950632"/>
        <c:crosses val="autoZero"/>
        <c:crossBetween val="between"/>
      </c:valAx>
      <c:valAx>
        <c:axId val="443951416"/>
        <c:scaling>
          <c:orientation val="minMax"/>
          <c:max val="50"/>
          <c:min val="-2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3951808"/>
        <c:crosses val="max"/>
        <c:crossBetween val="between"/>
      </c:valAx>
      <c:catAx>
        <c:axId val="443951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395141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50297359329444435"/>
          <c:y val="4.6998460344247948E-4"/>
          <c:w val="0.49702640670555626"/>
          <c:h val="6.549993696458258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59740259740258"/>
          <c:y val="0.10810810810810811"/>
          <c:w val="0.8194805194805197"/>
          <c:h val="0.7346437346437393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1"/>
              <c:layout>
                <c:manualLayout>
                  <c:x val="2.3659965660655325E-3"/>
                  <c:y val="-4.180184172827585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7166566610688579E-3"/>
                  <c:y val="-3.36116207526479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50</c:v>
                </c:pt>
                <c:pt idx="2">
                  <c:v>30</c:v>
                </c:pt>
                <c:pt idx="3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43952592"/>
        <c:axId val="443952984"/>
      </c:barChar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D$2:$D$5</c:f>
              <c:numCache>
                <c:formatCode>General</c:formatCode>
                <c:ptCount val="4"/>
                <c:pt idx="0">
                  <c:v>15</c:v>
                </c:pt>
                <c:pt idx="1">
                  <c:v>55</c:v>
                </c:pt>
                <c:pt idx="2">
                  <c:v>30</c:v>
                </c:pt>
                <c:pt idx="3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0"/>
        <c:axId val="443953376"/>
        <c:axId val="443953768"/>
      </c:bar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</c:strCache>
            </c:strRef>
          </c:tx>
          <c:dLbls>
            <c:dLbl>
              <c:idx val="1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</c:numCache>
            </c:numRef>
          </c:cat>
          <c:val>
            <c:numRef>
              <c:f>Sheet1!$C$2:$C$5</c:f>
              <c:numCache>
                <c:formatCode>General</c:formatCode>
                <c:ptCount val="4"/>
                <c:pt idx="0">
                  <c:v>25</c:v>
                </c:pt>
                <c:pt idx="1">
                  <c:v>-5</c:v>
                </c:pt>
                <c:pt idx="2">
                  <c:v>0</c:v>
                </c:pt>
                <c:pt idx="3">
                  <c:v>-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3953376"/>
        <c:axId val="443953768"/>
      </c:lineChart>
      <c:catAx>
        <c:axId val="44395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4395298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3952984"/>
        <c:scaling>
          <c:orientation val="minMax"/>
          <c:max val="70"/>
          <c:min val="-2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43952592"/>
        <c:crosses val="autoZero"/>
        <c:crossBetween val="between"/>
        <c:majorUnit val="10"/>
      </c:valAx>
      <c:catAx>
        <c:axId val="4439533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3953768"/>
        <c:crosses val="autoZero"/>
        <c:auto val="0"/>
        <c:lblAlgn val="ctr"/>
        <c:lblOffset val="100"/>
        <c:noMultiLvlLbl val="0"/>
      </c:catAx>
      <c:valAx>
        <c:axId val="443953768"/>
        <c:scaling>
          <c:orientation val="minMax"/>
          <c:max val="70"/>
          <c:min val="-20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3953376"/>
        <c:crosses val="max"/>
        <c:crossBetween val="between"/>
        <c:majorUnit val="10"/>
      </c:valAx>
    </c:plotArea>
    <c:legend>
      <c:legendPos val="r"/>
      <c:layout>
        <c:manualLayout>
          <c:xMode val="edge"/>
          <c:yMode val="edge"/>
          <c:x val="0.58955687491444719"/>
          <c:y val="1.9160755291744373E-3"/>
          <c:w val="0.39785576298908959"/>
          <c:h val="6.142506142506142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96905720975111"/>
          <c:y val="0.2030155141498402"/>
          <c:w val="0.66559520676882133"/>
          <c:h val="0.6408825134481970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5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512396694214892E-2"/>
          <c:y val="2.4390243902439042E-3"/>
          <c:w val="0.78925619834710747"/>
          <c:h val="0.912195121951217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 w="9525"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9525">
                <a:solidFill>
                  <a:schemeClr val="bg1"/>
                </a:solidFill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Label 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Label </c:v>
                </c:pt>
              </c:strCache>
            </c:strRef>
          </c:cat>
          <c:val>
            <c:numRef>
              <c:f>Sheet1!$C$2:$C$2</c:f>
              <c:numCache>
                <c:formatCode>General</c:formatCode>
                <c:ptCount val="1"/>
                <c:pt idx="0">
                  <c:v>2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Label </c:v>
                </c:pt>
              </c:strCache>
            </c:strRef>
          </c:cat>
          <c:val>
            <c:numRef>
              <c:f>Sheet1!$D$2:$D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2</c:f>
              <c:strCache>
                <c:ptCount val="1"/>
                <c:pt idx="0">
                  <c:v>Label </c:v>
                </c:pt>
              </c:strCache>
            </c:strRef>
          </c:cat>
          <c:val>
            <c:numRef>
              <c:f>Sheet1!$E$2:$E$2</c:f>
              <c:numCache>
                <c:formatCode>General</c:formatCode>
                <c:ptCount val="1"/>
                <c:pt idx="0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443954944"/>
        <c:axId val="443955336"/>
      </c:barChart>
      <c:catAx>
        <c:axId val="44395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39553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39553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43954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741258741258705E-2"/>
          <c:y val="9.9087415344942115E-2"/>
          <c:w val="0.92587412587412588"/>
          <c:h val="0.82352064894908794"/>
        </c:manualLayout>
      </c:layout>
      <c:bubbl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aís A</c:v>
                </c:pt>
              </c:strCache>
            </c:strRef>
          </c:tx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2:$E$2</c:f>
              <c:numCache>
                <c:formatCode>General</c:formatCode>
                <c:ptCount val="4"/>
                <c:pt idx="0">
                  <c:v>30.5</c:v>
                </c:pt>
              </c:numCache>
            </c:numRef>
          </c:yVal>
          <c:bubbleSize>
            <c:numRef>
              <c:f>Sheet1!$B$3:$E$3</c:f>
              <c:numCache>
                <c:formatCode>General</c:formatCode>
                <c:ptCount val="4"/>
                <c:pt idx="0">
                  <c:v>20</c:v>
                </c:pt>
              </c:numCache>
            </c:numRef>
          </c:bubbleSize>
          <c:bubble3D val="0"/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País B</c:v>
                </c:pt>
              </c:strCache>
            </c:strRef>
          </c:tx>
          <c:spPr>
            <a:ln>
              <a:noFill/>
            </a:ln>
            <a:effectLst/>
          </c:spPr>
          <c:invertIfNegative val="1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4:$E$4</c:f>
              <c:numCache>
                <c:formatCode>General</c:formatCode>
                <c:ptCount val="4"/>
                <c:pt idx="1">
                  <c:v>27.4</c:v>
                </c:pt>
              </c:numCache>
            </c:numRef>
          </c:yVal>
          <c:bubbleSize>
            <c:numRef>
              <c:f>Sheet1!$B$5:$E$5</c:f>
              <c:numCache>
                <c:formatCode>General</c:formatCode>
                <c:ptCount val="4"/>
                <c:pt idx="1">
                  <c:v>38.6</c:v>
                </c:pt>
              </c:numCache>
            </c:numRef>
          </c:bubbleSize>
          <c:bubble3D val="0"/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País C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1"/>
          <c:dPt>
            <c:idx val="2"/>
            <c:invertIfNegative val="1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</c:dPt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6:$E$6</c:f>
              <c:numCache>
                <c:formatCode>General</c:formatCode>
                <c:ptCount val="4"/>
                <c:pt idx="2">
                  <c:v>90</c:v>
                </c:pt>
              </c:numCache>
            </c:numRef>
          </c:yVal>
          <c:bubbleSize>
            <c:numRef>
              <c:f>Sheet1!$B$7:$E$7</c:f>
              <c:numCache>
                <c:formatCode>General</c:formatCode>
                <c:ptCount val="4"/>
                <c:pt idx="2">
                  <c:v>34.6</c:v>
                </c:pt>
              </c:numCache>
            </c:numRef>
          </c:bubbleSize>
          <c:bubble3D val="0"/>
        </c:ser>
        <c:ser>
          <c:idx val="3"/>
          <c:order val="3"/>
          <c:tx>
            <c:strRef>
              <c:f>Sheet1!$A$8</c:f>
              <c:strCache>
                <c:ptCount val="1"/>
                <c:pt idx="0">
                  <c:v>País D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cene3d>
                <a:camera prst="orthographicFront"/>
                <a:lightRig rig="threePt" dir="t"/>
              </a:scene3d>
              <a:sp3d prstMaterial="matte"/>
            </c:spPr>
          </c:dPt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8:$E$8</c:f>
              <c:numCache>
                <c:formatCode>General</c:formatCode>
                <c:ptCount val="4"/>
                <c:pt idx="3">
                  <c:v>20.399999999999999</c:v>
                </c:pt>
              </c:numCache>
            </c:numRef>
          </c:yVal>
          <c:bubbleSize>
            <c:numRef>
              <c:f>Sheet1!$B$9:$E$9</c:f>
              <c:numCache>
                <c:formatCode>General</c:formatCode>
                <c:ptCount val="4"/>
                <c:pt idx="3">
                  <c:v>31.6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1"/>
        </c:dLbls>
        <c:bubbleScale val="100"/>
        <c:showNegBubbles val="0"/>
        <c:axId val="398264920"/>
        <c:axId val="398265312"/>
      </c:bubbleChart>
      <c:valAx>
        <c:axId val="398264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265312"/>
        <c:crosses val="autoZero"/>
        <c:crossBetween val="midCat"/>
      </c:valAx>
      <c:valAx>
        <c:axId val="398265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264920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6572384872937016"/>
          <c:y val="4.7401825169310118E-3"/>
          <c:w val="0.34138317274044944"/>
          <c:h val="5.425509808094339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25</c:v>
                </c:pt>
                <c:pt idx="1">
                  <c:v>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3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30</c:v>
                </c:pt>
                <c:pt idx="1">
                  <c:v>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60</c:v>
                </c:pt>
                <c:pt idx="1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5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dPt>
            <c:idx val="0"/>
            <c:bubble3D val="0"/>
            <c:spPr>
              <a:ln>
                <a:solidFill>
                  <a:schemeClr val="accent1"/>
                </a:solidFill>
              </a:ln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</c:spPr>
          </c:dPt>
          <c:cat>
            <c:strRef>
              <c:f>Hoja1!$A$2:$A$3</c:f>
              <c:strCache>
                <c:ptCount val="2"/>
                <c:pt idx="0">
                  <c:v>1er trim.</c:v>
                </c:pt>
                <c:pt idx="1">
                  <c:v>2º trim.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Plan1!$C$1</c:f>
              <c:strCache>
                <c:ptCount val="1"/>
                <c:pt idx="0">
                  <c:v>Série 2</c:v>
                </c:pt>
              </c:strCache>
            </c:strRef>
          </c:tx>
          <c:spPr>
            <a:ln w="28575">
              <a:noFill/>
            </a:ln>
          </c:spPr>
          <c:xVal>
            <c:strRef>
              <c:f>Plan1!$A$2:$A$5</c:f>
              <c:strCache>
                <c:ptCount val="4"/>
                <c:pt idx="0">
                  <c:v>Categoria 1</c:v>
                </c:pt>
                <c:pt idx="1">
                  <c:v>Categoria 2</c:v>
                </c:pt>
                <c:pt idx="2">
                  <c:v>Categoria 3</c:v>
                </c:pt>
                <c:pt idx="3">
                  <c:v>Categoria 4</c:v>
                </c:pt>
              </c:strCache>
            </c:strRef>
          </c:xVal>
          <c:yVal>
            <c:numRef>
              <c:f>Plan1!$C$2:$C$5</c:f>
              <c:numCache>
                <c:formatCode>General</c:formatCode>
                <c:ptCount val="4"/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9102072"/>
        <c:axId val="399102464"/>
      </c:scatterChart>
      <c:valAx>
        <c:axId val="399102072"/>
        <c:scaling>
          <c:orientation val="minMax"/>
          <c:max val="1"/>
          <c:min val="0"/>
        </c:scaling>
        <c:delete val="0"/>
        <c:axPos val="b"/>
        <c:numFmt formatCode="0%" sourceLinked="0"/>
        <c:majorTickMark val="none"/>
        <c:minorTickMark val="none"/>
        <c:tickLblPos val="nextTo"/>
        <c:crossAx val="399102464"/>
        <c:crosses val="autoZero"/>
        <c:crossBetween val="midCat"/>
        <c:majorUnit val="0.1"/>
      </c:valAx>
      <c:valAx>
        <c:axId val="399102464"/>
        <c:scaling>
          <c:orientation val="minMax"/>
          <c:max val="1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crossAx val="399102072"/>
        <c:crosses val="autoZero"/>
        <c:crossBetween val="midCat"/>
        <c:majorUnit val="0.1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21984065262634E-2"/>
          <c:y val="0.22165629842328838"/>
          <c:w val="0.96535603186947483"/>
          <c:h val="0.627039437772582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Serie 4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E$2:$E$5</c:f>
              <c:numCache>
                <c:formatCode>0.0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Serie 5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F$2:$F$5</c:f>
              <c:numCache>
                <c:formatCode>0.0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Serie 6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G$2:$G$5</c:f>
              <c:numCache>
                <c:formatCode>0.0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407787632"/>
        <c:axId val="407788024"/>
      </c:barChart>
      <c:catAx>
        <c:axId val="4077876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407788024"/>
        <c:crosses val="autoZero"/>
        <c:auto val="1"/>
        <c:lblAlgn val="ctr"/>
        <c:lblOffset val="100"/>
        <c:noMultiLvlLbl val="0"/>
      </c:catAx>
      <c:valAx>
        <c:axId val="4077880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077876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52164466844953872"/>
          <c:y val="7.3733665400414934E-4"/>
          <c:w val="0.47322060941641408"/>
          <c:h val="5.4814087455462741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erie 2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rie 3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407788808"/>
        <c:axId val="407789200"/>
      </c:barChart>
      <c:barChart>
        <c:barDir val="col"/>
        <c:grouping val="clustered"/>
        <c:varyColors val="0"/>
        <c:ser>
          <c:idx val="3"/>
          <c:order val="3"/>
          <c:tx>
            <c:strRef>
              <c:f>Hoja1!$E$1</c:f>
              <c:strCache>
                <c:ptCount val="1"/>
                <c:pt idx="0">
                  <c:v>Total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Categoría 1</c:v>
                </c:pt>
                <c:pt idx="1">
                  <c:v>Categoría 2</c:v>
                </c:pt>
                <c:pt idx="2">
                  <c:v>Categoría 3</c:v>
                </c:pt>
                <c:pt idx="3">
                  <c:v>Categoría 4</c:v>
                </c:pt>
              </c:strCache>
            </c:strRef>
          </c:cat>
          <c:val>
            <c:numRef>
              <c:f>Hoja1!$E$2:$E$5</c:f>
              <c:numCache>
                <c:formatCode>General</c:formatCode>
                <c:ptCount val="4"/>
                <c:pt idx="0">
                  <c:v>8.7000000000000011</c:v>
                </c:pt>
                <c:pt idx="1">
                  <c:v>8.9</c:v>
                </c:pt>
                <c:pt idx="2">
                  <c:v>8.3000000000000007</c:v>
                </c:pt>
                <c:pt idx="3">
                  <c:v>1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07789984"/>
        <c:axId val="407789592"/>
      </c:barChart>
      <c:catAx>
        <c:axId val="4077888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407789200"/>
        <c:crosses val="autoZero"/>
        <c:auto val="1"/>
        <c:lblAlgn val="ctr"/>
        <c:lblOffset val="100"/>
        <c:noMultiLvlLbl val="0"/>
      </c:catAx>
      <c:valAx>
        <c:axId val="407789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07788808"/>
        <c:crosses val="autoZero"/>
        <c:crossBetween val="between"/>
      </c:valAx>
      <c:valAx>
        <c:axId val="407789592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07789984"/>
        <c:crosses val="max"/>
        <c:crossBetween val="between"/>
      </c:valAx>
      <c:catAx>
        <c:axId val="407789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07789592"/>
        <c:crosses val="autoZero"/>
        <c:auto val="1"/>
        <c:lblAlgn val="ctr"/>
        <c:lblOffset val="100"/>
        <c:noMultiLvlLbl val="0"/>
      </c:cat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55547554901307272"/>
          <c:y val="0"/>
          <c:w val="0.44167245306077102"/>
          <c:h val="4.9220847272800766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4897032101757"/>
          <c:y val="0.14134614314460028"/>
          <c:w val="0.47820517867958812"/>
          <c:h val="0.71730771371080304"/>
        </c:manualLayout>
      </c:layout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Lbls>
            <c:dLbl>
              <c:idx val="2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Hoja1!$A$2:$A$5</c:f>
              <c:strCache>
                <c:ptCount val="4"/>
                <c:pt idx="0">
                  <c:v>1er trim.</c:v>
                </c:pt>
                <c:pt idx="1">
                  <c:v>2º trim.</c:v>
                </c:pt>
                <c:pt idx="2">
                  <c:v>3er trim.</c:v>
                </c:pt>
                <c:pt idx="3">
                  <c:v>4º trim.</c:v>
                </c:pt>
              </c:strCache>
            </c:strRef>
          </c:cat>
          <c:val>
            <c:numRef>
              <c:f>Hoja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76651058595255372"/>
          <c:y val="0.39168988485163503"/>
          <c:w val="0.14530478703217461"/>
          <c:h val="0.21661998039251656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7202295552381E-3"/>
          <c:y val="5.027932960893855E-2"/>
          <c:w val="0.99856527977044207"/>
          <c:h val="0.77932960893855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  <c:pt idx="3">
                  <c:v>96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4955296"/>
        <c:axId val="434955688"/>
      </c:barChart>
      <c:catAx>
        <c:axId val="43495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556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556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55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397408207343416E-2"/>
          <c:y val="5.3072625698324022E-2"/>
          <c:w val="0.94600431965442977"/>
          <c:h val="0.77653631284916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4956472"/>
        <c:axId val="434956864"/>
      </c:barChart>
      <c:catAx>
        <c:axId val="434956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568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568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564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397408207343416E-2"/>
          <c:y val="5.3072625698324022E-2"/>
          <c:w val="0.94600431965442988"/>
          <c:h val="0.77653631284916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4957648"/>
        <c:axId val="434958040"/>
      </c:barChart>
      <c:catAx>
        <c:axId val="434957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580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580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57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96167247386963E-2"/>
          <c:y val="5.027932960893855E-2"/>
          <c:w val="0.90592334494773274"/>
          <c:h val="0.77932960893855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58824"/>
        <c:axId val="434959216"/>
      </c:barChart>
      <c:catAx>
        <c:axId val="434958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5921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5921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58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397408207343416E-2"/>
          <c:y val="5.3072625698324022E-2"/>
          <c:w val="0.94600431965442988"/>
          <c:h val="0.776536312849162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398021808"/>
        <c:axId val="398022200"/>
      </c:barChart>
      <c:catAx>
        <c:axId val="3980218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22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022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98021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9616724738697E-2"/>
          <c:y val="5.027932960893855E-2"/>
          <c:w val="0.90592334494773252"/>
          <c:h val="0.779329608938551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0000"/>
        <c:axId val="434960392"/>
      </c:barChart>
      <c:catAx>
        <c:axId val="43496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03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039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0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296167247386977E-2"/>
          <c:y val="5.027932960893855E-2"/>
          <c:w val="0.90592334494773241"/>
          <c:h val="0.779329608938551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1176"/>
        <c:axId val="434961568"/>
      </c:barChart>
      <c:catAx>
        <c:axId val="434961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15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15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1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12582781456956E-2"/>
          <c:y val="4.8275862068965184E-2"/>
          <c:w val="0.92715231788079466"/>
          <c:h val="0.744827586206899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</c:dPt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2744"/>
        <c:axId val="434963136"/>
      </c:barChart>
      <c:catAx>
        <c:axId val="434962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31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31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27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12582781456956E-2"/>
          <c:y val="4.8275862068965156E-2"/>
          <c:w val="0.92715231788079466"/>
          <c:h val="0.744827586206899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3920"/>
        <c:axId val="434964312"/>
      </c:barChart>
      <c:catAx>
        <c:axId val="434963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43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4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39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12582781456956E-2"/>
          <c:y val="4.8275862068965156E-2"/>
          <c:w val="0.92715231788079466"/>
          <c:h val="0.744827586206899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5096"/>
        <c:axId val="434965488"/>
      </c:barChart>
      <c:catAx>
        <c:axId val="434965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54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54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5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112582781456956E-2"/>
          <c:y val="4.8275862068965142E-2"/>
          <c:w val="0.92715231788079466"/>
          <c:h val="0.744827586206899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  <c:pt idx="3">
                  <c:v>South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0</c:v>
                </c:pt>
                <c:pt idx="1">
                  <c:v>20</c:v>
                </c:pt>
                <c:pt idx="2">
                  <c:v>30</c:v>
                </c:pt>
                <c:pt idx="3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4966272"/>
        <c:axId val="434966664"/>
      </c:barChart>
      <c:catAx>
        <c:axId val="43496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49666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49666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34966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458950201884281E-3"/>
          <c:y val="0.10900678058765119"/>
          <c:w val="0.99865410497981155"/>
          <c:h val="0.783708721422523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09376"/>
        <c:axId val="439009768"/>
      </c:barChart>
      <c:catAx>
        <c:axId val="439009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097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09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093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7877972184836333"/>
          <c:y val="4.0577879054516375E-3"/>
          <c:w val="0.31942575145805346"/>
          <c:h val="5.576136598505204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E-3"/>
          <c:y val="9.8408550441261997E-2"/>
          <c:w val="0.99773242630385484"/>
          <c:h val="0.817046979865771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10552"/>
        <c:axId val="439010944"/>
      </c:barChart>
      <c:catAx>
        <c:axId val="439010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09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09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05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3251313328647883"/>
          <c:y val="2.3734855492631697E-4"/>
          <c:w val="0.56235827664399418"/>
          <c:h val="8.285714285714304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08E-3"/>
          <c:y val="9.8408550441261997E-2"/>
          <c:w val="0.99773242630385484"/>
          <c:h val="0.817046979865771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11728"/>
        <c:axId val="439012120"/>
      </c:barChart>
      <c:catAx>
        <c:axId val="43901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21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21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17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3251313328647889"/>
          <c:y val="2.3734855492631697E-4"/>
          <c:w val="0.5623582766439944"/>
          <c:h val="8.285714285714304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17472118959118E-3"/>
          <c:y val="0.121028811226677"/>
          <c:w val="1"/>
          <c:h val="0.76803826455790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9013296"/>
        <c:axId val="439013688"/>
      </c:barChart>
      <c:catAx>
        <c:axId val="43901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36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3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329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768102783434721E-2"/>
          <c:y val="3.0945558739255102E-3"/>
          <c:w val="0.92193308550185848"/>
          <c:h val="6.857142857142857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653295128939988E-3"/>
          <c:y val="8.765346896547474E-2"/>
          <c:w val="0.99856733524355257"/>
          <c:h val="0.70381335299255954"/>
        </c:manualLayout>
      </c:layout>
      <c:barChart>
        <c:barDir val="col"/>
        <c:grouping val="stacked"/>
        <c:varyColors val="0"/>
        <c:ser>
          <c:idx val="0"/>
          <c:order val="0"/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</c:numCache>
            </c:numRef>
          </c:val>
        </c:ser>
        <c:ser>
          <c:idx val="1"/>
          <c:order val="1"/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9"/>
              <c:layout>
                <c:manualLayout>
                  <c:x val="3.5465213493483289E-3"/>
                  <c:y val="-2.85595563089650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ser>
          <c:idx val="2"/>
          <c:order val="2"/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398023376"/>
        <c:axId val="398023768"/>
      </c:barChart>
      <c:catAx>
        <c:axId val="3980233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37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023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398023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174721189591185E-3"/>
          <c:y val="0.12102881122667701"/>
          <c:w val="1"/>
          <c:h val="0.76803826455790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9014472"/>
        <c:axId val="439014864"/>
      </c:barChart>
      <c:catAx>
        <c:axId val="439014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48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48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44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768102783434721E-2"/>
          <c:y val="3.0945558739255102E-3"/>
          <c:w val="0.92193308550185848"/>
          <c:h val="6.857142857142857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174721189591189E-3"/>
          <c:y val="0.12102881122667702"/>
          <c:w val="1"/>
          <c:h val="0.768038264557904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39015648"/>
        <c:axId val="439016040"/>
      </c:barChart>
      <c:catAx>
        <c:axId val="439015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604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60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564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7.2768102783434721E-2"/>
          <c:y val="3.0945558739255102E-3"/>
          <c:w val="0.92193308550185848"/>
          <c:h val="6.857142857142857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E-3"/>
          <c:y val="0.13408728282931098"/>
          <c:w val="0.99773242630385484"/>
          <c:h val="0.650574936200354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17216"/>
        <c:axId val="439017608"/>
      </c:barChart>
      <c:catAx>
        <c:axId val="439017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760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76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72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858354117586162"/>
          <c:y val="6.5697828446443463E-5"/>
          <c:w val="0.56694318842917224"/>
          <c:h val="8.588126724069222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08E-3"/>
          <c:y val="0.13408728282931101"/>
          <c:w val="0.99773242630385484"/>
          <c:h val="0.65057493620035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18392"/>
        <c:axId val="439018784"/>
      </c:barChart>
      <c:catAx>
        <c:axId val="439018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878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87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83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858354117586173"/>
          <c:y val="6.5697828446443477E-5"/>
          <c:w val="0.56694318842917235"/>
          <c:h val="8.588126724069222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08E-3"/>
          <c:y val="0.13408728282931101"/>
          <c:w val="0.99773242630385484"/>
          <c:h val="0.65057493620035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19568"/>
        <c:axId val="439019960"/>
      </c:barChart>
      <c:catAx>
        <c:axId val="439019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199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199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195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858354117586173"/>
          <c:y val="6.5697828446443477E-5"/>
          <c:w val="0.56694318842917235"/>
          <c:h val="8.588126724069222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675736961451417E-3"/>
          <c:y val="0.13408728282931104"/>
          <c:w val="0.99773242630385484"/>
          <c:h val="0.650574936200354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20744"/>
        <c:axId val="439021136"/>
      </c:barChart>
      <c:catAx>
        <c:axId val="439020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2113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211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20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42858354117586189"/>
          <c:y val="6.5697828446443504E-5"/>
          <c:w val="0.56694318842917246"/>
          <c:h val="8.588126724069222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7202295552381E-3"/>
          <c:y val="7.6408196519367325E-2"/>
          <c:w val="0.99856527977044207"/>
          <c:h val="0.80672152855483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39022312"/>
        <c:axId val="439022704"/>
      </c:barChart>
      <c:catAx>
        <c:axId val="43902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227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22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223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4265892845213024"/>
          <c:y val="1.2205437103036717E-3"/>
          <c:w val="0.35581061692970112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7202295552381E-3"/>
          <c:y val="7.6408196519367325E-2"/>
          <c:w val="0.99856527977044185"/>
          <c:h val="0.8067215285548349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39023488"/>
        <c:axId val="439023880"/>
      </c:barChart>
      <c:barChart>
        <c:barDir val="col"/>
        <c:grouping val="clustere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39024664"/>
        <c:axId val="439024272"/>
      </c:barChart>
      <c:catAx>
        <c:axId val="439023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390238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390238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39023488"/>
        <c:crosses val="autoZero"/>
        <c:crossBetween val="between"/>
      </c:valAx>
      <c:valAx>
        <c:axId val="439024272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crossAx val="439024664"/>
        <c:crosses val="max"/>
        <c:crossBetween val="between"/>
      </c:valAx>
      <c:catAx>
        <c:axId val="4390246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3902427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64265892845213046"/>
          <c:y val="1.2205437103036717E-3"/>
          <c:w val="0.35734101136531032"/>
          <c:h val="6.808375923348003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188E-2"/>
          <c:y val="0.1299747496919402"/>
          <c:w val="0.93217365525092488"/>
          <c:h val="0.74804920681536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80240"/>
        <c:axId val="440480632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81024"/>
        <c:axId val="440481416"/>
      </c:lineChart>
      <c:catAx>
        <c:axId val="44048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806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806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0240"/>
        <c:crosses val="autoZero"/>
        <c:crossBetween val="between"/>
      </c:valAx>
      <c:catAx>
        <c:axId val="4404810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81416"/>
        <c:crosses val="autoZero"/>
        <c:auto val="1"/>
        <c:lblAlgn val="ctr"/>
        <c:lblOffset val="100"/>
        <c:noMultiLvlLbl val="0"/>
      </c:catAx>
      <c:valAx>
        <c:axId val="44048141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1024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64085502339448841"/>
          <c:y val="2.5656190706478672E-3"/>
          <c:w val="0.3558106169297014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02E-2"/>
          <c:y val="0.1299747496919402"/>
          <c:w val="0.93217365525092488"/>
          <c:h val="0.748049206815363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82200"/>
        <c:axId val="440482592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82984"/>
        <c:axId val="440483376"/>
      </c:lineChart>
      <c:catAx>
        <c:axId val="440482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825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825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2200"/>
        <c:crosses val="autoZero"/>
        <c:crossBetween val="between"/>
      </c:valAx>
      <c:catAx>
        <c:axId val="440482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83376"/>
        <c:crosses val="autoZero"/>
        <c:auto val="1"/>
        <c:lblAlgn val="ctr"/>
        <c:lblOffset val="100"/>
        <c:noMultiLvlLbl val="0"/>
      </c:catAx>
      <c:valAx>
        <c:axId val="44048337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2984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64085502339448874"/>
          <c:y val="2.5656190706478672E-3"/>
          <c:w val="0.35581061692970151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653295128939988E-3"/>
          <c:y val="8.765346896547474E-2"/>
          <c:w val="0.99856733524355257"/>
          <c:h val="0.70381335299255954"/>
        </c:manualLayout>
      </c:layout>
      <c:barChart>
        <c:barDir val="col"/>
        <c:grouping val="stacked"/>
        <c:varyColors val="0"/>
        <c:ser>
          <c:idx val="0"/>
          <c:order val="0"/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40</c:v>
                </c:pt>
                <c:pt idx="2">
                  <c:v>50</c:v>
                </c:pt>
                <c:pt idx="3">
                  <c:v>60</c:v>
                </c:pt>
              </c:numCache>
            </c:numRef>
          </c:val>
        </c:ser>
        <c:ser>
          <c:idx val="1"/>
          <c:order val="1"/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9"/>
              <c:layout>
                <c:manualLayout>
                  <c:x val="3.5465213493483289E-3"/>
                  <c:y val="-2.85595563089650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ser>
          <c:idx val="2"/>
          <c:order val="2"/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398024552"/>
        <c:axId val="398024944"/>
      </c:barChart>
      <c:catAx>
        <c:axId val="39802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49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0249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3980245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51354521816166632"/>
          <c:y val="2.0557397545807243E-3"/>
          <c:w val="0.4838766121949632"/>
          <c:h val="7.77479892761394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09E-2"/>
          <c:y val="0.1299747496919402"/>
          <c:w val="0.93217365525092488"/>
          <c:h val="0.748049206815364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84160"/>
        <c:axId val="440484552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84944"/>
        <c:axId val="440485336"/>
      </c:lineChart>
      <c:catAx>
        <c:axId val="440484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845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845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4160"/>
        <c:crosses val="autoZero"/>
        <c:crossBetween val="between"/>
      </c:valAx>
      <c:catAx>
        <c:axId val="4404849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85336"/>
        <c:crosses val="autoZero"/>
        <c:auto val="1"/>
        <c:lblAlgn val="ctr"/>
        <c:lblOffset val="100"/>
        <c:noMultiLvlLbl val="0"/>
      </c:catAx>
      <c:valAx>
        <c:axId val="44048533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4944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35481655598952588"/>
          <c:y val="2.5656190706478672E-3"/>
          <c:w val="0.64184936587807451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16E-2"/>
          <c:y val="0.1299747496919402"/>
          <c:w val="0.93217365525092488"/>
          <c:h val="0.7480492068153641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>
              <a:solidFill>
                <a:schemeClr val="tx2"/>
              </a:solidFill>
              <a:prstDash val="dash"/>
            </a:ln>
          </c:spPr>
        </c:serLines>
        <c:axId val="440486120"/>
        <c:axId val="440486512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86904"/>
        <c:axId val="440487296"/>
      </c:lineChart>
      <c:catAx>
        <c:axId val="440486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865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865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6120"/>
        <c:crosses val="autoZero"/>
        <c:crossBetween val="between"/>
      </c:valAx>
      <c:catAx>
        <c:axId val="4404869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87296"/>
        <c:crosses val="autoZero"/>
        <c:auto val="1"/>
        <c:lblAlgn val="ctr"/>
        <c:lblOffset val="100"/>
        <c:noMultiLvlLbl val="0"/>
      </c:catAx>
      <c:valAx>
        <c:axId val="44048729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6904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35481655598952594"/>
          <c:y val="2.5656190706478672E-3"/>
          <c:w val="0.64184936587807473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23E-2"/>
          <c:y val="0.1299747496919402"/>
          <c:w val="0.93217365525092488"/>
          <c:h val="0.748049206815364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88080"/>
        <c:axId val="440488472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88864"/>
        <c:axId val="440489256"/>
      </c:lineChart>
      <c:catAx>
        <c:axId val="44048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8847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88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8080"/>
        <c:crosses val="autoZero"/>
        <c:crossBetween val="between"/>
      </c:valAx>
      <c:catAx>
        <c:axId val="440488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89256"/>
        <c:crosses val="autoZero"/>
        <c:auto val="1"/>
        <c:lblAlgn val="ctr"/>
        <c:lblOffset val="100"/>
        <c:noMultiLvlLbl val="0"/>
      </c:catAx>
      <c:valAx>
        <c:axId val="440489256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88864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35481655598952605"/>
          <c:y val="2.5656190706478672E-3"/>
          <c:w val="0.64184936587807484"/>
          <c:h val="8.100558659217876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23E-2"/>
          <c:y val="0.1299747496919402"/>
          <c:w val="0.93217365525092488"/>
          <c:h val="0.698049212598427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90432"/>
        <c:axId val="440490824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91216"/>
        <c:axId val="440491608"/>
      </c:lineChart>
      <c:catAx>
        <c:axId val="440490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908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908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0432"/>
        <c:crosses val="autoZero"/>
        <c:crossBetween val="between"/>
      </c:valAx>
      <c:catAx>
        <c:axId val="44049121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91608"/>
        <c:crosses val="autoZero"/>
        <c:auto val="1"/>
        <c:lblAlgn val="ctr"/>
        <c:lblOffset val="100"/>
        <c:noMultiLvlLbl val="0"/>
      </c:catAx>
      <c:valAx>
        <c:axId val="44049160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1216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54099836793128131"/>
          <c:y val="2.5656190706478672E-3"/>
          <c:w val="0.45566763063707943"/>
          <c:h val="7.4755413385826877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36E-2"/>
          <c:y val="0.1299747496919402"/>
          <c:w val="0.93217365525092488"/>
          <c:h val="0.6980492125984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92392"/>
        <c:axId val="440492784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93176"/>
        <c:axId val="440493568"/>
      </c:lineChart>
      <c:catAx>
        <c:axId val="440492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9278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927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2392"/>
        <c:crosses val="autoZero"/>
        <c:crossBetween val="between"/>
      </c:valAx>
      <c:catAx>
        <c:axId val="440493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93568"/>
        <c:crosses val="autoZero"/>
        <c:auto val="1"/>
        <c:lblAlgn val="ctr"/>
        <c:lblOffset val="100"/>
        <c:noMultiLvlLbl val="0"/>
      </c:catAx>
      <c:valAx>
        <c:axId val="44049356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3176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54099836793128131"/>
          <c:y val="2.5656190706478672E-3"/>
          <c:w val="0.45566763063707943"/>
          <c:h val="7.4755413385826891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36E-2"/>
          <c:y val="0.1299747496919402"/>
          <c:w val="0.93217365525092488"/>
          <c:h val="0.6980492125984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0494352"/>
        <c:axId val="440494744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0495136"/>
        <c:axId val="440495528"/>
      </c:lineChart>
      <c:catAx>
        <c:axId val="440494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04947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0494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4352"/>
        <c:crosses val="autoZero"/>
        <c:crossBetween val="between"/>
      </c:valAx>
      <c:catAx>
        <c:axId val="440495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0495528"/>
        <c:crosses val="autoZero"/>
        <c:auto val="1"/>
        <c:lblAlgn val="ctr"/>
        <c:lblOffset val="100"/>
        <c:noMultiLvlLbl val="0"/>
      </c:catAx>
      <c:valAx>
        <c:axId val="44049552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0495136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54099836793128131"/>
          <c:y val="2.5656190706478672E-3"/>
          <c:w val="0.45566763063707943"/>
          <c:h val="7.4755413385826891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93814628593243E-2"/>
          <c:y val="0.1299747496919402"/>
          <c:w val="0.93217365525092488"/>
          <c:h val="0.6980492125984283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1717256"/>
        <c:axId val="441717648"/>
      </c:barChart>
      <c:lineChart>
        <c:grouping val="standard"/>
        <c:varyColors val="0"/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96.9</c:v>
                </c:pt>
                <c:pt idx="1">
                  <c:v>112.9</c:v>
                </c:pt>
                <c:pt idx="2">
                  <c:v>169.6</c:v>
                </c:pt>
                <c:pt idx="3">
                  <c:v>95.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1718040"/>
        <c:axId val="441718432"/>
      </c:lineChart>
      <c:catAx>
        <c:axId val="441717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176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17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1717256"/>
        <c:crosses val="autoZero"/>
        <c:crossBetween val="between"/>
      </c:valAx>
      <c:catAx>
        <c:axId val="4417180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1718432"/>
        <c:crosses val="autoZero"/>
        <c:auto val="1"/>
        <c:lblAlgn val="ctr"/>
        <c:lblOffset val="100"/>
        <c:noMultiLvlLbl val="0"/>
      </c:catAx>
      <c:valAx>
        <c:axId val="441718432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1718040"/>
        <c:crosses val="max"/>
        <c:crossBetween val="between"/>
      </c:valAx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54099836793128131"/>
          <c:y val="2.5656190706478672E-3"/>
          <c:w val="0.45566763063707943"/>
          <c:h val="7.475541338582690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7202295552381E-3"/>
          <c:y val="7.6408196519367325E-2"/>
          <c:w val="0.99856527977044185"/>
          <c:h val="0.8067215285548349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1719608"/>
        <c:axId val="441720000"/>
      </c:barChart>
      <c:catAx>
        <c:axId val="441719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200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200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441719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4265892845213046"/>
          <c:y val="1.2205437103036717E-3"/>
          <c:w val="0.35734101136531032"/>
          <c:h val="4.8487166160335618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653295128939988E-3"/>
          <c:y val="8.765346896547474E-2"/>
          <c:w val="0.99856733524355257"/>
          <c:h val="0.703813352992559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xxx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</c:numCache>
            </c:numRef>
          </c:cat>
          <c:val>
            <c:numRef>
              <c:f>Sheet1!$B$2:$B$14</c:f>
              <c:numCache>
                <c:formatCode>General</c:formatCode>
                <c:ptCount val="13"/>
                <c:pt idx="1">
                  <c:v>20</c:v>
                </c:pt>
                <c:pt idx="2">
                  <c:v>30</c:v>
                </c:pt>
                <c:pt idx="4">
                  <c:v>30</c:v>
                </c:pt>
                <c:pt idx="5">
                  <c:v>40</c:v>
                </c:pt>
                <c:pt idx="7">
                  <c:v>40</c:v>
                </c:pt>
                <c:pt idx="8">
                  <c:v>50</c:v>
                </c:pt>
                <c:pt idx="10">
                  <c:v>50</c:v>
                </c:pt>
                <c:pt idx="11">
                  <c:v>6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yyy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9"/>
              <c:layout>
                <c:manualLayout>
                  <c:x val="3.5465213493483289E-3"/>
                  <c:y val="-2.855955630896506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</c:numCache>
            </c:numRef>
          </c:cat>
          <c:val>
            <c:numRef>
              <c:f>Sheet1!$C$2:$C$14</c:f>
              <c:numCache>
                <c:formatCode>General</c:formatCode>
                <c:ptCount val="13"/>
                <c:pt idx="1">
                  <c:v>25</c:v>
                </c:pt>
                <c:pt idx="2">
                  <c:v>25</c:v>
                </c:pt>
                <c:pt idx="4">
                  <c:v>25</c:v>
                </c:pt>
                <c:pt idx="5">
                  <c:v>25</c:v>
                </c:pt>
                <c:pt idx="7">
                  <c:v>25</c:v>
                </c:pt>
                <c:pt idx="8">
                  <c:v>25</c:v>
                </c:pt>
                <c:pt idx="10">
                  <c:v>25</c:v>
                </c:pt>
                <c:pt idx="11">
                  <c:v>2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zzz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</c:numCache>
            </c:numRef>
          </c:cat>
          <c:val>
            <c:numRef>
              <c:f>Sheet1!$D$2:$D$14</c:f>
              <c:numCache>
                <c:formatCode>General</c:formatCode>
                <c:ptCount val="13"/>
                <c:pt idx="1">
                  <c:v>20</c:v>
                </c:pt>
                <c:pt idx="2">
                  <c:v>20</c:v>
                </c:pt>
                <c:pt idx="4">
                  <c:v>30</c:v>
                </c:pt>
                <c:pt idx="5">
                  <c:v>30</c:v>
                </c:pt>
                <c:pt idx="7">
                  <c:v>40</c:v>
                </c:pt>
                <c:pt idx="8">
                  <c:v>40</c:v>
                </c:pt>
                <c:pt idx="10">
                  <c:v>50</c:v>
                </c:pt>
                <c:pt idx="1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441720784"/>
        <c:axId val="441721176"/>
      </c:barChart>
      <c:catAx>
        <c:axId val="44172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211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211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417207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58051629418063855"/>
          <c:y val="2.0557397545807243E-3"/>
          <c:w val="0.4169054441260745"/>
          <c:h val="7.77479892761394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347202295552381E-3"/>
          <c:y val="5.027932960893855E-2"/>
          <c:w val="0.99856527977044196"/>
          <c:h val="0.7793296089385515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ast</c:v>
                </c:pt>
                <c:pt idx="1">
                  <c:v>West</c:v>
                </c:pt>
                <c:pt idx="2">
                  <c:v>Subtotal</c:v>
                </c:pt>
                <c:pt idx="3">
                  <c:v>South</c:v>
                </c:pt>
                <c:pt idx="4">
                  <c:v>Total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50</c:v>
                </c:pt>
                <c:pt idx="3">
                  <c:v>7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77611940298507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1119402985074625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2835820895522392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1156716417910447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3582089552238810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East</c:v>
                </c:pt>
                <c:pt idx="1">
                  <c:v>West</c:v>
                </c:pt>
                <c:pt idx="2">
                  <c:v>Subtotal</c:v>
                </c:pt>
                <c:pt idx="3">
                  <c:v>South</c:v>
                </c:pt>
                <c:pt idx="4">
                  <c:v>Total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50</c:v>
                </c:pt>
                <c:pt idx="1">
                  <c:v>25</c:v>
                </c:pt>
                <c:pt idx="2">
                  <c:v>75</c:v>
                </c:pt>
                <c:pt idx="3">
                  <c:v>25</c:v>
                </c:pt>
                <c:pt idx="4">
                  <c:v>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441721960"/>
        <c:axId val="441722352"/>
      </c:barChart>
      <c:lineChart>
        <c:grouping val="standard"/>
        <c:varyColors val="0"/>
        <c:ser>
          <c:idx val="6"/>
          <c:order val="2"/>
          <c:tx>
            <c:strRef>
              <c:f>Sheet1!$H$1</c:f>
              <c:strCache>
                <c:ptCount val="1"/>
              </c:strCache>
            </c:strRef>
          </c:tx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East</c:v>
                </c:pt>
                <c:pt idx="1">
                  <c:v>West</c:v>
                </c:pt>
                <c:pt idx="2">
                  <c:v>Subtotal</c:v>
                </c:pt>
                <c:pt idx="3">
                  <c:v>South</c:v>
                </c:pt>
                <c:pt idx="4">
                  <c:v>Total</c:v>
                </c:pt>
              </c:strCache>
            </c:strRef>
          </c:cat>
          <c:val>
            <c:numRef>
              <c:f>Sheet1!$H$2:$H$6</c:f>
              <c:numCache>
                <c:formatCode>General</c:formatCode>
                <c:ptCount val="5"/>
                <c:pt idx="3">
                  <c:v>1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1721960"/>
        <c:axId val="441722352"/>
      </c:lineChart>
      <c:catAx>
        <c:axId val="441721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223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223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41721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04801920768341E-3"/>
          <c:y val="4.9627791563275438E-2"/>
          <c:w val="0.99879951980792259"/>
          <c:h val="0.791563275434240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noFill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Subtotal</c:v>
                </c:pt>
                <c:pt idx="5">
                  <c:v>Label 5</c:v>
                </c:pt>
                <c:pt idx="6">
                  <c:v>Label 6</c:v>
                </c:pt>
                <c:pt idx="7">
                  <c:v>Label 7</c:v>
                </c:pt>
                <c:pt idx="8">
                  <c:v>Label 8</c:v>
                </c:pt>
                <c:pt idx="9">
                  <c:v>Total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1">
                  <c:v>20</c:v>
                </c:pt>
                <c:pt idx="2">
                  <c:v>50</c:v>
                </c:pt>
                <c:pt idx="3">
                  <c:v>85</c:v>
                </c:pt>
                <c:pt idx="5">
                  <c:v>100</c:v>
                </c:pt>
                <c:pt idx="6">
                  <c:v>130</c:v>
                </c:pt>
                <c:pt idx="7">
                  <c:v>150</c:v>
                </c:pt>
                <c:pt idx="8">
                  <c:v>18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Lbls>
            <c:dLbl>
              <c:idx val="4"/>
              <c:layout>
                <c:manualLayout>
                  <c:x val="0"/>
                  <c:y val="-0.18889809444904748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0.34797017398508773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Subtotal</c:v>
                </c:pt>
                <c:pt idx="5">
                  <c:v>Label 5</c:v>
                </c:pt>
                <c:pt idx="6">
                  <c:v>Label 6</c:v>
                </c:pt>
                <c:pt idx="7">
                  <c:v>Label 7</c:v>
                </c:pt>
                <c:pt idx="8">
                  <c:v>Label 8</c:v>
                </c:pt>
                <c:pt idx="9">
                  <c:v>Total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30</c:v>
                </c:pt>
                <c:pt idx="2">
                  <c:v>35</c:v>
                </c:pt>
                <c:pt idx="3">
                  <c:v>15</c:v>
                </c:pt>
                <c:pt idx="4">
                  <c:v>100</c:v>
                </c:pt>
                <c:pt idx="5">
                  <c:v>30</c:v>
                </c:pt>
                <c:pt idx="6">
                  <c:v>20</c:v>
                </c:pt>
                <c:pt idx="7">
                  <c:v>35</c:v>
                </c:pt>
                <c:pt idx="8">
                  <c:v>15</c:v>
                </c:pt>
                <c:pt idx="9">
                  <c:v>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98026120"/>
        <c:axId val="398026512"/>
      </c:barChart>
      <c:catAx>
        <c:axId val="398026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65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0265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3980261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04801920768341E-3"/>
          <c:y val="4.9627791563275438E-2"/>
          <c:w val="0.99879951980792259"/>
          <c:h val="0.791563275434240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noFill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Subtotal</c:v>
                </c:pt>
                <c:pt idx="5">
                  <c:v>Label 5</c:v>
                </c:pt>
                <c:pt idx="6">
                  <c:v>Label 6</c:v>
                </c:pt>
                <c:pt idx="7">
                  <c:v>Label 7</c:v>
                </c:pt>
                <c:pt idx="8">
                  <c:v>Label 8</c:v>
                </c:pt>
                <c:pt idx="9">
                  <c:v>Total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1">
                  <c:v>20</c:v>
                </c:pt>
                <c:pt idx="2">
                  <c:v>50</c:v>
                </c:pt>
                <c:pt idx="3">
                  <c:v>85</c:v>
                </c:pt>
                <c:pt idx="5">
                  <c:v>100</c:v>
                </c:pt>
                <c:pt idx="6">
                  <c:v>130</c:v>
                </c:pt>
                <c:pt idx="7">
                  <c:v>150</c:v>
                </c:pt>
                <c:pt idx="8">
                  <c:v>18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Lbls>
            <c:dLbl>
              <c:idx val="4"/>
              <c:layout>
                <c:manualLayout>
                  <c:x val="0"/>
                  <c:y val="-0.18889809444904748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-0.34797017398508773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Subtotal</c:v>
                </c:pt>
                <c:pt idx="5">
                  <c:v>Label 5</c:v>
                </c:pt>
                <c:pt idx="6">
                  <c:v>Label 6</c:v>
                </c:pt>
                <c:pt idx="7">
                  <c:v>Label 7</c:v>
                </c:pt>
                <c:pt idx="8">
                  <c:v>Label 8</c:v>
                </c:pt>
                <c:pt idx="9">
                  <c:v>Total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20</c:v>
                </c:pt>
                <c:pt idx="1">
                  <c:v>30</c:v>
                </c:pt>
                <c:pt idx="2">
                  <c:v>35</c:v>
                </c:pt>
                <c:pt idx="3">
                  <c:v>15</c:v>
                </c:pt>
                <c:pt idx="4">
                  <c:v>100</c:v>
                </c:pt>
                <c:pt idx="5">
                  <c:v>30</c:v>
                </c:pt>
                <c:pt idx="6">
                  <c:v>20</c:v>
                </c:pt>
                <c:pt idx="7">
                  <c:v>35</c:v>
                </c:pt>
                <c:pt idx="8">
                  <c:v>15</c:v>
                </c:pt>
                <c:pt idx="9">
                  <c:v>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41723136"/>
        <c:axId val="441723528"/>
      </c:barChart>
      <c:catAx>
        <c:axId val="441723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235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235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441723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938"/>
          <c:y val="0.20310927148707941"/>
          <c:w val="0.46558011147483075"/>
          <c:h val="0.59762125831737545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711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915"/>
          <c:y val="0.20310927148707941"/>
          <c:w val="0.46558011147483053"/>
          <c:h val="0.59762125831737523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659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904"/>
          <c:y val="0.20310927148707941"/>
          <c:w val="0.46558011147483047"/>
          <c:h val="0.59762125831737511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642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876"/>
          <c:y val="0.20310927148707941"/>
          <c:w val="0.46558011147483025"/>
          <c:h val="0.59762125831737478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72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888"/>
          <c:y val="0.20310927148707941"/>
          <c:w val="0.46558011147483036"/>
          <c:h val="0.59762125831737489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89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421286384145893"/>
          <c:y val="0.20310927148707941"/>
          <c:w val="0.46558011147483042"/>
          <c:h val="0.597621258317375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624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66218408092284"/>
          <c:y val="0.20565218023308635"/>
          <c:w val="0.38468135303311807"/>
          <c:h val="0.5925349865722781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37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66218408092289"/>
          <c:y val="0.20565218023308635"/>
          <c:w val="0.38468135303311807"/>
          <c:h val="0.59253498657227799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55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66218408092289"/>
          <c:y val="0.20565218023308635"/>
          <c:w val="0.38468135303311807"/>
          <c:h val="0.59253498657227799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55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37062937062943E-2"/>
          <c:y val="0.12400879665322739"/>
          <c:w val="0.86993006993006949"/>
          <c:h val="0.76587884379621085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eft axis line</c:v>
                </c:pt>
              </c:strCache>
            </c:strRef>
          </c:tx>
          <c:marker>
            <c:symbol val="square"/>
            <c:size val="5"/>
          </c:marker>
          <c:dLbls>
            <c:dLbl>
              <c:idx val="7"/>
              <c:layout>
                <c:manualLayout>
                  <c:x val="-2.8310991957104549E-2"/>
                  <c:y val="4.57463884430176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30</c:v>
                </c:pt>
                <c:pt idx="2">
                  <c:v>45</c:v>
                </c:pt>
                <c:pt idx="3">
                  <c:v>70</c:v>
                </c:pt>
                <c:pt idx="4">
                  <c:v>85</c:v>
                </c:pt>
                <c:pt idx="5">
                  <c:v>100</c:v>
                </c:pt>
                <c:pt idx="6">
                  <c:v>150</c:v>
                </c:pt>
                <c:pt idx="7">
                  <c:v>1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8027688"/>
        <c:axId val="398028080"/>
      </c:line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Right axis line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550</c:v>
                </c:pt>
                <c:pt idx="1">
                  <c:v>575</c:v>
                </c:pt>
                <c:pt idx="2">
                  <c:v>580</c:v>
                </c:pt>
                <c:pt idx="3">
                  <c:v>610</c:v>
                </c:pt>
                <c:pt idx="4">
                  <c:v>650</c:v>
                </c:pt>
                <c:pt idx="5">
                  <c:v>800</c:v>
                </c:pt>
                <c:pt idx="6">
                  <c:v>875</c:v>
                </c:pt>
                <c:pt idx="7">
                  <c:v>9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8258256"/>
        <c:axId val="398258648"/>
      </c:lineChart>
      <c:catAx>
        <c:axId val="398027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02808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398028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solidFill>
              <a:schemeClr val="bg1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98027688"/>
        <c:crosses val="autoZero"/>
        <c:crossBetween val="between"/>
      </c:valAx>
      <c:catAx>
        <c:axId val="3982582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398258648"/>
        <c:crosses val="autoZero"/>
        <c:auto val="0"/>
        <c:lblAlgn val="ctr"/>
        <c:lblOffset val="100"/>
        <c:noMultiLvlLbl val="0"/>
      </c:catAx>
      <c:valAx>
        <c:axId val="398258648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none"/>
        <c:spPr>
          <a:ln>
            <a:noFill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398258256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64693096338828993"/>
          <c:y val="2.3343629623618972E-3"/>
          <c:w val="0.34653311097506911"/>
          <c:h val="4.538365288608588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66218408092295"/>
          <c:y val="0.20565218023308635"/>
          <c:w val="0.38468135303311807"/>
          <c:h val="0.59253498657227788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9525">
              <a:solidFill>
                <a:schemeClr val="bg1"/>
              </a:solidFill>
            </a:ln>
          </c:spPr>
          <c:dPt>
            <c:idx val="2"/>
            <c:bubble3D val="0"/>
            <c:spPr>
              <a:solidFill>
                <a:schemeClr val="accent3"/>
              </a:solidFill>
              <a:ln w="9525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tx2"/>
              </a:solidFill>
              <a:ln w="9525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4"/>
              </a:solidFill>
              <a:ln w="9525"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566575245510134E-2"/>
                  <c:y val="-9.0232831959066572E-3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B$1:$G$1</c:f>
              <c:strCache>
                <c:ptCount val="6"/>
                <c:pt idx="0">
                  <c:v>segmento 1</c:v>
                </c:pt>
                <c:pt idx="1">
                  <c:v>segmento 2</c:v>
                </c:pt>
                <c:pt idx="2">
                  <c:v>segmento 3</c:v>
                </c:pt>
                <c:pt idx="3">
                  <c:v>segmento 4</c:v>
                </c:pt>
                <c:pt idx="4">
                  <c:v>segmento 5</c:v>
                </c:pt>
                <c:pt idx="5">
                  <c:v>segmento 6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  <c:pt idx="5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2165604608698"/>
          <c:y val="3.4285714285714454E-2"/>
          <c:w val="0.85522801293531792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1729408"/>
        <c:axId val="441729800"/>
      </c:barChart>
      <c:catAx>
        <c:axId val="4417294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298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2980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1729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95294791594641"/>
          <c:y val="3.4285714285714454E-2"/>
          <c:w val="0.79816710621304576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1730584"/>
        <c:axId val="441730976"/>
      </c:barChart>
      <c:catAx>
        <c:axId val="4417305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309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309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17305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795298638713115"/>
          <c:y val="3.4285714285714454E-2"/>
          <c:w val="0.7981670570544166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1731760"/>
        <c:axId val="441732152"/>
      </c:barChart>
      <c:catAx>
        <c:axId val="4417317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17321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17321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17317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69612191038218"/>
          <c:y val="3.4285714285714454E-2"/>
          <c:w val="0.69864960555495093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1732936"/>
        <c:axId val="442864176"/>
      </c:barChart>
      <c:catAx>
        <c:axId val="4417329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641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641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17329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69612191038218"/>
          <c:y val="3.4285714285714461E-2"/>
          <c:w val="0.69864960555495104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64960"/>
        <c:axId val="442865352"/>
      </c:barChart>
      <c:catAx>
        <c:axId val="4428649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653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653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64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69612191038218"/>
          <c:y val="3.4285714285714468E-2"/>
          <c:w val="0.69864960555495115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66136"/>
        <c:axId val="442866528"/>
      </c:barChart>
      <c:catAx>
        <c:axId val="4428661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665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6652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66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34188034188041"/>
          <c:y val="6.4935064935065191E-3"/>
          <c:w val="0.83974358974359065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axId val="442867704"/>
        <c:axId val="442868096"/>
      </c:barChart>
      <c:catAx>
        <c:axId val="4428677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6809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6809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67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34188034188041"/>
          <c:y val="6.49350649350652E-3"/>
          <c:w val="0.83974358974359065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axId val="442868880"/>
        <c:axId val="442869272"/>
      </c:barChart>
      <c:catAx>
        <c:axId val="4428688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6927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6927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68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34188034188041"/>
          <c:y val="6.49350649350652E-3"/>
          <c:w val="0.83974358974359065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axId val="442870056"/>
        <c:axId val="442870448"/>
      </c:barChart>
      <c:catAx>
        <c:axId val="4428700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04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044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70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93353039072034"/>
          <c:y val="8.3951296918830728E-2"/>
          <c:w val="0.7911493082292157"/>
          <c:h val="0.8657142857142857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0.0</c:formatCode>
                <c:ptCount val="4"/>
                <c:pt idx="0">
                  <c:v>90</c:v>
                </c:pt>
                <c:pt idx="1">
                  <c:v>35</c:v>
                </c:pt>
                <c:pt idx="2">
                  <c:v>25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0.0</c:formatCode>
                <c:ptCount val="4"/>
                <c:pt idx="0">
                  <c:v>34.6</c:v>
                </c:pt>
                <c:pt idx="1">
                  <c:v>42.8</c:v>
                </c:pt>
                <c:pt idx="2">
                  <c:v>31.6</c:v>
                </c:pt>
                <c:pt idx="3">
                  <c:v>30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0.0</c:formatCode>
                <c:ptCount val="4"/>
                <c:pt idx="0">
                  <c:v>45</c:v>
                </c:pt>
                <c:pt idx="1">
                  <c:v>46.9</c:v>
                </c:pt>
                <c:pt idx="2">
                  <c:v>43.9</c:v>
                </c:pt>
                <c:pt idx="3">
                  <c:v>4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398259432"/>
        <c:axId val="398259824"/>
      </c:barChart>
      <c:catAx>
        <c:axId val="3982594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2598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259824"/>
        <c:scaling>
          <c:orientation val="minMax"/>
        </c:scaling>
        <c:delete val="0"/>
        <c:axPos val="t"/>
        <c:numFmt formatCode="0.0" sourceLinked="1"/>
        <c:majorTickMark val="out"/>
        <c:minorTickMark val="none"/>
        <c:tickLblPos val="none"/>
        <c:spPr>
          <a:ln>
            <a:noFill/>
          </a:ln>
        </c:spPr>
        <c:crossAx val="3982594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0835688914280149"/>
          <c:y val="3.0945558739255102E-3"/>
          <c:w val="0.58628841607565008"/>
          <c:h val="6.857142857142857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34188034188041"/>
          <c:y val="6.4935064935065217E-3"/>
          <c:w val="0.83974358974359065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axId val="442871232"/>
        <c:axId val="442871624"/>
      </c:barChart>
      <c:catAx>
        <c:axId val="4428712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16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162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28712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93353039072034"/>
          <c:y val="8.3951296918830728E-2"/>
          <c:w val="0.7911493082292157"/>
          <c:h val="0.8657142857142857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E$2</c:f>
              <c:numCache>
                <c:formatCode>0.0</c:formatCode>
                <c:ptCount val="4"/>
                <c:pt idx="0">
                  <c:v>90</c:v>
                </c:pt>
                <c:pt idx="1">
                  <c:v>35</c:v>
                </c:pt>
                <c:pt idx="2">
                  <c:v>25</c:v>
                </c:pt>
                <c:pt idx="3">
                  <c:v>20.3999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3:$E$3</c:f>
              <c:numCache>
                <c:formatCode>0.0</c:formatCode>
                <c:ptCount val="4"/>
                <c:pt idx="0">
                  <c:v>34.6</c:v>
                </c:pt>
                <c:pt idx="1">
                  <c:v>42.8</c:v>
                </c:pt>
                <c:pt idx="2">
                  <c:v>31.6</c:v>
                </c:pt>
                <c:pt idx="3">
                  <c:v>30.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4:$E$4</c:f>
              <c:numCache>
                <c:formatCode>0.0</c:formatCode>
                <c:ptCount val="4"/>
                <c:pt idx="0">
                  <c:v>45</c:v>
                </c:pt>
                <c:pt idx="1">
                  <c:v>46.9</c:v>
                </c:pt>
                <c:pt idx="2">
                  <c:v>43.9</c:v>
                </c:pt>
                <c:pt idx="3">
                  <c:v>4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2872800"/>
        <c:axId val="442873192"/>
      </c:barChart>
      <c:catAx>
        <c:axId val="4428728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319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3192"/>
        <c:scaling>
          <c:orientation val="minMax"/>
        </c:scaling>
        <c:delete val="0"/>
        <c:axPos val="t"/>
        <c:numFmt formatCode="0.0" sourceLinked="1"/>
        <c:majorTickMark val="out"/>
        <c:minorTickMark val="none"/>
        <c:tickLblPos val="none"/>
        <c:spPr>
          <a:ln>
            <a:noFill/>
          </a:ln>
        </c:spPr>
        <c:crossAx val="44287280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0835688914280149"/>
          <c:y val="3.0945558739255102E-3"/>
          <c:w val="0.58628841607565008"/>
          <c:h val="6.857142857142857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2426786557043"/>
          <c:y val="8.3951296918830728E-2"/>
          <c:w val="0.78484015996423151"/>
          <c:h val="0.865714285714285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43.9</c:v>
                </c:pt>
                <c:pt idx="2">
                  <c:v>45.9</c:v>
                </c:pt>
                <c:pt idx="3">
                  <c:v>38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6.9</c:v>
                </c:pt>
                <c:pt idx="1">
                  <c:v>34.6</c:v>
                </c:pt>
                <c:pt idx="2">
                  <c:v>30.6</c:v>
                </c:pt>
                <c:pt idx="3">
                  <c:v>20.39999999999999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5</c:v>
                </c:pt>
                <c:pt idx="1">
                  <c:v>31.6</c:v>
                </c:pt>
                <c:pt idx="2">
                  <c:v>27.4</c:v>
                </c:pt>
                <c:pt idx="3">
                  <c:v>20.3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73976"/>
        <c:axId val="442874368"/>
      </c:barChart>
      <c:catAx>
        <c:axId val="4428739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43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436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28739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0835688914280149"/>
          <c:y val="3.0945558739255102E-3"/>
          <c:w val="0.58628841607565008"/>
          <c:h val="7.428571428571430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78207641480073"/>
          <c:y val="0.1582418773527528"/>
          <c:w val="0.8529642152030773"/>
          <c:h val="0.7417581740173917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.8</c:v>
                </c:pt>
                <c:pt idx="3">
                  <c:v>43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2875152"/>
        <c:axId val="442875544"/>
      </c:barChart>
      <c:catAx>
        <c:axId val="4428751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554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554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4428751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2294569669043287"/>
          <c:y val="2.3733006756201412E-4"/>
          <c:w val="0.37462235649546832"/>
          <c:h val="8.2857142857143046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422343324250691E-2"/>
          <c:y val="3.4285714285714454E-2"/>
          <c:w val="0.91825613079019053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76328"/>
        <c:axId val="442876720"/>
      </c:barChart>
      <c:catAx>
        <c:axId val="4428763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672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672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28763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247956403269992E-3"/>
          <c:y val="3.4285714285714454E-2"/>
          <c:w val="0.91825613079019053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0</c:v>
                </c:pt>
                <c:pt idx="1">
                  <c:v>35</c:v>
                </c:pt>
                <c:pt idx="2">
                  <c:v>30</c:v>
                </c:pt>
                <c:pt idx="3">
                  <c:v>25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77504"/>
        <c:axId val="442877896"/>
      </c:barChart>
      <c:catAx>
        <c:axId val="442877504"/>
        <c:scaling>
          <c:orientation val="maxMin"/>
        </c:scaling>
        <c:delete val="0"/>
        <c:axPos val="r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789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7896"/>
        <c:scaling>
          <c:orientation val="maxMin"/>
          <c:max val="60"/>
          <c:min val="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28775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247956403269992E-3"/>
          <c:y val="3.4285714285714454E-2"/>
          <c:w val="0.95095367847411716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-40</c:v>
                </c:pt>
                <c:pt idx="1">
                  <c:v>-35</c:v>
                </c:pt>
                <c:pt idx="2">
                  <c:v>-30</c:v>
                </c:pt>
                <c:pt idx="3">
                  <c:v>-25</c:v>
                </c:pt>
                <c:pt idx="4">
                  <c:v>-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2879072"/>
        <c:axId val="442879464"/>
      </c:barChart>
      <c:catAx>
        <c:axId val="4428790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28794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2879464"/>
        <c:scaling>
          <c:orientation val="minMax"/>
          <c:min val="-6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2879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422343324250691E-2"/>
          <c:y val="3.4285714285714454E-2"/>
          <c:w val="0.91825613079019053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50</c:v>
                </c:pt>
                <c:pt idx="1">
                  <c:v>40</c:v>
                </c:pt>
                <c:pt idx="2">
                  <c:v>30</c:v>
                </c:pt>
                <c:pt idx="3">
                  <c:v>20</c:v>
                </c:pt>
                <c:pt idx="4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69840"/>
        <c:axId val="444470232"/>
      </c:barChart>
      <c:catAx>
        <c:axId val="4444698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02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023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4444698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67160161507409"/>
          <c:y val="3.4285714285714454E-2"/>
          <c:w val="0.85733512786002697"/>
          <c:h val="0.9428571428571425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Vendedor x</c:v>
                </c:pt>
                <c:pt idx="1">
                  <c:v>Vendedor x</c:v>
                </c:pt>
                <c:pt idx="2">
                  <c:v>Vendedor x</c:v>
                </c:pt>
                <c:pt idx="3">
                  <c:v>Vendedor x</c:v>
                </c:pt>
                <c:pt idx="4">
                  <c:v>Vendedor x</c:v>
                </c:pt>
                <c:pt idx="5">
                  <c:v>Vendedor x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0</c:v>
                </c:pt>
                <c:pt idx="1">
                  <c:v>50</c:v>
                </c:pt>
                <c:pt idx="2">
                  <c:v>40</c:v>
                </c:pt>
                <c:pt idx="3">
                  <c:v>-30</c:v>
                </c:pt>
                <c:pt idx="4">
                  <c:v>-20</c:v>
                </c:pt>
                <c:pt idx="5">
                  <c:v>-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71408"/>
        <c:axId val="444471800"/>
      </c:barChart>
      <c:catAx>
        <c:axId val="4444714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44471800"/>
        <c:crosses val="autoZero"/>
        <c:auto val="1"/>
        <c:lblAlgn val="ctr"/>
        <c:lblOffset val="120"/>
        <c:tickLblSkip val="1"/>
        <c:tickMarkSkip val="1"/>
        <c:noMultiLvlLbl val="0"/>
      </c:catAx>
      <c:valAx>
        <c:axId val="44447180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1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00321027287339E-2"/>
          <c:y val="0.12106425622133088"/>
          <c:w val="0.77528089887640461"/>
          <c:h val="0.85607871337232566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% importaçã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-0.17523348555450308"/>
                  <c:y val="-8.0422723877072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3934372013408158"/>
                  <c:y val="-8.042229454142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2738040874543241"/>
                  <c:y val="-8.042186520578026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0505892240473089"/>
                  <c:y val="-1.089958697910860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7.952733193636273E-2"/>
                  <c:y val="-5.185258331258141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6395860908515846E-2"/>
                  <c:y val="-1.089950111197920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_);#,##0" sourceLinked="0"/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aís</c:v>
                </c:pt>
                <c:pt idx="1">
                  <c:v>País</c:v>
                </c:pt>
                <c:pt idx="2">
                  <c:v>País</c:v>
                </c:pt>
                <c:pt idx="3">
                  <c:v>País</c:v>
                </c:pt>
                <c:pt idx="4">
                  <c:v>País</c:v>
                </c:pt>
                <c:pt idx="5">
                  <c:v>Paí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-65</c:v>
                </c:pt>
                <c:pt idx="1">
                  <c:v>-50</c:v>
                </c:pt>
                <c:pt idx="2">
                  <c:v>-45</c:v>
                </c:pt>
                <c:pt idx="3">
                  <c:v>-35</c:v>
                </c:pt>
                <c:pt idx="4">
                  <c:v>-25</c:v>
                </c:pt>
                <c:pt idx="5">
                  <c:v>-5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% exportação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dLbl>
              <c:idx val="0"/>
              <c:layout>
                <c:manualLayout>
                  <c:x val="0.15682913301569104"/>
                  <c:y val="8.0422723877072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3129737380179554"/>
                  <c:y val="8.04222945414270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1612378953995153"/>
                  <c:y val="8.0421865205780266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9.3802303199250717E-2"/>
                  <c:y val="1.089958697910860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6.9875849167478479E-2"/>
                  <c:y val="1.089954404554401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4.5949226390179766E-2"/>
                  <c:y val="8.042358254836420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País</c:v>
                </c:pt>
                <c:pt idx="1">
                  <c:v>País</c:v>
                </c:pt>
                <c:pt idx="2">
                  <c:v>País</c:v>
                </c:pt>
                <c:pt idx="3">
                  <c:v>País</c:v>
                </c:pt>
                <c:pt idx="4">
                  <c:v>País</c:v>
                </c:pt>
                <c:pt idx="5">
                  <c:v>País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55</c:v>
                </c:pt>
                <c:pt idx="1">
                  <c:v>45</c:v>
                </c:pt>
                <c:pt idx="2">
                  <c:v>40</c:v>
                </c:pt>
                <c:pt idx="3">
                  <c:v>3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444472584"/>
        <c:axId val="444472976"/>
      </c:barChart>
      <c:catAx>
        <c:axId val="4444725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444729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297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258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014785483092292"/>
          <c:y val="1.1208220965506461E-2"/>
          <c:w val="0.39621652278579328"/>
          <c:h val="6.7719979238771488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2426786557043"/>
          <c:y val="8.3951296918830728E-2"/>
          <c:w val="0.78484015996423151"/>
          <c:h val="0.865714285714285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43.9</c:v>
                </c:pt>
                <c:pt idx="2">
                  <c:v>45.9</c:v>
                </c:pt>
                <c:pt idx="3">
                  <c:v>38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est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6.9</c:v>
                </c:pt>
                <c:pt idx="1">
                  <c:v>34.6</c:v>
                </c:pt>
                <c:pt idx="2">
                  <c:v>30.6</c:v>
                </c:pt>
                <c:pt idx="3">
                  <c:v>20.39999999999999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rth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45</c:v>
                </c:pt>
                <c:pt idx="1">
                  <c:v>31.6</c:v>
                </c:pt>
                <c:pt idx="2">
                  <c:v>27.4</c:v>
                </c:pt>
                <c:pt idx="3">
                  <c:v>20.399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398260608"/>
        <c:axId val="398261000"/>
      </c:barChart>
      <c:catAx>
        <c:axId val="398260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3982610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98261000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98260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40835688914280149"/>
          <c:y val="3.0945558739255102E-3"/>
          <c:w val="0.58628841607565008"/>
          <c:h val="7.428571428571430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37368150379079"/>
          <c:y val="7.2673194184448245E-2"/>
          <c:w val="0.84037261011408615"/>
          <c:h val="0.7958980982625029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  <c:pt idx="5">
                  <c:v>Label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0</c:v>
                </c:pt>
                <c:pt idx="1">
                  <c:v>75</c:v>
                </c:pt>
                <c:pt idx="2">
                  <c:v>45</c:v>
                </c:pt>
                <c:pt idx="3">
                  <c:v>27.4</c:v>
                </c:pt>
                <c:pt idx="4">
                  <c:v>20.399999999999999</c:v>
                </c:pt>
                <c:pt idx="5">
                  <c:v>30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abel 2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  <c:pt idx="5">
                  <c:v>Label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4.6</c:v>
                </c:pt>
                <c:pt idx="1">
                  <c:v>40</c:v>
                </c:pt>
                <c:pt idx="2">
                  <c:v>52.8</c:v>
                </c:pt>
                <c:pt idx="3">
                  <c:v>38.6</c:v>
                </c:pt>
                <c:pt idx="4">
                  <c:v>30</c:v>
                </c:pt>
                <c:pt idx="5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100"/>
        <c:serLines>
          <c:spPr>
            <a:ln>
              <a:solidFill>
                <a:schemeClr val="accent5"/>
              </a:solidFill>
              <a:prstDash val="dash"/>
            </a:ln>
          </c:spPr>
        </c:serLines>
        <c:axId val="444473760"/>
        <c:axId val="444474152"/>
      </c:barChart>
      <c:catAx>
        <c:axId val="4444737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41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41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37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2244172791650765"/>
          <c:y val="0"/>
          <c:w val="0.37462235649546832"/>
          <c:h val="8.2857142857143046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676737160120832E-2"/>
          <c:y val="2.5714285714285714E-2"/>
          <c:w val="0.87160120845921774"/>
          <c:h val="0.87428571428571644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abel 1</c:v>
                </c:pt>
              </c:strCache>
            </c:strRef>
          </c:tx>
          <c:spPr>
            <a:noFill/>
          </c:spPr>
          <c:invertIfNegative val="0"/>
          <c:cat>
            <c:strRef>
              <c:f>Sheet1!$A$2:$A$7</c:f>
              <c:strCache>
                <c:ptCount val="6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  <c:pt idx="5">
                  <c:v>Label 6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90</c:v>
                </c:pt>
                <c:pt idx="1">
                  <c:v>75</c:v>
                </c:pt>
                <c:pt idx="2">
                  <c:v>45</c:v>
                </c:pt>
                <c:pt idx="3">
                  <c:v>27.4</c:v>
                </c:pt>
                <c:pt idx="4">
                  <c:v>20.399999999999999</c:v>
                </c:pt>
                <c:pt idx="5">
                  <c:v>20</c:v>
                </c:pt>
              </c:numCache>
            </c:numRef>
          </c:val>
        </c:ser>
        <c:ser>
          <c:idx val="2"/>
          <c:order val="1"/>
          <c:tx>
            <c:strRef>
              <c:f>Sheet1!$C$1</c:f>
              <c:strCache>
                <c:ptCount val="1"/>
                <c:pt idx="0">
                  <c:v>Label 2</c:v>
                </c:pt>
              </c:strCache>
            </c:strRef>
          </c:tx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Label 1</c:v>
                </c:pt>
                <c:pt idx="1">
                  <c:v>Label 2</c:v>
                </c:pt>
                <c:pt idx="2">
                  <c:v>Label 3</c:v>
                </c:pt>
                <c:pt idx="3">
                  <c:v>Label 4</c:v>
                </c:pt>
                <c:pt idx="4">
                  <c:v>Label 5</c:v>
                </c:pt>
                <c:pt idx="5">
                  <c:v>Label 6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34.6</c:v>
                </c:pt>
                <c:pt idx="1">
                  <c:v>40</c:v>
                </c:pt>
                <c:pt idx="2">
                  <c:v>52.8</c:v>
                </c:pt>
                <c:pt idx="3">
                  <c:v>38.6</c:v>
                </c:pt>
                <c:pt idx="4">
                  <c:v>30</c:v>
                </c:pt>
                <c:pt idx="5">
                  <c:v>4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474936"/>
        <c:axId val="444475328"/>
      </c:barChart>
      <c:catAx>
        <c:axId val="4444749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444475328"/>
        <c:crosses val="min"/>
        <c:auto val="1"/>
        <c:lblAlgn val="ctr"/>
        <c:lblOffset val="100"/>
        <c:tickLblSkip val="1"/>
        <c:tickMarkSkip val="1"/>
        <c:noMultiLvlLbl val="0"/>
      </c:catAx>
      <c:valAx>
        <c:axId val="444475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4936"/>
        <c:crosses val="max"/>
        <c:crossBetween val="between"/>
      </c:valAx>
    </c:plotArea>
    <c:plotVisOnly val="1"/>
    <c:dispBlanksAs val="gap"/>
    <c:showDLblsOverMax val="0"/>
  </c:chart>
  <c:spPr>
    <a:effectLst/>
  </c:spPr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28063147557856E-2"/>
          <c:y val="0.13045902026998987"/>
          <c:w val="0.91737193685244267"/>
          <c:h val="0.7695408760153673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76112"/>
        <c:axId val="444476504"/>
      </c:barChart>
      <c:catAx>
        <c:axId val="4444761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65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650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61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52793180798564376"/>
          <c:y val="2.1414481053409562E-3"/>
          <c:w val="0.46900269541778988"/>
          <c:h val="8.2857142857143046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45274282575156"/>
          <c:y val="0.13089826771653543"/>
          <c:w val="0.82587064676616961"/>
          <c:h val="0.820359281437125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77288"/>
        <c:axId val="444477680"/>
      </c:barChart>
      <c:catAx>
        <c:axId val="4444772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76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768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72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108875925393038"/>
          <c:y val="0"/>
          <c:w val="0.86567164179104472"/>
          <c:h val="8.682634730538989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945274282575157"/>
          <c:y val="0.13089826771653543"/>
          <c:w val="0.82587064676616961"/>
          <c:h val="0.820359281437125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78464"/>
        <c:axId val="444478856"/>
      </c:barChart>
      <c:catAx>
        <c:axId val="444478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7885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78856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84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108875925393038"/>
          <c:y val="0"/>
          <c:w val="0.86567164179104472"/>
          <c:h val="8.682634730538992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852959391312"/>
          <c:y val="0.13089826771653543"/>
          <c:w val="0.77193806953906063"/>
          <c:h val="0.820359281437125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79640"/>
        <c:axId val="444480032"/>
      </c:barChart>
      <c:catAx>
        <c:axId val="4444796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003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003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796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108875925393038"/>
          <c:y val="0"/>
          <c:w val="0.86567164179104472"/>
          <c:h val="8.6826347305389961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852959391312"/>
          <c:y val="0.13089826771653543"/>
          <c:w val="0.77193806953906063"/>
          <c:h val="0.820359281437125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0816"/>
        <c:axId val="444481208"/>
      </c:barChart>
      <c:catAx>
        <c:axId val="44448081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120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120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081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108875925393038"/>
          <c:y val="0"/>
          <c:w val="0.86567164179104472"/>
          <c:h val="8.682634730538998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3852959391312"/>
          <c:y val="0.13089826771653543"/>
          <c:w val="0.77193806953906063"/>
          <c:h val="0.820359281437125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0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th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1.6</c:v>
                </c:pt>
                <c:pt idx="2">
                  <c:v>43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1992"/>
        <c:axId val="444482384"/>
      </c:barChart>
      <c:catAx>
        <c:axId val="4444819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238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238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19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3108875925393038"/>
          <c:y val="0"/>
          <c:w val="0.86567164179104472"/>
          <c:h val="8.6826347305390045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92058294329679"/>
          <c:y val="0.14034893840394524"/>
          <c:w val="0.79691981926212185"/>
          <c:h val="0.824563826995068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8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3560"/>
        <c:axId val="444483952"/>
      </c:barChart>
      <c:catAx>
        <c:axId val="4444835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395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395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35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1371411645644691E-2"/>
          <c:y val="4.9624953378182369E-3"/>
          <c:w val="0.93393379902747276"/>
          <c:h val="0.1084853089472449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9205829432968"/>
          <c:y val="0.14034893840394524"/>
          <c:w val="0.79691981926212185"/>
          <c:h val="0.824563826995068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8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4736"/>
        <c:axId val="444485128"/>
      </c:barChart>
      <c:catAx>
        <c:axId val="44448473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51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512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47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1371411645644698E-2"/>
          <c:y val="4.9624953378182369E-3"/>
          <c:w val="0.93393379902747276"/>
          <c:h val="0.1084853089472449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094134073823077"/>
          <c:y val="0.14187871401039773"/>
          <c:w val="0.66286492274469244"/>
          <c:h val="0.74176486960645804"/>
        </c:manualLayout>
      </c:layout>
      <c:radarChart>
        <c:radarStyle val="marker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marker>
            <c:symbol val="none"/>
          </c:marker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</c:ser>
        <c:ser>
          <c:idx val="1"/>
          <c:order val="1"/>
          <c:tx>
            <c:strRef>
              <c:f>Plan1!$C$1</c:f>
              <c:strCache>
                <c:ptCount val="1"/>
                <c:pt idx="0">
                  <c:v>Série 2</c:v>
                </c:pt>
              </c:strCache>
            </c:strRef>
          </c:tx>
          <c:marker>
            <c:symbol val="none"/>
          </c:marker>
          <c:cat>
            <c:strRef>
              <c:f>Plan1!$A$2:$A$6</c:f>
              <c:strCache>
                <c:ptCount val="5"/>
                <c:pt idx="0">
                  <c:v>aaa</c:v>
                </c:pt>
                <c:pt idx="1">
                  <c:v>bbb</c:v>
                </c:pt>
                <c:pt idx="2">
                  <c:v>ccc</c:v>
                </c:pt>
                <c:pt idx="3">
                  <c:v>ddd</c:v>
                </c:pt>
                <c:pt idx="4">
                  <c:v>eee</c:v>
                </c:pt>
              </c:strCache>
            </c:strRef>
          </c:cat>
          <c:val>
            <c:numRef>
              <c:f>Plan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8262176"/>
        <c:axId val="398262568"/>
      </c:radarChart>
      <c:catAx>
        <c:axId val="39826217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398262568"/>
        <c:crosses val="autoZero"/>
        <c:auto val="1"/>
        <c:lblAlgn val="ctr"/>
        <c:lblOffset val="100"/>
        <c:noMultiLvlLbl val="0"/>
      </c:catAx>
      <c:valAx>
        <c:axId val="398262568"/>
        <c:scaling>
          <c:orientation val="minMax"/>
        </c:scaling>
        <c:delete val="0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cross"/>
        <c:minorTickMark val="none"/>
        <c:tickLblPos val="nextTo"/>
        <c:crossAx val="3982621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275164674255262"/>
          <c:y val="2.8120123901554727E-2"/>
          <c:w val="0.1577981507213726"/>
          <c:h val="9.472246281719239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50"/>
      </a:pPr>
      <a:endParaRPr lang="en-US"/>
    </a:p>
  </c:txPr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9205829432968"/>
          <c:y val="0.14034893840394524"/>
          <c:w val="0.79691981926212185"/>
          <c:h val="0.824563826995068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8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5912"/>
        <c:axId val="444486304"/>
      </c:barChart>
      <c:catAx>
        <c:axId val="4444859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63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630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59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1371411645644698E-2"/>
          <c:y val="4.9624953378182369E-3"/>
          <c:w val="0.93393379902747276"/>
          <c:h val="0.1084853089472449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92058294329683"/>
          <c:y val="0.14034893840394524"/>
          <c:w val="0.79691981926212185"/>
          <c:h val="0.824563826995068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0.399999999999999</c:v>
                </c:pt>
                <c:pt idx="1">
                  <c:v>30.6</c:v>
                </c:pt>
                <c:pt idx="2">
                  <c:v>45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n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7.4</c:v>
                </c:pt>
                <c:pt idx="1">
                  <c:v>38.6</c:v>
                </c:pt>
                <c:pt idx="2">
                  <c:v>46.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rd Qtr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invertIfNegative val="0"/>
          <c:dLbls>
            <c:numFmt formatCode="0.0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East</c:v>
                </c:pt>
                <c:pt idx="1">
                  <c:v>West</c:v>
                </c:pt>
                <c:pt idx="2">
                  <c:v>North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38</c:v>
                </c:pt>
                <c:pt idx="1">
                  <c:v>34.6</c:v>
                </c:pt>
                <c:pt idx="2">
                  <c:v>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444487088"/>
        <c:axId val="444487480"/>
      </c:barChart>
      <c:catAx>
        <c:axId val="4444870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748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748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70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1371411645644712E-2"/>
          <c:y val="4.9624953378182369E-3"/>
          <c:w val="0.93393379902747276"/>
          <c:h val="0.1084853089472449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25812529467387"/>
          <c:y val="2.7100271002710119E-2"/>
          <c:w val="0.83548813722762716"/>
          <c:h val="0.9322493224932272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noFill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numFmt formatCode="0.0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Total</c:v>
                </c:pt>
                <c:pt idx="1">
                  <c:v>Label 1</c:v>
                </c:pt>
                <c:pt idx="2">
                  <c:v>Label 2</c:v>
                </c:pt>
                <c:pt idx="3">
                  <c:v>Label 3</c:v>
                </c:pt>
                <c:pt idx="4">
                  <c:v>Label 4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1">
                  <c:v>80</c:v>
                </c:pt>
                <c:pt idx="2">
                  <c:v>50</c:v>
                </c:pt>
                <c:pt idx="3">
                  <c:v>2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Total</c:v>
                </c:pt>
                <c:pt idx="1">
                  <c:v>Label 1</c:v>
                </c:pt>
                <c:pt idx="2">
                  <c:v>Label 2</c:v>
                </c:pt>
                <c:pt idx="3">
                  <c:v>Label 3</c:v>
                </c:pt>
                <c:pt idx="4">
                  <c:v>Label 4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00</c:v>
                </c:pt>
                <c:pt idx="1">
                  <c:v>20</c:v>
                </c:pt>
                <c:pt idx="2">
                  <c:v>30</c:v>
                </c:pt>
                <c:pt idx="3">
                  <c:v>30</c:v>
                </c:pt>
                <c:pt idx="4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4488656"/>
        <c:axId val="444489048"/>
      </c:barChart>
      <c:catAx>
        <c:axId val="4444886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90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8904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one"/>
        <c:crossAx val="444488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285508217894344E-2"/>
          <c:y val="0.1067130091884582"/>
          <c:w val="0.92531953798692257"/>
          <c:h val="0.762501485067175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ne 1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30</c:v>
                </c:pt>
                <c:pt idx="2">
                  <c:v>45</c:v>
                </c:pt>
                <c:pt idx="3">
                  <c:v>70</c:v>
                </c:pt>
                <c:pt idx="4">
                  <c:v>85</c:v>
                </c:pt>
                <c:pt idx="5">
                  <c:v>100</c:v>
                </c:pt>
                <c:pt idx="6">
                  <c:v>150</c:v>
                </c:pt>
                <c:pt idx="7">
                  <c:v>17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ne 2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89</c:v>
                </c:pt>
                <c:pt idx="1">
                  <c:v>120</c:v>
                </c:pt>
                <c:pt idx="2">
                  <c:v>130</c:v>
                </c:pt>
                <c:pt idx="3">
                  <c:v>165</c:v>
                </c:pt>
                <c:pt idx="4">
                  <c:v>175</c:v>
                </c:pt>
                <c:pt idx="5">
                  <c:v>180</c:v>
                </c:pt>
                <c:pt idx="6">
                  <c:v>195</c:v>
                </c:pt>
                <c:pt idx="7">
                  <c:v>22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ine 3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30</c:v>
                </c:pt>
                <c:pt idx="1">
                  <c:v>245</c:v>
                </c:pt>
                <c:pt idx="2">
                  <c:v>267</c:v>
                </c:pt>
                <c:pt idx="3">
                  <c:v>250</c:v>
                </c:pt>
                <c:pt idx="4">
                  <c:v>278</c:v>
                </c:pt>
                <c:pt idx="5">
                  <c:v>298</c:v>
                </c:pt>
                <c:pt idx="6">
                  <c:v>300</c:v>
                </c:pt>
                <c:pt idx="7">
                  <c:v>32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ine 4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E$2:$E$9</c:f>
              <c:numCache>
                <c:formatCode>General</c:formatCode>
                <c:ptCount val="8"/>
                <c:pt idx="0">
                  <c:v>420</c:v>
                </c:pt>
                <c:pt idx="1">
                  <c:v>430</c:v>
                </c:pt>
                <c:pt idx="2">
                  <c:v>450</c:v>
                </c:pt>
                <c:pt idx="3">
                  <c:v>465</c:v>
                </c:pt>
                <c:pt idx="4">
                  <c:v>470</c:v>
                </c:pt>
                <c:pt idx="5">
                  <c:v>490</c:v>
                </c:pt>
                <c:pt idx="6">
                  <c:v>520</c:v>
                </c:pt>
                <c:pt idx="7">
                  <c:v>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89832"/>
        <c:axId val="444490224"/>
      </c:lineChart>
      <c:catAx>
        <c:axId val="444489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022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902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8983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2566093202468227"/>
          <c:y val="4.8949105016979041E-4"/>
          <c:w val="0.67272727272727584"/>
          <c:h val="7.123287671232878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285508217894323E-2"/>
          <c:y val="0.1067130091884582"/>
          <c:w val="0.92531953798692257"/>
          <c:h val="0.7625014850671756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ine 1</c:v>
                </c:pt>
              </c:strCache>
            </c:strRef>
          </c:tx>
          <c:dLbls>
            <c:dLbl>
              <c:idx val="6"/>
              <c:layout>
                <c:manualLayout>
                  <c:x val="-3.0322854625921731E-2"/>
                  <c:y val="4.43899849597454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3.0322854625921731E-2"/>
                  <c:y val="4.1179712086550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30</c:v>
                </c:pt>
                <c:pt idx="2">
                  <c:v>45</c:v>
                </c:pt>
                <c:pt idx="3">
                  <c:v>70</c:v>
                </c:pt>
                <c:pt idx="4">
                  <c:v>85</c:v>
                </c:pt>
                <c:pt idx="5">
                  <c:v>100</c:v>
                </c:pt>
                <c:pt idx="6">
                  <c:v>150</c:v>
                </c:pt>
                <c:pt idx="7">
                  <c:v>17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ine 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89</c:v>
                </c:pt>
                <c:pt idx="1">
                  <c:v>120</c:v>
                </c:pt>
                <c:pt idx="2">
                  <c:v>130</c:v>
                </c:pt>
                <c:pt idx="3">
                  <c:v>165</c:v>
                </c:pt>
                <c:pt idx="4">
                  <c:v>175</c:v>
                </c:pt>
                <c:pt idx="5">
                  <c:v>180</c:v>
                </c:pt>
                <c:pt idx="6">
                  <c:v>195</c:v>
                </c:pt>
                <c:pt idx="7">
                  <c:v>220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ine 3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D$2:$D$9</c:f>
              <c:numCache>
                <c:formatCode>General</c:formatCode>
                <c:ptCount val="8"/>
                <c:pt idx="0">
                  <c:v>230</c:v>
                </c:pt>
                <c:pt idx="1">
                  <c:v>245</c:v>
                </c:pt>
                <c:pt idx="2">
                  <c:v>267</c:v>
                </c:pt>
                <c:pt idx="3">
                  <c:v>250</c:v>
                </c:pt>
                <c:pt idx="4">
                  <c:v>278</c:v>
                </c:pt>
                <c:pt idx="5">
                  <c:v>298</c:v>
                </c:pt>
                <c:pt idx="6">
                  <c:v>300</c:v>
                </c:pt>
                <c:pt idx="7">
                  <c:v>32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ine 4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E$2:$E$9</c:f>
              <c:numCache>
                <c:formatCode>General</c:formatCode>
                <c:ptCount val="8"/>
                <c:pt idx="0">
                  <c:v>420</c:v>
                </c:pt>
                <c:pt idx="1">
                  <c:v>430</c:v>
                </c:pt>
                <c:pt idx="2">
                  <c:v>450</c:v>
                </c:pt>
                <c:pt idx="3">
                  <c:v>465</c:v>
                </c:pt>
                <c:pt idx="4">
                  <c:v>470</c:v>
                </c:pt>
                <c:pt idx="5">
                  <c:v>490</c:v>
                </c:pt>
                <c:pt idx="6">
                  <c:v>520</c:v>
                </c:pt>
                <c:pt idx="7">
                  <c:v>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91008"/>
        <c:axId val="444491400"/>
      </c:lineChart>
      <c:catAx>
        <c:axId val="44449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14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44491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solidFill>
              <a:schemeClr val="bg1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444910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2566093202468244"/>
          <c:y val="4.8949105016979019E-4"/>
          <c:w val="0.67272727272727606"/>
          <c:h val="7.123287671232878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37062937062943E-2"/>
          <c:y val="0.12400879665322739"/>
          <c:w val="0.86993006993006949"/>
          <c:h val="0.76587884379621085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eft axis line</c:v>
                </c:pt>
              </c:strCache>
            </c:strRef>
          </c:tx>
          <c:marker>
            <c:symbol val="square"/>
            <c:size val="5"/>
          </c:marker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30</c:v>
                </c:pt>
                <c:pt idx="2">
                  <c:v>45</c:v>
                </c:pt>
                <c:pt idx="3">
                  <c:v>70</c:v>
                </c:pt>
                <c:pt idx="4">
                  <c:v>85</c:v>
                </c:pt>
                <c:pt idx="5">
                  <c:v>100</c:v>
                </c:pt>
                <c:pt idx="6">
                  <c:v>150</c:v>
                </c:pt>
                <c:pt idx="7">
                  <c:v>1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92184"/>
        <c:axId val="444492576"/>
      </c:line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Right axis line</c:v>
                </c:pt>
              </c:strCache>
            </c:strRef>
          </c:tx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550</c:v>
                </c:pt>
                <c:pt idx="1">
                  <c:v>575</c:v>
                </c:pt>
                <c:pt idx="2">
                  <c:v>580</c:v>
                </c:pt>
                <c:pt idx="3">
                  <c:v>610</c:v>
                </c:pt>
                <c:pt idx="4">
                  <c:v>650</c:v>
                </c:pt>
                <c:pt idx="5">
                  <c:v>800</c:v>
                </c:pt>
                <c:pt idx="6">
                  <c:v>875</c:v>
                </c:pt>
                <c:pt idx="7">
                  <c:v>9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92968"/>
        <c:axId val="444493360"/>
      </c:lineChart>
      <c:catAx>
        <c:axId val="444492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2576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449257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2184"/>
        <c:crosses val="autoZero"/>
        <c:crossBetween val="between"/>
      </c:valAx>
      <c:catAx>
        <c:axId val="44449296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4493360"/>
        <c:crosses val="autoZero"/>
        <c:auto val="0"/>
        <c:lblAlgn val="ctr"/>
        <c:lblOffset val="100"/>
        <c:noMultiLvlLbl val="0"/>
      </c:catAx>
      <c:valAx>
        <c:axId val="444493360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2968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61475938161885346"/>
          <c:y val="2.3343629623618972E-3"/>
          <c:w val="0.37870469274450663"/>
          <c:h val="7.1065835871639643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937062937062943E-2"/>
          <c:y val="0.12400879665322739"/>
          <c:w val="0.86993006993006949"/>
          <c:h val="0.76587884379621085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Left axis line</c:v>
                </c:pt>
              </c:strCache>
            </c:strRef>
          </c:tx>
          <c:marker>
            <c:symbol val="square"/>
            <c:size val="5"/>
          </c:marker>
          <c:dLbls>
            <c:dLbl>
              <c:idx val="7"/>
              <c:layout>
                <c:manualLayout>
                  <c:x val="-2.8310991957104549E-2"/>
                  <c:y val="4.57463884430176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30</c:v>
                </c:pt>
                <c:pt idx="2">
                  <c:v>45</c:v>
                </c:pt>
                <c:pt idx="3">
                  <c:v>70</c:v>
                </c:pt>
                <c:pt idx="4">
                  <c:v>85</c:v>
                </c:pt>
                <c:pt idx="5">
                  <c:v>100</c:v>
                </c:pt>
                <c:pt idx="6">
                  <c:v>150</c:v>
                </c:pt>
                <c:pt idx="7">
                  <c:v>1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94144"/>
        <c:axId val="444494536"/>
      </c:lineChart>
      <c:lineChart>
        <c:grouping val="standard"/>
        <c:varyColors val="0"/>
        <c:ser>
          <c:idx val="0"/>
          <c:order val="1"/>
          <c:tx>
            <c:strRef>
              <c:f>Sheet1!$C$1</c:f>
              <c:strCache>
                <c:ptCount val="1"/>
                <c:pt idx="0">
                  <c:v>Right axis line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9</c:f>
              <c:numCache>
                <c:formatCode>General</c:formatCode>
                <c:ptCount val="8"/>
                <c:pt idx="0">
                  <c:v>1990</c:v>
                </c:pt>
                <c:pt idx="1">
                  <c:v>1991</c:v>
                </c:pt>
                <c:pt idx="2">
                  <c:v>1992</c:v>
                </c:pt>
                <c:pt idx="3">
                  <c:v>1993</c:v>
                </c:pt>
                <c:pt idx="4">
                  <c:v>1994</c:v>
                </c:pt>
                <c:pt idx="5">
                  <c:v>1995</c:v>
                </c:pt>
                <c:pt idx="6">
                  <c:v>1996</c:v>
                </c:pt>
                <c:pt idx="7">
                  <c:v>1997</c:v>
                </c:pt>
              </c:numCache>
            </c:numRef>
          </c:cat>
          <c:val>
            <c:numRef>
              <c:f>Sheet1!$C$2:$C$9</c:f>
              <c:numCache>
                <c:formatCode>General</c:formatCode>
                <c:ptCount val="8"/>
                <c:pt idx="0">
                  <c:v>550</c:v>
                </c:pt>
                <c:pt idx="1">
                  <c:v>575</c:v>
                </c:pt>
                <c:pt idx="2">
                  <c:v>580</c:v>
                </c:pt>
                <c:pt idx="3">
                  <c:v>610</c:v>
                </c:pt>
                <c:pt idx="4">
                  <c:v>650</c:v>
                </c:pt>
                <c:pt idx="5">
                  <c:v>800</c:v>
                </c:pt>
                <c:pt idx="6">
                  <c:v>875</c:v>
                </c:pt>
                <c:pt idx="7">
                  <c:v>9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494928"/>
        <c:axId val="444495320"/>
      </c:lineChart>
      <c:catAx>
        <c:axId val="444494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4536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44494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>
            <a:solidFill>
              <a:schemeClr val="bg1"/>
            </a:solidFill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44494144"/>
        <c:crosses val="autoZero"/>
        <c:crossBetween val="between"/>
      </c:valAx>
      <c:catAx>
        <c:axId val="444494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44495320"/>
        <c:crosses val="autoZero"/>
        <c:auto val="0"/>
        <c:lblAlgn val="ctr"/>
        <c:lblOffset val="100"/>
        <c:noMultiLvlLbl val="0"/>
      </c:catAx>
      <c:valAx>
        <c:axId val="444495320"/>
        <c:scaling>
          <c:orientation val="minMax"/>
        </c:scaling>
        <c:delete val="0"/>
        <c:axPos val="r"/>
        <c:numFmt formatCode="#,##0" sourceLinked="0"/>
        <c:majorTickMark val="none"/>
        <c:minorTickMark val="none"/>
        <c:tickLblPos val="none"/>
        <c:spPr>
          <a:ln>
            <a:noFill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44494928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6147593816188538"/>
          <c:y val="2.3343629623618972E-3"/>
          <c:w val="0.37870469274450685"/>
          <c:h val="7.1065835871639643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es Y</c:v>
                </c:pt>
              </c:strCache>
            </c:strRef>
          </c:tx>
          <c:spPr>
            <a:ln w="28575">
              <a:noFill/>
            </a:ln>
          </c:spPr>
          <c:xVal>
            <c:numRef>
              <c:f>Hoja1!$A$2:$A$6</c:f>
              <c:numCache>
                <c:formatCode>General</c:formatCode>
                <c:ptCount val="5"/>
                <c:pt idx="0">
                  <c:v>0.70000000000000062</c:v>
                </c:pt>
                <c:pt idx="1">
                  <c:v>1.8</c:v>
                </c:pt>
                <c:pt idx="2">
                  <c:v>2.6</c:v>
                </c:pt>
                <c:pt idx="3">
                  <c:v>1</c:v>
                </c:pt>
                <c:pt idx="4">
                  <c:v>2</c:v>
                </c:pt>
              </c:numCache>
            </c:numRef>
          </c:xVal>
          <c:yVal>
            <c:numRef>
              <c:f>Hoja1!$B$2:$B$6</c:f>
              <c:numCache>
                <c:formatCode>General</c:formatCode>
                <c:ptCount val="5"/>
                <c:pt idx="0">
                  <c:v>2.7</c:v>
                </c:pt>
                <c:pt idx="1">
                  <c:v>3.2</c:v>
                </c:pt>
                <c:pt idx="2">
                  <c:v>0.8</c:v>
                </c:pt>
                <c:pt idx="3">
                  <c:v>2</c:v>
                </c:pt>
                <c:pt idx="4">
                  <c:v>3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4496104"/>
        <c:axId val="444496496"/>
      </c:scatterChart>
      <c:valAx>
        <c:axId val="444496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44496496"/>
        <c:crosses val="autoZero"/>
        <c:crossBetween val="midCat"/>
      </c:valAx>
      <c:valAx>
        <c:axId val="44449649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44449610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2760944576825E-2"/>
          <c:y val="3.5273858460171177E-2"/>
          <c:w val="0.91245174484388469"/>
          <c:h val="0.85878690246538381"/>
        </c:manualLayout>
      </c:layout>
      <c:scatterChart>
        <c:scatterStyle val="line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Y</c:v>
                </c:pt>
              </c:strCache>
            </c:strRef>
          </c:tx>
          <c:spPr>
            <a:ln>
              <a:solidFill>
                <a:schemeClr val="accent2"/>
              </a:solidFill>
              <a:prstDash val="solid"/>
            </a:ln>
          </c:spPr>
          <c:marker>
            <c:spPr>
              <a:solidFill>
                <a:schemeClr val="accent2"/>
              </a:solidFill>
              <a:ln>
                <a:solidFill>
                  <a:srgbClr val="4891D4"/>
                </a:solidFill>
              </a:ln>
            </c:spPr>
          </c:marker>
          <c:trendline>
            <c:spPr>
              <a:ln>
                <a:solidFill>
                  <a:schemeClr val="accent5"/>
                </a:solidFill>
                <a:prstDash val="dash"/>
              </a:ln>
            </c:spPr>
            <c:trendlineType val="linear"/>
            <c:dispRSqr val="0"/>
            <c:dispEq val="0"/>
          </c:trendline>
          <c:xVal>
            <c:numRef>
              <c:f>Hoja1!$A$2:$A$14</c:f>
              <c:numCache>
                <c:formatCode>General</c:formatCode>
                <c:ptCount val="13"/>
                <c:pt idx="0">
                  <c:v>14</c:v>
                </c:pt>
                <c:pt idx="1">
                  <c:v>25.3</c:v>
                </c:pt>
                <c:pt idx="2">
                  <c:v>40.5</c:v>
                </c:pt>
                <c:pt idx="3">
                  <c:v>50</c:v>
                </c:pt>
                <c:pt idx="4">
                  <c:v>66</c:v>
                </c:pt>
                <c:pt idx="5">
                  <c:v>77.2</c:v>
                </c:pt>
                <c:pt idx="6">
                  <c:v>95</c:v>
                </c:pt>
                <c:pt idx="7">
                  <c:v>104.6</c:v>
                </c:pt>
                <c:pt idx="8">
                  <c:v>125</c:v>
                </c:pt>
                <c:pt idx="9">
                  <c:v>144</c:v>
                </c:pt>
                <c:pt idx="10">
                  <c:v>160</c:v>
                </c:pt>
                <c:pt idx="11">
                  <c:v>169.6</c:v>
                </c:pt>
                <c:pt idx="12">
                  <c:v>181</c:v>
                </c:pt>
              </c:numCache>
            </c:numRef>
          </c:xVal>
          <c:yVal>
            <c:numRef>
              <c:f>Hoja1!$B$2:$B$14</c:f>
              <c:numCache>
                <c:formatCode>General</c:formatCode>
                <c:ptCount val="13"/>
                <c:pt idx="0">
                  <c:v>24</c:v>
                </c:pt>
                <c:pt idx="1">
                  <c:v>158.30000000000001</c:v>
                </c:pt>
                <c:pt idx="2">
                  <c:v>73</c:v>
                </c:pt>
                <c:pt idx="3">
                  <c:v>202.6</c:v>
                </c:pt>
                <c:pt idx="4">
                  <c:v>101</c:v>
                </c:pt>
                <c:pt idx="5">
                  <c:v>178.3</c:v>
                </c:pt>
                <c:pt idx="6">
                  <c:v>115.7</c:v>
                </c:pt>
                <c:pt idx="7">
                  <c:v>79.099999999999994</c:v>
                </c:pt>
                <c:pt idx="8">
                  <c:v>175</c:v>
                </c:pt>
                <c:pt idx="9">
                  <c:v>114</c:v>
                </c:pt>
                <c:pt idx="10">
                  <c:v>213</c:v>
                </c:pt>
                <c:pt idx="11">
                  <c:v>138.30000000000001</c:v>
                </c:pt>
                <c:pt idx="12">
                  <c:v>24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4497280"/>
        <c:axId val="444497672"/>
      </c:scatterChart>
      <c:valAx>
        <c:axId val="444497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44497672"/>
        <c:crosses val="autoZero"/>
        <c:crossBetween val="midCat"/>
      </c:valAx>
      <c:valAx>
        <c:axId val="444497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44449728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741258741258705E-2"/>
          <c:y val="9.9087415344942115E-2"/>
          <c:w val="0.92587412587412588"/>
          <c:h val="0.82352064894908794"/>
        </c:manualLayout>
      </c:layout>
      <c:bubbl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aís A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2:$E$2</c:f>
              <c:numCache>
                <c:formatCode>General</c:formatCode>
                <c:ptCount val="4"/>
                <c:pt idx="0">
                  <c:v>30.5</c:v>
                </c:pt>
              </c:numCache>
            </c:numRef>
          </c:yVal>
          <c:bubbleSize>
            <c:numRef>
              <c:f>Sheet1!$B$3:$E$3</c:f>
              <c:numCache>
                <c:formatCode>General</c:formatCode>
                <c:ptCount val="4"/>
                <c:pt idx="0">
                  <c:v>20</c:v>
                </c:pt>
              </c:numCache>
            </c:numRef>
          </c:bubbleSize>
          <c:bubble3D val="0"/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País B</c:v>
                </c:pt>
              </c:strCache>
            </c:strRef>
          </c:tx>
          <c:invertIfNegative val="1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4:$E$4</c:f>
              <c:numCache>
                <c:formatCode>General</c:formatCode>
                <c:ptCount val="4"/>
                <c:pt idx="1">
                  <c:v>27.4</c:v>
                </c:pt>
              </c:numCache>
            </c:numRef>
          </c:yVal>
          <c:bubbleSize>
            <c:numRef>
              <c:f>Sheet1!$B$5:$E$5</c:f>
              <c:numCache>
                <c:formatCode>General</c:formatCode>
                <c:ptCount val="4"/>
                <c:pt idx="1">
                  <c:v>38.6</c:v>
                </c:pt>
              </c:numCache>
            </c:numRef>
          </c:bubbleSize>
          <c:bubble3D val="0"/>
        </c:ser>
        <c:ser>
          <c:idx val="2"/>
          <c:order val="2"/>
          <c:tx>
            <c:strRef>
              <c:f>Sheet1!$A$6</c:f>
              <c:strCache>
                <c:ptCount val="1"/>
                <c:pt idx="0">
                  <c:v>País C</c:v>
                </c:pt>
              </c:strCache>
            </c:strRef>
          </c:tx>
          <c:invertIfNegative val="1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6:$E$6</c:f>
              <c:numCache>
                <c:formatCode>General</c:formatCode>
                <c:ptCount val="4"/>
                <c:pt idx="2">
                  <c:v>90</c:v>
                </c:pt>
              </c:numCache>
            </c:numRef>
          </c:yVal>
          <c:bubbleSize>
            <c:numRef>
              <c:f>Sheet1!$B$7:$E$7</c:f>
              <c:numCache>
                <c:formatCode>General</c:formatCode>
                <c:ptCount val="4"/>
                <c:pt idx="2">
                  <c:v>34.6</c:v>
                </c:pt>
              </c:numCache>
            </c:numRef>
          </c:bubbleSize>
          <c:bubble3D val="0"/>
        </c:ser>
        <c:ser>
          <c:idx val="3"/>
          <c:order val="3"/>
          <c:tx>
            <c:strRef>
              <c:f>Sheet1!$A$8</c:f>
              <c:strCache>
                <c:ptCount val="1"/>
                <c:pt idx="0">
                  <c:v>País D</c:v>
                </c:pt>
              </c:strCache>
            </c:strRef>
          </c:tx>
          <c:invertIfNegative val="0"/>
          <c:dPt>
            <c:idx val="3"/>
            <c:invertIfNegative val="0"/>
            <c:bubble3D val="0"/>
            <c:spPr>
              <a:scene3d>
                <a:camera prst="orthographicFront"/>
                <a:lightRig rig="threePt" dir="t"/>
              </a:scene3d>
              <a:sp3d prstMaterial="matte"/>
            </c:spPr>
          </c:dPt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0"/>
            <c:showCatName val="0"/>
            <c:showSerName val="0"/>
            <c:showPercent val="0"/>
            <c:showBubbleSize val="1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Sheet1!$B$1:$E$1</c:f>
              <c:numCache>
                <c:formatCode>General</c:formatCode>
                <c:ptCount val="4"/>
                <c:pt idx="0">
                  <c:v>10</c:v>
                </c:pt>
                <c:pt idx="1">
                  <c:v>5</c:v>
                </c:pt>
                <c:pt idx="2">
                  <c:v>10</c:v>
                </c:pt>
                <c:pt idx="3">
                  <c:v>25</c:v>
                </c:pt>
              </c:numCache>
            </c:numRef>
          </c:xVal>
          <c:yVal>
            <c:numRef>
              <c:f>Sheet1!$B$8:$E$8</c:f>
              <c:numCache>
                <c:formatCode>General</c:formatCode>
                <c:ptCount val="4"/>
                <c:pt idx="3">
                  <c:v>20.399999999999999</c:v>
                </c:pt>
              </c:numCache>
            </c:numRef>
          </c:yVal>
          <c:bubbleSize>
            <c:numRef>
              <c:f>Sheet1!$B$9:$E$9</c:f>
              <c:numCache>
                <c:formatCode>General</c:formatCode>
                <c:ptCount val="4"/>
                <c:pt idx="3">
                  <c:v>31.6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1"/>
        </c:dLbls>
        <c:bubbleScale val="100"/>
        <c:showNegBubbles val="0"/>
        <c:axId val="444498456"/>
        <c:axId val="444498848"/>
      </c:bubbleChart>
      <c:valAx>
        <c:axId val="444498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8848"/>
        <c:crosses val="autoZero"/>
        <c:crossBetween val="midCat"/>
      </c:valAx>
      <c:valAx>
        <c:axId val="444498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en-US"/>
          </a:p>
        </c:txPr>
        <c:crossAx val="444498456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54463788341755792"/>
          <c:y val="4.7400993694976436E-3"/>
          <c:w val="0.34138317274044944"/>
          <c:h val="5.425509808094339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74B75D7-4741-4804-90D0-22D24B01BDCC}" type="doc">
      <dgm:prSet loTypeId="urn:microsoft.com/office/officeart/2005/8/layout/pyramid1" loCatId="pyramid" qsTypeId="urn:microsoft.com/office/officeart/2005/8/quickstyle/simple1" qsCatId="simple" csTypeId="urn:microsoft.com/office/officeart/2005/8/colors/colorful5" csCatId="colorful" phldr="1"/>
      <dgm:spPr/>
    </dgm:pt>
    <dgm:pt modelId="{6AD9055D-78F2-4046-BC57-B5DED0F2F4F8}">
      <dgm:prSet phldrT="[Texto]" phldr="1" custT="1"/>
      <dgm:spPr/>
      <dgm:t>
        <a:bodyPr/>
        <a:lstStyle/>
        <a:p>
          <a:endParaRPr lang="es-ES" sz="1000" dirty="0"/>
        </a:p>
      </dgm:t>
    </dgm:pt>
    <dgm:pt modelId="{58CC983A-C5DF-49F1-9176-37A6831F337D}" type="parTrans" cxnId="{D678AA53-EF62-487F-B52F-C91EB0716C1D}">
      <dgm:prSet/>
      <dgm:spPr/>
      <dgm:t>
        <a:bodyPr/>
        <a:lstStyle/>
        <a:p>
          <a:endParaRPr lang="es-ES" sz="1000"/>
        </a:p>
      </dgm:t>
    </dgm:pt>
    <dgm:pt modelId="{877692CD-4BE3-4C7C-99D7-B5BD4130ECD2}" type="sibTrans" cxnId="{D678AA53-EF62-487F-B52F-C91EB0716C1D}">
      <dgm:prSet/>
      <dgm:spPr/>
      <dgm:t>
        <a:bodyPr/>
        <a:lstStyle/>
        <a:p>
          <a:endParaRPr lang="es-ES" sz="1000"/>
        </a:p>
      </dgm:t>
    </dgm:pt>
    <dgm:pt modelId="{CED55404-628B-4DE4-9C58-7B8DA862056C}">
      <dgm:prSet phldrT="[Texto]" phldr="1" custT="1"/>
      <dgm:spPr/>
      <dgm:t>
        <a:bodyPr/>
        <a:lstStyle/>
        <a:p>
          <a:endParaRPr lang="es-ES" sz="1000" dirty="0"/>
        </a:p>
      </dgm:t>
    </dgm:pt>
    <dgm:pt modelId="{6046E1C2-1736-400F-9696-F07F5ECE6008}" type="parTrans" cxnId="{D2EBA25E-9AB4-4CDB-A006-C808E5ED6C82}">
      <dgm:prSet/>
      <dgm:spPr/>
      <dgm:t>
        <a:bodyPr/>
        <a:lstStyle/>
        <a:p>
          <a:endParaRPr lang="es-ES" sz="1000"/>
        </a:p>
      </dgm:t>
    </dgm:pt>
    <dgm:pt modelId="{86496187-8B6C-4626-9D13-47476322246C}" type="sibTrans" cxnId="{D2EBA25E-9AB4-4CDB-A006-C808E5ED6C82}">
      <dgm:prSet/>
      <dgm:spPr/>
      <dgm:t>
        <a:bodyPr/>
        <a:lstStyle/>
        <a:p>
          <a:endParaRPr lang="es-ES" sz="1000"/>
        </a:p>
      </dgm:t>
    </dgm:pt>
    <dgm:pt modelId="{1E3BB5D9-EC03-429A-BB37-F3D7346F5B2E}">
      <dgm:prSet phldrT="[Texto]" phldr="1" custT="1"/>
      <dgm:spPr/>
      <dgm:t>
        <a:bodyPr/>
        <a:lstStyle/>
        <a:p>
          <a:endParaRPr lang="es-ES" sz="1000" dirty="0"/>
        </a:p>
      </dgm:t>
    </dgm:pt>
    <dgm:pt modelId="{79F9D85D-6143-496F-826F-685F9E6C036F}" type="parTrans" cxnId="{7ADA29FA-8B9D-470D-B6D4-35C2C0123A38}">
      <dgm:prSet/>
      <dgm:spPr/>
      <dgm:t>
        <a:bodyPr/>
        <a:lstStyle/>
        <a:p>
          <a:endParaRPr lang="es-ES" sz="1000"/>
        </a:p>
      </dgm:t>
    </dgm:pt>
    <dgm:pt modelId="{01AE12BA-41D3-407E-9463-FC4001BF9159}" type="sibTrans" cxnId="{7ADA29FA-8B9D-470D-B6D4-35C2C0123A38}">
      <dgm:prSet/>
      <dgm:spPr/>
      <dgm:t>
        <a:bodyPr/>
        <a:lstStyle/>
        <a:p>
          <a:endParaRPr lang="es-ES" sz="1000"/>
        </a:p>
      </dgm:t>
    </dgm:pt>
    <dgm:pt modelId="{17AC54E3-039E-4E65-A0EA-52BFDDE1392E}">
      <dgm:prSet phldrT="[Texto]" custT="1"/>
      <dgm:spPr/>
      <dgm:t>
        <a:bodyPr/>
        <a:lstStyle/>
        <a:p>
          <a:endParaRPr lang="es-ES" sz="1000" dirty="0"/>
        </a:p>
      </dgm:t>
    </dgm:pt>
    <dgm:pt modelId="{D60BB808-0E60-4659-9DD7-65A5D4769972}" type="parTrans" cxnId="{85CAE657-AF01-4948-937B-B8BCA68BE7C2}">
      <dgm:prSet/>
      <dgm:spPr/>
      <dgm:t>
        <a:bodyPr/>
        <a:lstStyle/>
        <a:p>
          <a:endParaRPr lang="es-ES"/>
        </a:p>
      </dgm:t>
    </dgm:pt>
    <dgm:pt modelId="{CD7E8951-9ABC-47A3-9041-75E4FCCAFF31}" type="sibTrans" cxnId="{85CAE657-AF01-4948-937B-B8BCA68BE7C2}">
      <dgm:prSet/>
      <dgm:spPr/>
      <dgm:t>
        <a:bodyPr/>
        <a:lstStyle/>
        <a:p>
          <a:endParaRPr lang="es-ES"/>
        </a:p>
      </dgm:t>
    </dgm:pt>
    <dgm:pt modelId="{6E0F80D2-7EEF-48EC-943A-E63A5976625D}">
      <dgm:prSet phldrT="[Texto]" custT="1"/>
      <dgm:spPr>
        <a:solidFill>
          <a:schemeClr val="accent1"/>
        </a:solidFill>
      </dgm:spPr>
      <dgm:t>
        <a:bodyPr/>
        <a:lstStyle/>
        <a:p>
          <a:endParaRPr lang="es-ES" sz="1000" dirty="0"/>
        </a:p>
      </dgm:t>
    </dgm:pt>
    <dgm:pt modelId="{4C130D10-F1D0-4301-BAE0-FEEB9F0E3055}" type="parTrans" cxnId="{C28E7946-A92E-478A-9368-6A13A9A763C1}">
      <dgm:prSet/>
      <dgm:spPr/>
      <dgm:t>
        <a:bodyPr/>
        <a:lstStyle/>
        <a:p>
          <a:endParaRPr lang="es-ES"/>
        </a:p>
      </dgm:t>
    </dgm:pt>
    <dgm:pt modelId="{6E181868-16A4-4A78-BF78-54165904FC8D}" type="sibTrans" cxnId="{C28E7946-A92E-478A-9368-6A13A9A763C1}">
      <dgm:prSet/>
      <dgm:spPr/>
      <dgm:t>
        <a:bodyPr/>
        <a:lstStyle/>
        <a:p>
          <a:endParaRPr lang="es-ES"/>
        </a:p>
      </dgm:t>
    </dgm:pt>
    <dgm:pt modelId="{98B8CCE1-0F2E-426D-94FD-64281ABA740C}" type="pres">
      <dgm:prSet presAssocID="{174B75D7-4741-4804-90D0-22D24B01BDCC}" presName="Name0" presStyleCnt="0">
        <dgm:presLayoutVars>
          <dgm:dir/>
          <dgm:animLvl val="lvl"/>
          <dgm:resizeHandles val="exact"/>
        </dgm:presLayoutVars>
      </dgm:prSet>
      <dgm:spPr/>
    </dgm:pt>
    <dgm:pt modelId="{F028366A-73BD-4989-BF46-A41B505793B9}" type="pres">
      <dgm:prSet presAssocID="{6AD9055D-78F2-4046-BC57-B5DED0F2F4F8}" presName="Name8" presStyleCnt="0"/>
      <dgm:spPr/>
    </dgm:pt>
    <dgm:pt modelId="{BBD44823-C66B-4F57-BFE4-2AC316862C80}" type="pres">
      <dgm:prSet presAssocID="{6AD9055D-78F2-4046-BC57-B5DED0F2F4F8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5EAB191-981D-4B08-806D-E4E33236896B}" type="pres">
      <dgm:prSet presAssocID="{6AD9055D-78F2-4046-BC57-B5DED0F2F4F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7B9D3AD-591B-4867-86B2-C69379A02E00}" type="pres">
      <dgm:prSet presAssocID="{CED55404-628B-4DE4-9C58-7B8DA862056C}" presName="Name8" presStyleCnt="0"/>
      <dgm:spPr/>
    </dgm:pt>
    <dgm:pt modelId="{738AEDFD-4AF3-4DB0-BF5F-E9C184EE14FE}" type="pres">
      <dgm:prSet presAssocID="{CED55404-628B-4DE4-9C58-7B8DA862056C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A8490D0-E8CD-44BD-952D-00C8D8C27C31}" type="pres">
      <dgm:prSet presAssocID="{CED55404-628B-4DE4-9C58-7B8DA862056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D45F235-E7F6-4396-962C-B5F0642007AE}" type="pres">
      <dgm:prSet presAssocID="{1E3BB5D9-EC03-429A-BB37-F3D7346F5B2E}" presName="Name8" presStyleCnt="0"/>
      <dgm:spPr/>
    </dgm:pt>
    <dgm:pt modelId="{704A4951-D1BF-4948-8F7D-9B1DE79428F5}" type="pres">
      <dgm:prSet presAssocID="{1E3BB5D9-EC03-429A-BB37-F3D7346F5B2E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1A3071C-2729-434C-88D2-E6E553451DEF}" type="pres">
      <dgm:prSet presAssocID="{1E3BB5D9-EC03-429A-BB37-F3D7346F5B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96A64EF-DD8D-45F6-A9A3-F67D78E6B143}" type="pres">
      <dgm:prSet presAssocID="{6E0F80D2-7EEF-48EC-943A-E63A5976625D}" presName="Name8" presStyleCnt="0"/>
      <dgm:spPr/>
    </dgm:pt>
    <dgm:pt modelId="{5370EED0-B813-4926-8130-902ABE2D0A73}" type="pres">
      <dgm:prSet presAssocID="{6E0F80D2-7EEF-48EC-943A-E63A5976625D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B53C901-3EF7-4631-B988-A092AC8E3174}" type="pres">
      <dgm:prSet presAssocID="{6E0F80D2-7EEF-48EC-943A-E63A5976625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A84DD91-4881-445D-B30B-473430943C6C}" type="pres">
      <dgm:prSet presAssocID="{17AC54E3-039E-4E65-A0EA-52BFDDE1392E}" presName="Name8" presStyleCnt="0"/>
      <dgm:spPr/>
    </dgm:pt>
    <dgm:pt modelId="{94E28665-8D2E-4147-A910-C7F5E77999D7}" type="pres">
      <dgm:prSet presAssocID="{17AC54E3-039E-4E65-A0EA-52BFDDE1392E}" presName="level" presStyleLbl="node1" presStyleIdx="4" presStyleCnt="5" custLinFactNeighborY="219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A945AF9-178B-4B89-806F-C8183D68DBC2}" type="pres">
      <dgm:prSet presAssocID="{17AC54E3-039E-4E65-A0EA-52BFDDE1392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28E7946-A92E-478A-9368-6A13A9A763C1}" srcId="{174B75D7-4741-4804-90D0-22D24B01BDCC}" destId="{6E0F80D2-7EEF-48EC-943A-E63A5976625D}" srcOrd="3" destOrd="0" parTransId="{4C130D10-F1D0-4301-BAE0-FEEB9F0E3055}" sibTransId="{6E181868-16A4-4A78-BF78-54165904FC8D}"/>
    <dgm:cxn modelId="{AB141387-5BF7-4B88-BBDE-B090D7586AE5}" type="presOf" srcId="{1E3BB5D9-EC03-429A-BB37-F3D7346F5B2E}" destId="{704A4951-D1BF-4948-8F7D-9B1DE79428F5}" srcOrd="0" destOrd="0" presId="urn:microsoft.com/office/officeart/2005/8/layout/pyramid1"/>
    <dgm:cxn modelId="{A78C9288-622A-49CA-B7BF-E055942C8132}" type="presOf" srcId="{17AC54E3-039E-4E65-A0EA-52BFDDE1392E}" destId="{CA945AF9-178B-4B89-806F-C8183D68DBC2}" srcOrd="1" destOrd="0" presId="urn:microsoft.com/office/officeart/2005/8/layout/pyramid1"/>
    <dgm:cxn modelId="{85CAE657-AF01-4948-937B-B8BCA68BE7C2}" srcId="{174B75D7-4741-4804-90D0-22D24B01BDCC}" destId="{17AC54E3-039E-4E65-A0EA-52BFDDE1392E}" srcOrd="4" destOrd="0" parTransId="{D60BB808-0E60-4659-9DD7-65A5D4769972}" sibTransId="{CD7E8951-9ABC-47A3-9041-75E4FCCAFF31}"/>
    <dgm:cxn modelId="{D678AA53-EF62-487F-B52F-C91EB0716C1D}" srcId="{174B75D7-4741-4804-90D0-22D24B01BDCC}" destId="{6AD9055D-78F2-4046-BC57-B5DED0F2F4F8}" srcOrd="0" destOrd="0" parTransId="{58CC983A-C5DF-49F1-9176-37A6831F337D}" sibTransId="{877692CD-4BE3-4C7C-99D7-B5BD4130ECD2}"/>
    <dgm:cxn modelId="{A9B4F311-89E1-4E19-9207-A68324AFD478}" type="presOf" srcId="{17AC54E3-039E-4E65-A0EA-52BFDDE1392E}" destId="{94E28665-8D2E-4147-A910-C7F5E77999D7}" srcOrd="0" destOrd="0" presId="urn:microsoft.com/office/officeart/2005/8/layout/pyramid1"/>
    <dgm:cxn modelId="{AEC66150-6574-41D2-B461-9AFB708A5CF1}" type="presOf" srcId="{6E0F80D2-7EEF-48EC-943A-E63A5976625D}" destId="{EB53C901-3EF7-4631-B988-A092AC8E3174}" srcOrd="1" destOrd="0" presId="urn:microsoft.com/office/officeart/2005/8/layout/pyramid1"/>
    <dgm:cxn modelId="{D2EBA25E-9AB4-4CDB-A006-C808E5ED6C82}" srcId="{174B75D7-4741-4804-90D0-22D24B01BDCC}" destId="{CED55404-628B-4DE4-9C58-7B8DA862056C}" srcOrd="1" destOrd="0" parTransId="{6046E1C2-1736-400F-9696-F07F5ECE6008}" sibTransId="{86496187-8B6C-4626-9D13-47476322246C}"/>
    <dgm:cxn modelId="{7ADA29FA-8B9D-470D-B6D4-35C2C0123A38}" srcId="{174B75D7-4741-4804-90D0-22D24B01BDCC}" destId="{1E3BB5D9-EC03-429A-BB37-F3D7346F5B2E}" srcOrd="2" destOrd="0" parTransId="{79F9D85D-6143-496F-826F-685F9E6C036F}" sibTransId="{01AE12BA-41D3-407E-9463-FC4001BF9159}"/>
    <dgm:cxn modelId="{ABBDD6CA-8882-483E-8812-6DCAA762E52C}" type="presOf" srcId="{CED55404-628B-4DE4-9C58-7B8DA862056C}" destId="{738AEDFD-4AF3-4DB0-BF5F-E9C184EE14FE}" srcOrd="0" destOrd="0" presId="urn:microsoft.com/office/officeart/2005/8/layout/pyramid1"/>
    <dgm:cxn modelId="{2E9867A2-3D13-4646-BC34-5C566CD638BE}" type="presOf" srcId="{6AD9055D-78F2-4046-BC57-B5DED0F2F4F8}" destId="{BBD44823-C66B-4F57-BFE4-2AC316862C80}" srcOrd="0" destOrd="0" presId="urn:microsoft.com/office/officeart/2005/8/layout/pyramid1"/>
    <dgm:cxn modelId="{00835871-75F0-48A0-B6CF-F3FC2026CE29}" type="presOf" srcId="{6AD9055D-78F2-4046-BC57-B5DED0F2F4F8}" destId="{D5EAB191-981D-4B08-806D-E4E33236896B}" srcOrd="1" destOrd="0" presId="urn:microsoft.com/office/officeart/2005/8/layout/pyramid1"/>
    <dgm:cxn modelId="{6386834D-6672-476F-B1B3-8DDE93EDF5A5}" type="presOf" srcId="{6E0F80D2-7EEF-48EC-943A-E63A5976625D}" destId="{5370EED0-B813-4926-8130-902ABE2D0A73}" srcOrd="0" destOrd="0" presId="urn:microsoft.com/office/officeart/2005/8/layout/pyramid1"/>
    <dgm:cxn modelId="{D100C9DA-1A29-4A6F-BBD9-2F337439E462}" type="presOf" srcId="{1E3BB5D9-EC03-429A-BB37-F3D7346F5B2E}" destId="{A1A3071C-2729-434C-88D2-E6E553451DEF}" srcOrd="1" destOrd="0" presId="urn:microsoft.com/office/officeart/2005/8/layout/pyramid1"/>
    <dgm:cxn modelId="{BCD1DC49-215B-4153-AE73-CD2A38FFC9C9}" type="presOf" srcId="{174B75D7-4741-4804-90D0-22D24B01BDCC}" destId="{98B8CCE1-0F2E-426D-94FD-64281ABA740C}" srcOrd="0" destOrd="0" presId="urn:microsoft.com/office/officeart/2005/8/layout/pyramid1"/>
    <dgm:cxn modelId="{09123390-46C7-47AB-ADD1-26E461611301}" type="presOf" srcId="{CED55404-628B-4DE4-9C58-7B8DA862056C}" destId="{3A8490D0-E8CD-44BD-952D-00C8D8C27C31}" srcOrd="1" destOrd="0" presId="urn:microsoft.com/office/officeart/2005/8/layout/pyramid1"/>
    <dgm:cxn modelId="{91C4238E-1C92-42BD-B889-95048BC9220A}" type="presParOf" srcId="{98B8CCE1-0F2E-426D-94FD-64281ABA740C}" destId="{F028366A-73BD-4989-BF46-A41B505793B9}" srcOrd="0" destOrd="0" presId="urn:microsoft.com/office/officeart/2005/8/layout/pyramid1"/>
    <dgm:cxn modelId="{E24EDC9B-529F-4327-8EEB-5B6C0B901A0E}" type="presParOf" srcId="{F028366A-73BD-4989-BF46-A41B505793B9}" destId="{BBD44823-C66B-4F57-BFE4-2AC316862C80}" srcOrd="0" destOrd="0" presId="urn:microsoft.com/office/officeart/2005/8/layout/pyramid1"/>
    <dgm:cxn modelId="{5EE49D07-D6EE-441B-AA9C-540A11843CD9}" type="presParOf" srcId="{F028366A-73BD-4989-BF46-A41B505793B9}" destId="{D5EAB191-981D-4B08-806D-E4E33236896B}" srcOrd="1" destOrd="0" presId="urn:microsoft.com/office/officeart/2005/8/layout/pyramid1"/>
    <dgm:cxn modelId="{953CF523-3EC7-48DD-B623-CE5ED2B9A89F}" type="presParOf" srcId="{98B8CCE1-0F2E-426D-94FD-64281ABA740C}" destId="{A7B9D3AD-591B-4867-86B2-C69379A02E00}" srcOrd="1" destOrd="0" presId="urn:microsoft.com/office/officeart/2005/8/layout/pyramid1"/>
    <dgm:cxn modelId="{2B145E73-A413-4F8C-BE2F-BB5F9372DB28}" type="presParOf" srcId="{A7B9D3AD-591B-4867-86B2-C69379A02E00}" destId="{738AEDFD-4AF3-4DB0-BF5F-E9C184EE14FE}" srcOrd="0" destOrd="0" presId="urn:microsoft.com/office/officeart/2005/8/layout/pyramid1"/>
    <dgm:cxn modelId="{6A035306-1CE6-4875-ACF6-0E6006A5AAF9}" type="presParOf" srcId="{A7B9D3AD-591B-4867-86B2-C69379A02E00}" destId="{3A8490D0-E8CD-44BD-952D-00C8D8C27C31}" srcOrd="1" destOrd="0" presId="urn:microsoft.com/office/officeart/2005/8/layout/pyramid1"/>
    <dgm:cxn modelId="{9338EBB7-F33F-4747-B366-8CDFDBC85387}" type="presParOf" srcId="{98B8CCE1-0F2E-426D-94FD-64281ABA740C}" destId="{3D45F235-E7F6-4396-962C-B5F0642007AE}" srcOrd="2" destOrd="0" presId="urn:microsoft.com/office/officeart/2005/8/layout/pyramid1"/>
    <dgm:cxn modelId="{0EC9E49B-06A1-4A0A-9E51-237915F2D1C6}" type="presParOf" srcId="{3D45F235-E7F6-4396-962C-B5F0642007AE}" destId="{704A4951-D1BF-4948-8F7D-9B1DE79428F5}" srcOrd="0" destOrd="0" presId="urn:microsoft.com/office/officeart/2005/8/layout/pyramid1"/>
    <dgm:cxn modelId="{12899F49-FA8E-4F0C-AA90-6DE6020CE20F}" type="presParOf" srcId="{3D45F235-E7F6-4396-962C-B5F0642007AE}" destId="{A1A3071C-2729-434C-88D2-E6E553451DEF}" srcOrd="1" destOrd="0" presId="urn:microsoft.com/office/officeart/2005/8/layout/pyramid1"/>
    <dgm:cxn modelId="{5459F3C5-A87E-4DC4-AEF7-366A5FD36FB9}" type="presParOf" srcId="{98B8CCE1-0F2E-426D-94FD-64281ABA740C}" destId="{A96A64EF-DD8D-45F6-A9A3-F67D78E6B143}" srcOrd="3" destOrd="0" presId="urn:microsoft.com/office/officeart/2005/8/layout/pyramid1"/>
    <dgm:cxn modelId="{2027BE67-285C-4606-A970-7A1B0AFDED35}" type="presParOf" srcId="{A96A64EF-DD8D-45F6-A9A3-F67D78E6B143}" destId="{5370EED0-B813-4926-8130-902ABE2D0A73}" srcOrd="0" destOrd="0" presId="urn:microsoft.com/office/officeart/2005/8/layout/pyramid1"/>
    <dgm:cxn modelId="{24D7B3F0-47B2-48C1-B130-F93200954178}" type="presParOf" srcId="{A96A64EF-DD8D-45F6-A9A3-F67D78E6B143}" destId="{EB53C901-3EF7-4631-B988-A092AC8E3174}" srcOrd="1" destOrd="0" presId="urn:microsoft.com/office/officeart/2005/8/layout/pyramid1"/>
    <dgm:cxn modelId="{E679551B-043C-4B5C-AC24-923B6590AB8A}" type="presParOf" srcId="{98B8CCE1-0F2E-426D-94FD-64281ABA740C}" destId="{5A84DD91-4881-445D-B30B-473430943C6C}" srcOrd="4" destOrd="0" presId="urn:microsoft.com/office/officeart/2005/8/layout/pyramid1"/>
    <dgm:cxn modelId="{5F0EADD6-643B-4A81-B03E-CA87F7F0521A}" type="presParOf" srcId="{5A84DD91-4881-445D-B30B-473430943C6C}" destId="{94E28665-8D2E-4147-A910-C7F5E77999D7}" srcOrd="0" destOrd="0" presId="urn:microsoft.com/office/officeart/2005/8/layout/pyramid1"/>
    <dgm:cxn modelId="{0F9AFD88-C045-4591-90A5-4759B99592F7}" type="presParOf" srcId="{5A84DD91-4881-445D-B30B-473430943C6C}" destId="{CA945AF9-178B-4B89-806F-C8183D68DBC2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CA0E167-E476-4617-BFA9-BC0C1A7F2DD0}" type="doc">
      <dgm:prSet loTypeId="urn:microsoft.com/office/officeart/2005/8/layout/pyramid1" loCatId="pyramid" qsTypeId="urn:microsoft.com/office/officeart/2005/8/quickstyle/simple1" qsCatId="simple" csTypeId="urn:microsoft.com/office/officeart/2005/8/colors/colorful2" csCatId="colorful" phldr="1"/>
      <dgm:spPr/>
    </dgm:pt>
    <dgm:pt modelId="{24170072-549D-48F2-9B0E-7B24F5D64C74}">
      <dgm:prSet phldrT="[Texto]" custT="1"/>
      <dgm:spPr/>
      <dgm:t>
        <a:bodyPr/>
        <a:lstStyle/>
        <a:p>
          <a:r>
            <a:rPr lang="fr-FR" sz="1200" b="1" smtClean="0">
              <a:solidFill>
                <a:schemeClr val="bg1"/>
              </a:solidFill>
            </a:rPr>
            <a:t>Texto</a:t>
          </a:r>
          <a:endParaRPr lang="fr-FR" sz="1200" b="1" dirty="0">
            <a:solidFill>
              <a:schemeClr val="bg1"/>
            </a:solidFill>
          </a:endParaRPr>
        </a:p>
      </dgm:t>
    </dgm:pt>
    <dgm:pt modelId="{0829D0DA-9C01-4ABE-8F03-4CBA857C8463}" type="parTrans" cxnId="{F36ACD54-A1C6-4C52-9162-A8E01C7E5121}">
      <dgm:prSet/>
      <dgm:spPr/>
      <dgm:t>
        <a:bodyPr/>
        <a:lstStyle/>
        <a:p>
          <a:endParaRPr lang="fr-FR" sz="700" b="1"/>
        </a:p>
      </dgm:t>
    </dgm:pt>
    <dgm:pt modelId="{F5D9836D-073C-44E5-BA42-73A7694B90A2}" type="sibTrans" cxnId="{F36ACD54-A1C6-4C52-9162-A8E01C7E5121}">
      <dgm:prSet/>
      <dgm:spPr/>
      <dgm:t>
        <a:bodyPr/>
        <a:lstStyle/>
        <a:p>
          <a:endParaRPr lang="fr-FR" sz="700" b="1"/>
        </a:p>
      </dgm:t>
    </dgm:pt>
    <dgm:pt modelId="{AAEB7D31-D6C7-429D-9993-915D4297ED3D}">
      <dgm:prSet phldrT="[Texto]" custT="1"/>
      <dgm:spPr/>
      <dgm:t>
        <a:bodyPr/>
        <a:lstStyle/>
        <a:p>
          <a:r>
            <a:rPr lang="fr-FR" sz="1200" b="1" smtClean="0"/>
            <a:t>Texto</a:t>
          </a:r>
          <a:endParaRPr lang="fr-FR" sz="1200" b="1" dirty="0"/>
        </a:p>
      </dgm:t>
    </dgm:pt>
    <dgm:pt modelId="{29FB711F-3FB4-4967-9337-88A925AAE0EA}" type="parTrans" cxnId="{92925F40-8431-4B03-A341-222C60606FB0}">
      <dgm:prSet/>
      <dgm:spPr/>
      <dgm:t>
        <a:bodyPr/>
        <a:lstStyle/>
        <a:p>
          <a:endParaRPr lang="fr-FR" sz="700" b="1"/>
        </a:p>
      </dgm:t>
    </dgm:pt>
    <dgm:pt modelId="{30AF6986-FC7A-4D57-9ADD-D5631D1D62E5}" type="sibTrans" cxnId="{92925F40-8431-4B03-A341-222C60606FB0}">
      <dgm:prSet/>
      <dgm:spPr/>
      <dgm:t>
        <a:bodyPr/>
        <a:lstStyle/>
        <a:p>
          <a:endParaRPr lang="fr-FR" sz="700" b="1"/>
        </a:p>
      </dgm:t>
    </dgm:pt>
    <dgm:pt modelId="{5B5BB82E-CCF5-47D1-B322-BC44E3F1F819}">
      <dgm:prSet phldrT="[Texto]" custT="1"/>
      <dgm:spPr/>
      <dgm:t>
        <a:bodyPr/>
        <a:lstStyle/>
        <a:p>
          <a:r>
            <a:rPr lang="fr-FR" sz="1200" b="1" smtClean="0"/>
            <a:t>Texto</a:t>
          </a:r>
          <a:endParaRPr lang="fr-FR" sz="1200" b="1" dirty="0"/>
        </a:p>
      </dgm:t>
    </dgm:pt>
    <dgm:pt modelId="{6393C00C-5284-4F04-BF35-D9BA1861DBA1}" type="parTrans" cxnId="{F92466C8-6955-41CE-BA2F-70EE4C0C76DE}">
      <dgm:prSet/>
      <dgm:spPr/>
      <dgm:t>
        <a:bodyPr/>
        <a:lstStyle/>
        <a:p>
          <a:endParaRPr lang="fr-FR" sz="700" b="1"/>
        </a:p>
      </dgm:t>
    </dgm:pt>
    <dgm:pt modelId="{76B683A0-C597-49D9-8454-0A5F2F536F19}" type="sibTrans" cxnId="{F92466C8-6955-41CE-BA2F-70EE4C0C76DE}">
      <dgm:prSet/>
      <dgm:spPr/>
      <dgm:t>
        <a:bodyPr/>
        <a:lstStyle/>
        <a:p>
          <a:endParaRPr lang="fr-FR" sz="700" b="1"/>
        </a:p>
      </dgm:t>
    </dgm:pt>
    <dgm:pt modelId="{79470CB3-EA48-4884-8DD6-F41502553DD3}">
      <dgm:prSet phldrT="[Texto]" custT="1"/>
      <dgm:spPr/>
      <dgm:t>
        <a:bodyPr/>
        <a:lstStyle/>
        <a:p>
          <a:r>
            <a:rPr lang="fr-FR" sz="1200" b="1" smtClean="0"/>
            <a:t>Texto</a:t>
          </a:r>
          <a:endParaRPr lang="fr-FR" sz="1200" b="1" dirty="0"/>
        </a:p>
      </dgm:t>
    </dgm:pt>
    <dgm:pt modelId="{8E72F41C-739B-4570-AB16-CF8F41601921}" type="parTrans" cxnId="{9CE9C99F-09D9-464D-A327-05E26F9A3613}">
      <dgm:prSet/>
      <dgm:spPr/>
      <dgm:t>
        <a:bodyPr/>
        <a:lstStyle/>
        <a:p>
          <a:endParaRPr lang="fr-FR" sz="700" b="1"/>
        </a:p>
      </dgm:t>
    </dgm:pt>
    <dgm:pt modelId="{5D16B6C8-DAD9-49A4-A545-B990A2164B3D}" type="sibTrans" cxnId="{9CE9C99F-09D9-464D-A327-05E26F9A3613}">
      <dgm:prSet/>
      <dgm:spPr/>
      <dgm:t>
        <a:bodyPr/>
        <a:lstStyle/>
        <a:p>
          <a:endParaRPr lang="fr-FR" sz="700" b="1"/>
        </a:p>
      </dgm:t>
    </dgm:pt>
    <dgm:pt modelId="{69693D3F-AC6D-4D9F-BA06-8EEC01D6AF08}">
      <dgm:prSet phldrT="[Texto]" custT="1"/>
      <dgm:spPr/>
      <dgm:t>
        <a:bodyPr/>
        <a:lstStyle/>
        <a:p>
          <a:r>
            <a:rPr lang="fr-FR" sz="1200" b="1" smtClean="0"/>
            <a:t>Texto</a:t>
          </a:r>
          <a:endParaRPr lang="fr-FR" sz="1200" b="1" dirty="0"/>
        </a:p>
      </dgm:t>
    </dgm:pt>
    <dgm:pt modelId="{8D462852-FFBD-46D8-9B30-8E078B42DE78}" type="parTrans" cxnId="{5271B6F9-D081-40DC-BCC3-52923815D002}">
      <dgm:prSet/>
      <dgm:spPr/>
      <dgm:t>
        <a:bodyPr/>
        <a:lstStyle/>
        <a:p>
          <a:endParaRPr lang="fr-FR" sz="700" b="1"/>
        </a:p>
      </dgm:t>
    </dgm:pt>
    <dgm:pt modelId="{A61983E1-4A73-45B8-B03E-8EA73062A30E}" type="sibTrans" cxnId="{5271B6F9-D081-40DC-BCC3-52923815D002}">
      <dgm:prSet/>
      <dgm:spPr/>
      <dgm:t>
        <a:bodyPr/>
        <a:lstStyle/>
        <a:p>
          <a:endParaRPr lang="fr-FR" sz="700" b="1"/>
        </a:p>
      </dgm:t>
    </dgm:pt>
    <dgm:pt modelId="{68C5A38D-BA01-4CFF-9088-D0F3E8A5CA1E}" type="pres">
      <dgm:prSet presAssocID="{4CA0E167-E476-4617-BFA9-BC0C1A7F2DD0}" presName="Name0" presStyleCnt="0">
        <dgm:presLayoutVars>
          <dgm:dir/>
          <dgm:animLvl val="lvl"/>
          <dgm:resizeHandles val="exact"/>
        </dgm:presLayoutVars>
      </dgm:prSet>
      <dgm:spPr/>
    </dgm:pt>
    <dgm:pt modelId="{CD222455-2B36-4987-90A0-29A7D3AFAB3E}" type="pres">
      <dgm:prSet presAssocID="{24170072-549D-48F2-9B0E-7B24F5D64C74}" presName="Name8" presStyleCnt="0"/>
      <dgm:spPr/>
    </dgm:pt>
    <dgm:pt modelId="{CB5C9B0D-562B-4331-A2ED-5A14EFD234E3}" type="pres">
      <dgm:prSet presAssocID="{24170072-549D-48F2-9B0E-7B24F5D64C74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51E518-8C21-4352-BEE6-2367719477EA}" type="pres">
      <dgm:prSet presAssocID="{24170072-549D-48F2-9B0E-7B24F5D64C7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1DDF3D-F5B6-4938-B6EC-8037F8BAB4B8}" type="pres">
      <dgm:prSet presAssocID="{79470CB3-EA48-4884-8DD6-F41502553DD3}" presName="Name8" presStyleCnt="0"/>
      <dgm:spPr/>
    </dgm:pt>
    <dgm:pt modelId="{2B3B7101-1DE1-4169-8CC1-2809EE42D132}" type="pres">
      <dgm:prSet presAssocID="{79470CB3-EA48-4884-8DD6-F41502553DD3}" presName="level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7CCA35B-F716-4E79-8B89-174CBC326C39}" type="pres">
      <dgm:prSet presAssocID="{79470CB3-EA48-4884-8DD6-F41502553DD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BA52612-22D0-41F1-AFEC-EAFC2B4F4B1D}" type="pres">
      <dgm:prSet presAssocID="{AAEB7D31-D6C7-429D-9993-915D4297ED3D}" presName="Name8" presStyleCnt="0"/>
      <dgm:spPr/>
    </dgm:pt>
    <dgm:pt modelId="{D2B1E0FA-658A-4204-91B7-C2255712130A}" type="pres">
      <dgm:prSet presAssocID="{AAEB7D31-D6C7-429D-9993-915D4297ED3D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129741D-B01E-4DAD-B698-ED123453D5EA}" type="pres">
      <dgm:prSet presAssocID="{AAEB7D31-D6C7-429D-9993-915D4297ED3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A8B55DF-F5D0-4FF3-9723-3A429EB5F42C}" type="pres">
      <dgm:prSet presAssocID="{5B5BB82E-CCF5-47D1-B322-BC44E3F1F819}" presName="Name8" presStyleCnt="0"/>
      <dgm:spPr/>
    </dgm:pt>
    <dgm:pt modelId="{798FDF41-141F-48CF-8147-AA32600CF23A}" type="pres">
      <dgm:prSet presAssocID="{5B5BB82E-CCF5-47D1-B322-BC44E3F1F819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FEE698-C682-4C4C-9140-2F3BEE7957ED}" type="pres">
      <dgm:prSet presAssocID="{5B5BB82E-CCF5-47D1-B322-BC44E3F1F81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274B574-994B-47CB-B491-E8D36419041A}" type="pres">
      <dgm:prSet presAssocID="{69693D3F-AC6D-4D9F-BA06-8EEC01D6AF08}" presName="Name8" presStyleCnt="0"/>
      <dgm:spPr/>
    </dgm:pt>
    <dgm:pt modelId="{882B1892-40D5-4418-86E8-2CBB6BD14CAC}" type="pres">
      <dgm:prSet presAssocID="{69693D3F-AC6D-4D9F-BA06-8EEC01D6AF08}" presName="level" presStyleLbl="node1" presStyleIdx="4" presStyleCnt="5" custLinFactNeighborY="303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8B717E9-617B-4002-9DA0-3B24B66E791C}" type="pres">
      <dgm:prSet presAssocID="{69693D3F-AC6D-4D9F-BA06-8EEC01D6AF0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CE9C99F-09D9-464D-A327-05E26F9A3613}" srcId="{4CA0E167-E476-4617-BFA9-BC0C1A7F2DD0}" destId="{79470CB3-EA48-4884-8DD6-F41502553DD3}" srcOrd="1" destOrd="0" parTransId="{8E72F41C-739B-4570-AB16-CF8F41601921}" sibTransId="{5D16B6C8-DAD9-49A4-A545-B990A2164B3D}"/>
    <dgm:cxn modelId="{F36ACD54-A1C6-4C52-9162-A8E01C7E5121}" srcId="{4CA0E167-E476-4617-BFA9-BC0C1A7F2DD0}" destId="{24170072-549D-48F2-9B0E-7B24F5D64C74}" srcOrd="0" destOrd="0" parTransId="{0829D0DA-9C01-4ABE-8F03-4CBA857C8463}" sibTransId="{F5D9836D-073C-44E5-BA42-73A7694B90A2}"/>
    <dgm:cxn modelId="{8FE61870-FAE1-4A0F-B7AC-46DB0358FEE9}" type="presOf" srcId="{69693D3F-AC6D-4D9F-BA06-8EEC01D6AF08}" destId="{882B1892-40D5-4418-86E8-2CBB6BD14CAC}" srcOrd="0" destOrd="0" presId="urn:microsoft.com/office/officeart/2005/8/layout/pyramid1"/>
    <dgm:cxn modelId="{DD2C6ABE-F3B2-444C-B148-48D00A63043C}" type="presOf" srcId="{5B5BB82E-CCF5-47D1-B322-BC44E3F1F819}" destId="{798FDF41-141F-48CF-8147-AA32600CF23A}" srcOrd="0" destOrd="0" presId="urn:microsoft.com/office/officeart/2005/8/layout/pyramid1"/>
    <dgm:cxn modelId="{92925F40-8431-4B03-A341-222C60606FB0}" srcId="{4CA0E167-E476-4617-BFA9-BC0C1A7F2DD0}" destId="{AAEB7D31-D6C7-429D-9993-915D4297ED3D}" srcOrd="2" destOrd="0" parTransId="{29FB711F-3FB4-4967-9337-88A925AAE0EA}" sibTransId="{30AF6986-FC7A-4D57-9ADD-D5631D1D62E5}"/>
    <dgm:cxn modelId="{ED93868A-74AE-433E-BBF5-DC8D448F60DA}" type="presOf" srcId="{79470CB3-EA48-4884-8DD6-F41502553DD3}" destId="{27CCA35B-F716-4E79-8B89-174CBC326C39}" srcOrd="1" destOrd="0" presId="urn:microsoft.com/office/officeart/2005/8/layout/pyramid1"/>
    <dgm:cxn modelId="{5271B6F9-D081-40DC-BCC3-52923815D002}" srcId="{4CA0E167-E476-4617-BFA9-BC0C1A7F2DD0}" destId="{69693D3F-AC6D-4D9F-BA06-8EEC01D6AF08}" srcOrd="4" destOrd="0" parTransId="{8D462852-FFBD-46D8-9B30-8E078B42DE78}" sibTransId="{A61983E1-4A73-45B8-B03E-8EA73062A30E}"/>
    <dgm:cxn modelId="{68121E1E-6241-49E1-B09A-AEBA25D42BF2}" type="presOf" srcId="{79470CB3-EA48-4884-8DD6-F41502553DD3}" destId="{2B3B7101-1DE1-4169-8CC1-2809EE42D132}" srcOrd="0" destOrd="0" presId="urn:microsoft.com/office/officeart/2005/8/layout/pyramid1"/>
    <dgm:cxn modelId="{2E7B83D1-A879-4238-8671-18E577B3F0F2}" type="presOf" srcId="{24170072-549D-48F2-9B0E-7B24F5D64C74}" destId="{6D51E518-8C21-4352-BEE6-2367719477EA}" srcOrd="1" destOrd="0" presId="urn:microsoft.com/office/officeart/2005/8/layout/pyramid1"/>
    <dgm:cxn modelId="{CBB84C25-36C2-4F3B-9D97-3A40CEA28A73}" type="presOf" srcId="{4CA0E167-E476-4617-BFA9-BC0C1A7F2DD0}" destId="{68C5A38D-BA01-4CFF-9088-D0F3E8A5CA1E}" srcOrd="0" destOrd="0" presId="urn:microsoft.com/office/officeart/2005/8/layout/pyramid1"/>
    <dgm:cxn modelId="{9FB01FE5-0C67-467A-9517-40245C97FC96}" type="presOf" srcId="{AAEB7D31-D6C7-429D-9993-915D4297ED3D}" destId="{2129741D-B01E-4DAD-B698-ED123453D5EA}" srcOrd="1" destOrd="0" presId="urn:microsoft.com/office/officeart/2005/8/layout/pyramid1"/>
    <dgm:cxn modelId="{7758492D-6200-4F09-B7B1-06BEFF54B04D}" type="presOf" srcId="{69693D3F-AC6D-4D9F-BA06-8EEC01D6AF08}" destId="{28B717E9-617B-4002-9DA0-3B24B66E791C}" srcOrd="1" destOrd="0" presId="urn:microsoft.com/office/officeart/2005/8/layout/pyramid1"/>
    <dgm:cxn modelId="{B20017D8-04FD-4299-BBE8-DFC5740E21A2}" type="presOf" srcId="{AAEB7D31-D6C7-429D-9993-915D4297ED3D}" destId="{D2B1E0FA-658A-4204-91B7-C2255712130A}" srcOrd="0" destOrd="0" presId="urn:microsoft.com/office/officeart/2005/8/layout/pyramid1"/>
    <dgm:cxn modelId="{6136ED52-E50B-43C2-B2CC-1F9C80CC1D64}" type="presOf" srcId="{24170072-549D-48F2-9B0E-7B24F5D64C74}" destId="{CB5C9B0D-562B-4331-A2ED-5A14EFD234E3}" srcOrd="0" destOrd="0" presId="urn:microsoft.com/office/officeart/2005/8/layout/pyramid1"/>
    <dgm:cxn modelId="{5210F6DC-0FD0-4144-A8B6-953CCF1F7B0B}" type="presOf" srcId="{5B5BB82E-CCF5-47D1-B322-BC44E3F1F819}" destId="{44FEE698-C682-4C4C-9140-2F3BEE7957ED}" srcOrd="1" destOrd="0" presId="urn:microsoft.com/office/officeart/2005/8/layout/pyramid1"/>
    <dgm:cxn modelId="{F92466C8-6955-41CE-BA2F-70EE4C0C76DE}" srcId="{4CA0E167-E476-4617-BFA9-BC0C1A7F2DD0}" destId="{5B5BB82E-CCF5-47D1-B322-BC44E3F1F819}" srcOrd="3" destOrd="0" parTransId="{6393C00C-5284-4F04-BF35-D9BA1861DBA1}" sibTransId="{76B683A0-C597-49D9-8454-0A5F2F536F19}"/>
    <dgm:cxn modelId="{37976C9D-615B-41F2-B17F-C56864B6B325}" type="presParOf" srcId="{68C5A38D-BA01-4CFF-9088-D0F3E8A5CA1E}" destId="{CD222455-2B36-4987-90A0-29A7D3AFAB3E}" srcOrd="0" destOrd="0" presId="urn:microsoft.com/office/officeart/2005/8/layout/pyramid1"/>
    <dgm:cxn modelId="{A8FC5AB5-BE74-4CA9-BA0A-B149CAEFE211}" type="presParOf" srcId="{CD222455-2B36-4987-90A0-29A7D3AFAB3E}" destId="{CB5C9B0D-562B-4331-A2ED-5A14EFD234E3}" srcOrd="0" destOrd="0" presId="urn:microsoft.com/office/officeart/2005/8/layout/pyramid1"/>
    <dgm:cxn modelId="{EB3E4D87-ADBC-499D-B1C1-91CA48536EA6}" type="presParOf" srcId="{CD222455-2B36-4987-90A0-29A7D3AFAB3E}" destId="{6D51E518-8C21-4352-BEE6-2367719477EA}" srcOrd="1" destOrd="0" presId="urn:microsoft.com/office/officeart/2005/8/layout/pyramid1"/>
    <dgm:cxn modelId="{76E2444E-A699-4831-AE99-A8521A3540CF}" type="presParOf" srcId="{68C5A38D-BA01-4CFF-9088-D0F3E8A5CA1E}" destId="{3A1DDF3D-F5B6-4938-B6EC-8037F8BAB4B8}" srcOrd="1" destOrd="0" presId="urn:microsoft.com/office/officeart/2005/8/layout/pyramid1"/>
    <dgm:cxn modelId="{47595E15-6D98-49C5-B8B4-62EDAEB7AAA0}" type="presParOf" srcId="{3A1DDF3D-F5B6-4938-B6EC-8037F8BAB4B8}" destId="{2B3B7101-1DE1-4169-8CC1-2809EE42D132}" srcOrd="0" destOrd="0" presId="urn:microsoft.com/office/officeart/2005/8/layout/pyramid1"/>
    <dgm:cxn modelId="{DC988840-D4D8-4632-85D1-E0C33A0373F4}" type="presParOf" srcId="{3A1DDF3D-F5B6-4938-B6EC-8037F8BAB4B8}" destId="{27CCA35B-F716-4E79-8B89-174CBC326C39}" srcOrd="1" destOrd="0" presId="urn:microsoft.com/office/officeart/2005/8/layout/pyramid1"/>
    <dgm:cxn modelId="{8F0E4D21-6443-4B7A-B329-13343C3AE6A1}" type="presParOf" srcId="{68C5A38D-BA01-4CFF-9088-D0F3E8A5CA1E}" destId="{4BA52612-22D0-41F1-AFEC-EAFC2B4F4B1D}" srcOrd="2" destOrd="0" presId="urn:microsoft.com/office/officeart/2005/8/layout/pyramid1"/>
    <dgm:cxn modelId="{1C9CE959-B75C-487A-8078-E5E037C015E5}" type="presParOf" srcId="{4BA52612-22D0-41F1-AFEC-EAFC2B4F4B1D}" destId="{D2B1E0FA-658A-4204-91B7-C2255712130A}" srcOrd="0" destOrd="0" presId="urn:microsoft.com/office/officeart/2005/8/layout/pyramid1"/>
    <dgm:cxn modelId="{1B2DC4AB-CFB1-4434-B0DE-4351904F162A}" type="presParOf" srcId="{4BA52612-22D0-41F1-AFEC-EAFC2B4F4B1D}" destId="{2129741D-B01E-4DAD-B698-ED123453D5EA}" srcOrd="1" destOrd="0" presId="urn:microsoft.com/office/officeart/2005/8/layout/pyramid1"/>
    <dgm:cxn modelId="{1D1FFF94-F66F-4C01-9C2C-17155ECCB357}" type="presParOf" srcId="{68C5A38D-BA01-4CFF-9088-D0F3E8A5CA1E}" destId="{0A8B55DF-F5D0-4FF3-9723-3A429EB5F42C}" srcOrd="3" destOrd="0" presId="urn:microsoft.com/office/officeart/2005/8/layout/pyramid1"/>
    <dgm:cxn modelId="{5147E56A-FD42-4115-9482-EE05757D7BA1}" type="presParOf" srcId="{0A8B55DF-F5D0-4FF3-9723-3A429EB5F42C}" destId="{798FDF41-141F-48CF-8147-AA32600CF23A}" srcOrd="0" destOrd="0" presId="urn:microsoft.com/office/officeart/2005/8/layout/pyramid1"/>
    <dgm:cxn modelId="{BE0159E8-FB8F-4251-9E7B-AE0356F14F96}" type="presParOf" srcId="{0A8B55DF-F5D0-4FF3-9723-3A429EB5F42C}" destId="{44FEE698-C682-4C4C-9140-2F3BEE7957ED}" srcOrd="1" destOrd="0" presId="urn:microsoft.com/office/officeart/2005/8/layout/pyramid1"/>
    <dgm:cxn modelId="{1D2A4C4D-B870-4453-B460-DD35D0E679A3}" type="presParOf" srcId="{68C5A38D-BA01-4CFF-9088-D0F3E8A5CA1E}" destId="{3274B574-994B-47CB-B491-E8D36419041A}" srcOrd="4" destOrd="0" presId="urn:microsoft.com/office/officeart/2005/8/layout/pyramid1"/>
    <dgm:cxn modelId="{26EACBA5-3410-494C-837D-EF5C4FE0C014}" type="presParOf" srcId="{3274B574-994B-47CB-B491-E8D36419041A}" destId="{882B1892-40D5-4418-86E8-2CBB6BD14CAC}" srcOrd="0" destOrd="0" presId="urn:microsoft.com/office/officeart/2005/8/layout/pyramid1"/>
    <dgm:cxn modelId="{BC9A0E69-D775-47DA-B91E-956725D9D423}" type="presParOf" srcId="{3274B574-994B-47CB-B491-E8D36419041A}" destId="{28B717E9-617B-4002-9DA0-3B24B66E791C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CA0E167-E476-4617-BFA9-BC0C1A7F2DD0}" type="doc">
      <dgm:prSet loTypeId="urn:microsoft.com/office/officeart/2005/8/layout/pyramid1" loCatId="pyramid" qsTypeId="urn:microsoft.com/office/officeart/2005/8/quickstyle/simple1" qsCatId="simple" csTypeId="urn:microsoft.com/office/officeart/2005/8/colors/colorful4" csCatId="colorful" phldr="1"/>
      <dgm:spPr/>
    </dgm:pt>
    <dgm:pt modelId="{24170072-549D-48F2-9B0E-7B24F5D64C74}">
      <dgm:prSet phldrT="[Texto]" custT="1"/>
      <dgm:spPr/>
      <dgm:t>
        <a:bodyPr/>
        <a:lstStyle/>
        <a:p>
          <a:r>
            <a:rPr lang="fr-FR" sz="1200" b="0" smtClean="0"/>
            <a:t>xxx</a:t>
          </a:r>
          <a:endParaRPr lang="fr-FR" sz="1200" b="0" dirty="0"/>
        </a:p>
      </dgm:t>
    </dgm:pt>
    <dgm:pt modelId="{0829D0DA-9C01-4ABE-8F03-4CBA857C8463}" type="parTrans" cxnId="{F36ACD54-A1C6-4C52-9162-A8E01C7E5121}">
      <dgm:prSet/>
      <dgm:spPr/>
      <dgm:t>
        <a:bodyPr/>
        <a:lstStyle/>
        <a:p>
          <a:endParaRPr lang="fr-FR" sz="700" b="0"/>
        </a:p>
      </dgm:t>
    </dgm:pt>
    <dgm:pt modelId="{F5D9836D-073C-44E5-BA42-73A7694B90A2}" type="sibTrans" cxnId="{F36ACD54-A1C6-4C52-9162-A8E01C7E5121}">
      <dgm:prSet/>
      <dgm:spPr/>
      <dgm:t>
        <a:bodyPr/>
        <a:lstStyle/>
        <a:p>
          <a:endParaRPr lang="fr-FR" sz="700" b="0"/>
        </a:p>
      </dgm:t>
    </dgm:pt>
    <dgm:pt modelId="{AAEB7D31-D6C7-429D-9993-915D4297ED3D}">
      <dgm:prSet phldrT="[Texto]" custT="1"/>
      <dgm:spPr/>
      <dgm:t>
        <a:bodyPr/>
        <a:lstStyle/>
        <a:p>
          <a:r>
            <a:rPr lang="fr-FR" sz="1200" b="0" smtClean="0"/>
            <a:t>Texto</a:t>
          </a:r>
          <a:endParaRPr lang="fr-FR" sz="1200" b="0" dirty="0"/>
        </a:p>
      </dgm:t>
    </dgm:pt>
    <dgm:pt modelId="{29FB711F-3FB4-4967-9337-88A925AAE0EA}" type="parTrans" cxnId="{92925F40-8431-4B03-A341-222C60606FB0}">
      <dgm:prSet/>
      <dgm:spPr/>
      <dgm:t>
        <a:bodyPr/>
        <a:lstStyle/>
        <a:p>
          <a:endParaRPr lang="fr-FR" sz="700" b="0"/>
        </a:p>
      </dgm:t>
    </dgm:pt>
    <dgm:pt modelId="{30AF6986-FC7A-4D57-9ADD-D5631D1D62E5}" type="sibTrans" cxnId="{92925F40-8431-4B03-A341-222C60606FB0}">
      <dgm:prSet/>
      <dgm:spPr/>
      <dgm:t>
        <a:bodyPr/>
        <a:lstStyle/>
        <a:p>
          <a:endParaRPr lang="fr-FR" sz="700" b="0"/>
        </a:p>
      </dgm:t>
    </dgm:pt>
    <dgm:pt modelId="{5B5BB82E-CCF5-47D1-B322-BC44E3F1F819}">
      <dgm:prSet phldrT="[Texto]" custT="1"/>
      <dgm:spPr/>
      <dgm:t>
        <a:bodyPr/>
        <a:lstStyle/>
        <a:p>
          <a:r>
            <a:rPr lang="fr-FR" sz="1200" b="0" smtClean="0"/>
            <a:t>Texto</a:t>
          </a:r>
          <a:endParaRPr lang="fr-FR" sz="1200" b="0" dirty="0"/>
        </a:p>
      </dgm:t>
    </dgm:pt>
    <dgm:pt modelId="{6393C00C-5284-4F04-BF35-D9BA1861DBA1}" type="parTrans" cxnId="{F92466C8-6955-41CE-BA2F-70EE4C0C76DE}">
      <dgm:prSet/>
      <dgm:spPr/>
      <dgm:t>
        <a:bodyPr/>
        <a:lstStyle/>
        <a:p>
          <a:endParaRPr lang="fr-FR" sz="700" b="0"/>
        </a:p>
      </dgm:t>
    </dgm:pt>
    <dgm:pt modelId="{76B683A0-C597-49D9-8454-0A5F2F536F19}" type="sibTrans" cxnId="{F92466C8-6955-41CE-BA2F-70EE4C0C76DE}">
      <dgm:prSet/>
      <dgm:spPr/>
      <dgm:t>
        <a:bodyPr/>
        <a:lstStyle/>
        <a:p>
          <a:endParaRPr lang="fr-FR" sz="700" b="0"/>
        </a:p>
      </dgm:t>
    </dgm:pt>
    <dgm:pt modelId="{79470CB3-EA48-4884-8DD6-F41502553DD3}">
      <dgm:prSet phldrT="[Texto]" custT="1"/>
      <dgm:spPr/>
      <dgm:t>
        <a:bodyPr/>
        <a:lstStyle/>
        <a:p>
          <a:r>
            <a:rPr lang="fr-FR" sz="1200" b="0" smtClean="0"/>
            <a:t>Texto</a:t>
          </a:r>
          <a:endParaRPr lang="fr-FR" sz="1200" b="0" dirty="0"/>
        </a:p>
      </dgm:t>
    </dgm:pt>
    <dgm:pt modelId="{5D16B6C8-DAD9-49A4-A545-B990A2164B3D}" type="sibTrans" cxnId="{9CE9C99F-09D9-464D-A327-05E26F9A3613}">
      <dgm:prSet/>
      <dgm:spPr/>
      <dgm:t>
        <a:bodyPr/>
        <a:lstStyle/>
        <a:p>
          <a:endParaRPr lang="fr-FR" sz="700" b="0"/>
        </a:p>
      </dgm:t>
    </dgm:pt>
    <dgm:pt modelId="{8E72F41C-739B-4570-AB16-CF8F41601921}" type="parTrans" cxnId="{9CE9C99F-09D9-464D-A327-05E26F9A3613}">
      <dgm:prSet/>
      <dgm:spPr/>
      <dgm:t>
        <a:bodyPr/>
        <a:lstStyle/>
        <a:p>
          <a:endParaRPr lang="fr-FR" sz="700" b="0"/>
        </a:p>
      </dgm:t>
    </dgm:pt>
    <dgm:pt modelId="{68C5A38D-BA01-4CFF-9088-D0F3E8A5CA1E}" type="pres">
      <dgm:prSet presAssocID="{4CA0E167-E476-4617-BFA9-BC0C1A7F2DD0}" presName="Name0" presStyleCnt="0">
        <dgm:presLayoutVars>
          <dgm:dir/>
          <dgm:animLvl val="lvl"/>
          <dgm:resizeHandles val="exact"/>
        </dgm:presLayoutVars>
      </dgm:prSet>
      <dgm:spPr/>
    </dgm:pt>
    <dgm:pt modelId="{CD222455-2B36-4987-90A0-29A7D3AFAB3E}" type="pres">
      <dgm:prSet presAssocID="{24170072-549D-48F2-9B0E-7B24F5D64C74}" presName="Name8" presStyleCnt="0"/>
      <dgm:spPr/>
    </dgm:pt>
    <dgm:pt modelId="{CB5C9B0D-562B-4331-A2ED-5A14EFD234E3}" type="pres">
      <dgm:prSet presAssocID="{24170072-549D-48F2-9B0E-7B24F5D64C74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D51E518-8C21-4352-BEE6-2367719477EA}" type="pres">
      <dgm:prSet presAssocID="{24170072-549D-48F2-9B0E-7B24F5D64C7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1DDF3D-F5B6-4938-B6EC-8037F8BAB4B8}" type="pres">
      <dgm:prSet presAssocID="{79470CB3-EA48-4884-8DD6-F41502553DD3}" presName="Name8" presStyleCnt="0"/>
      <dgm:spPr/>
    </dgm:pt>
    <dgm:pt modelId="{2B3B7101-1DE1-4169-8CC1-2809EE42D132}" type="pres">
      <dgm:prSet presAssocID="{79470CB3-EA48-4884-8DD6-F41502553DD3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7CCA35B-F716-4E79-8B89-174CBC326C39}" type="pres">
      <dgm:prSet presAssocID="{79470CB3-EA48-4884-8DD6-F41502553DD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BA52612-22D0-41F1-AFEC-EAFC2B4F4B1D}" type="pres">
      <dgm:prSet presAssocID="{AAEB7D31-D6C7-429D-9993-915D4297ED3D}" presName="Name8" presStyleCnt="0"/>
      <dgm:spPr/>
    </dgm:pt>
    <dgm:pt modelId="{D2B1E0FA-658A-4204-91B7-C2255712130A}" type="pres">
      <dgm:prSet presAssocID="{AAEB7D31-D6C7-429D-9993-915D4297ED3D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129741D-B01E-4DAD-B698-ED123453D5EA}" type="pres">
      <dgm:prSet presAssocID="{AAEB7D31-D6C7-429D-9993-915D4297ED3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A8B55DF-F5D0-4FF3-9723-3A429EB5F42C}" type="pres">
      <dgm:prSet presAssocID="{5B5BB82E-CCF5-47D1-B322-BC44E3F1F819}" presName="Name8" presStyleCnt="0"/>
      <dgm:spPr/>
    </dgm:pt>
    <dgm:pt modelId="{798FDF41-141F-48CF-8147-AA32600CF23A}" type="pres">
      <dgm:prSet presAssocID="{5B5BB82E-CCF5-47D1-B322-BC44E3F1F819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4FEE698-C682-4C4C-9140-2F3BEE7957ED}" type="pres">
      <dgm:prSet presAssocID="{5B5BB82E-CCF5-47D1-B322-BC44E3F1F81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CE9C99F-09D9-464D-A327-05E26F9A3613}" srcId="{4CA0E167-E476-4617-BFA9-BC0C1A7F2DD0}" destId="{79470CB3-EA48-4884-8DD6-F41502553DD3}" srcOrd="1" destOrd="0" parTransId="{8E72F41C-739B-4570-AB16-CF8F41601921}" sibTransId="{5D16B6C8-DAD9-49A4-A545-B990A2164B3D}"/>
    <dgm:cxn modelId="{148C4553-1460-4039-B446-897F5668ED7D}" type="presOf" srcId="{AAEB7D31-D6C7-429D-9993-915D4297ED3D}" destId="{D2B1E0FA-658A-4204-91B7-C2255712130A}" srcOrd="0" destOrd="0" presId="urn:microsoft.com/office/officeart/2005/8/layout/pyramid1"/>
    <dgm:cxn modelId="{F36ACD54-A1C6-4C52-9162-A8E01C7E5121}" srcId="{4CA0E167-E476-4617-BFA9-BC0C1A7F2DD0}" destId="{24170072-549D-48F2-9B0E-7B24F5D64C74}" srcOrd="0" destOrd="0" parTransId="{0829D0DA-9C01-4ABE-8F03-4CBA857C8463}" sibTransId="{F5D9836D-073C-44E5-BA42-73A7694B90A2}"/>
    <dgm:cxn modelId="{F955EBC1-B098-4674-A8D9-4C0AD4A8EF2C}" type="presOf" srcId="{79470CB3-EA48-4884-8DD6-F41502553DD3}" destId="{2B3B7101-1DE1-4169-8CC1-2809EE42D132}" srcOrd="0" destOrd="0" presId="urn:microsoft.com/office/officeart/2005/8/layout/pyramid1"/>
    <dgm:cxn modelId="{7E41FBB6-9B0F-46DA-9414-F5F02DBB4665}" type="presOf" srcId="{4CA0E167-E476-4617-BFA9-BC0C1A7F2DD0}" destId="{68C5A38D-BA01-4CFF-9088-D0F3E8A5CA1E}" srcOrd="0" destOrd="0" presId="urn:microsoft.com/office/officeart/2005/8/layout/pyramid1"/>
    <dgm:cxn modelId="{ABCB56B2-3F51-4107-A76A-62C045CF0AD8}" type="presOf" srcId="{5B5BB82E-CCF5-47D1-B322-BC44E3F1F819}" destId="{44FEE698-C682-4C4C-9140-2F3BEE7957ED}" srcOrd="1" destOrd="0" presId="urn:microsoft.com/office/officeart/2005/8/layout/pyramid1"/>
    <dgm:cxn modelId="{AFC73629-7982-4C03-8229-357BF9FFAE8F}" type="presOf" srcId="{79470CB3-EA48-4884-8DD6-F41502553DD3}" destId="{27CCA35B-F716-4E79-8B89-174CBC326C39}" srcOrd="1" destOrd="0" presId="urn:microsoft.com/office/officeart/2005/8/layout/pyramid1"/>
    <dgm:cxn modelId="{92925F40-8431-4B03-A341-222C60606FB0}" srcId="{4CA0E167-E476-4617-BFA9-BC0C1A7F2DD0}" destId="{AAEB7D31-D6C7-429D-9993-915D4297ED3D}" srcOrd="2" destOrd="0" parTransId="{29FB711F-3FB4-4967-9337-88A925AAE0EA}" sibTransId="{30AF6986-FC7A-4D57-9ADD-D5631D1D62E5}"/>
    <dgm:cxn modelId="{F77EFB93-BDD6-45D1-967E-BF37A64060FB}" type="presOf" srcId="{24170072-549D-48F2-9B0E-7B24F5D64C74}" destId="{CB5C9B0D-562B-4331-A2ED-5A14EFD234E3}" srcOrd="0" destOrd="0" presId="urn:microsoft.com/office/officeart/2005/8/layout/pyramid1"/>
    <dgm:cxn modelId="{EF94F06A-27EB-44EA-8D9A-DB6781CE9DC4}" type="presOf" srcId="{AAEB7D31-D6C7-429D-9993-915D4297ED3D}" destId="{2129741D-B01E-4DAD-B698-ED123453D5EA}" srcOrd="1" destOrd="0" presId="urn:microsoft.com/office/officeart/2005/8/layout/pyramid1"/>
    <dgm:cxn modelId="{E02113B6-0A28-4AAE-8CEF-AD4F2FD5D697}" type="presOf" srcId="{24170072-549D-48F2-9B0E-7B24F5D64C74}" destId="{6D51E518-8C21-4352-BEE6-2367719477EA}" srcOrd="1" destOrd="0" presId="urn:microsoft.com/office/officeart/2005/8/layout/pyramid1"/>
    <dgm:cxn modelId="{BDB44CA4-EBF0-4636-8D93-B03CC1280287}" type="presOf" srcId="{5B5BB82E-CCF5-47D1-B322-BC44E3F1F819}" destId="{798FDF41-141F-48CF-8147-AA32600CF23A}" srcOrd="0" destOrd="0" presId="urn:microsoft.com/office/officeart/2005/8/layout/pyramid1"/>
    <dgm:cxn modelId="{F92466C8-6955-41CE-BA2F-70EE4C0C76DE}" srcId="{4CA0E167-E476-4617-BFA9-BC0C1A7F2DD0}" destId="{5B5BB82E-CCF5-47D1-B322-BC44E3F1F819}" srcOrd="3" destOrd="0" parTransId="{6393C00C-5284-4F04-BF35-D9BA1861DBA1}" sibTransId="{76B683A0-C597-49D9-8454-0A5F2F536F19}"/>
    <dgm:cxn modelId="{C1A2C40D-AE80-4F1C-8D68-89E2DDC872B7}" type="presParOf" srcId="{68C5A38D-BA01-4CFF-9088-D0F3E8A5CA1E}" destId="{CD222455-2B36-4987-90A0-29A7D3AFAB3E}" srcOrd="0" destOrd="0" presId="urn:microsoft.com/office/officeart/2005/8/layout/pyramid1"/>
    <dgm:cxn modelId="{17E7F0E8-21F8-447C-A523-2AE639778A64}" type="presParOf" srcId="{CD222455-2B36-4987-90A0-29A7D3AFAB3E}" destId="{CB5C9B0D-562B-4331-A2ED-5A14EFD234E3}" srcOrd="0" destOrd="0" presId="urn:microsoft.com/office/officeart/2005/8/layout/pyramid1"/>
    <dgm:cxn modelId="{9F2A4EF1-637D-4A84-9B8D-2A915C9721E5}" type="presParOf" srcId="{CD222455-2B36-4987-90A0-29A7D3AFAB3E}" destId="{6D51E518-8C21-4352-BEE6-2367719477EA}" srcOrd="1" destOrd="0" presId="urn:microsoft.com/office/officeart/2005/8/layout/pyramid1"/>
    <dgm:cxn modelId="{AE1AC786-4EE2-40BD-8C69-8435035C09AC}" type="presParOf" srcId="{68C5A38D-BA01-4CFF-9088-D0F3E8A5CA1E}" destId="{3A1DDF3D-F5B6-4938-B6EC-8037F8BAB4B8}" srcOrd="1" destOrd="0" presId="urn:microsoft.com/office/officeart/2005/8/layout/pyramid1"/>
    <dgm:cxn modelId="{A3ECE4C8-279E-4846-9F20-3485731BC2A2}" type="presParOf" srcId="{3A1DDF3D-F5B6-4938-B6EC-8037F8BAB4B8}" destId="{2B3B7101-1DE1-4169-8CC1-2809EE42D132}" srcOrd="0" destOrd="0" presId="urn:microsoft.com/office/officeart/2005/8/layout/pyramid1"/>
    <dgm:cxn modelId="{1AA023CF-004A-43E2-86E9-FC234EB90202}" type="presParOf" srcId="{3A1DDF3D-F5B6-4938-B6EC-8037F8BAB4B8}" destId="{27CCA35B-F716-4E79-8B89-174CBC326C39}" srcOrd="1" destOrd="0" presId="urn:microsoft.com/office/officeart/2005/8/layout/pyramid1"/>
    <dgm:cxn modelId="{9F005E6C-31C8-4B10-8EF8-9641AC38AE78}" type="presParOf" srcId="{68C5A38D-BA01-4CFF-9088-D0F3E8A5CA1E}" destId="{4BA52612-22D0-41F1-AFEC-EAFC2B4F4B1D}" srcOrd="2" destOrd="0" presId="urn:microsoft.com/office/officeart/2005/8/layout/pyramid1"/>
    <dgm:cxn modelId="{DABE7214-8A18-4C9B-8EF0-5F68B9143FFF}" type="presParOf" srcId="{4BA52612-22D0-41F1-AFEC-EAFC2B4F4B1D}" destId="{D2B1E0FA-658A-4204-91B7-C2255712130A}" srcOrd="0" destOrd="0" presId="urn:microsoft.com/office/officeart/2005/8/layout/pyramid1"/>
    <dgm:cxn modelId="{26B2BB78-2874-4A02-8F8B-C1E979D19258}" type="presParOf" srcId="{4BA52612-22D0-41F1-AFEC-EAFC2B4F4B1D}" destId="{2129741D-B01E-4DAD-B698-ED123453D5EA}" srcOrd="1" destOrd="0" presId="urn:microsoft.com/office/officeart/2005/8/layout/pyramid1"/>
    <dgm:cxn modelId="{82995B42-AB0B-4324-92E4-15DC7E92BA06}" type="presParOf" srcId="{68C5A38D-BA01-4CFF-9088-D0F3E8A5CA1E}" destId="{0A8B55DF-F5D0-4FF3-9723-3A429EB5F42C}" srcOrd="3" destOrd="0" presId="urn:microsoft.com/office/officeart/2005/8/layout/pyramid1"/>
    <dgm:cxn modelId="{A3734D74-C97A-4C56-97A9-74E3CED35DCA}" type="presParOf" srcId="{0A8B55DF-F5D0-4FF3-9723-3A429EB5F42C}" destId="{798FDF41-141F-48CF-8147-AA32600CF23A}" srcOrd="0" destOrd="0" presId="urn:microsoft.com/office/officeart/2005/8/layout/pyramid1"/>
    <dgm:cxn modelId="{B92F8D06-A532-4713-B112-C314742CCFB2}" type="presParOf" srcId="{0A8B55DF-F5D0-4FF3-9723-3A429EB5F42C}" destId="{44FEE698-C682-4C4C-9140-2F3BEE7957ED}" srcOrd="1" destOrd="0" presId="urn:microsoft.com/office/officeart/2005/8/layout/pyramid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492F77C-C908-46A4-9A39-874770681390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0"/>
      <dgm:spPr/>
      <dgm:t>
        <a:bodyPr/>
        <a:lstStyle/>
        <a:p>
          <a:endParaRPr lang="fr-FR"/>
        </a:p>
      </dgm:t>
    </dgm:pt>
    <dgm:pt modelId="{DB8A3ACA-DC49-4A3A-A119-D4989003F670}">
      <dgm:prSet phldrT="[Texto]" phldr="1" custT="1"/>
      <dgm:spPr/>
      <dgm:t>
        <a:bodyPr/>
        <a:lstStyle/>
        <a:p>
          <a:endParaRPr lang="fr-FR" sz="1200" dirty="0"/>
        </a:p>
      </dgm:t>
    </dgm:pt>
    <dgm:pt modelId="{C98FE5C2-863F-4552-B9A1-55FFACD1ECD1}" type="parTrans" cxnId="{7F9143AE-9AD5-4551-8FB0-54F3E74F1F13}">
      <dgm:prSet/>
      <dgm:spPr/>
      <dgm:t>
        <a:bodyPr/>
        <a:lstStyle/>
        <a:p>
          <a:endParaRPr lang="fr-FR" sz="1200"/>
        </a:p>
      </dgm:t>
    </dgm:pt>
    <dgm:pt modelId="{E7C037EE-A78D-4675-99E9-1960D476E2B8}" type="sibTrans" cxnId="{7F9143AE-9AD5-4551-8FB0-54F3E74F1F13}">
      <dgm:prSet/>
      <dgm:spPr/>
      <dgm:t>
        <a:bodyPr/>
        <a:lstStyle/>
        <a:p>
          <a:endParaRPr lang="fr-FR" sz="1200"/>
        </a:p>
      </dgm:t>
    </dgm:pt>
    <dgm:pt modelId="{20D3EBC1-B8AB-49C6-9B4E-19A211E3AC39}">
      <dgm:prSet phldrT="[Texto]" phldr="1" custT="1"/>
      <dgm:spPr/>
      <dgm:t>
        <a:bodyPr/>
        <a:lstStyle/>
        <a:p>
          <a:endParaRPr lang="fr-FR" sz="1200" dirty="0"/>
        </a:p>
      </dgm:t>
    </dgm:pt>
    <dgm:pt modelId="{0D9C2BD4-281A-4A95-BAC3-5B22839E4412}" type="parTrans" cxnId="{B469FD35-9316-498B-AC66-368726E3FBDC}">
      <dgm:prSet/>
      <dgm:spPr/>
      <dgm:t>
        <a:bodyPr/>
        <a:lstStyle/>
        <a:p>
          <a:endParaRPr lang="fr-FR" sz="1200"/>
        </a:p>
      </dgm:t>
    </dgm:pt>
    <dgm:pt modelId="{CC10382F-33D9-461C-9E98-B46A7007097D}" type="sibTrans" cxnId="{B469FD35-9316-498B-AC66-368726E3FBDC}">
      <dgm:prSet/>
      <dgm:spPr/>
      <dgm:t>
        <a:bodyPr/>
        <a:lstStyle/>
        <a:p>
          <a:endParaRPr lang="fr-FR" sz="1200"/>
        </a:p>
      </dgm:t>
    </dgm:pt>
    <dgm:pt modelId="{AD4F4B77-0185-44AB-906F-F44B9AAFBCD3}">
      <dgm:prSet phldrT="[Texto]" phldr="1" custT="1"/>
      <dgm:spPr/>
      <dgm:t>
        <a:bodyPr/>
        <a:lstStyle/>
        <a:p>
          <a:endParaRPr lang="fr-FR" sz="1200" dirty="0"/>
        </a:p>
      </dgm:t>
    </dgm:pt>
    <dgm:pt modelId="{04EF6B99-7685-40F1-AB9B-379A0FC713D9}" type="parTrans" cxnId="{C0B2ECC0-659E-4748-B5FD-FDF7B66CBAF2}">
      <dgm:prSet/>
      <dgm:spPr/>
      <dgm:t>
        <a:bodyPr/>
        <a:lstStyle/>
        <a:p>
          <a:endParaRPr lang="fr-FR" sz="1200"/>
        </a:p>
      </dgm:t>
    </dgm:pt>
    <dgm:pt modelId="{88D51AAF-C550-47DF-99DE-9E3F3A275C74}" type="sibTrans" cxnId="{C0B2ECC0-659E-4748-B5FD-FDF7B66CBAF2}">
      <dgm:prSet/>
      <dgm:spPr/>
      <dgm:t>
        <a:bodyPr/>
        <a:lstStyle/>
        <a:p>
          <a:endParaRPr lang="fr-FR" sz="1200"/>
        </a:p>
      </dgm:t>
    </dgm:pt>
    <dgm:pt modelId="{6A5E057B-90B1-43B3-B795-725E6CA95A93}">
      <dgm:prSet phldrT="[Texto]" phldr="1" custT="1"/>
      <dgm:spPr/>
      <dgm:t>
        <a:bodyPr/>
        <a:lstStyle/>
        <a:p>
          <a:endParaRPr lang="fr-FR" sz="1200" dirty="0"/>
        </a:p>
      </dgm:t>
    </dgm:pt>
    <dgm:pt modelId="{54F24391-A375-44FB-8E46-21D1924CF1B9}" type="parTrans" cxnId="{03EF85EA-99A8-4CB2-BBF7-B083C712C60C}">
      <dgm:prSet/>
      <dgm:spPr/>
      <dgm:t>
        <a:bodyPr/>
        <a:lstStyle/>
        <a:p>
          <a:endParaRPr lang="fr-FR" sz="1200"/>
        </a:p>
      </dgm:t>
    </dgm:pt>
    <dgm:pt modelId="{C7F5E83A-D447-4777-9BBE-1B6482BD7C6A}" type="sibTrans" cxnId="{03EF85EA-99A8-4CB2-BBF7-B083C712C60C}">
      <dgm:prSet/>
      <dgm:spPr/>
      <dgm:t>
        <a:bodyPr/>
        <a:lstStyle/>
        <a:p>
          <a:endParaRPr lang="fr-FR" sz="1200"/>
        </a:p>
      </dgm:t>
    </dgm:pt>
    <dgm:pt modelId="{E2E3E12A-F274-40EA-8E88-4F5DA71658CD}">
      <dgm:prSet phldrT="[Texto]" phldr="1" custT="1"/>
      <dgm:spPr/>
      <dgm:t>
        <a:bodyPr/>
        <a:lstStyle/>
        <a:p>
          <a:endParaRPr lang="fr-FR" sz="1200" dirty="0"/>
        </a:p>
      </dgm:t>
    </dgm:pt>
    <dgm:pt modelId="{42BF65CC-E242-49B9-B4AC-C7A62791E894}" type="parTrans" cxnId="{54DA560A-5D96-418C-9BE1-E70306124C39}">
      <dgm:prSet/>
      <dgm:spPr/>
      <dgm:t>
        <a:bodyPr/>
        <a:lstStyle/>
        <a:p>
          <a:endParaRPr lang="fr-FR" sz="1200"/>
        </a:p>
      </dgm:t>
    </dgm:pt>
    <dgm:pt modelId="{B636EBF7-6D5E-4DD3-A53F-6D4D0F879031}" type="sibTrans" cxnId="{54DA560A-5D96-418C-9BE1-E70306124C39}">
      <dgm:prSet/>
      <dgm:spPr/>
      <dgm:t>
        <a:bodyPr/>
        <a:lstStyle/>
        <a:p>
          <a:endParaRPr lang="fr-FR" sz="1200"/>
        </a:p>
      </dgm:t>
    </dgm:pt>
    <dgm:pt modelId="{773799A4-B2B0-484E-86F2-88E99E906EB4}" type="pres">
      <dgm:prSet presAssocID="{1492F77C-C908-46A4-9A39-87477068139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67C07730-9734-44D0-BF8F-09FEF15F5DD0}" type="pres">
      <dgm:prSet presAssocID="{DB8A3ACA-DC49-4A3A-A119-D4989003F670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9D81A1E-F95F-4B1A-921C-C4FDFF779055}" type="pres">
      <dgm:prSet presAssocID="{DB8A3ACA-DC49-4A3A-A119-D4989003F670}" presName="spNode" presStyleCnt="0"/>
      <dgm:spPr/>
    </dgm:pt>
    <dgm:pt modelId="{EAD301BC-4836-4E30-BA32-34958EC55BE4}" type="pres">
      <dgm:prSet presAssocID="{E7C037EE-A78D-4675-99E9-1960D476E2B8}" presName="sibTrans" presStyleLbl="sibTrans1D1" presStyleIdx="0" presStyleCnt="5"/>
      <dgm:spPr/>
      <dgm:t>
        <a:bodyPr/>
        <a:lstStyle/>
        <a:p>
          <a:endParaRPr lang="fr-FR"/>
        </a:p>
      </dgm:t>
    </dgm:pt>
    <dgm:pt modelId="{4A175D63-379B-4A68-A836-0E529E64999D}" type="pres">
      <dgm:prSet presAssocID="{20D3EBC1-B8AB-49C6-9B4E-19A211E3AC39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BE217DD-516A-4942-82D1-CA1E29FE451A}" type="pres">
      <dgm:prSet presAssocID="{20D3EBC1-B8AB-49C6-9B4E-19A211E3AC39}" presName="spNode" presStyleCnt="0"/>
      <dgm:spPr/>
    </dgm:pt>
    <dgm:pt modelId="{6B508462-BD83-45B8-8076-13C180D9CB29}" type="pres">
      <dgm:prSet presAssocID="{CC10382F-33D9-461C-9E98-B46A7007097D}" presName="sibTrans" presStyleLbl="sibTrans1D1" presStyleIdx="1" presStyleCnt="5"/>
      <dgm:spPr/>
      <dgm:t>
        <a:bodyPr/>
        <a:lstStyle/>
        <a:p>
          <a:endParaRPr lang="fr-FR"/>
        </a:p>
      </dgm:t>
    </dgm:pt>
    <dgm:pt modelId="{F66CC407-61BD-41E3-BB04-EB8669FF986B}" type="pres">
      <dgm:prSet presAssocID="{AD4F4B77-0185-44AB-906F-F44B9AAFBCD3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6D22781-37DC-4547-B6A3-355C2F99B29D}" type="pres">
      <dgm:prSet presAssocID="{AD4F4B77-0185-44AB-906F-F44B9AAFBCD3}" presName="spNode" presStyleCnt="0"/>
      <dgm:spPr/>
    </dgm:pt>
    <dgm:pt modelId="{8B8A4189-3AD1-4DDF-BE9A-DB6E878AEDC1}" type="pres">
      <dgm:prSet presAssocID="{88D51AAF-C550-47DF-99DE-9E3F3A275C74}" presName="sibTrans" presStyleLbl="sibTrans1D1" presStyleIdx="2" presStyleCnt="5"/>
      <dgm:spPr/>
      <dgm:t>
        <a:bodyPr/>
        <a:lstStyle/>
        <a:p>
          <a:endParaRPr lang="fr-FR"/>
        </a:p>
      </dgm:t>
    </dgm:pt>
    <dgm:pt modelId="{1459D753-4107-46F6-8804-D5E0662E6DB4}" type="pres">
      <dgm:prSet presAssocID="{6A5E057B-90B1-43B3-B795-725E6CA95A93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7B466FD-1B25-47F3-A864-BF24FA90CDEE}" type="pres">
      <dgm:prSet presAssocID="{6A5E057B-90B1-43B3-B795-725E6CA95A93}" presName="spNode" presStyleCnt="0"/>
      <dgm:spPr/>
    </dgm:pt>
    <dgm:pt modelId="{6C96C8DC-C49E-4E42-9ED9-16E2AA7A2CC2}" type="pres">
      <dgm:prSet presAssocID="{C7F5E83A-D447-4777-9BBE-1B6482BD7C6A}" presName="sibTrans" presStyleLbl="sibTrans1D1" presStyleIdx="3" presStyleCnt="5"/>
      <dgm:spPr/>
      <dgm:t>
        <a:bodyPr/>
        <a:lstStyle/>
        <a:p>
          <a:endParaRPr lang="fr-FR"/>
        </a:p>
      </dgm:t>
    </dgm:pt>
    <dgm:pt modelId="{C24390A6-99D3-4829-8142-82591440E9DC}" type="pres">
      <dgm:prSet presAssocID="{E2E3E12A-F274-40EA-8E88-4F5DA71658C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6C8D398-A8C0-42BC-AFE1-236BF8C3EDAC}" type="pres">
      <dgm:prSet presAssocID="{E2E3E12A-F274-40EA-8E88-4F5DA71658CD}" presName="spNode" presStyleCnt="0"/>
      <dgm:spPr/>
    </dgm:pt>
    <dgm:pt modelId="{F4C90C9D-F608-4840-9F09-DBF3A94AD934}" type="pres">
      <dgm:prSet presAssocID="{B636EBF7-6D5E-4DD3-A53F-6D4D0F879031}" presName="sibTrans" presStyleLbl="sibTrans1D1" presStyleIdx="4" presStyleCnt="5"/>
      <dgm:spPr/>
      <dgm:t>
        <a:bodyPr/>
        <a:lstStyle/>
        <a:p>
          <a:endParaRPr lang="fr-FR"/>
        </a:p>
      </dgm:t>
    </dgm:pt>
  </dgm:ptLst>
  <dgm:cxnLst>
    <dgm:cxn modelId="{88FB66A3-22AF-4737-9667-6D802AE823E5}" type="presOf" srcId="{C7F5E83A-D447-4777-9BBE-1B6482BD7C6A}" destId="{6C96C8DC-C49E-4E42-9ED9-16E2AA7A2CC2}" srcOrd="0" destOrd="0" presId="urn:microsoft.com/office/officeart/2005/8/layout/cycle6"/>
    <dgm:cxn modelId="{D95B7ACF-05E2-4E90-9D11-55D8BDA85A28}" type="presOf" srcId="{E7C037EE-A78D-4675-99E9-1960D476E2B8}" destId="{EAD301BC-4836-4E30-BA32-34958EC55BE4}" srcOrd="0" destOrd="0" presId="urn:microsoft.com/office/officeart/2005/8/layout/cycle6"/>
    <dgm:cxn modelId="{2F163569-7FB7-4E5A-A740-C616FB107B7E}" type="presOf" srcId="{B636EBF7-6D5E-4DD3-A53F-6D4D0F879031}" destId="{F4C90C9D-F608-4840-9F09-DBF3A94AD934}" srcOrd="0" destOrd="0" presId="urn:microsoft.com/office/officeart/2005/8/layout/cycle6"/>
    <dgm:cxn modelId="{C0B2ECC0-659E-4748-B5FD-FDF7B66CBAF2}" srcId="{1492F77C-C908-46A4-9A39-874770681390}" destId="{AD4F4B77-0185-44AB-906F-F44B9AAFBCD3}" srcOrd="2" destOrd="0" parTransId="{04EF6B99-7685-40F1-AB9B-379A0FC713D9}" sibTransId="{88D51AAF-C550-47DF-99DE-9E3F3A275C74}"/>
    <dgm:cxn modelId="{D65131D5-3068-4A34-8E6E-41D0A8A123E0}" type="presOf" srcId="{DB8A3ACA-DC49-4A3A-A119-D4989003F670}" destId="{67C07730-9734-44D0-BF8F-09FEF15F5DD0}" srcOrd="0" destOrd="0" presId="urn:microsoft.com/office/officeart/2005/8/layout/cycle6"/>
    <dgm:cxn modelId="{6F71C853-7DB5-4FCD-A935-40B137452934}" type="presOf" srcId="{20D3EBC1-B8AB-49C6-9B4E-19A211E3AC39}" destId="{4A175D63-379B-4A68-A836-0E529E64999D}" srcOrd="0" destOrd="0" presId="urn:microsoft.com/office/officeart/2005/8/layout/cycle6"/>
    <dgm:cxn modelId="{5F39F02D-072E-4E76-981D-DA4CE931291B}" type="presOf" srcId="{88D51AAF-C550-47DF-99DE-9E3F3A275C74}" destId="{8B8A4189-3AD1-4DDF-BE9A-DB6E878AEDC1}" srcOrd="0" destOrd="0" presId="urn:microsoft.com/office/officeart/2005/8/layout/cycle6"/>
    <dgm:cxn modelId="{AA0DED88-2C8E-46A6-AD60-6D9740613C7A}" type="presOf" srcId="{CC10382F-33D9-461C-9E98-B46A7007097D}" destId="{6B508462-BD83-45B8-8076-13C180D9CB29}" srcOrd="0" destOrd="0" presId="urn:microsoft.com/office/officeart/2005/8/layout/cycle6"/>
    <dgm:cxn modelId="{B469FD35-9316-498B-AC66-368726E3FBDC}" srcId="{1492F77C-C908-46A4-9A39-874770681390}" destId="{20D3EBC1-B8AB-49C6-9B4E-19A211E3AC39}" srcOrd="1" destOrd="0" parTransId="{0D9C2BD4-281A-4A95-BAC3-5B22839E4412}" sibTransId="{CC10382F-33D9-461C-9E98-B46A7007097D}"/>
    <dgm:cxn modelId="{1EB19AAD-2609-407E-AC59-4D9657C902EB}" type="presOf" srcId="{1492F77C-C908-46A4-9A39-874770681390}" destId="{773799A4-B2B0-484E-86F2-88E99E906EB4}" srcOrd="0" destOrd="0" presId="urn:microsoft.com/office/officeart/2005/8/layout/cycle6"/>
    <dgm:cxn modelId="{463B5663-357D-4796-883F-781C905EB459}" type="presOf" srcId="{AD4F4B77-0185-44AB-906F-F44B9AAFBCD3}" destId="{F66CC407-61BD-41E3-BB04-EB8669FF986B}" srcOrd="0" destOrd="0" presId="urn:microsoft.com/office/officeart/2005/8/layout/cycle6"/>
    <dgm:cxn modelId="{CFEDE9AF-1500-47C9-AA55-AEE07CCB1589}" type="presOf" srcId="{E2E3E12A-F274-40EA-8E88-4F5DA71658CD}" destId="{C24390A6-99D3-4829-8142-82591440E9DC}" srcOrd="0" destOrd="0" presId="urn:microsoft.com/office/officeart/2005/8/layout/cycle6"/>
    <dgm:cxn modelId="{A4779E43-CE91-4697-BECB-9EDE157073E3}" type="presOf" srcId="{6A5E057B-90B1-43B3-B795-725E6CA95A93}" destId="{1459D753-4107-46F6-8804-D5E0662E6DB4}" srcOrd="0" destOrd="0" presId="urn:microsoft.com/office/officeart/2005/8/layout/cycle6"/>
    <dgm:cxn modelId="{7F9143AE-9AD5-4551-8FB0-54F3E74F1F13}" srcId="{1492F77C-C908-46A4-9A39-874770681390}" destId="{DB8A3ACA-DC49-4A3A-A119-D4989003F670}" srcOrd="0" destOrd="0" parTransId="{C98FE5C2-863F-4552-B9A1-55FFACD1ECD1}" sibTransId="{E7C037EE-A78D-4675-99E9-1960D476E2B8}"/>
    <dgm:cxn modelId="{54DA560A-5D96-418C-9BE1-E70306124C39}" srcId="{1492F77C-C908-46A4-9A39-874770681390}" destId="{E2E3E12A-F274-40EA-8E88-4F5DA71658CD}" srcOrd="4" destOrd="0" parTransId="{42BF65CC-E242-49B9-B4AC-C7A62791E894}" sibTransId="{B636EBF7-6D5E-4DD3-A53F-6D4D0F879031}"/>
    <dgm:cxn modelId="{03EF85EA-99A8-4CB2-BBF7-B083C712C60C}" srcId="{1492F77C-C908-46A4-9A39-874770681390}" destId="{6A5E057B-90B1-43B3-B795-725E6CA95A93}" srcOrd="3" destOrd="0" parTransId="{54F24391-A375-44FB-8E46-21D1924CF1B9}" sibTransId="{C7F5E83A-D447-4777-9BBE-1B6482BD7C6A}"/>
    <dgm:cxn modelId="{C7A934DC-31AD-44A3-A597-26A12C294269}" type="presParOf" srcId="{773799A4-B2B0-484E-86F2-88E99E906EB4}" destId="{67C07730-9734-44D0-BF8F-09FEF15F5DD0}" srcOrd="0" destOrd="0" presId="urn:microsoft.com/office/officeart/2005/8/layout/cycle6"/>
    <dgm:cxn modelId="{FD55C1EB-9265-4946-AFEB-014822F59050}" type="presParOf" srcId="{773799A4-B2B0-484E-86F2-88E99E906EB4}" destId="{99D81A1E-F95F-4B1A-921C-C4FDFF779055}" srcOrd="1" destOrd="0" presId="urn:microsoft.com/office/officeart/2005/8/layout/cycle6"/>
    <dgm:cxn modelId="{846062D4-A175-4CC5-B276-15FFF8394B13}" type="presParOf" srcId="{773799A4-B2B0-484E-86F2-88E99E906EB4}" destId="{EAD301BC-4836-4E30-BA32-34958EC55BE4}" srcOrd="2" destOrd="0" presId="urn:microsoft.com/office/officeart/2005/8/layout/cycle6"/>
    <dgm:cxn modelId="{22D8F303-389B-440F-92A2-BFD2F9DD2F99}" type="presParOf" srcId="{773799A4-B2B0-484E-86F2-88E99E906EB4}" destId="{4A175D63-379B-4A68-A836-0E529E64999D}" srcOrd="3" destOrd="0" presId="urn:microsoft.com/office/officeart/2005/8/layout/cycle6"/>
    <dgm:cxn modelId="{4793F4FD-3476-43E1-A062-25664F976874}" type="presParOf" srcId="{773799A4-B2B0-484E-86F2-88E99E906EB4}" destId="{CBE217DD-516A-4942-82D1-CA1E29FE451A}" srcOrd="4" destOrd="0" presId="urn:microsoft.com/office/officeart/2005/8/layout/cycle6"/>
    <dgm:cxn modelId="{17E38219-3F5C-4F9B-9C69-235A6259FBCC}" type="presParOf" srcId="{773799A4-B2B0-484E-86F2-88E99E906EB4}" destId="{6B508462-BD83-45B8-8076-13C180D9CB29}" srcOrd="5" destOrd="0" presId="urn:microsoft.com/office/officeart/2005/8/layout/cycle6"/>
    <dgm:cxn modelId="{6D02F3DD-4B97-428C-9E57-0232502E5750}" type="presParOf" srcId="{773799A4-B2B0-484E-86F2-88E99E906EB4}" destId="{F66CC407-61BD-41E3-BB04-EB8669FF986B}" srcOrd="6" destOrd="0" presId="urn:microsoft.com/office/officeart/2005/8/layout/cycle6"/>
    <dgm:cxn modelId="{C23BCC24-2CEE-4739-A6E3-E6B77EB7E8FC}" type="presParOf" srcId="{773799A4-B2B0-484E-86F2-88E99E906EB4}" destId="{66D22781-37DC-4547-B6A3-355C2F99B29D}" srcOrd="7" destOrd="0" presId="urn:microsoft.com/office/officeart/2005/8/layout/cycle6"/>
    <dgm:cxn modelId="{78A4239D-D945-45A2-9A4E-2F5EDEC6A15A}" type="presParOf" srcId="{773799A4-B2B0-484E-86F2-88E99E906EB4}" destId="{8B8A4189-3AD1-4DDF-BE9A-DB6E878AEDC1}" srcOrd="8" destOrd="0" presId="urn:microsoft.com/office/officeart/2005/8/layout/cycle6"/>
    <dgm:cxn modelId="{7E8EDC1E-B632-4181-9D58-D2DE1175752C}" type="presParOf" srcId="{773799A4-B2B0-484E-86F2-88E99E906EB4}" destId="{1459D753-4107-46F6-8804-D5E0662E6DB4}" srcOrd="9" destOrd="0" presId="urn:microsoft.com/office/officeart/2005/8/layout/cycle6"/>
    <dgm:cxn modelId="{A41D8F79-6FF0-400B-8437-176BAAF37BB7}" type="presParOf" srcId="{773799A4-B2B0-484E-86F2-88E99E906EB4}" destId="{17B466FD-1B25-47F3-A864-BF24FA90CDEE}" srcOrd="10" destOrd="0" presId="urn:microsoft.com/office/officeart/2005/8/layout/cycle6"/>
    <dgm:cxn modelId="{2351DCEE-5AC2-4EDC-879F-7C71112A8DAF}" type="presParOf" srcId="{773799A4-B2B0-484E-86F2-88E99E906EB4}" destId="{6C96C8DC-C49E-4E42-9ED9-16E2AA7A2CC2}" srcOrd="11" destOrd="0" presId="urn:microsoft.com/office/officeart/2005/8/layout/cycle6"/>
    <dgm:cxn modelId="{F5C27860-CA3D-43FD-93DB-B56D40E685CB}" type="presParOf" srcId="{773799A4-B2B0-484E-86F2-88E99E906EB4}" destId="{C24390A6-99D3-4829-8142-82591440E9DC}" srcOrd="12" destOrd="0" presId="urn:microsoft.com/office/officeart/2005/8/layout/cycle6"/>
    <dgm:cxn modelId="{D0859CF3-3C1B-4FD9-8207-D257E92F9CDC}" type="presParOf" srcId="{773799A4-B2B0-484E-86F2-88E99E906EB4}" destId="{66C8D398-A8C0-42BC-AFE1-236BF8C3EDAC}" srcOrd="13" destOrd="0" presId="urn:microsoft.com/office/officeart/2005/8/layout/cycle6"/>
    <dgm:cxn modelId="{2D8FC1B1-971E-4FF0-B0A1-61BAB94BBDA0}" type="presParOf" srcId="{773799A4-B2B0-484E-86F2-88E99E906EB4}" destId="{F4C90C9D-F608-4840-9F09-DBF3A94AD934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D44823-C66B-4F57-BFE4-2AC316862C80}">
      <dsp:nvSpPr>
        <dsp:cNvPr id="0" name=""/>
        <dsp:cNvSpPr/>
      </dsp:nvSpPr>
      <dsp:spPr>
        <a:xfrm>
          <a:off x="990342" y="0"/>
          <a:ext cx="495171" cy="475191"/>
        </a:xfrm>
        <a:prstGeom prst="trapezoid">
          <a:avLst>
            <a:gd name="adj" fmla="val 52102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000" kern="1200" dirty="0"/>
        </a:p>
      </dsp:txBody>
      <dsp:txXfrm>
        <a:off x="990342" y="0"/>
        <a:ext cx="495171" cy="475191"/>
      </dsp:txXfrm>
    </dsp:sp>
    <dsp:sp modelId="{738AEDFD-4AF3-4DB0-BF5F-E9C184EE14FE}">
      <dsp:nvSpPr>
        <dsp:cNvPr id="0" name=""/>
        <dsp:cNvSpPr/>
      </dsp:nvSpPr>
      <dsp:spPr>
        <a:xfrm>
          <a:off x="742756" y="475191"/>
          <a:ext cx="990342" cy="475191"/>
        </a:xfrm>
        <a:prstGeom prst="trapezoid">
          <a:avLst>
            <a:gd name="adj" fmla="val 52102"/>
          </a:avLst>
        </a:prstGeom>
        <a:solidFill>
          <a:schemeClr val="accent5">
            <a:hueOff val="-420025"/>
            <a:satOff val="-3049"/>
            <a:lumOff val="6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000" kern="1200" dirty="0"/>
        </a:p>
      </dsp:txBody>
      <dsp:txXfrm>
        <a:off x="916066" y="475191"/>
        <a:ext cx="643722" cy="475191"/>
      </dsp:txXfrm>
    </dsp:sp>
    <dsp:sp modelId="{704A4951-D1BF-4948-8F7D-9B1DE79428F5}">
      <dsp:nvSpPr>
        <dsp:cNvPr id="0" name=""/>
        <dsp:cNvSpPr/>
      </dsp:nvSpPr>
      <dsp:spPr>
        <a:xfrm>
          <a:off x="495170" y="950383"/>
          <a:ext cx="1485513" cy="475191"/>
        </a:xfrm>
        <a:prstGeom prst="trapezoid">
          <a:avLst>
            <a:gd name="adj" fmla="val 52102"/>
          </a:avLst>
        </a:prstGeom>
        <a:solidFill>
          <a:schemeClr val="accent5">
            <a:hueOff val="-840051"/>
            <a:satOff val="-6098"/>
            <a:lumOff val="1353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000" kern="1200" dirty="0"/>
        </a:p>
      </dsp:txBody>
      <dsp:txXfrm>
        <a:off x="755135" y="950383"/>
        <a:ext cx="965583" cy="475191"/>
      </dsp:txXfrm>
    </dsp:sp>
    <dsp:sp modelId="{5370EED0-B813-4926-8130-902ABE2D0A73}">
      <dsp:nvSpPr>
        <dsp:cNvPr id="0" name=""/>
        <dsp:cNvSpPr/>
      </dsp:nvSpPr>
      <dsp:spPr>
        <a:xfrm>
          <a:off x="247585" y="1425575"/>
          <a:ext cx="1980684" cy="475191"/>
        </a:xfrm>
        <a:prstGeom prst="trapezoid">
          <a:avLst>
            <a:gd name="adj" fmla="val 52102"/>
          </a:avLst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000" kern="1200" dirty="0"/>
        </a:p>
      </dsp:txBody>
      <dsp:txXfrm>
        <a:off x="594205" y="1425575"/>
        <a:ext cx="1287444" cy="475191"/>
      </dsp:txXfrm>
    </dsp:sp>
    <dsp:sp modelId="{94E28665-8D2E-4147-A910-C7F5E77999D7}">
      <dsp:nvSpPr>
        <dsp:cNvPr id="0" name=""/>
        <dsp:cNvSpPr/>
      </dsp:nvSpPr>
      <dsp:spPr>
        <a:xfrm>
          <a:off x="0" y="1900767"/>
          <a:ext cx="2475855" cy="475191"/>
        </a:xfrm>
        <a:prstGeom prst="trapezoid">
          <a:avLst>
            <a:gd name="adj" fmla="val 52102"/>
          </a:avLst>
        </a:prstGeom>
        <a:solidFill>
          <a:schemeClr val="accent5">
            <a:hueOff val="-1680102"/>
            <a:satOff val="-12195"/>
            <a:lumOff val="2705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000" kern="1200" dirty="0"/>
        </a:p>
      </dsp:txBody>
      <dsp:txXfrm>
        <a:off x="433274" y="1900767"/>
        <a:ext cx="1609305" cy="47519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5C9B0D-562B-4331-A2ED-5A14EFD234E3}">
      <dsp:nvSpPr>
        <dsp:cNvPr id="0" name=""/>
        <dsp:cNvSpPr/>
      </dsp:nvSpPr>
      <dsp:spPr>
        <a:xfrm>
          <a:off x="1973886" y="0"/>
          <a:ext cx="986943" cy="688226"/>
        </a:xfrm>
        <a:prstGeom prst="trapezoid">
          <a:avLst>
            <a:gd name="adj" fmla="val 71702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>
              <a:solidFill>
                <a:schemeClr val="bg1"/>
              </a:solidFill>
            </a:rPr>
            <a:t>Texto</a:t>
          </a:r>
          <a:endParaRPr lang="fr-FR" sz="1200" b="1" kern="1200" dirty="0">
            <a:solidFill>
              <a:schemeClr val="bg1"/>
            </a:solidFill>
          </a:endParaRPr>
        </a:p>
      </dsp:txBody>
      <dsp:txXfrm>
        <a:off x="1973886" y="0"/>
        <a:ext cx="986943" cy="688226"/>
      </dsp:txXfrm>
    </dsp:sp>
    <dsp:sp modelId="{2B3B7101-1DE1-4169-8CC1-2809EE42D132}">
      <dsp:nvSpPr>
        <dsp:cNvPr id="0" name=""/>
        <dsp:cNvSpPr/>
      </dsp:nvSpPr>
      <dsp:spPr>
        <a:xfrm>
          <a:off x="1480415" y="688226"/>
          <a:ext cx="1973886" cy="688226"/>
        </a:xfrm>
        <a:prstGeom prst="trapezoid">
          <a:avLst>
            <a:gd name="adj" fmla="val 71702"/>
          </a:avLst>
        </a:prstGeom>
        <a:solidFill>
          <a:schemeClr val="accent2">
            <a:hueOff val="-3150035"/>
            <a:satOff val="-8235"/>
            <a:lumOff val="1049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/>
            <a:t>Texto</a:t>
          </a:r>
          <a:endParaRPr lang="fr-FR" sz="1200" b="1" kern="1200" dirty="0"/>
        </a:p>
      </dsp:txBody>
      <dsp:txXfrm>
        <a:off x="1825845" y="688226"/>
        <a:ext cx="1283026" cy="688226"/>
      </dsp:txXfrm>
    </dsp:sp>
    <dsp:sp modelId="{D2B1E0FA-658A-4204-91B7-C2255712130A}">
      <dsp:nvSpPr>
        <dsp:cNvPr id="0" name=""/>
        <dsp:cNvSpPr/>
      </dsp:nvSpPr>
      <dsp:spPr>
        <a:xfrm>
          <a:off x="986943" y="1376453"/>
          <a:ext cx="2960830" cy="688226"/>
        </a:xfrm>
        <a:prstGeom prst="trapezoid">
          <a:avLst>
            <a:gd name="adj" fmla="val 71702"/>
          </a:avLst>
        </a:prstGeom>
        <a:solidFill>
          <a:schemeClr val="accent2">
            <a:hueOff val="-6300069"/>
            <a:satOff val="-16469"/>
            <a:lumOff val="2098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/>
            <a:t>Texto</a:t>
          </a:r>
          <a:endParaRPr lang="fr-FR" sz="1200" b="1" kern="1200" dirty="0"/>
        </a:p>
      </dsp:txBody>
      <dsp:txXfrm>
        <a:off x="1505088" y="1376453"/>
        <a:ext cx="1924539" cy="688226"/>
      </dsp:txXfrm>
    </dsp:sp>
    <dsp:sp modelId="{798FDF41-141F-48CF-8147-AA32600CF23A}">
      <dsp:nvSpPr>
        <dsp:cNvPr id="0" name=""/>
        <dsp:cNvSpPr/>
      </dsp:nvSpPr>
      <dsp:spPr>
        <a:xfrm>
          <a:off x="493471" y="2064679"/>
          <a:ext cx="3947773" cy="688226"/>
        </a:xfrm>
        <a:prstGeom prst="trapezoid">
          <a:avLst>
            <a:gd name="adj" fmla="val 71702"/>
          </a:avLst>
        </a:prstGeom>
        <a:solidFill>
          <a:schemeClr val="accent2">
            <a:hueOff val="-9450103"/>
            <a:satOff val="-24703"/>
            <a:lumOff val="314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/>
            <a:t>Texto</a:t>
          </a:r>
          <a:endParaRPr lang="fr-FR" sz="1200" b="1" kern="1200" dirty="0"/>
        </a:p>
      </dsp:txBody>
      <dsp:txXfrm>
        <a:off x="1184332" y="2064679"/>
        <a:ext cx="2566052" cy="688226"/>
      </dsp:txXfrm>
    </dsp:sp>
    <dsp:sp modelId="{882B1892-40D5-4418-86E8-2CBB6BD14CAC}">
      <dsp:nvSpPr>
        <dsp:cNvPr id="0" name=""/>
        <dsp:cNvSpPr/>
      </dsp:nvSpPr>
      <dsp:spPr>
        <a:xfrm>
          <a:off x="0" y="2752906"/>
          <a:ext cx="4934717" cy="688226"/>
        </a:xfrm>
        <a:prstGeom prst="trapezoid">
          <a:avLst>
            <a:gd name="adj" fmla="val 71702"/>
          </a:avLst>
        </a:prstGeom>
        <a:solidFill>
          <a:schemeClr val="accent2">
            <a:hueOff val="-12600138"/>
            <a:satOff val="-32938"/>
            <a:lumOff val="4196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smtClean="0"/>
            <a:t>Texto</a:t>
          </a:r>
          <a:endParaRPr lang="fr-FR" sz="1200" b="1" kern="1200" dirty="0"/>
        </a:p>
      </dsp:txBody>
      <dsp:txXfrm>
        <a:off x="863575" y="2752906"/>
        <a:ext cx="3207566" cy="68822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5C9B0D-562B-4331-A2ED-5A14EFD234E3}">
      <dsp:nvSpPr>
        <dsp:cNvPr id="0" name=""/>
        <dsp:cNvSpPr/>
      </dsp:nvSpPr>
      <dsp:spPr>
        <a:xfrm>
          <a:off x="1214403" y="0"/>
          <a:ext cx="809602" cy="860283"/>
        </a:xfrm>
        <a:prstGeom prst="trapezoid">
          <a:avLst>
            <a:gd name="adj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0" kern="1200" smtClean="0"/>
            <a:t>xxx</a:t>
          </a:r>
          <a:endParaRPr lang="fr-FR" sz="1200" b="0" kern="1200" dirty="0"/>
        </a:p>
      </dsp:txBody>
      <dsp:txXfrm>
        <a:off x="1214403" y="0"/>
        <a:ext cx="809602" cy="860283"/>
      </dsp:txXfrm>
    </dsp:sp>
    <dsp:sp modelId="{2B3B7101-1DE1-4169-8CC1-2809EE42D132}">
      <dsp:nvSpPr>
        <dsp:cNvPr id="0" name=""/>
        <dsp:cNvSpPr/>
      </dsp:nvSpPr>
      <dsp:spPr>
        <a:xfrm>
          <a:off x="809602" y="860283"/>
          <a:ext cx="1619204" cy="860283"/>
        </a:xfrm>
        <a:prstGeom prst="trapezoid">
          <a:avLst>
            <a:gd name="adj" fmla="val 47054"/>
          </a:avLst>
        </a:prstGeom>
        <a:solidFill>
          <a:schemeClr val="accent4">
            <a:hueOff val="-3639981"/>
            <a:satOff val="-6720"/>
            <a:lumOff val="-83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0" kern="1200" smtClean="0"/>
            <a:t>Texto</a:t>
          </a:r>
          <a:endParaRPr lang="fr-FR" sz="1200" b="0" kern="1200" dirty="0"/>
        </a:p>
      </dsp:txBody>
      <dsp:txXfrm>
        <a:off x="1092962" y="860283"/>
        <a:ext cx="1052482" cy="860283"/>
      </dsp:txXfrm>
    </dsp:sp>
    <dsp:sp modelId="{D2B1E0FA-658A-4204-91B7-C2255712130A}">
      <dsp:nvSpPr>
        <dsp:cNvPr id="0" name=""/>
        <dsp:cNvSpPr/>
      </dsp:nvSpPr>
      <dsp:spPr>
        <a:xfrm>
          <a:off x="404800" y="1720566"/>
          <a:ext cx="2428806" cy="860283"/>
        </a:xfrm>
        <a:prstGeom prst="trapezoid">
          <a:avLst>
            <a:gd name="adj" fmla="val 47054"/>
          </a:avLst>
        </a:prstGeom>
        <a:solidFill>
          <a:schemeClr val="accent4">
            <a:hueOff val="-7279961"/>
            <a:satOff val="-13439"/>
            <a:lumOff val="-1673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0" kern="1200" smtClean="0"/>
            <a:t>Texto</a:t>
          </a:r>
          <a:endParaRPr lang="fr-FR" sz="1200" b="0" kern="1200" dirty="0"/>
        </a:p>
      </dsp:txBody>
      <dsp:txXfrm>
        <a:off x="829842" y="1720566"/>
        <a:ext cx="1578723" cy="860283"/>
      </dsp:txXfrm>
    </dsp:sp>
    <dsp:sp modelId="{798FDF41-141F-48CF-8147-AA32600CF23A}">
      <dsp:nvSpPr>
        <dsp:cNvPr id="0" name=""/>
        <dsp:cNvSpPr/>
      </dsp:nvSpPr>
      <dsp:spPr>
        <a:xfrm>
          <a:off x="0" y="2580849"/>
          <a:ext cx="3238408" cy="860283"/>
        </a:xfrm>
        <a:prstGeom prst="trapezoid">
          <a:avLst>
            <a:gd name="adj" fmla="val 47054"/>
          </a:avLst>
        </a:prstGeom>
        <a:solidFill>
          <a:schemeClr val="accent4">
            <a:hueOff val="-10919941"/>
            <a:satOff val="-20159"/>
            <a:lumOff val="-2509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0" kern="1200" smtClean="0"/>
            <a:t>Texto</a:t>
          </a:r>
          <a:endParaRPr lang="fr-FR" sz="1200" b="0" kern="1200" dirty="0"/>
        </a:p>
      </dsp:txBody>
      <dsp:txXfrm>
        <a:off x="566721" y="2580849"/>
        <a:ext cx="2104965" cy="86028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C07730-9734-44D0-BF8F-09FEF15F5DD0}">
      <dsp:nvSpPr>
        <dsp:cNvPr id="0" name=""/>
        <dsp:cNvSpPr/>
      </dsp:nvSpPr>
      <dsp:spPr>
        <a:xfrm>
          <a:off x="3072329" y="1418"/>
          <a:ext cx="983215" cy="6390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>
        <a:off x="3103527" y="32616"/>
        <a:ext cx="920819" cy="576693"/>
      </dsp:txXfrm>
    </dsp:sp>
    <dsp:sp modelId="{EAD301BC-4836-4E30-BA32-34958EC55BE4}">
      <dsp:nvSpPr>
        <dsp:cNvPr id="0" name=""/>
        <dsp:cNvSpPr/>
      </dsp:nvSpPr>
      <dsp:spPr>
        <a:xfrm>
          <a:off x="2287722" y="320963"/>
          <a:ext cx="2552430" cy="2552430"/>
        </a:xfrm>
        <a:custGeom>
          <a:avLst/>
          <a:gdLst/>
          <a:ahLst/>
          <a:cxnLst/>
          <a:rect l="0" t="0" r="0" b="0"/>
          <a:pathLst>
            <a:path>
              <a:moveTo>
                <a:pt x="1774569" y="101324"/>
              </a:moveTo>
              <a:arcTo wR="1276215" hR="1276215" stAng="17579113" swAng="196030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175D63-379B-4A68-A836-0E529E64999D}">
      <dsp:nvSpPr>
        <dsp:cNvPr id="0" name=""/>
        <dsp:cNvSpPr/>
      </dsp:nvSpPr>
      <dsp:spPr>
        <a:xfrm>
          <a:off x="4286082" y="883261"/>
          <a:ext cx="983215" cy="6390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>
        <a:off x="4317280" y="914459"/>
        <a:ext cx="920819" cy="576693"/>
      </dsp:txXfrm>
    </dsp:sp>
    <dsp:sp modelId="{6B508462-BD83-45B8-8076-13C180D9CB29}">
      <dsp:nvSpPr>
        <dsp:cNvPr id="0" name=""/>
        <dsp:cNvSpPr/>
      </dsp:nvSpPr>
      <dsp:spPr>
        <a:xfrm>
          <a:off x="2287722" y="320963"/>
          <a:ext cx="2552430" cy="2552430"/>
        </a:xfrm>
        <a:custGeom>
          <a:avLst/>
          <a:gdLst/>
          <a:ahLst/>
          <a:cxnLst/>
          <a:rect l="0" t="0" r="0" b="0"/>
          <a:pathLst>
            <a:path>
              <a:moveTo>
                <a:pt x="2550688" y="1209542"/>
              </a:moveTo>
              <a:arcTo wR="1276215" hR="1276215" stAng="21420321" swAng="219535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6CC407-61BD-41E3-BB04-EB8669FF986B}">
      <dsp:nvSpPr>
        <dsp:cNvPr id="0" name=""/>
        <dsp:cNvSpPr/>
      </dsp:nvSpPr>
      <dsp:spPr>
        <a:xfrm>
          <a:off x="3822470" y="2310113"/>
          <a:ext cx="983215" cy="6390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>
        <a:off x="3853668" y="2341311"/>
        <a:ext cx="920819" cy="576693"/>
      </dsp:txXfrm>
    </dsp:sp>
    <dsp:sp modelId="{8B8A4189-3AD1-4DDF-BE9A-DB6E878AEDC1}">
      <dsp:nvSpPr>
        <dsp:cNvPr id="0" name=""/>
        <dsp:cNvSpPr/>
      </dsp:nvSpPr>
      <dsp:spPr>
        <a:xfrm>
          <a:off x="2287722" y="320963"/>
          <a:ext cx="2552430" cy="2552430"/>
        </a:xfrm>
        <a:custGeom>
          <a:avLst/>
          <a:gdLst/>
          <a:ahLst/>
          <a:cxnLst/>
          <a:rect l="0" t="0" r="0" b="0"/>
          <a:pathLst>
            <a:path>
              <a:moveTo>
                <a:pt x="1529682" y="2527007"/>
              </a:moveTo>
              <a:arcTo wR="1276215" hR="1276215" stAng="4712663" swAng="1374673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59D753-4107-46F6-8804-D5E0662E6DB4}">
      <dsp:nvSpPr>
        <dsp:cNvPr id="0" name=""/>
        <dsp:cNvSpPr/>
      </dsp:nvSpPr>
      <dsp:spPr>
        <a:xfrm>
          <a:off x="2322189" y="2310113"/>
          <a:ext cx="983215" cy="6390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>
        <a:off x="2353387" y="2341311"/>
        <a:ext cx="920819" cy="576693"/>
      </dsp:txXfrm>
    </dsp:sp>
    <dsp:sp modelId="{6C96C8DC-C49E-4E42-9ED9-16E2AA7A2CC2}">
      <dsp:nvSpPr>
        <dsp:cNvPr id="0" name=""/>
        <dsp:cNvSpPr/>
      </dsp:nvSpPr>
      <dsp:spPr>
        <a:xfrm>
          <a:off x="2287722" y="320963"/>
          <a:ext cx="2552430" cy="2552430"/>
        </a:xfrm>
        <a:custGeom>
          <a:avLst/>
          <a:gdLst/>
          <a:ahLst/>
          <a:cxnLst/>
          <a:rect l="0" t="0" r="0" b="0"/>
          <a:pathLst>
            <a:path>
              <a:moveTo>
                <a:pt x="213161" y="1982362"/>
              </a:moveTo>
              <a:arcTo wR="1276215" hR="1276215" stAng="8784324" swAng="219535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4390A6-99D3-4829-8142-82591440E9DC}">
      <dsp:nvSpPr>
        <dsp:cNvPr id="0" name=""/>
        <dsp:cNvSpPr/>
      </dsp:nvSpPr>
      <dsp:spPr>
        <a:xfrm>
          <a:off x="1858576" y="883261"/>
          <a:ext cx="983215" cy="6390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200" kern="1200" dirty="0"/>
        </a:p>
      </dsp:txBody>
      <dsp:txXfrm>
        <a:off x="1889774" y="914459"/>
        <a:ext cx="920819" cy="576693"/>
      </dsp:txXfrm>
    </dsp:sp>
    <dsp:sp modelId="{F4C90C9D-F608-4840-9F09-DBF3A94AD934}">
      <dsp:nvSpPr>
        <dsp:cNvPr id="0" name=""/>
        <dsp:cNvSpPr/>
      </dsp:nvSpPr>
      <dsp:spPr>
        <a:xfrm>
          <a:off x="2287722" y="320963"/>
          <a:ext cx="2552430" cy="2552430"/>
        </a:xfrm>
        <a:custGeom>
          <a:avLst/>
          <a:gdLst/>
          <a:ahLst/>
          <a:cxnLst/>
          <a:rect l="0" t="0" r="0" b="0"/>
          <a:pathLst>
            <a:path>
              <a:moveTo>
                <a:pt x="222476" y="556242"/>
              </a:moveTo>
              <a:arcTo wR="1276215" hR="1276215" stAng="12860583" swAng="1960304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F3CF4E-632D-4867-971F-C9B19FC8C2C8}" type="datetimeFigureOut">
              <a:rPr lang="es-ES_tradnl" smtClean="0"/>
              <a:t>09/11/2017</a:t>
            </a:fld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0AD900-6FB5-46BC-A9DE-DAFEC40038E8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323518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4" cy="496570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4" y="1"/>
            <a:ext cx="2944284" cy="496570"/>
          </a:xfrm>
          <a:prstGeom prst="rect">
            <a:avLst/>
          </a:prstGeom>
        </p:spPr>
        <p:txBody>
          <a:bodyPr vert="horz" lIns="92144" tIns="46072" rIns="92144" bIns="46072" rtlCol="0"/>
          <a:lstStyle>
            <a:lvl1pPr algn="r">
              <a:defRPr sz="1200">
                <a:latin typeface="+mn-lt"/>
              </a:defRPr>
            </a:lvl1pPr>
          </a:lstStyle>
          <a:p>
            <a:fld id="{CB2FF071-0132-40F6-99B5-4AFB6CE0B1FA}" type="datetimeFigureOut">
              <a:rPr lang="de-DE" smtClean="0"/>
              <a:pPr/>
              <a:t>09.11.2017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41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44" tIns="46072" rIns="92144" bIns="46072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717416"/>
            <a:ext cx="5435600" cy="4469130"/>
          </a:xfrm>
          <a:prstGeom prst="rect">
            <a:avLst/>
          </a:prstGeom>
        </p:spPr>
        <p:txBody>
          <a:bodyPr vert="horz" lIns="92144" tIns="46072" rIns="92144" bIns="46072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4" cy="496570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4" y="9433107"/>
            <a:ext cx="2944284" cy="496570"/>
          </a:xfrm>
          <a:prstGeom prst="rect">
            <a:avLst/>
          </a:prstGeom>
        </p:spPr>
        <p:txBody>
          <a:bodyPr vert="horz" lIns="92144" tIns="46072" rIns="92144" bIns="46072" rtlCol="0" anchor="b"/>
          <a:lstStyle>
            <a:lvl1pPr algn="r">
              <a:defRPr sz="1200">
                <a:latin typeface="+mn-lt"/>
              </a:defRPr>
            </a:lvl1pPr>
          </a:lstStyle>
          <a:p>
            <a:fld id="{74931438-AA43-4A10-A629-AE4270336D5E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291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745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491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236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0982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8727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473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219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1964" algn="l" defTabSz="99549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" Target="../slides/slide5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2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17.xml"/></Relationships>
</file>

<file path=ppt/notesSlides/_rels/notesSlide4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18.xml"/></Relationships>
</file>

<file path=ppt/notesSlides/_rels/notesSlide4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19.xml"/></Relationships>
</file>

<file path=ppt/notesSlides/_rels/notesSlide4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20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5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1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4" Type="http://schemas.openxmlformats.org/officeDocument/2006/relationships/slide" Target="../slides/slide3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4" Type="http://schemas.openxmlformats.org/officeDocument/2006/relationships/slide" Target="../slides/slide32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96234-9DFA-4AF7-BBF1-B8D07901B4BB}" type="slidenum">
              <a:rPr lang="es-ES" smtClean="0"/>
              <a:pPr/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81912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81013" y="944563"/>
            <a:ext cx="5894387" cy="4167187"/>
          </a:xfrm>
          <a:ln/>
        </p:spPr>
      </p:sp>
      <p:sp>
        <p:nvSpPr>
          <p:cNvPr id="10055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9126" y="5422705"/>
            <a:ext cx="5584825" cy="262134"/>
          </a:xfrm>
        </p:spPr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1005572" name="McK Separator"/>
          <p:cNvSpPr>
            <a:spLocks noChangeShapeType="1"/>
          </p:cNvSpPr>
          <p:nvPr/>
        </p:nvSpPr>
        <p:spPr bwMode="auto">
          <a:xfrm>
            <a:off x="814388" y="1498587"/>
            <a:ext cx="51990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06000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81013" y="944563"/>
            <a:ext cx="5894387" cy="4167187"/>
          </a:xfrm>
          <a:ln/>
        </p:spPr>
      </p:sp>
      <p:sp>
        <p:nvSpPr>
          <p:cNvPr id="10117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9126" y="5422705"/>
            <a:ext cx="5584825" cy="262134"/>
          </a:xfrm>
        </p:spPr>
        <p:txBody>
          <a:bodyPr>
            <a:normAutofit fontScale="92500" lnSpcReduction="10000"/>
          </a:bodyPr>
          <a:lstStyle/>
          <a:p>
            <a:endParaRPr lang="zh-CN" altLang="en-US"/>
          </a:p>
        </p:txBody>
      </p:sp>
      <p:sp>
        <p:nvSpPr>
          <p:cNvPr id="1011716" name="McK Separator"/>
          <p:cNvSpPr>
            <a:spLocks noChangeShapeType="1"/>
          </p:cNvSpPr>
          <p:nvPr/>
        </p:nvSpPr>
        <p:spPr bwMode="auto">
          <a:xfrm>
            <a:off x="814388" y="1498587"/>
            <a:ext cx="519906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88992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46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46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00022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1B92A83-87FE-44DE-9D48-498FABDC6519}" type="slidenum">
              <a:rPr lang="pt-BR"/>
              <a:pPr/>
              <a:t>107</a:t>
            </a:fld>
            <a:endParaRPr lang="pt-BR"/>
          </a:p>
        </p:txBody>
      </p:sp>
      <p:sp>
        <p:nvSpPr>
          <p:cNvPr id="655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55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434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D99F3B3-1B6A-4D40-9BDC-8D5BA31DB2D9}" type="slidenum">
              <a:rPr lang="pt-BR"/>
              <a:pPr/>
              <a:t>108</a:t>
            </a:fld>
            <a:endParaRPr lang="pt-BR"/>
          </a:p>
        </p:txBody>
      </p:sp>
      <p:sp>
        <p:nvSpPr>
          <p:cNvPr id="65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57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712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097C660-9FC9-4F6C-A5D1-F151AE858548}" type="slidenum">
              <a:rPr lang="pt-BR"/>
              <a:pPr/>
              <a:t>109</a:t>
            </a:fld>
            <a:endParaRPr lang="pt-BR"/>
          </a:p>
        </p:txBody>
      </p:sp>
      <p:sp>
        <p:nvSpPr>
          <p:cNvPr id="659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5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351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7EDC152-5B75-46CF-AA40-371446D7F33E}" type="slidenum">
              <a:rPr lang="pt-BR"/>
              <a:pPr/>
              <a:t>110</a:t>
            </a:fld>
            <a:endParaRPr lang="pt-BR"/>
          </a:p>
        </p:txBody>
      </p:sp>
      <p:sp>
        <p:nvSpPr>
          <p:cNvPr id="66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6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17940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4397F45-07B7-4A77-8598-965028091B8F}" type="slidenum">
              <a:rPr lang="pt-BR"/>
              <a:pPr/>
              <a:t>111</a:t>
            </a:fld>
            <a:endParaRPr lang="pt-BR"/>
          </a:p>
        </p:txBody>
      </p:sp>
      <p:sp>
        <p:nvSpPr>
          <p:cNvPr id="66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635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4028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0F0553F-57D9-46A3-ACC1-D82A4C6851BB}" type="slidenum">
              <a:rPr lang="pt-BR"/>
              <a:pPr/>
              <a:t>112</a:t>
            </a:fld>
            <a:endParaRPr lang="pt-BR"/>
          </a:p>
        </p:txBody>
      </p:sp>
      <p:sp>
        <p:nvSpPr>
          <p:cNvPr id="66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6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9638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A7ABBDE-1128-4C50-8124-16C9FBB16514}" type="slidenum">
              <a:rPr lang="pt-BR"/>
              <a:pPr/>
              <a:t>113</a:t>
            </a:fld>
            <a:endParaRPr lang="pt-BR"/>
          </a:p>
        </p:txBody>
      </p:sp>
      <p:sp>
        <p:nvSpPr>
          <p:cNvPr id="66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6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0287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65400" y="1273175"/>
            <a:ext cx="11930063" cy="8434388"/>
          </a:xfrm>
          <a:ln/>
        </p:spPr>
      </p:sp>
      <p:sp>
        <p:nvSpPr>
          <p:cNvPr id="783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856" y="349123"/>
            <a:ext cx="5271963" cy="339556"/>
          </a:xfrm>
        </p:spPr>
        <p:txBody>
          <a:bodyPr/>
          <a:lstStyle/>
          <a:p>
            <a:endParaRPr lang="pt-BR"/>
          </a:p>
        </p:txBody>
      </p:sp>
      <p:sp>
        <p:nvSpPr>
          <p:cNvPr id="783364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62856" y="1559092"/>
            <a:ext cx="5271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02" tIns="46351" rIns="92702" bIns="46351"/>
          <a:lstStyle/>
          <a:p>
            <a:endParaRPr lang="ca-ES"/>
          </a:p>
        </p:txBody>
      </p:sp>
      <p:sp>
        <p:nvSpPr>
          <p:cNvPr id="783365" name="McK Initials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03317" y="54202"/>
            <a:ext cx="149008" cy="91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sz="600" i="1" dirty="0"/>
              <a:t>INIT</a:t>
            </a:r>
          </a:p>
        </p:txBody>
      </p:sp>
    </p:spTree>
    <p:extLst>
      <p:ext uri="{BB962C8B-B14F-4D97-AF65-F5344CB8AC3E}">
        <p14:creationId xmlns:p14="http://schemas.microsoft.com/office/powerpoint/2010/main" val="5985587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DE9C852-A1B4-4B28-BB1C-59A782D2FE4F}" type="slidenum">
              <a:rPr lang="pt-BR"/>
              <a:pPr/>
              <a:t>114</a:t>
            </a:fld>
            <a:endParaRPr lang="pt-BR"/>
          </a:p>
        </p:txBody>
      </p:sp>
      <p:sp>
        <p:nvSpPr>
          <p:cNvPr id="67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7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4368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2D05A21-ECFC-4A32-BD04-4D2DBC9C1D0D}" type="slidenum">
              <a:rPr lang="pt-BR"/>
              <a:pPr/>
              <a:t>115</a:t>
            </a:fld>
            <a:endParaRPr lang="pt-BR"/>
          </a:p>
        </p:txBody>
      </p:sp>
      <p:sp>
        <p:nvSpPr>
          <p:cNvPr id="68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8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0503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EC7EDE-61B5-4B84-BE91-156975DCE324}" type="slidenum">
              <a:rPr lang="pt-BR"/>
              <a:pPr/>
              <a:t>116</a:t>
            </a:fld>
            <a:endParaRPr lang="pt-BR"/>
          </a:p>
        </p:txBody>
      </p:sp>
      <p:sp>
        <p:nvSpPr>
          <p:cNvPr id="68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8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20959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DA56B41-0761-4361-8037-3BB9D7EAB577}" type="slidenum">
              <a:rPr lang="pt-BR"/>
              <a:pPr/>
              <a:t>117</a:t>
            </a:fld>
            <a:endParaRPr lang="pt-BR"/>
          </a:p>
        </p:txBody>
      </p:sp>
      <p:sp>
        <p:nvSpPr>
          <p:cNvPr id="69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9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0685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6460BB-AA1B-4DD8-831D-17BAD61993D5}" type="slidenum">
              <a:rPr lang="pt-BR"/>
              <a:pPr/>
              <a:t>119</a:t>
            </a:fld>
            <a:endParaRPr lang="pt-BR"/>
          </a:p>
        </p:txBody>
      </p:sp>
      <p:sp>
        <p:nvSpPr>
          <p:cNvPr id="702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0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0297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E5A6AE-D6CD-4E6A-A9BE-A2D64936A726}" type="slidenum">
              <a:rPr lang="en-US" smtClean="0"/>
              <a:pPr>
                <a:defRPr/>
              </a:pPr>
              <a:t>1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78223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BF9F6F8-668D-42C6-BAB2-91DB42574480}" type="slidenum">
              <a:rPr lang="pt-BR"/>
              <a:pPr/>
              <a:t>122</a:t>
            </a:fld>
            <a:endParaRPr lang="pt-BR"/>
          </a:p>
        </p:txBody>
      </p:sp>
      <p:sp>
        <p:nvSpPr>
          <p:cNvPr id="7045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045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0902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C6A592-B7F5-40D6-ABCB-C69BB85E04BD}" type="slidenum">
              <a:rPr lang="pt-BR"/>
              <a:pPr/>
              <a:t>123</a:t>
            </a:fld>
            <a:endParaRPr lang="pt-BR"/>
          </a:p>
        </p:txBody>
      </p:sp>
      <p:sp>
        <p:nvSpPr>
          <p:cNvPr id="706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06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375138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B26B744-160D-4CE7-819D-462D57F3AB72}" type="slidenum">
              <a:rPr lang="pt-BR"/>
              <a:pPr/>
              <a:t>124</a:t>
            </a:fld>
            <a:endParaRPr lang="pt-BR"/>
          </a:p>
        </p:txBody>
      </p:sp>
      <p:sp>
        <p:nvSpPr>
          <p:cNvPr id="708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086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69672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7DC1C8E-0D61-48E8-8F8B-C22B8ABF1900}" type="slidenum">
              <a:rPr lang="pt-BR"/>
              <a:pPr/>
              <a:t>125</a:t>
            </a:fld>
            <a:endParaRPr lang="pt-BR"/>
          </a:p>
        </p:txBody>
      </p:sp>
      <p:sp>
        <p:nvSpPr>
          <p:cNvPr id="718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188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122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65400" y="1273175"/>
            <a:ext cx="11930063" cy="8434388"/>
          </a:xfrm>
          <a:ln/>
        </p:spPr>
      </p:sp>
      <p:sp>
        <p:nvSpPr>
          <p:cNvPr id="785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856" y="349123"/>
            <a:ext cx="5271963" cy="339556"/>
          </a:xfrm>
        </p:spPr>
        <p:txBody>
          <a:bodyPr/>
          <a:lstStyle/>
          <a:p>
            <a:endParaRPr lang="pt-BR"/>
          </a:p>
        </p:txBody>
      </p:sp>
      <p:sp>
        <p:nvSpPr>
          <p:cNvPr id="78541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62856" y="1559092"/>
            <a:ext cx="5271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02" tIns="46351" rIns="92702" bIns="46351"/>
          <a:lstStyle/>
          <a:p>
            <a:endParaRPr lang="ca-ES"/>
          </a:p>
        </p:txBody>
      </p:sp>
      <p:sp>
        <p:nvSpPr>
          <p:cNvPr id="785413" name="McK Initials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03317" y="54202"/>
            <a:ext cx="149008" cy="91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sz="600" i="1" dirty="0"/>
              <a:t>INIT</a:t>
            </a:r>
          </a:p>
        </p:txBody>
      </p:sp>
    </p:spTree>
    <p:extLst>
      <p:ext uri="{BB962C8B-B14F-4D97-AF65-F5344CB8AC3E}">
        <p14:creationId xmlns:p14="http://schemas.microsoft.com/office/powerpoint/2010/main" val="163132049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9680E0A-3EB2-44EF-A683-CC81D2F0DEDC}" type="slidenum">
              <a:rPr lang="pt-BR"/>
              <a:pPr/>
              <a:t>126</a:t>
            </a:fld>
            <a:endParaRPr lang="pt-BR"/>
          </a:p>
        </p:txBody>
      </p:sp>
      <p:sp>
        <p:nvSpPr>
          <p:cNvPr id="72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2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112728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177CE0-40A8-4A9C-B801-CF5734546D69}" type="slidenum">
              <a:rPr lang="pt-BR"/>
              <a:pPr/>
              <a:t>127</a:t>
            </a:fld>
            <a:endParaRPr lang="pt-BR"/>
          </a:p>
        </p:txBody>
      </p:sp>
      <p:sp>
        <p:nvSpPr>
          <p:cNvPr id="72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229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8840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B462B19-6D28-45D1-85E8-60ED5AEB1C57}" type="slidenum">
              <a:rPr lang="pt-BR"/>
              <a:pPr/>
              <a:t>128</a:t>
            </a:fld>
            <a:endParaRPr lang="pt-BR"/>
          </a:p>
        </p:txBody>
      </p:sp>
      <p:sp>
        <p:nvSpPr>
          <p:cNvPr id="72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249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03639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EB054C-856B-46E3-9E96-872DADE2E038}" type="slidenum">
              <a:rPr lang="pt-BR"/>
              <a:pPr/>
              <a:t>129</a:t>
            </a:fld>
            <a:endParaRPr lang="pt-BR"/>
          </a:p>
        </p:txBody>
      </p:sp>
      <p:sp>
        <p:nvSpPr>
          <p:cNvPr id="72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27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82647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148AE86-DFFC-4EE4-8302-4D14A2DD6C59}" type="slidenum">
              <a:rPr lang="pt-BR"/>
              <a:pPr/>
              <a:t>130</a:t>
            </a:fld>
            <a:endParaRPr lang="pt-BR"/>
          </a:p>
        </p:txBody>
      </p:sp>
      <p:sp>
        <p:nvSpPr>
          <p:cNvPr id="729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29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9104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E0E5E9-4F29-47CD-BD70-FB8B5A897C34}" type="slidenum">
              <a:rPr lang="pt-BR"/>
              <a:pPr/>
              <a:t>131</a:t>
            </a:fld>
            <a:endParaRPr lang="pt-BR"/>
          </a:p>
        </p:txBody>
      </p:sp>
      <p:sp>
        <p:nvSpPr>
          <p:cNvPr id="7311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311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5414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2AFFFFB-B155-47EB-AB56-C65BD58CAA40}" type="slidenum">
              <a:rPr lang="pt-BR"/>
              <a:pPr/>
              <a:t>132</a:t>
            </a:fld>
            <a:endParaRPr lang="pt-BR"/>
          </a:p>
        </p:txBody>
      </p:sp>
      <p:sp>
        <p:nvSpPr>
          <p:cNvPr id="73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331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4931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934E2C-34DE-4883-9730-E492F5291BC5}" type="slidenum">
              <a:rPr lang="pt-BR"/>
              <a:pPr/>
              <a:t>133</a:t>
            </a:fld>
            <a:endParaRPr lang="pt-BR"/>
          </a:p>
        </p:txBody>
      </p:sp>
      <p:sp>
        <p:nvSpPr>
          <p:cNvPr id="735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352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944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D52F92B-7FC0-490C-9715-517EDF932B18}" type="slidenum">
              <a:rPr lang="pt-BR"/>
              <a:pPr/>
              <a:t>134</a:t>
            </a:fld>
            <a:endParaRPr lang="pt-BR"/>
          </a:p>
        </p:txBody>
      </p:sp>
      <p:sp>
        <p:nvSpPr>
          <p:cNvPr id="73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372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66975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B7A77CD-2822-48B8-A686-EF004107F891}" type="slidenum">
              <a:rPr lang="pt-BR"/>
              <a:pPr/>
              <a:t>135</a:t>
            </a:fld>
            <a:endParaRPr lang="pt-BR"/>
          </a:p>
        </p:txBody>
      </p:sp>
      <p:sp>
        <p:nvSpPr>
          <p:cNvPr id="73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393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78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6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803043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99BB104-F179-4090-9A86-6AE42F3197C7}" type="slidenum">
              <a:rPr lang="pt-BR"/>
              <a:pPr/>
              <a:t>136</a:t>
            </a:fld>
            <a:endParaRPr lang="pt-BR"/>
          </a:p>
        </p:txBody>
      </p:sp>
      <p:sp>
        <p:nvSpPr>
          <p:cNvPr id="741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413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21373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BBE5E55-C9DB-4BA8-B429-AE06523983C8}" type="slidenum">
              <a:rPr lang="pt-BR"/>
              <a:pPr/>
              <a:t>137</a:t>
            </a:fld>
            <a:endParaRPr lang="pt-BR"/>
          </a:p>
        </p:txBody>
      </p:sp>
      <p:sp>
        <p:nvSpPr>
          <p:cNvPr id="74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434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84193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D3CE85A-909C-478E-A07C-919933CEDAD7}" type="slidenum">
              <a:rPr lang="pt-BR"/>
              <a:pPr/>
              <a:t>138</a:t>
            </a:fld>
            <a:endParaRPr lang="pt-BR"/>
          </a:p>
        </p:txBody>
      </p:sp>
      <p:sp>
        <p:nvSpPr>
          <p:cNvPr id="74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7454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37478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28888" y="1296988"/>
            <a:ext cx="11857038" cy="8383587"/>
          </a:xfrm>
          <a:ln/>
        </p:spPr>
      </p:sp>
      <p:sp>
        <p:nvSpPr>
          <p:cNvPr id="625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7715" y="376223"/>
            <a:ext cx="5263865" cy="293326"/>
          </a:xfrm>
        </p:spPr>
        <p:txBody>
          <a:bodyPr/>
          <a:lstStyle/>
          <a:p>
            <a:endParaRPr lang="pt-BR"/>
          </a:p>
        </p:txBody>
      </p:sp>
      <p:sp>
        <p:nvSpPr>
          <p:cNvPr id="625668" name="Line 4"/>
          <p:cNvSpPr>
            <a:spLocks noChangeShapeType="1"/>
          </p:cNvSpPr>
          <p:nvPr/>
        </p:nvSpPr>
        <p:spPr bwMode="auto">
          <a:xfrm flipV="1">
            <a:off x="767715" y="1291272"/>
            <a:ext cx="526386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2702" tIns="46351" rIns="92702" bIns="46351" anchor="ctr"/>
          <a:lstStyle/>
          <a:p>
            <a:endParaRPr lang="ca-ES"/>
          </a:p>
        </p:txBody>
      </p:sp>
      <p:sp>
        <p:nvSpPr>
          <p:cNvPr id="625669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0643" y="25507"/>
            <a:ext cx="208934" cy="18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pt-BR" sz="600" i="1" dirty="0">
                <a:latin typeface="Tahoma" charset="0"/>
              </a:rPr>
              <a:t>INICIAIS</a:t>
            </a:r>
          </a:p>
        </p:txBody>
      </p:sp>
    </p:spTree>
    <p:extLst>
      <p:ext uri="{BB962C8B-B14F-4D97-AF65-F5344CB8AC3E}">
        <p14:creationId xmlns:p14="http://schemas.microsoft.com/office/powerpoint/2010/main" val="299294007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28888" y="1296988"/>
            <a:ext cx="11857038" cy="8383587"/>
          </a:xfrm>
          <a:ln/>
        </p:spPr>
      </p:sp>
      <p:sp>
        <p:nvSpPr>
          <p:cNvPr id="8458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7715" y="376223"/>
            <a:ext cx="5263865" cy="293326"/>
          </a:xfrm>
        </p:spPr>
        <p:txBody>
          <a:bodyPr/>
          <a:lstStyle/>
          <a:p>
            <a:endParaRPr lang="pt-BR"/>
          </a:p>
        </p:txBody>
      </p:sp>
      <p:sp>
        <p:nvSpPr>
          <p:cNvPr id="845828" name="Line 4"/>
          <p:cNvSpPr>
            <a:spLocks noChangeShapeType="1"/>
          </p:cNvSpPr>
          <p:nvPr/>
        </p:nvSpPr>
        <p:spPr bwMode="auto">
          <a:xfrm flipV="1">
            <a:off x="767715" y="1291272"/>
            <a:ext cx="526386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2702" tIns="46351" rIns="92702" bIns="46351" anchor="ctr"/>
          <a:lstStyle/>
          <a:p>
            <a:endParaRPr lang="ca-ES"/>
          </a:p>
        </p:txBody>
      </p:sp>
      <p:sp>
        <p:nvSpPr>
          <p:cNvPr id="845829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0643" y="25507"/>
            <a:ext cx="208934" cy="18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pt-BR" sz="600" i="1" dirty="0">
                <a:latin typeface="Tahoma" charset="0"/>
              </a:rPr>
              <a:t>INICIAIS</a:t>
            </a:r>
          </a:p>
        </p:txBody>
      </p:sp>
    </p:spTree>
    <p:extLst>
      <p:ext uri="{BB962C8B-B14F-4D97-AF65-F5344CB8AC3E}">
        <p14:creationId xmlns:p14="http://schemas.microsoft.com/office/powerpoint/2010/main" val="10672568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28888" y="1296988"/>
            <a:ext cx="11857038" cy="8383587"/>
          </a:xfrm>
          <a:ln/>
        </p:spPr>
      </p:sp>
      <p:sp>
        <p:nvSpPr>
          <p:cNvPr id="847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7715" y="376223"/>
            <a:ext cx="5263865" cy="293326"/>
          </a:xfrm>
        </p:spPr>
        <p:txBody>
          <a:bodyPr/>
          <a:lstStyle/>
          <a:p>
            <a:endParaRPr lang="pt-BR"/>
          </a:p>
        </p:txBody>
      </p:sp>
      <p:sp>
        <p:nvSpPr>
          <p:cNvPr id="847876" name="Line 4"/>
          <p:cNvSpPr>
            <a:spLocks noChangeShapeType="1"/>
          </p:cNvSpPr>
          <p:nvPr/>
        </p:nvSpPr>
        <p:spPr bwMode="auto">
          <a:xfrm flipV="1">
            <a:off x="767715" y="1291272"/>
            <a:ext cx="526386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2702" tIns="46351" rIns="92702" bIns="46351" anchor="ctr"/>
          <a:lstStyle/>
          <a:p>
            <a:endParaRPr lang="ca-ES"/>
          </a:p>
        </p:txBody>
      </p:sp>
      <p:sp>
        <p:nvSpPr>
          <p:cNvPr id="847877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0643" y="25507"/>
            <a:ext cx="208934" cy="18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pt-BR" sz="600" i="1" dirty="0">
                <a:latin typeface="Tahoma" charset="0"/>
              </a:rPr>
              <a:t>INICIAIS</a:t>
            </a:r>
          </a:p>
        </p:txBody>
      </p:sp>
    </p:spTree>
    <p:extLst>
      <p:ext uri="{BB962C8B-B14F-4D97-AF65-F5344CB8AC3E}">
        <p14:creationId xmlns:p14="http://schemas.microsoft.com/office/powerpoint/2010/main" val="771689436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28888" y="1296988"/>
            <a:ext cx="11857038" cy="8383587"/>
          </a:xfrm>
          <a:ln/>
        </p:spPr>
      </p:sp>
      <p:sp>
        <p:nvSpPr>
          <p:cNvPr id="849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7715" y="376223"/>
            <a:ext cx="5263865" cy="293326"/>
          </a:xfrm>
        </p:spPr>
        <p:txBody>
          <a:bodyPr/>
          <a:lstStyle/>
          <a:p>
            <a:endParaRPr lang="pt-BR"/>
          </a:p>
        </p:txBody>
      </p:sp>
      <p:sp>
        <p:nvSpPr>
          <p:cNvPr id="849924" name="Line 4"/>
          <p:cNvSpPr>
            <a:spLocks noChangeShapeType="1"/>
          </p:cNvSpPr>
          <p:nvPr/>
        </p:nvSpPr>
        <p:spPr bwMode="auto">
          <a:xfrm flipV="1">
            <a:off x="767715" y="1291272"/>
            <a:ext cx="5263865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92702" tIns="46351" rIns="92702" bIns="46351" anchor="ctr"/>
          <a:lstStyle/>
          <a:p>
            <a:endParaRPr lang="ca-ES"/>
          </a:p>
        </p:txBody>
      </p:sp>
      <p:sp>
        <p:nvSpPr>
          <p:cNvPr id="849925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80643" y="25507"/>
            <a:ext cx="208934" cy="183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pt-BR" sz="600" i="1" dirty="0">
                <a:latin typeface="Tahoma" charset="0"/>
              </a:rPr>
              <a:t>INICIAIS</a:t>
            </a:r>
          </a:p>
        </p:txBody>
      </p:sp>
    </p:spTree>
    <p:extLst>
      <p:ext uri="{BB962C8B-B14F-4D97-AF65-F5344CB8AC3E}">
        <p14:creationId xmlns:p14="http://schemas.microsoft.com/office/powerpoint/2010/main" val="2448922294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BF2D76F-49AB-4117-B5C0-36FB391BF7A9}" type="slidenum">
              <a:rPr lang="pt-BR"/>
              <a:pPr/>
              <a:t>155</a:t>
            </a:fld>
            <a:endParaRPr lang="pt-BR"/>
          </a:p>
        </p:txBody>
      </p:sp>
      <p:sp>
        <p:nvSpPr>
          <p:cNvPr id="616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640013" y="1346200"/>
            <a:ext cx="12060238" cy="8528050"/>
          </a:xfrm>
          <a:ln/>
        </p:spPr>
      </p:sp>
      <p:sp>
        <p:nvSpPr>
          <p:cNvPr id="6164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5619" y="92572"/>
            <a:ext cx="6069128" cy="262285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03090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48A1A4-A39C-4ABB-800D-4BA391F412F9}" type="slidenum">
              <a:rPr lang="fr-FR" smtClean="0"/>
              <a:pPr/>
              <a:t>19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891763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6B3C800-38D7-4B31-A4AF-9295BE76E83B}" type="slidenum">
              <a:rPr lang="zh-CN" altLang="en-US"/>
              <a:pPr/>
              <a:t>209</a:t>
            </a:fld>
            <a:endParaRPr lang="zh-CN" altLang="en-US"/>
          </a:p>
        </p:txBody>
      </p:sp>
      <p:sp>
        <p:nvSpPr>
          <p:cNvPr id="531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89213" y="1271588"/>
            <a:ext cx="11931651" cy="8435975"/>
          </a:xfrm>
          <a:ln/>
        </p:spPr>
      </p:sp>
      <p:sp>
        <p:nvSpPr>
          <p:cNvPr id="53146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672" y="364939"/>
            <a:ext cx="3763777" cy="267311"/>
          </a:xfrm>
          <a:noFill/>
          <a:ln/>
        </p:spPr>
        <p:txBody>
          <a:bodyPr>
            <a:normAutofit fontScale="92500" lnSpcReduction="10000"/>
          </a:bodyPr>
          <a:lstStyle/>
          <a:p>
            <a:pPr eaLnBrk="1" hangingPunct="1"/>
            <a:endParaRPr lang="zh-CN" altLang="en-US" smtClean="0"/>
          </a:p>
        </p:txBody>
      </p:sp>
      <p:sp>
        <p:nvSpPr>
          <p:cNvPr id="531461" name="McK Separator"/>
          <p:cNvSpPr>
            <a:spLocks noChangeShapeType="1"/>
          </p:cNvSpPr>
          <p:nvPr/>
        </p:nvSpPr>
        <p:spPr bwMode="auto">
          <a:xfrm>
            <a:off x="814850" y="1499269"/>
            <a:ext cx="519847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3800990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96234-9DFA-4AF7-BBF1-B8D07901B4BB}" type="slidenum">
              <a:rPr lang="es-ES" smtClean="0"/>
              <a:pPr/>
              <a:t>1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0817486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2419405-123E-48AB-802A-0263CB4611EF}" type="slidenum">
              <a:rPr lang="zh-CN" altLang="en-US"/>
              <a:pPr/>
              <a:t>211</a:t>
            </a:fld>
            <a:endParaRPr lang="zh-CN" altLang="en-US"/>
          </a:p>
        </p:txBody>
      </p:sp>
      <p:sp>
        <p:nvSpPr>
          <p:cNvPr id="434179" name="Rectangle 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89213" y="1271588"/>
            <a:ext cx="11931651" cy="8435975"/>
          </a:xfrm>
          <a:ln/>
        </p:spPr>
      </p:sp>
      <p:sp>
        <p:nvSpPr>
          <p:cNvPr id="434180" name="Rectangle 7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zh-CN" altLang="en-US" smtClean="0"/>
          </a:p>
        </p:txBody>
      </p:sp>
    </p:spTree>
    <p:extLst>
      <p:ext uri="{BB962C8B-B14F-4D97-AF65-F5344CB8AC3E}">
        <p14:creationId xmlns:p14="http://schemas.microsoft.com/office/powerpoint/2010/main" val="232130152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87625" y="1273175"/>
            <a:ext cx="11928475" cy="8434388"/>
          </a:xfrm>
          <a:ln/>
        </p:spPr>
      </p:sp>
      <p:sp>
        <p:nvSpPr>
          <p:cNvPr id="927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12800" y="367936"/>
            <a:ext cx="5792788" cy="322141"/>
          </a:xfrm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211304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96234-9DFA-4AF7-BBF1-B8D07901B4BB}" type="slidenum">
              <a:rPr lang="es-ES" smtClean="0"/>
              <a:pPr/>
              <a:t>2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22174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3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65400" y="1273175"/>
            <a:ext cx="11930063" cy="8434388"/>
          </a:xfrm>
          <a:ln/>
        </p:spPr>
      </p:sp>
      <p:sp>
        <p:nvSpPr>
          <p:cNvPr id="783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856" y="349123"/>
            <a:ext cx="5271963" cy="339556"/>
          </a:xfrm>
        </p:spPr>
        <p:txBody>
          <a:bodyPr/>
          <a:lstStyle/>
          <a:p>
            <a:endParaRPr lang="pt-BR"/>
          </a:p>
        </p:txBody>
      </p:sp>
      <p:sp>
        <p:nvSpPr>
          <p:cNvPr id="783364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62856" y="1559092"/>
            <a:ext cx="5271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02" tIns="46351" rIns="92702" bIns="46351"/>
          <a:lstStyle/>
          <a:p>
            <a:endParaRPr lang="ca-ES"/>
          </a:p>
        </p:txBody>
      </p:sp>
      <p:sp>
        <p:nvSpPr>
          <p:cNvPr id="783365" name="McK Initials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03317" y="54202"/>
            <a:ext cx="149008" cy="91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sz="600" i="1" dirty="0"/>
              <a:t>INIT</a:t>
            </a:r>
          </a:p>
        </p:txBody>
      </p:sp>
    </p:spTree>
    <p:extLst>
      <p:ext uri="{BB962C8B-B14F-4D97-AF65-F5344CB8AC3E}">
        <p14:creationId xmlns:p14="http://schemas.microsoft.com/office/powerpoint/2010/main" val="40556363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565400" y="1273175"/>
            <a:ext cx="11930063" cy="8434388"/>
          </a:xfrm>
          <a:ln/>
        </p:spPr>
      </p:sp>
      <p:sp>
        <p:nvSpPr>
          <p:cNvPr id="785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856" y="349123"/>
            <a:ext cx="5271963" cy="339556"/>
          </a:xfrm>
        </p:spPr>
        <p:txBody>
          <a:bodyPr/>
          <a:lstStyle/>
          <a:p>
            <a:endParaRPr lang="pt-BR"/>
          </a:p>
        </p:txBody>
      </p:sp>
      <p:sp>
        <p:nvSpPr>
          <p:cNvPr id="78541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762856" y="1559092"/>
            <a:ext cx="52719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2702" tIns="46351" rIns="92702" bIns="46351"/>
          <a:lstStyle/>
          <a:p>
            <a:endParaRPr lang="ca-ES"/>
          </a:p>
        </p:txBody>
      </p:sp>
      <p:sp>
        <p:nvSpPr>
          <p:cNvPr id="785413" name="McK Initials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603317" y="54202"/>
            <a:ext cx="149008" cy="91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1" hangingPunct="1"/>
            <a:r>
              <a:rPr lang="en-US" sz="600" i="1" dirty="0"/>
              <a:t>INIT</a:t>
            </a:r>
          </a:p>
        </p:txBody>
      </p:sp>
    </p:spTree>
    <p:extLst>
      <p:ext uri="{BB962C8B-B14F-4D97-AF65-F5344CB8AC3E}">
        <p14:creationId xmlns:p14="http://schemas.microsoft.com/office/powerpoint/2010/main" val="3897157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967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0837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Layou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8253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9" descr="https://www.ricardorekowsky.com.br/wp-content/uploads/2014/05/apresentacao-de-alto-impacto.jpg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4" y="-1"/>
            <a:ext cx="10689387" cy="7559675"/>
          </a:xfrm>
          <a:prstGeom prst="rect">
            <a:avLst/>
          </a:prstGeom>
          <a:solidFill>
            <a:schemeClr val="bg1">
              <a:alpha val="70000"/>
            </a:schemeClr>
          </a:solidFill>
        </p:spPr>
      </p:pic>
      <p:sp>
        <p:nvSpPr>
          <p:cNvPr id="15" name="Summarybox white"/>
          <p:cNvSpPr/>
          <p:nvPr/>
        </p:nvSpPr>
        <p:spPr>
          <a:xfrm>
            <a:off x="7570661" y="1150616"/>
            <a:ext cx="3121152" cy="64090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FFFFFF"/>
              </a:solidFill>
            </a:endParaRPr>
          </a:p>
        </p:txBody>
      </p:sp>
      <p:sp>
        <p:nvSpPr>
          <p:cNvPr id="19" name="www.simon-kucher.com"/>
          <p:cNvSpPr txBox="1"/>
          <p:nvPr/>
        </p:nvSpPr>
        <p:spPr>
          <a:xfrm>
            <a:off x="7885113" y="7059151"/>
            <a:ext cx="2582861" cy="26161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700" spc="60" dirty="0" smtClean="0">
                <a:solidFill>
                  <a:srgbClr val="39322B"/>
                </a:solidFill>
              </a:rPr>
              <a:t>www.upgrader.org.br</a:t>
            </a:r>
          </a:p>
        </p:txBody>
      </p:sp>
      <p:sp>
        <p:nvSpPr>
          <p:cNvPr id="17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99600" y="4225733"/>
            <a:ext cx="6634800" cy="535095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0" tIns="97200" rIns="72000" bIns="15840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8" name="Title"/>
          <p:cNvSpPr>
            <a:spLocks noGrp="1"/>
          </p:cNvSpPr>
          <p:nvPr>
            <p:ph type="title" hasCustomPrompt="1"/>
          </p:nvPr>
        </p:nvSpPr>
        <p:spPr>
          <a:xfrm>
            <a:off x="399600" y="3565964"/>
            <a:ext cx="6634800" cy="660144"/>
          </a:xfrm>
          <a:solidFill>
            <a:schemeClr val="bg1">
              <a:alpha val="70000"/>
            </a:schemeClr>
          </a:solidFill>
        </p:spPr>
        <p:txBody>
          <a:bodyPr vert="horz" lIns="0" tIns="144000" rIns="72000" bIns="144000" rtlCol="0" anchor="b" anchorCtr="0">
            <a:spAutoFit/>
          </a:bodyPr>
          <a:lstStyle>
            <a:lvl1pPr>
              <a:defRPr lang="en-IE" sz="2400" dirty="0"/>
            </a:lvl1pPr>
          </a:lstStyle>
          <a:p>
            <a:pPr lvl="0"/>
            <a:r>
              <a:rPr lang="en-US" dirty="0" smtClean="0"/>
              <a:t>Click to edit title</a:t>
            </a:r>
            <a:endParaRPr lang="en-I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71139" y="8333"/>
            <a:ext cx="3121423" cy="114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2943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Layou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30years"/>
          <p:cNvSpPr/>
          <p:nvPr/>
        </p:nvSpPr>
        <p:spPr>
          <a:xfrm>
            <a:off x="7571139" y="1151689"/>
            <a:ext cx="3121200" cy="1094400"/>
          </a:xfrm>
          <a:prstGeom prst="rect">
            <a:avLst/>
          </a:prstGeom>
          <a:blipFill dpi="0" rotWithShape="1">
            <a:blip r:embed="rId6">
              <a:alphaModFix amt="50000"/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 smtClean="0">
              <a:solidFill>
                <a:schemeClr val="tx1"/>
              </a:solidFill>
            </a:endParaRPr>
          </a:p>
        </p:txBody>
      </p:sp>
      <p:pic>
        <p:nvPicPr>
          <p:cNvPr id="17" name="Background pictur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" y="0"/>
            <a:ext cx="10691176" cy="7556398"/>
          </a:xfrm>
          <a:prstGeom prst="rect">
            <a:avLst/>
          </a:prstGeom>
        </p:spPr>
      </p:pic>
      <p:sp>
        <p:nvSpPr>
          <p:cNvPr id="15" name="Summarybox white"/>
          <p:cNvSpPr/>
          <p:nvPr/>
        </p:nvSpPr>
        <p:spPr>
          <a:xfrm>
            <a:off x="7570661" y="1150616"/>
            <a:ext cx="3121152" cy="6409059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FFFFFF"/>
              </a:solidFill>
            </a:endParaRPr>
          </a:p>
        </p:txBody>
      </p:sp>
      <p:sp>
        <p:nvSpPr>
          <p:cNvPr id="8" name="www.simon-kucher.com"/>
          <p:cNvSpPr txBox="1"/>
          <p:nvPr/>
        </p:nvSpPr>
        <p:spPr>
          <a:xfrm>
            <a:off x="7885113" y="7059151"/>
            <a:ext cx="2582861" cy="26161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>
              <a:spcBef>
                <a:spcPts val="1800"/>
              </a:spcBef>
            </a:pPr>
            <a:r>
              <a:rPr lang="en-IE" sz="1700" spc="60" dirty="0" smtClean="0">
                <a:solidFill>
                  <a:srgbClr val="39322B"/>
                </a:solidFill>
              </a:rPr>
              <a:t>www.upgrader.org.br</a:t>
            </a:r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28483" y="4225733"/>
            <a:ext cx="6634800" cy="535095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72000" tIns="97200" rIns="72000" bIns="15840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latin typeface="+mn-lt"/>
              </a:defRPr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1" name="Title"/>
          <p:cNvSpPr>
            <a:spLocks noGrp="1"/>
          </p:cNvSpPr>
          <p:nvPr>
            <p:ph type="title" hasCustomPrompt="1"/>
          </p:nvPr>
        </p:nvSpPr>
        <p:spPr>
          <a:xfrm>
            <a:off x="328483" y="3565964"/>
            <a:ext cx="6634800" cy="660144"/>
          </a:xfrm>
          <a:solidFill>
            <a:schemeClr val="bg1">
              <a:alpha val="70000"/>
            </a:schemeClr>
          </a:solidFill>
        </p:spPr>
        <p:txBody>
          <a:bodyPr vert="horz" lIns="72000" tIns="144000" rIns="72000" bIns="144000" rtlCol="0" anchor="b" anchorCtr="0">
            <a:spAutoFit/>
          </a:bodyPr>
          <a:lstStyle>
            <a:lvl1pPr>
              <a:lnSpc>
                <a:spcPct val="100000"/>
              </a:lnSpc>
              <a:defRPr lang="en-IE" sz="2400" dirty="0">
                <a:latin typeface="+mn-lt"/>
              </a:defRPr>
            </a:lvl1pPr>
          </a:lstStyle>
          <a:p>
            <a:pPr lvl="0"/>
            <a:r>
              <a:rPr lang="en-US" dirty="0" smtClean="0"/>
              <a:t>Click to edit title</a:t>
            </a:r>
            <a:endParaRPr lang="en-IE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71139" y="-3277"/>
            <a:ext cx="3121423" cy="115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666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3A65056A-10E9-40C8-A093-AA138EB7B919}" type="slidenum">
              <a:rPr lang="de-DE" smtClean="0"/>
              <a:pPr defTabSz="914400"/>
              <a:t>‹#›</a:t>
            </a:fld>
            <a:endParaRPr lang="de-DE" dirty="0"/>
          </a:p>
        </p:txBody>
      </p:sp>
      <p:sp>
        <p:nvSpPr>
          <p:cNvPr id="4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de-DE" smtClean="0"/>
              <a:t>Template_A4_São Paulo</a:t>
            </a:r>
            <a:endParaRPr lang="de-DE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327600" y="7083289"/>
            <a:ext cx="10045125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source</a:t>
            </a:r>
          </a:p>
        </p:txBody>
      </p:sp>
      <p:sp>
        <p:nvSpPr>
          <p:cNvPr id="9" name="Subtitle"/>
          <p:cNvSpPr>
            <a:spLocks noGrp="1"/>
          </p:cNvSpPr>
          <p:nvPr>
            <p:ph type="subTitle" idx="13" hasCustomPrompt="1"/>
          </p:nvPr>
        </p:nvSpPr>
        <p:spPr>
          <a:xfrm>
            <a:off x="327025" y="1152000"/>
            <a:ext cx="1004887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5338813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Agenda &amp;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mmarybox white"/>
          <p:cNvSpPr/>
          <p:nvPr/>
        </p:nvSpPr>
        <p:spPr>
          <a:xfrm>
            <a:off x="1152000" y="1150616"/>
            <a:ext cx="9539813" cy="64090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39322B"/>
              </a:solidFill>
            </a:endParaRP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3A65056A-10E9-40C8-A093-AA138EB7B919}" type="slidenum">
              <a:rPr lang="de-DE" smtClean="0"/>
              <a:pPr defTabSz="914400"/>
              <a:t>‹#›</a:t>
            </a:fld>
            <a:endParaRPr lang="de-DE" dirty="0"/>
          </a:p>
        </p:txBody>
      </p:sp>
      <p:sp>
        <p:nvSpPr>
          <p:cNvPr id="4" name="Footer"/>
          <p:cNvSpPr>
            <a:spLocks noGrp="1"/>
          </p:cNvSpPr>
          <p:nvPr>
            <p:ph type="ftr" sz="quarter" idx="15"/>
          </p:nvPr>
        </p:nvSpPr>
        <p:spPr>
          <a:xfrm>
            <a:off x="1486798" y="7280488"/>
            <a:ext cx="5788801" cy="111600"/>
          </a:xfrm>
        </p:spPr>
        <p:txBody>
          <a:bodyPr/>
          <a:lstStyle/>
          <a:p>
            <a:pPr defTabSz="914400"/>
            <a:r>
              <a:rPr lang="de-DE" smtClean="0"/>
              <a:t>Template_A4_São Paulo</a:t>
            </a:r>
            <a:endParaRPr lang="de-DE" dirty="0"/>
          </a:p>
        </p:txBody>
      </p:sp>
      <p:sp>
        <p:nvSpPr>
          <p:cNvPr id="13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1486799" y="7083289"/>
            <a:ext cx="8885925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source</a:t>
            </a:r>
          </a:p>
        </p:txBody>
      </p:sp>
      <p:sp>
        <p:nvSpPr>
          <p:cNvPr id="7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98200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yout -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Beige"/>
          <p:cNvSpPr/>
          <p:nvPr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>
              <a:lnSpc>
                <a:spcPct val="100000"/>
              </a:lnSpc>
            </a:pPr>
            <a:endParaRPr lang="de-DE" sz="1800" dirty="0">
              <a:solidFill>
                <a:srgbClr val="FFFFFF"/>
              </a:solidFill>
            </a:endParaRPr>
          </a:p>
        </p:txBody>
      </p:sp>
      <p:sp>
        <p:nvSpPr>
          <p:cNvPr id="3" name="Slide Numb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914400"/>
            <a:fld id="{3A65056A-10E9-40C8-A093-AA138EB7B919}" type="slidenum">
              <a:rPr lang="de-DE" smtClean="0"/>
              <a:pPr defTabSz="914400"/>
              <a:t>‹#›</a:t>
            </a:fld>
            <a:endParaRPr lang="de-DE" dirty="0"/>
          </a:p>
        </p:txBody>
      </p:sp>
      <p:sp>
        <p:nvSpPr>
          <p:cNvPr id="2" name="Foot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914400"/>
            <a:r>
              <a:rPr lang="de-DE" smtClean="0"/>
              <a:t>Template_A4_São Paulo</a:t>
            </a:r>
            <a:endParaRPr lang="de-DE" dirty="0"/>
          </a:p>
        </p:txBody>
      </p:sp>
      <p:sp>
        <p:nvSpPr>
          <p:cNvPr id="10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327600" y="7083289"/>
            <a:ext cx="10045125" cy="12311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source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3" hasCustomPrompt="1"/>
          </p:nvPr>
        </p:nvSpPr>
        <p:spPr>
          <a:xfrm>
            <a:off x="327025" y="1152000"/>
            <a:ext cx="1004887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71139" y="-3277"/>
            <a:ext cx="3121423" cy="1157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2694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apes_Not for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>
                <a:solidFill>
                  <a:srgbClr val="39322B">
                    <a:tint val="75000"/>
                  </a:srgbClr>
                </a:solidFill>
              </a:rPr>
              <a:t>Template_A4_São Paulo</a:t>
            </a:r>
            <a:endParaRPr lang="de-DE" dirty="0">
              <a:solidFill>
                <a:srgbClr val="39322B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3A65056A-10E9-40C8-A093-AA138EB7B919}" type="slidenum">
              <a:rPr lang="de-DE" smtClean="0">
                <a:solidFill>
                  <a:srgbClr val="39322B">
                    <a:tint val="75000"/>
                  </a:srgbClr>
                </a:solidFill>
              </a:rPr>
              <a:pPr/>
              <a:t>‹#›</a:t>
            </a:fld>
            <a:endParaRPr lang="de-DE" dirty="0">
              <a:solidFill>
                <a:srgbClr val="39322B">
                  <a:tint val="75000"/>
                </a:srgbClr>
              </a:solidFill>
            </a:endParaRPr>
          </a:p>
        </p:txBody>
      </p:sp>
      <p:sp>
        <p:nvSpPr>
          <p:cNvPr id="5" name="ag_background"/>
          <p:cNvSpPr>
            <a:spLocks noRot="1" noMove="1" noResize="1" noEditPoints="1" noAdjustHandles="1" noChangeShapeType="1" noTextEdit="1"/>
          </p:cNvSpPr>
          <p:nvPr/>
        </p:nvSpPr>
        <p:spPr>
          <a:xfrm>
            <a:off x="1414575" y="1150616"/>
            <a:ext cx="9277238" cy="640905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39322B"/>
              </a:solidFill>
            </a:endParaRPr>
          </a:p>
        </p:txBody>
      </p:sp>
      <p:sp>
        <p:nvSpPr>
          <p:cNvPr id="7" name="Sbb_background"/>
          <p:cNvSpPr>
            <a:spLocks noRot="1" noMove="1" noResize="1" noEditPoints="1" noAdjustHandles="1" noChangeShapeType="1" noTextEdit="1"/>
          </p:cNvSpPr>
          <p:nvPr/>
        </p:nvSpPr>
        <p:spPr>
          <a:xfrm>
            <a:off x="0" y="5712875"/>
            <a:ext cx="10691813" cy="184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FFFFFF"/>
              </a:solidFill>
            </a:endParaRPr>
          </a:p>
        </p:txBody>
      </p:sp>
      <p:sp>
        <p:nvSpPr>
          <p:cNvPr id="12" name="Sbr_background"/>
          <p:cNvSpPr>
            <a:spLocks noRot="1" noMove="1" noResize="1" noEditPoints="1" noAdjustHandles="1" noChangeShapeType="1" noTextEdit="1"/>
          </p:cNvSpPr>
          <p:nvPr/>
        </p:nvSpPr>
        <p:spPr>
          <a:xfrm>
            <a:off x="7570661" y="1150616"/>
            <a:ext cx="3121152" cy="64090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IE" sz="1800">
              <a:solidFill>
                <a:srgbClr val="FFFFFF"/>
              </a:solidFill>
            </a:endParaRPr>
          </a:p>
        </p:txBody>
      </p:sp>
      <p:sp>
        <p:nvSpPr>
          <p:cNvPr id="9" name="ag_rhombus"/>
          <p:cNvSpPr>
            <a:spLocks noRot="1" noResize="1" noEditPoints="1" noAdjustHandles="1" noChangeShapeType="1" noTextEdit="1"/>
          </p:cNvSpPr>
          <p:nvPr/>
        </p:nvSpPr>
        <p:spPr bwMode="auto">
          <a:xfrm rot="2700000">
            <a:off x="501596" y="1226559"/>
            <a:ext cx="360000" cy="360000"/>
          </a:xfrm>
          <a:prstGeom prst="rect">
            <a:avLst/>
          </a:prstGeom>
          <a:solidFill>
            <a:schemeClr val="accent4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0" name="Sbb_rhombus"/>
          <p:cNvSpPr>
            <a:spLocks noRot="1" noResize="1" noEditPoints="1" noAdjustHandles="1" noChangeShapeType="1" noTextEdit="1"/>
          </p:cNvSpPr>
          <p:nvPr/>
        </p:nvSpPr>
        <p:spPr bwMode="auto">
          <a:xfrm rot="8100000">
            <a:off x="404300" y="2593344"/>
            <a:ext cx="403200" cy="403200"/>
          </a:xfrm>
          <a:prstGeom prst="rtTriangle">
            <a:avLst/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8" name="Sbr_rhombus"/>
          <p:cNvSpPr>
            <a:spLocks noRot="1" noResize="1" noEditPoints="1" noAdjustHandles="1" noChangeShapeType="1" noTextEdit="1"/>
          </p:cNvSpPr>
          <p:nvPr/>
        </p:nvSpPr>
        <p:spPr bwMode="auto">
          <a:xfrm rot="2700000">
            <a:off x="505686" y="1844579"/>
            <a:ext cx="403201" cy="403200"/>
          </a:xfrm>
          <a:prstGeom prst="rtTriangle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500" dirty="0">
              <a:solidFill>
                <a:srgbClr val="000000"/>
              </a:solidFill>
            </a:endParaRPr>
          </a:p>
        </p:txBody>
      </p:sp>
      <p:sp>
        <p:nvSpPr>
          <p:cNvPr id="13" name="Sbb_small_background"/>
          <p:cNvSpPr>
            <a:spLocks noRot="1" noMove="1" noResize="1" noEditPoints="1" noAdjustHandles="1" noChangeShapeType="1" noTextEdit="1"/>
          </p:cNvSpPr>
          <p:nvPr/>
        </p:nvSpPr>
        <p:spPr>
          <a:xfrm>
            <a:off x="0" y="6119675"/>
            <a:ext cx="10691813" cy="14400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500" dirty="0" err="1">
              <a:solidFill>
                <a:srgbClr val="000000"/>
              </a:solidFill>
            </a:endParaRPr>
          </a:p>
        </p:txBody>
      </p:sp>
      <p:sp>
        <p:nvSpPr>
          <p:cNvPr id="15" name="Sbb_small_rhombus"/>
          <p:cNvSpPr>
            <a:spLocks noRot="1" noResize="1" noEditPoints="1" noAdjustHandles="1" noChangeShapeType="1" noTextEdit="1"/>
          </p:cNvSpPr>
          <p:nvPr/>
        </p:nvSpPr>
        <p:spPr bwMode="auto">
          <a:xfrm rot="18900000">
            <a:off x="403555" y="3094283"/>
            <a:ext cx="403200" cy="403200"/>
          </a:xfrm>
          <a:prstGeom prst="rtTriangle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rtlCol="0" anchor="ctr"/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1500" dirty="0">
              <a:solidFill>
                <a:srgbClr val="000000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992393" y="1504398"/>
            <a:ext cx="9211951" cy="966381"/>
            <a:chOff x="992393" y="1504398"/>
            <a:chExt cx="9211951" cy="966381"/>
          </a:xfrm>
        </p:grpSpPr>
        <p:sp>
          <p:nvSpPr>
            <p:cNvPr id="6" name="TextBox 5"/>
            <p:cNvSpPr txBox="1"/>
            <p:nvPr/>
          </p:nvSpPr>
          <p:spPr>
            <a:xfrm>
              <a:off x="992393" y="1855226"/>
              <a:ext cx="921195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lt-LT" sz="800" dirty="0" smtClean="0"/>
                <a:t> ! " # $ % &amp; ' ( ) * + , - . / 0 1 2 3 4 5 6 7 8 9 : ; &lt; = &gt; ? @ A B C D E F G H I J K L M N O P Q R S T U V W X Y Z [ \ ] ^ _ ` a b c d e f g h i j k l m n o p q r s t u v w x y z { | } ~   ¡ ¢ £ ¤ ¥ ¦ § ¨ © ª « ¬ ­ ® ¯ ° ± ² ³ ´ µ ¶ · ¸ ¹ º » ¼ ½ ¾ ¿ À Á Â Ã Ä Å Æ Ç È É Ê Ë Ì Í Î Ï Ð Ñ Ò Ó Ô Õ Ö × Ø Ù Ú Û Ü Ý Þ ß à á â ã ä å æ ç è é ê ë ì í î ï ð ñ ò ó ô õ ö ÷ ø ù ú û ü ý þ ÿ Ā ā Ă ă Ą ą Ć ć Ĉ ĉ Ċ ċ Č č Ď ď Đ đ Ē ē Ĕ ĕ Ė ė Ę ę Ě ě Ĝ ĝ Ğ ğ Ġ ġ Ģ ģ Ĥ ĥ Ħ ħ Ĩ ĩ Ī ī Ĭ ĭ Į į İ ı Ĳ ĳ Ĵ ĵ Ķ ķ ĸ Ĺ ĺ Ļ ļ Ľ ľ Ŀ ŀ Ł ł Ń ń Ņ ņ Ň ň ŉ Ŋ ŋ Ō ō Ŏ ŏ Ő ő Œ œ Ŕ ŕ Ŗ ŗ Ř ř Ś ś Ŝ ŝ Ş ş Š š Ţ ţ Ť ť Ŧ ŧ Ũ ũ Ū ū Ŭ ŭ Ů ů Ű ű Ų ų Ŵ ŵ Ŷ ŷ Ÿ Ź ź Ż ż Ž ž ſ ƒ Ǆ ǅ ǆ Ǉ ǈ ǉ Ǌ ǋ ǌ Ǎ ǎ Ǐ ǐ Ǒ ǒ Ǔ ǔ Ǧ ǧ Ǵ ǵ Ǻ ǻ Ǽ ǽ Ǿ ǿ Ȁ ȁ Ș ș Ț ț Ȧ ȧ ȷ ʻ ʼ ˆ ˇ ˉ ˘ ˙ ˚ ˛ ˜ ˝ ; </a:t>
              </a:r>
              <a:r>
                <a:rPr lang="el-GR" sz="800" dirty="0" smtClean="0"/>
                <a:t>Α Β Γ Ε α β γ ε </a:t>
              </a:r>
              <a:r>
                <a:rPr lang="lt-LT" sz="800" dirty="0" smtClean="0"/>
                <a:t>Ḟ Ẁ ẁ Ẃ ẃ Ẅ ẅ Ỳ ỳ ‑ ‒ – — ― ‗ ‘ ’ ‚ ‛ “ ” „ † ‡ • … ‰ ‹ › ‾ ⁄ ⁰ ⁴ ⁵ ⁶ ⁷ ⁸ ⁹ ₀ ₁ ₂ ₃ ₄ ₅ ₆ ₇ ₈ ₉ ₣ ₤ ₧ € ₴ ℁ ℅ ℓ ℗ ℠ ™ </a:t>
              </a:r>
              <a:r>
                <a:rPr lang="el-GR" sz="800" dirty="0" smtClean="0"/>
                <a:t>Ω ℮ ⅓ ⅔ ⅕ ⅖ ⅗ ⅘ ⅙ ⅚ ⅛ ⅜ ⅝ ⅞ ∂ ∅ ∆ ∏ ∑ − ∘ ∙ √ ∞ ∫ ∼ ≃ ≈ ≙ ≠ ≤ ≥ ⌀ ▵ ▹ ▿ ◃ ◊           </a:t>
              </a:r>
              <a:r>
                <a:rPr lang="lt-LT" sz="800" dirty="0" smtClean="0"/>
                <a:t>ﬀ ﬁ ﬂ ﬃ ﬄ </a:t>
              </a:r>
              <a:endParaRPr lang="de-DE" sz="800" dirty="0" err="1" smtClean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992393" y="1504398"/>
              <a:ext cx="1032334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de-DE" sz="800" dirty="0" err="1" smtClean="0"/>
                <a:t>SimonKucher</a:t>
              </a:r>
              <a:r>
                <a:rPr lang="de-DE" sz="800" dirty="0" smtClean="0"/>
                <a:t>-Regular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992393" y="2953155"/>
            <a:ext cx="9211951" cy="966381"/>
            <a:chOff x="992393" y="3324494"/>
            <a:chExt cx="9211951" cy="966381"/>
          </a:xfrm>
        </p:grpSpPr>
        <p:sp>
          <p:nvSpPr>
            <p:cNvPr id="17" name="TextBox 16"/>
            <p:cNvSpPr txBox="1"/>
            <p:nvPr/>
          </p:nvSpPr>
          <p:spPr>
            <a:xfrm>
              <a:off x="992393" y="3675322"/>
              <a:ext cx="921195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lt-LT" sz="800" b="1" dirty="0" smtClean="0"/>
                <a:t> ! " # $ % &amp; ' ( ) * + , - . / 0 1 2 3 4 5 6 7 8 9 : ; &lt; = &gt; ? @ A B C D E F G H I J K L M N O P Q R S T U V W X Y Z [ \ ] ^ _ ` a b c d e f g h i j k l m n o p q r s t u v w x y z { | } ~   ¡ ¢ £ ¤ ¥ ¦ § ¨ © ª « ¬ ­ ® ¯ ° ± ² ³ ´ µ ¶ · ¸ ¹ º » ¼ ½ ¾ ¿ À Á Â Ã Ä Å Æ Ç È É Ê Ë Ì Í Î Ï Ð Ñ Ò Ó Ô Õ Ö × Ø Ù Ú Û Ü Ý Þ ß à á â ã ä å æ ç è é ê ë ì í î ï ð ñ ò ó ô õ ö ÷ ø ù ú û ü ý þ ÿ Ā ā Ă ă Ą ą Ć ć Ĉ ĉ Ċ ċ Č č Ď ď Đ đ Ē ē Ĕ ĕ Ė ė Ę ę Ě ě Ĝ ĝ Ğ ğ Ġ ġ Ģ ģ Ĥ ĥ Ħ ħ Ĩ ĩ Ī ī Ĭ ĭ Į į İ ı Ĳ ĳ Ĵ ĵ Ķ ķ ĸ Ĺ ĺ Ļ ļ Ľ ľ Ŀ ŀ Ł ł Ń ń Ņ ņ Ň ň ŉ Ŋ ŋ Ō ō Ŏ ŏ Ő ő Œ œ Ŕ ŕ Ŗ ŗ Ř ř Ś ś Ŝ ŝ Ş ş Š š Ţ ţ Ť ť Ŧ ŧ Ũ ũ Ū ū Ŭ ŭ Ů ů Ű ű Ų ų Ŵ ŵ Ŷ ŷ Ÿ Ź ź Ż ż Ž ž ſ ƒ Ǆ ǅ ǆ Ǉ ǈ ǉ Ǌ ǋ ǌ Ǎ ǎ Ǐ ǐ Ǒ ǒ Ǔ ǔ Ǧ ǧ Ǵ ǵ Ǻ ǻ Ǽ ǽ Ǿ ǿ Ȁ ȁ Ș ș Ț ț Ȧ ȧ ȷ ʻ ʼ ˆ ˇ ˉ ˘ ˙ ˚ ˛ ˜ ˝ ; </a:t>
              </a:r>
              <a:r>
                <a:rPr lang="el-GR" sz="800" b="1" dirty="0" smtClean="0"/>
                <a:t>Α Β Γ Ε α β γ ε </a:t>
              </a:r>
              <a:r>
                <a:rPr lang="lt-LT" sz="800" b="1" dirty="0" smtClean="0"/>
                <a:t>Ḟ Ẁ ẁ Ẃ ẃ Ẅ ẅ Ỳ ỳ ‑ ‒ – — ― ‗ ‘ ’ ‚ ‛ “ ” „ † ‡ • … ‰ ‹ › ‾ ⁄ ⁰ ⁴ ⁵ ⁶ ⁷ ⁸ ⁹ ₀ ₁ ₂ ₃ ₄ ₅ ₆ ₇ ₈ ₉ ₣ ₤ ₧ € ₴ ℁ ℅ ℓ ℗ ℠ ™ </a:t>
              </a:r>
              <a:r>
                <a:rPr lang="el-GR" sz="800" b="1" dirty="0" smtClean="0"/>
                <a:t>Ω ℮ ⅓ ⅔ ⅕ ⅖ ⅗ ⅘ ⅙ ⅚ ⅛ ⅜ ⅝ ⅞ ∂ ∅ ∆ ∏ ∑ − ∘ ∙ √ ∞ ∫ ∼ ≃ ≈ ≙ ≠ ≤ ≥ ⌀ ▵ ▹ ▿ ◃ ◊           </a:t>
              </a:r>
              <a:r>
                <a:rPr lang="lt-LT" sz="800" b="1" dirty="0" smtClean="0"/>
                <a:t>ﬀ ﬁ ﬂ ﬃ ﬄ </a:t>
              </a:r>
              <a:endParaRPr lang="de-DE" sz="800" b="1" dirty="0" err="1" smtClean="0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992393" y="3324494"/>
              <a:ext cx="942566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de-DE" sz="800" b="1" dirty="0" err="1" smtClean="0"/>
                <a:t>SimonKucher-Bold</a:t>
              </a:r>
              <a:endParaRPr lang="de-DE" sz="800" b="1" dirty="0" smtClean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962734" y="4401912"/>
            <a:ext cx="9211951" cy="966381"/>
            <a:chOff x="992393" y="5265652"/>
            <a:chExt cx="9211951" cy="966381"/>
          </a:xfrm>
        </p:grpSpPr>
        <p:sp>
          <p:nvSpPr>
            <p:cNvPr id="19" name="TextBox 18"/>
            <p:cNvSpPr txBox="1"/>
            <p:nvPr/>
          </p:nvSpPr>
          <p:spPr>
            <a:xfrm>
              <a:off x="992393" y="5616480"/>
              <a:ext cx="9211951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lt-LT" sz="800" b="0" i="1" dirty="0" smtClean="0"/>
                <a:t> ! " # $ % &amp; ' ( ) * + , - . / 0 1 2 3 4 5 6 7 8 9 : ; &lt; = &gt; ? @ A B C D E F G H I J K L M N O P Q R S T U V W X Y Z [ \ ] ^ _ ` a b c d e f g h i j k l m n o p q r s t u v w x y z { | } ~   ¡ ¢ £ ¤ ¥ ¦ § ¨ © ª « ¬ ­ ® ¯ ° ± ² ³ ´ µ ¶ · ¸ ¹ º » ¼ ½ ¾ ¿ À Á Â Ã Ä Å Æ Ç È É Ê Ë Ì Í Î Ï Ð Ñ Ò Ó Ô Õ Ö × Ø Ù Ú Û Ü Ý Þ ß à á â ã ä å æ ç è é ê ë ì í î ï ð ñ ò ó ô õ ö ÷ ø ù ú û ü ý þ ÿ Ā ā Ă ă Ą ą Ć ć Ĉ ĉ Ċ ċ Č č Ď ď Đ đ Ē ē Ĕ ĕ Ė ė Ę ę Ě ě Ĝ ĝ Ğ ğ Ġ ġ Ģ ģ Ĥ ĥ Ħ ħ Ĩ ĩ Ī ī Ĭ ĭ Į į İ ı Ĳ ĳ Ĵ ĵ Ķ ķ ĸ Ĺ ĺ Ļ ļ Ľ ľ Ŀ ŀ Ł ł Ń ń Ņ ņ Ň ň ŉ Ŋ ŋ Ō ō Ŏ ŏ Ő ő Œ œ Ŕ ŕ Ŗ ŗ Ř ř Ś ś Ŝ ŝ Ş ş Š š Ţ ţ Ť ť Ŧ ŧ Ũ ũ Ū ū Ŭ ŭ Ů ů Ű ű Ų ų Ŵ ŵ Ŷ ŷ Ÿ Ź ź Ż ż Ž ž ƒ Ǆ ǅ ǆ Ǉ ǈ ǉ Ǌ ǋ ǌ Ǎ ǎ Ǒ ǒ Ǔ ǔ Ǧ ǧ Ǵ ǵ Ǻ ǻ Ǽ ǽ Ǿ ǿ Ȁ ȁ Ș ș Ț ț Ȧ ȧ ȷ ʼ ˆ ˇ ˉ ˘ ˙ ˚ ˛ ˜ ˝ ; </a:t>
              </a:r>
              <a:r>
                <a:rPr lang="el-GR" sz="800" b="0" i="1" dirty="0" smtClean="0"/>
                <a:t>Α Β Γ Ε α β γ ε </a:t>
              </a:r>
              <a:r>
                <a:rPr lang="lt-LT" sz="800" b="0" i="1" dirty="0" smtClean="0"/>
                <a:t>Ḟ Ẁ ẁ Ẃ ẃ Ẅ ẅ Ỳ ỳ ‑ ‒ – — ― ‗ ‘ ’ ‚ ‛ “ ” „ † ‡ • … ‰ ‹ › ‾ ⁄ ⁰ ⁴ ⁵ ⁶ ⁷ ⁸ ⁹ ₀ ₁ ₂ ₃ ₄ ₅ ₆ ₇ ₈ ₉ ₣ ₤ ₧ € ₴ ℁ ℅ ℓ ℗ ℠ ™ </a:t>
              </a:r>
              <a:r>
                <a:rPr lang="el-GR" sz="800" b="0" i="1" dirty="0" smtClean="0"/>
                <a:t>Ω ℮ ⅓ ⅔ ⅕ ⅖ ⅗ ⅘ ⅙ ⅚ ⅛ ⅜ ⅝ ⅞ ∂ ∅ ∆ ∏ ∑ − ∘ ∙ √ ∞ ∫ ∼ ≃ ≈ ≙ ≠ ≤ ≥ ⌀ ▵ ▹ ▿ ◃ ◊           </a:t>
              </a:r>
              <a:r>
                <a:rPr lang="lt-LT" sz="800" b="0" i="1" dirty="0" smtClean="0"/>
                <a:t>ﬀ ﬁ ﬂ ﬃ ﬄ </a:t>
              </a:r>
              <a:endParaRPr lang="de-DE" sz="800" b="0" i="1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92393" y="5265652"/>
              <a:ext cx="123271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de-DE" sz="800" b="0" i="1" dirty="0" err="1" smtClean="0"/>
                <a:t>SimonKucher-RegularItalic</a:t>
              </a:r>
              <a:endParaRPr lang="de-DE" sz="800" b="0" i="1" dirty="0" smtClean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936155" y="5850669"/>
            <a:ext cx="9211951" cy="843271"/>
            <a:chOff x="992393" y="5265652"/>
            <a:chExt cx="9211951" cy="843271"/>
          </a:xfrm>
        </p:grpSpPr>
        <p:sp>
          <p:nvSpPr>
            <p:cNvPr id="25" name="TextBox 24"/>
            <p:cNvSpPr txBox="1"/>
            <p:nvPr/>
          </p:nvSpPr>
          <p:spPr>
            <a:xfrm>
              <a:off x="992393" y="5616480"/>
              <a:ext cx="9211951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de-DE" sz="800" b="1" i="1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!"#$%&amp;'()*×÷+,-./{|}~ ¡¢£¤¥¦§¨©ª«¬­®¯°±²³´µ¶·¸¹º»¼½¾ :;&lt;=&gt;?@ 0123456789 ABCDEFGHIJKLMNOPQRSTUVWXYZ[\]^_`</a:t>
              </a:r>
            </a:p>
            <a:p>
              <a:pPr>
                <a:spcBef>
                  <a:spcPts val="0"/>
                </a:spcBef>
              </a:pPr>
              <a:r>
                <a:rPr lang="de-DE" sz="800" b="1" i="1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abcdefghijklmnopqrstuvwxyzÀÁÂÃÄÅÆÇÈÉÊËÌÍÎÏÐÑÒÓÔÕØÙÚÛÜÝÞßàáâãäåæçèéêëìíîïðñòóôõöøùúûüýþÿĀāĂăĄąĆćĈĉĊċČčĎďĐđĒēĔĕĖėĘęĚěĜĝĞğĠġĢģĤĥĦħĩĨĪīĬĭĮįİıĲĳĴĵķĶĸĹĺĻļĽľĿŀŁłŃńŅņŇňŉŊŋŌōŎŏŐőŒœŔŕŖŗŘřŚśŜŝŞşŠšŢţŤťŦŧŨũŪūŬŭŮůŰűŲųŴŵŶŷŸŹźŻżŽžſƒǄǅǆǇǈǉǊǋǌǍǎǑǒǓǔǦǧǴǵǺǻǼǽǾǿȀȁȘșȚțȦȧȷʼˆˇˉ˘˙˚˛˜˝;ΑΒΓΕαβ</a:t>
              </a:r>
              <a:r>
                <a:rPr lang="de-DE" sz="800" b="1" i="1" kern="1200" dirty="0" err="1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γεḞẀẁẂẃẄẅỲỳ</a:t>
              </a:r>
              <a:r>
                <a:rPr lang="de-DE" sz="800" b="1" i="1" kern="1200" dirty="0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‑‒–—―‗‘’‚‛“”„†‡•…‰‹›‾⁄⁰⁴⁵⁶⁷⁸⁹₀₁₂₃₄₅₆₇₈₉₣₤₧€₴℁℅ℓ℗℠™Ω℮⅓⅔⅕⅖⅗⅘⅙⅚⅛⅜⅝⅞∂∅∆∏∑−∘∙√∞∫∼≃≈≙­≤≥⌀▵▹▿◃◊</a:t>
              </a:r>
              <a:r>
                <a:rPr lang="de-DE" sz="800" b="1" i="1" kern="1200" dirty="0" err="1" smtClean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ﬀﬁﬂﬃﬄ</a:t>
              </a:r>
              <a:endParaRPr lang="de-DE" sz="800" b="0" i="1" dirty="0" smtClean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992393" y="5265652"/>
              <a:ext cx="1181414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indent="0">
                <a:spcBef>
                  <a:spcPts val="600"/>
                </a:spcBef>
                <a:buFont typeface="Wingdings" panose="05000000000000000000" pitchFamily="2" charset="2"/>
                <a:buNone/>
              </a:pPr>
              <a:r>
                <a:rPr lang="de-DE" sz="800" b="1" i="1" dirty="0" err="1" smtClean="0">
                  <a:latin typeface="+mn-lt"/>
                </a:rPr>
                <a:t>SimonKucher-BoldItalic</a:t>
              </a:r>
              <a:endParaRPr lang="de-DE" sz="800" b="1" i="1" dirty="0" smtClean="0">
                <a:latin typeface="+mn-lt"/>
              </a:endParaRPr>
            </a:p>
          </p:txBody>
        </p:sp>
      </p:grpSp>
      <p:sp>
        <p:nvSpPr>
          <p:cNvPr id="14" name="Note"/>
          <p:cNvSpPr/>
          <p:nvPr/>
        </p:nvSpPr>
        <p:spPr>
          <a:xfrm>
            <a:off x="0" y="0"/>
            <a:ext cx="10691812" cy="7559675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88900" algn="ctr" defTabSz="914400">
              <a:buFont typeface="Wingdings" panose="05000000000000000000" pitchFamily="2" charset="2"/>
              <a:buNone/>
            </a:pPr>
            <a:r>
              <a:rPr lang="en-GB" sz="7200" b="1" dirty="0" smtClean="0">
                <a:solidFill>
                  <a:srgbClr val="FFFFFF"/>
                </a:solidFill>
              </a:rPr>
              <a:t>Do not delete this </a:t>
            </a:r>
            <a:br>
              <a:rPr lang="en-GB" sz="7200" b="1" dirty="0" smtClean="0">
                <a:solidFill>
                  <a:srgbClr val="FFFFFF"/>
                </a:solidFill>
              </a:rPr>
            </a:br>
            <a:r>
              <a:rPr lang="en-GB" sz="7200" b="1" dirty="0" smtClean="0">
                <a:solidFill>
                  <a:srgbClr val="FFFFFF"/>
                </a:solidFill>
              </a:rPr>
              <a:t>slide layout – necessary for toolbar </a:t>
            </a:r>
            <a:br>
              <a:rPr lang="en-GB" sz="7200" b="1" dirty="0" smtClean="0">
                <a:solidFill>
                  <a:srgbClr val="FFFFFF"/>
                </a:solidFill>
              </a:rPr>
            </a:br>
            <a:r>
              <a:rPr lang="en-GB" sz="7200" b="1" dirty="0" smtClean="0">
                <a:solidFill>
                  <a:srgbClr val="FFFFFF"/>
                </a:solidFill>
              </a:rPr>
              <a:t>to work</a:t>
            </a:r>
          </a:p>
        </p:txBody>
      </p:sp>
      <p:sp>
        <p:nvSpPr>
          <p:cNvPr id="11" name="version_number"/>
          <p:cNvSpPr/>
          <p:nvPr/>
        </p:nvSpPr>
        <p:spPr>
          <a:xfrm>
            <a:off x="9140428" y="468176"/>
            <a:ext cx="10342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900" algn="ctr" defTabSz="914400">
              <a:buFont typeface="Wingdings" panose="05000000000000000000" pitchFamily="2" charset="2"/>
              <a:buNone/>
            </a:pPr>
            <a:r>
              <a:rPr lang="en-GB" sz="2000" b="1" dirty="0" smtClean="0">
                <a:solidFill>
                  <a:schemeClr val="bg1"/>
                </a:solidFill>
              </a:rPr>
              <a:t>v1501</a:t>
            </a:r>
          </a:p>
        </p:txBody>
      </p:sp>
    </p:spTree>
    <p:extLst>
      <p:ext uri="{BB962C8B-B14F-4D97-AF65-F5344CB8AC3E}">
        <p14:creationId xmlns:p14="http://schemas.microsoft.com/office/powerpoint/2010/main" val="133812329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2950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970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" noProof="0" dirty="0" err="1" smtClean="0"/>
              <a:t>Title</a:t>
            </a:r>
            <a:endParaRPr lang="es-ES" dirty="0"/>
          </a:p>
        </p:txBody>
      </p:sp>
      <p:sp>
        <p:nvSpPr>
          <p:cNvPr id="3" name="12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294096" y="108721"/>
            <a:ext cx="10110954" cy="207941"/>
          </a:xfrm>
        </p:spPr>
        <p:txBody>
          <a:bodyPr anchor="ctr">
            <a:noAutofit/>
          </a:bodyPr>
          <a:lstStyle>
            <a:lvl1pPr marL="0" indent="0">
              <a:buNone/>
              <a:defRPr sz="1133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err="1" smtClean="0"/>
              <a:t>Chapter</a:t>
            </a:r>
            <a:r>
              <a:rPr lang="es-ES" dirty="0" smtClean="0"/>
              <a:t> </a:t>
            </a:r>
            <a:r>
              <a:rPr lang="es-ES" dirty="0" err="1" smtClean="0"/>
              <a:t>title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98503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433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Marcador de texto"/>
          <p:cNvSpPr>
            <a:spLocks noGrp="1"/>
          </p:cNvSpPr>
          <p:nvPr>
            <p:ph type="body" sz="quarter" idx="14"/>
          </p:nvPr>
        </p:nvSpPr>
        <p:spPr>
          <a:xfrm>
            <a:off x="294095" y="1398190"/>
            <a:ext cx="10103623" cy="1538883"/>
          </a:xfrm>
        </p:spPr>
        <p:txBody>
          <a:bodyPr/>
          <a:lstStyle>
            <a:lvl1pPr marL="193613" indent="-193613">
              <a:defRPr/>
            </a:lvl1pPr>
            <a:lvl2pPr marL="579125" indent="-181619"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 dirty="0"/>
          </a:p>
        </p:txBody>
      </p:sp>
      <p:sp>
        <p:nvSpPr>
          <p:cNvPr id="2" name="1 Título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s-ES" noProof="0" dirty="0" err="1" smtClean="0"/>
              <a:t>Title</a:t>
            </a:r>
            <a:endParaRPr lang="es-ES" dirty="0"/>
          </a:p>
        </p:txBody>
      </p:sp>
      <p:sp>
        <p:nvSpPr>
          <p:cNvPr id="7" name="12 Marcador de texto"/>
          <p:cNvSpPr>
            <a:spLocks noGrp="1"/>
          </p:cNvSpPr>
          <p:nvPr>
            <p:ph type="body" sz="quarter" idx="13" hasCustomPrompt="1"/>
          </p:nvPr>
        </p:nvSpPr>
        <p:spPr>
          <a:xfrm>
            <a:off x="294095" y="108721"/>
            <a:ext cx="10103623" cy="207941"/>
          </a:xfrm>
        </p:spPr>
        <p:txBody>
          <a:bodyPr anchor="ctr">
            <a:noAutofit/>
          </a:bodyPr>
          <a:lstStyle>
            <a:lvl1pPr marL="0" indent="0">
              <a:buNone/>
              <a:defRPr sz="1133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 dirty="0" err="1" smtClean="0"/>
              <a:t>Chapter</a:t>
            </a:r>
            <a:r>
              <a:rPr lang="es-ES" dirty="0" smtClean="0"/>
              <a:t> </a:t>
            </a:r>
            <a:r>
              <a:rPr lang="es-ES" dirty="0" err="1" smtClean="0"/>
              <a:t>title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219630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93018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7885113" y="7280488"/>
            <a:ext cx="2487612" cy="110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defTabSz="914400"/>
            <a:fld id="{3A65056A-10E9-40C8-A093-AA138EB7B919}" type="slidenum">
              <a:rPr lang="de-DE" smtClean="0"/>
              <a:pPr defTabSz="914400"/>
              <a:t>‹#›</a:t>
            </a:fld>
            <a:endParaRPr lang="de-DE" dirty="0"/>
          </a:p>
        </p:txBody>
      </p:sp>
      <p:sp>
        <p:nvSpPr>
          <p:cNvPr id="5" name="Footer" descr="Footer Simon-Kucher &amp; Partners Archive path" title="Footer"/>
          <p:cNvSpPr>
            <a:spLocks noGrp="1"/>
          </p:cNvSpPr>
          <p:nvPr>
            <p:ph type="ftr" sz="quarter" idx="3"/>
          </p:nvPr>
        </p:nvSpPr>
        <p:spPr>
          <a:xfrm>
            <a:off x="327600" y="7280488"/>
            <a:ext cx="6948000" cy="111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>
              <a:lnSpc>
                <a:spcPct val="100000"/>
              </a:lnSpc>
              <a:defRPr sz="800">
                <a:solidFill>
                  <a:srgbClr val="6D6E6A"/>
                </a:solidFill>
                <a:latin typeface="+mn-lt"/>
              </a:defRPr>
            </a:lvl1pPr>
          </a:lstStyle>
          <a:p>
            <a:pPr defTabSz="914400"/>
            <a:r>
              <a:rPr lang="en-IE" dirty="0" smtClean="0">
                <a:latin typeface="SimonKucher" pitchFamily="2" charset="0"/>
                <a:sym typeface="SimonKucher" pitchFamily="2" charset="0"/>
              </a:rPr>
              <a:t>Slides para </a:t>
            </a:r>
            <a:r>
              <a:rPr lang="en-IE" dirty="0" err="1" smtClean="0">
                <a:latin typeface="SimonKucher" pitchFamily="2" charset="0"/>
                <a:sym typeface="SimonKucher" pitchFamily="2" charset="0"/>
              </a:rPr>
              <a:t>referência</a:t>
            </a:r>
            <a:endParaRPr lang="de-DE" dirty="0"/>
          </a:p>
        </p:txBody>
      </p:sp>
      <p:sp>
        <p:nvSpPr>
          <p:cNvPr id="7" name="Subtitle"/>
          <p:cNvSpPr>
            <a:spLocks noGrp="1"/>
          </p:cNvSpPr>
          <p:nvPr>
            <p:ph type="body" idx="1"/>
          </p:nvPr>
        </p:nvSpPr>
        <p:spPr>
          <a:xfrm>
            <a:off x="327023" y="1152000"/>
            <a:ext cx="10047600" cy="24480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marL="0" lvl="0" indent="0">
              <a:spcBef>
                <a:spcPts val="0"/>
              </a:spcBef>
            </a:pPr>
            <a:r>
              <a:rPr lang="en-US" dirty="0" smtClean="0"/>
              <a:t>Click to edit subtitle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27024" y="656904"/>
            <a:ext cx="6948000" cy="30777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 smtClean="0"/>
              <a:t>Click to edit </a:t>
            </a:r>
            <a:r>
              <a:rPr lang="en-US" smtClean="0"/>
              <a:t>Master tit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571139" y="8333"/>
            <a:ext cx="3121423" cy="114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91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72" r:id="rId2"/>
    <p:sldLayoutId id="2147483761" r:id="rId3"/>
    <p:sldLayoutId id="2147483762" r:id="rId4"/>
    <p:sldLayoutId id="2147483763" r:id="rId5"/>
    <p:sldLayoutId id="2147483767" r:id="rId6"/>
    <p:sldLayoutId id="2147483769" r:id="rId7"/>
    <p:sldLayoutId id="2147483770" r:id="rId8"/>
    <p:sldLayoutId id="214748377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0"/>
        </a:spcBef>
        <a:buFontTx/>
        <a:buNone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0850" indent="-269875" algn="l" defTabSz="1007943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263525" algn="l" defTabSz="100794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90588" indent="-265113" algn="l" defTabSz="1007943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68400" indent="-277813" algn="l" defTabSz="1007943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lang="en-IE" sz="16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435100" indent="-266700" algn="l" defTabSz="1007943" rtl="0" eaLnBrk="1" latinLnBrk="0" hangingPunct="1">
        <a:lnSpc>
          <a:spcPct val="100000"/>
        </a:lnSpc>
        <a:spcBef>
          <a:spcPts val="551"/>
        </a:spcBef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01800" indent="-266700" algn="l" defTabSz="1007943" rtl="0" eaLnBrk="1" latinLnBrk="0" hangingPunct="1">
        <a:lnSpc>
          <a:spcPct val="100000"/>
        </a:lnSpc>
        <a:spcBef>
          <a:spcPts val="551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966913" indent="-266700" algn="l" defTabSz="1007943" rtl="0" eaLnBrk="1" latinLnBrk="0" hangingPunct="1">
        <a:lnSpc>
          <a:spcPct val="100000"/>
        </a:lnSpc>
        <a:spcBef>
          <a:spcPts val="551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44725" indent="-266700" algn="l" defTabSz="1007943" rtl="0" eaLnBrk="1" latinLnBrk="0" hangingPunct="1">
        <a:lnSpc>
          <a:spcPct val="100000"/>
        </a:lnSpc>
        <a:spcBef>
          <a:spcPts val="551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725" userDrawn="1">
          <p15:clr>
            <a:srgbClr val="A4A3A4"/>
          </p15:clr>
        </p15:guide>
        <p15:guide id="1" pos="206" userDrawn="1">
          <p15:clr>
            <a:srgbClr val="A4A3A4"/>
          </p15:clr>
        </p15:guide>
        <p15:guide id="2" pos="6534" userDrawn="1">
          <p15:clr>
            <a:srgbClr val="A4A3A4"/>
          </p15:clr>
        </p15:guide>
        <p15:guide id="3" orient="horz" pos="4403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0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0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8.xml"/></Relationships>
</file>

<file path=ppt/slides/_rels/slide116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11" Type="http://schemas.openxmlformats.org/officeDocument/2006/relationships/notesSlide" Target="../notesSlides/notesSlide22.xml"/><Relationship Id="rId5" Type="http://schemas.openxmlformats.org/officeDocument/2006/relationships/tags" Target="../tags/tag277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276.xml"/><Relationship Id="rId9" Type="http://schemas.openxmlformats.org/officeDocument/2006/relationships/tags" Target="../tags/tag281.xml"/></Relationships>
</file>

<file path=ppt/slides/_rels/slide1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118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26" Type="http://schemas.openxmlformats.org/officeDocument/2006/relationships/tags" Target="../tags/tag306.xml"/><Relationship Id="rId3" Type="http://schemas.openxmlformats.org/officeDocument/2006/relationships/tags" Target="../tags/tag283.xml"/><Relationship Id="rId21" Type="http://schemas.openxmlformats.org/officeDocument/2006/relationships/tags" Target="../tags/tag301.xml"/><Relationship Id="rId34" Type="http://schemas.openxmlformats.org/officeDocument/2006/relationships/slideLayout" Target="../slideLayouts/slideLayout8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tags" Target="../tags/tag305.xml"/><Relationship Id="rId33" Type="http://schemas.openxmlformats.org/officeDocument/2006/relationships/tags" Target="../tags/tag313.xml"/><Relationship Id="rId2" Type="http://schemas.openxmlformats.org/officeDocument/2006/relationships/tags" Target="../tags/tag282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29" Type="http://schemas.openxmlformats.org/officeDocument/2006/relationships/tags" Target="../tags/tag30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24" Type="http://schemas.openxmlformats.org/officeDocument/2006/relationships/tags" Target="../tags/tag304.xml"/><Relationship Id="rId32" Type="http://schemas.openxmlformats.org/officeDocument/2006/relationships/tags" Target="../tags/tag312.xml"/><Relationship Id="rId5" Type="http://schemas.openxmlformats.org/officeDocument/2006/relationships/tags" Target="../tags/tag285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36" Type="http://schemas.openxmlformats.org/officeDocument/2006/relationships/image" Target="../media/image9.emf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31" Type="http://schemas.openxmlformats.org/officeDocument/2006/relationships/tags" Target="../tags/tag311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30" Type="http://schemas.openxmlformats.org/officeDocument/2006/relationships/tags" Target="../tags/tag310.xml"/><Relationship Id="rId35" Type="http://schemas.openxmlformats.org/officeDocument/2006/relationships/oleObject" Target="../embeddings/oleObject19.bin"/></Relationships>
</file>

<file path=ppt/slides/_rels/slide119.xml.rels><?xml version="1.0" encoding="UTF-8" standalone="yes"?>
<Relationships xmlns="http://schemas.openxmlformats.org/package/2006/relationships"><Relationship Id="rId8" Type="http://schemas.openxmlformats.org/officeDocument/2006/relationships/tags" Target="../tags/tag321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12" Type="http://schemas.openxmlformats.org/officeDocument/2006/relationships/tags" Target="../tags/tag325.xml"/><Relationship Id="rId2" Type="http://schemas.openxmlformats.org/officeDocument/2006/relationships/tags" Target="../tags/tag315.xml"/><Relationship Id="rId1" Type="http://schemas.openxmlformats.org/officeDocument/2006/relationships/tags" Target="../tags/tag314.xml"/><Relationship Id="rId6" Type="http://schemas.openxmlformats.org/officeDocument/2006/relationships/tags" Target="../tags/tag319.xml"/><Relationship Id="rId11" Type="http://schemas.openxmlformats.org/officeDocument/2006/relationships/tags" Target="../tags/tag324.xml"/><Relationship Id="rId5" Type="http://schemas.openxmlformats.org/officeDocument/2006/relationships/tags" Target="../tags/tag318.xml"/><Relationship Id="rId10" Type="http://schemas.openxmlformats.org/officeDocument/2006/relationships/tags" Target="../tags/tag323.xml"/><Relationship Id="rId4" Type="http://schemas.openxmlformats.org/officeDocument/2006/relationships/tags" Target="../tags/tag317.xml"/><Relationship Id="rId9" Type="http://schemas.openxmlformats.org/officeDocument/2006/relationships/tags" Target="../tags/tag322.xml"/><Relationship Id="rId14" Type="http://schemas.openxmlformats.org/officeDocument/2006/relationships/notesSlide" Target="../notesSlides/notesSlide2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0.xml"/></Relationships>
</file>

<file path=ppt/slides/_rels/slide120.xml.rels><?xml version="1.0" encoding="UTF-8" standalone="yes"?>
<Relationships xmlns="http://schemas.openxmlformats.org/package/2006/relationships"><Relationship Id="rId8" Type="http://schemas.openxmlformats.org/officeDocument/2006/relationships/tags" Target="../tags/tag332.xml"/><Relationship Id="rId13" Type="http://schemas.openxmlformats.org/officeDocument/2006/relationships/tags" Target="../tags/tag337.xml"/><Relationship Id="rId18" Type="http://schemas.openxmlformats.org/officeDocument/2006/relationships/tags" Target="../tags/tag342.xml"/><Relationship Id="rId3" Type="http://schemas.openxmlformats.org/officeDocument/2006/relationships/tags" Target="../tags/tag327.xml"/><Relationship Id="rId21" Type="http://schemas.openxmlformats.org/officeDocument/2006/relationships/notesSlide" Target="../notesSlides/notesSlide25.xml"/><Relationship Id="rId7" Type="http://schemas.openxmlformats.org/officeDocument/2006/relationships/tags" Target="../tags/tag331.xml"/><Relationship Id="rId12" Type="http://schemas.openxmlformats.org/officeDocument/2006/relationships/tags" Target="../tags/tag336.xml"/><Relationship Id="rId17" Type="http://schemas.openxmlformats.org/officeDocument/2006/relationships/tags" Target="../tags/tag341.xml"/><Relationship Id="rId2" Type="http://schemas.openxmlformats.org/officeDocument/2006/relationships/tags" Target="../tags/tag326.xml"/><Relationship Id="rId16" Type="http://schemas.openxmlformats.org/officeDocument/2006/relationships/tags" Target="../tags/tag340.xml"/><Relationship Id="rId20" Type="http://schemas.openxmlformats.org/officeDocument/2006/relationships/slideLayout" Target="../slideLayouts/slideLayout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30.xml"/><Relationship Id="rId11" Type="http://schemas.openxmlformats.org/officeDocument/2006/relationships/tags" Target="../tags/tag335.xml"/><Relationship Id="rId5" Type="http://schemas.openxmlformats.org/officeDocument/2006/relationships/tags" Target="../tags/tag329.xml"/><Relationship Id="rId15" Type="http://schemas.openxmlformats.org/officeDocument/2006/relationships/tags" Target="../tags/tag339.xml"/><Relationship Id="rId23" Type="http://schemas.openxmlformats.org/officeDocument/2006/relationships/image" Target="../media/image8.emf"/><Relationship Id="rId10" Type="http://schemas.openxmlformats.org/officeDocument/2006/relationships/tags" Target="../tags/tag334.xml"/><Relationship Id="rId19" Type="http://schemas.openxmlformats.org/officeDocument/2006/relationships/tags" Target="../tags/tag343.xml"/><Relationship Id="rId4" Type="http://schemas.openxmlformats.org/officeDocument/2006/relationships/tags" Target="../tags/tag328.xml"/><Relationship Id="rId9" Type="http://schemas.openxmlformats.org/officeDocument/2006/relationships/tags" Target="../tags/tag333.xml"/><Relationship Id="rId14" Type="http://schemas.openxmlformats.org/officeDocument/2006/relationships/tags" Target="../tags/tag338.xml"/><Relationship Id="rId22" Type="http://schemas.openxmlformats.org/officeDocument/2006/relationships/oleObject" Target="../embeddings/oleObject20.bin"/></Relationships>
</file>

<file path=ppt/slides/_rels/slide121.xml.rels><?xml version="1.0" encoding="UTF-8" standalone="yes"?>
<Relationships xmlns="http://schemas.openxmlformats.org/package/2006/relationships"><Relationship Id="rId8" Type="http://schemas.openxmlformats.org/officeDocument/2006/relationships/tags" Target="../tags/tag351.xml"/><Relationship Id="rId13" Type="http://schemas.openxmlformats.org/officeDocument/2006/relationships/tags" Target="../tags/tag356.xml"/><Relationship Id="rId3" Type="http://schemas.openxmlformats.org/officeDocument/2006/relationships/tags" Target="../tags/tag346.xml"/><Relationship Id="rId7" Type="http://schemas.openxmlformats.org/officeDocument/2006/relationships/tags" Target="../tags/tag350.xml"/><Relationship Id="rId12" Type="http://schemas.openxmlformats.org/officeDocument/2006/relationships/tags" Target="../tags/tag355.xml"/><Relationship Id="rId2" Type="http://schemas.openxmlformats.org/officeDocument/2006/relationships/tags" Target="../tags/tag345.xml"/><Relationship Id="rId16" Type="http://schemas.openxmlformats.org/officeDocument/2006/relationships/slideLayout" Target="../slideLayouts/slideLayout8.xml"/><Relationship Id="rId1" Type="http://schemas.openxmlformats.org/officeDocument/2006/relationships/tags" Target="../tags/tag344.xml"/><Relationship Id="rId6" Type="http://schemas.openxmlformats.org/officeDocument/2006/relationships/tags" Target="../tags/tag349.xml"/><Relationship Id="rId11" Type="http://schemas.openxmlformats.org/officeDocument/2006/relationships/tags" Target="../tags/tag354.xml"/><Relationship Id="rId5" Type="http://schemas.openxmlformats.org/officeDocument/2006/relationships/tags" Target="../tags/tag348.xml"/><Relationship Id="rId15" Type="http://schemas.openxmlformats.org/officeDocument/2006/relationships/tags" Target="../tags/tag358.xml"/><Relationship Id="rId10" Type="http://schemas.openxmlformats.org/officeDocument/2006/relationships/tags" Target="../tags/tag353.xml"/><Relationship Id="rId4" Type="http://schemas.openxmlformats.org/officeDocument/2006/relationships/tags" Target="../tags/tag347.xml"/><Relationship Id="rId9" Type="http://schemas.openxmlformats.org/officeDocument/2006/relationships/tags" Target="../tags/tag352.xml"/><Relationship Id="rId14" Type="http://schemas.openxmlformats.org/officeDocument/2006/relationships/tags" Target="../tags/tag357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6.xml"/><Relationship Id="rId3" Type="http://schemas.openxmlformats.org/officeDocument/2006/relationships/tags" Target="../tags/tag361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360.xml"/><Relationship Id="rId1" Type="http://schemas.openxmlformats.org/officeDocument/2006/relationships/tags" Target="../tags/tag359.xml"/><Relationship Id="rId6" Type="http://schemas.openxmlformats.org/officeDocument/2006/relationships/tags" Target="../tags/tag364.xml"/><Relationship Id="rId5" Type="http://schemas.openxmlformats.org/officeDocument/2006/relationships/tags" Target="../tags/tag363.xml"/><Relationship Id="rId4" Type="http://schemas.openxmlformats.org/officeDocument/2006/relationships/tags" Target="../tags/tag362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6.xml"/><Relationship Id="rId1" Type="http://schemas.openxmlformats.org/officeDocument/2006/relationships/tags" Target="../tags/tag365.xml"/><Relationship Id="rId4" Type="http://schemas.openxmlformats.org/officeDocument/2006/relationships/notesSlide" Target="../notesSlides/notesSlide27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4" Type="http://schemas.openxmlformats.org/officeDocument/2006/relationships/notesSlide" Target="../notesSlides/notesSlide28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9.xml"/><Relationship Id="rId3" Type="http://schemas.openxmlformats.org/officeDocument/2006/relationships/tags" Target="../tags/tag371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4" Type="http://schemas.openxmlformats.org/officeDocument/2006/relationships/tags" Target="../tags/tag372.xml"/></Relationships>
</file>

<file path=ppt/slides/_rels/slide12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0.xml"/><Relationship Id="rId3" Type="http://schemas.openxmlformats.org/officeDocument/2006/relationships/tags" Target="../tags/tag377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376.xml"/><Relationship Id="rId1" Type="http://schemas.openxmlformats.org/officeDocument/2006/relationships/tags" Target="../tags/tag375.xml"/><Relationship Id="rId6" Type="http://schemas.openxmlformats.org/officeDocument/2006/relationships/tags" Target="../tags/tag380.xml"/><Relationship Id="rId5" Type="http://schemas.openxmlformats.org/officeDocument/2006/relationships/tags" Target="../tags/tag379.xml"/><Relationship Id="rId4" Type="http://schemas.openxmlformats.org/officeDocument/2006/relationships/tags" Target="../tags/tag378.xml"/></Relationships>
</file>

<file path=ppt/slides/_rels/slide1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1.xml"/><Relationship Id="rId3" Type="http://schemas.openxmlformats.org/officeDocument/2006/relationships/tags" Target="../tags/tag383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5" Type="http://schemas.openxmlformats.org/officeDocument/2006/relationships/tags" Target="../tags/tag385.xml"/><Relationship Id="rId4" Type="http://schemas.openxmlformats.org/officeDocument/2006/relationships/tags" Target="../tags/tag384.xml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2.xml"/><Relationship Id="rId3" Type="http://schemas.openxmlformats.org/officeDocument/2006/relationships/tags" Target="../tags/tag389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5" Type="http://schemas.openxmlformats.org/officeDocument/2006/relationships/tags" Target="../tags/tag391.xml"/><Relationship Id="rId4" Type="http://schemas.openxmlformats.org/officeDocument/2006/relationships/tags" Target="../tags/tag390.xml"/></Relationships>
</file>

<file path=ppt/slides/_rels/slide1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1.xml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notesSlide" Target="../notesSlides/notesSlide34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396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5" Type="http://schemas.openxmlformats.org/officeDocument/2006/relationships/tags" Target="../tags/tag401.xml"/><Relationship Id="rId4" Type="http://schemas.openxmlformats.org/officeDocument/2006/relationships/tags" Target="../tags/tag400.xml"/><Relationship Id="rId9" Type="http://schemas.openxmlformats.org/officeDocument/2006/relationships/notesSlide" Target="../notesSlides/notesSlide35.xml"/></Relationships>
</file>

<file path=ppt/slides/_rels/slide132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notesSlide" Target="../notesSlides/notesSlide36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07.xml"/></Relationships>
</file>

<file path=ppt/slides/_rels/slide1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8.xml"/></Relationships>
</file>

<file path=ppt/slides/_rels/slide1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1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8.xml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1.xml"/><Relationship Id="rId3" Type="http://schemas.openxmlformats.org/officeDocument/2006/relationships/tags" Target="../tags/tag410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tags" Target="../tags/tag413.xml"/><Relationship Id="rId5" Type="http://schemas.openxmlformats.org/officeDocument/2006/relationships/tags" Target="../tags/tag412.xml"/><Relationship Id="rId4" Type="http://schemas.openxmlformats.org/officeDocument/2006/relationships/tags" Target="../tags/tag411.xml"/></Relationships>
</file>

<file path=ppt/slides/_rels/slide138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8.xml"/></Relationships>
</file>

<file path=ppt/slides/_rels/slide1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2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.xml"/></Relationships>
</file>

<file path=ppt/slides/_rels/slide1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.xml"/></Relationships>
</file>

<file path=ppt/slides/_rels/slide1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.xml"/></Relationships>
</file>

<file path=ppt/slides/_rels/slide1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8.xml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tags" Target="../tags/tag423.xml"/><Relationship Id="rId2" Type="http://schemas.openxmlformats.org/officeDocument/2006/relationships/tags" Target="../tags/tag422.xml"/><Relationship Id="rId1" Type="http://schemas.openxmlformats.org/officeDocument/2006/relationships/tags" Target="../tags/tag42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24.xml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8.xml"/></Relationships>
</file>

<file path=ppt/slides/_rels/slide1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8.xml"/></Relationships>
</file>

<file path=ppt/slides/_rels/slide1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8.xml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1.xml"/></Relationships>
</file>

<file path=ppt/slides/_rels/slide159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tags" Target="../tags/tag436.xml"/><Relationship Id="rId18" Type="http://schemas.openxmlformats.org/officeDocument/2006/relationships/chart" Target="../charts/chart23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12" Type="http://schemas.openxmlformats.org/officeDocument/2006/relationships/tags" Target="../tags/tag435.xml"/><Relationship Id="rId17" Type="http://schemas.openxmlformats.org/officeDocument/2006/relationships/chart" Target="../charts/chart22.xml"/><Relationship Id="rId2" Type="http://schemas.openxmlformats.org/officeDocument/2006/relationships/tags" Target="../tags/tag425.xml"/><Relationship Id="rId16" Type="http://schemas.openxmlformats.org/officeDocument/2006/relationships/image" Target="../media/image9.emf"/><Relationship Id="rId20" Type="http://schemas.openxmlformats.org/officeDocument/2006/relationships/chart" Target="../charts/chart2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429.xml"/><Relationship Id="rId11" Type="http://schemas.openxmlformats.org/officeDocument/2006/relationships/tags" Target="../tags/tag434.xml"/><Relationship Id="rId5" Type="http://schemas.openxmlformats.org/officeDocument/2006/relationships/tags" Target="../tags/tag428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433.xml"/><Relationship Id="rId19" Type="http://schemas.openxmlformats.org/officeDocument/2006/relationships/chart" Target="../charts/chart24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8.xml"/></Relationships>
</file>

<file path=ppt/slides/_rels/slide161.xml.rels><?xml version="1.0" encoding="UTF-8" standalone="yes"?>
<Relationships xmlns="http://schemas.openxmlformats.org/package/2006/relationships"><Relationship Id="rId8" Type="http://schemas.openxmlformats.org/officeDocument/2006/relationships/tags" Target="../tags/tag443.xml"/><Relationship Id="rId13" Type="http://schemas.openxmlformats.org/officeDocument/2006/relationships/chart" Target="../charts/chart27.xml"/><Relationship Id="rId3" Type="http://schemas.openxmlformats.org/officeDocument/2006/relationships/tags" Target="../tags/tag438.xml"/><Relationship Id="rId7" Type="http://schemas.openxmlformats.org/officeDocument/2006/relationships/tags" Target="../tags/tag442.xml"/><Relationship Id="rId12" Type="http://schemas.openxmlformats.org/officeDocument/2006/relationships/image" Target="../media/image9.emf"/><Relationship Id="rId2" Type="http://schemas.openxmlformats.org/officeDocument/2006/relationships/tags" Target="../tags/tag43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441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440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439.xml"/><Relationship Id="rId9" Type="http://schemas.openxmlformats.org/officeDocument/2006/relationships/tags" Target="../tags/tag444.xml"/><Relationship Id="rId14" Type="http://schemas.openxmlformats.org/officeDocument/2006/relationships/chart" Target="../charts/chart28.xml"/></Relationships>
</file>

<file path=ppt/slides/_rels/slide16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31.xml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16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8.xml"/></Relationships>
</file>

<file path=ppt/slides/_rels/slide16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8.xml"/></Relationships>
</file>

<file path=ppt/slides/_rels/slide1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8.xml"/></Relationships>
</file>

<file path=ppt/slides/_rels/slide1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42.xml"/></Relationships>
</file>

<file path=ppt/slides/_rels/slide16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4.xml"/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46.xml"/><Relationship Id="rId4" Type="http://schemas.openxmlformats.org/officeDocument/2006/relationships/chart" Target="../charts/chart45.xml"/></Relationships>
</file>

<file path=ppt/slides/_rels/slide169.xml.rels><?xml version="1.0" encoding="UTF-8" standalone="yes"?>
<Relationships xmlns="http://schemas.openxmlformats.org/package/2006/relationships"><Relationship Id="rId8" Type="http://schemas.openxmlformats.org/officeDocument/2006/relationships/tags" Target="../tags/tag451.xml"/><Relationship Id="rId3" Type="http://schemas.openxmlformats.org/officeDocument/2006/relationships/tags" Target="../tags/tag446.xml"/><Relationship Id="rId7" Type="http://schemas.openxmlformats.org/officeDocument/2006/relationships/tags" Target="../tags/tag450.xml"/><Relationship Id="rId12" Type="http://schemas.openxmlformats.org/officeDocument/2006/relationships/chart" Target="../charts/chart47.xml"/><Relationship Id="rId2" Type="http://schemas.openxmlformats.org/officeDocument/2006/relationships/tags" Target="../tags/tag44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49.xml"/><Relationship Id="rId11" Type="http://schemas.openxmlformats.org/officeDocument/2006/relationships/image" Target="../media/image9.emf"/><Relationship Id="rId5" Type="http://schemas.openxmlformats.org/officeDocument/2006/relationships/tags" Target="../tags/tag44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447.xml"/><Relationship Id="rId9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3.xml"/><Relationship Id="rId4" Type="http://schemas.openxmlformats.org/officeDocument/2006/relationships/chart" Target="../charts/chart2.xml"/></Relationships>
</file>

<file path=ppt/slides/_rels/slide1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8.xml"/></Relationships>
</file>

<file path=ppt/slides/_rels/slide17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8.xml"/></Relationships>
</file>

<file path=ppt/slides/_rels/slide17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8.xml"/></Relationships>
</file>

<file path=ppt/slides/_rels/slide1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52.xml"/></Relationships>
</file>

<file path=ppt/slides/_rels/slide174.xml.rels><?xml version="1.0" encoding="UTF-8" standalone="yes"?>
<Relationships xmlns="http://schemas.openxmlformats.org/package/2006/relationships"><Relationship Id="rId8" Type="http://schemas.openxmlformats.org/officeDocument/2006/relationships/tags" Target="../tags/tag459.xml"/><Relationship Id="rId13" Type="http://schemas.openxmlformats.org/officeDocument/2006/relationships/chart" Target="../charts/chart53.xml"/><Relationship Id="rId3" Type="http://schemas.openxmlformats.org/officeDocument/2006/relationships/tags" Target="../tags/tag454.xml"/><Relationship Id="rId7" Type="http://schemas.openxmlformats.org/officeDocument/2006/relationships/tags" Target="../tags/tag458.xml"/><Relationship Id="rId12" Type="http://schemas.openxmlformats.org/officeDocument/2006/relationships/chart" Target="../charts/chart52.xml"/><Relationship Id="rId2" Type="http://schemas.openxmlformats.org/officeDocument/2006/relationships/tags" Target="../tags/tag453.xml"/><Relationship Id="rId1" Type="http://schemas.openxmlformats.org/officeDocument/2006/relationships/vmlDrawing" Target="../drawings/vmlDrawing24.vml"/><Relationship Id="rId6" Type="http://schemas.openxmlformats.org/officeDocument/2006/relationships/tags" Target="../tags/tag457.xml"/><Relationship Id="rId11" Type="http://schemas.openxmlformats.org/officeDocument/2006/relationships/image" Target="../media/image9.emf"/><Relationship Id="rId5" Type="http://schemas.openxmlformats.org/officeDocument/2006/relationships/tags" Target="../tags/tag456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455.xml"/><Relationship Id="rId9" Type="http://schemas.openxmlformats.org/officeDocument/2006/relationships/slideLayout" Target="../slideLayouts/slideLayout8.xml"/></Relationships>
</file>

<file path=ppt/slides/_rels/slide1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5.xml"/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56.xml"/></Relationships>
</file>

<file path=ppt/slides/_rels/slide17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8.xml"/><Relationship Id="rId2" Type="http://schemas.openxmlformats.org/officeDocument/2006/relationships/chart" Target="../charts/chart57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60.xml"/><Relationship Id="rId4" Type="http://schemas.openxmlformats.org/officeDocument/2006/relationships/chart" Target="../charts/chart59.xml"/></Relationships>
</file>

<file path=ppt/slides/_rels/slide17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1.xml"/><Relationship Id="rId1" Type="http://schemas.openxmlformats.org/officeDocument/2006/relationships/slideLayout" Target="../slideLayouts/slideLayout8.xml"/></Relationships>
</file>

<file path=ppt/slides/_rels/slide17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3.xml"/><Relationship Id="rId2" Type="http://schemas.openxmlformats.org/officeDocument/2006/relationships/chart" Target="../charts/chart62.xml"/><Relationship Id="rId1" Type="http://schemas.openxmlformats.org/officeDocument/2006/relationships/slideLayout" Target="../slideLayouts/slideLayout8.xml"/></Relationships>
</file>

<file path=ppt/slides/_rels/slide1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2" Type="http://schemas.openxmlformats.org/officeDocument/2006/relationships/chart" Target="../charts/chart64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6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4.xml"/><Relationship Id="rId4" Type="http://schemas.openxmlformats.org/officeDocument/2006/relationships/chart" Target="../charts/chart4.xml"/></Relationships>
</file>

<file path=ppt/slides/_rels/slide18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8.xml"/><Relationship Id="rId2" Type="http://schemas.openxmlformats.org/officeDocument/2006/relationships/chart" Target="../charts/chart67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70.xml"/><Relationship Id="rId4" Type="http://schemas.openxmlformats.org/officeDocument/2006/relationships/chart" Target="../charts/chart69.xml"/></Relationships>
</file>

<file path=ppt/slides/_rels/slide1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2.xml"/><Relationship Id="rId2" Type="http://schemas.openxmlformats.org/officeDocument/2006/relationships/chart" Target="../charts/chart71.xml"/><Relationship Id="rId1" Type="http://schemas.openxmlformats.org/officeDocument/2006/relationships/slideLayout" Target="../slideLayouts/slideLayout8.xml"/></Relationships>
</file>

<file path=ppt/slides/_rels/slide18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3.xml"/><Relationship Id="rId1" Type="http://schemas.openxmlformats.org/officeDocument/2006/relationships/slideLayout" Target="../slideLayouts/slideLayout8.xml"/></Relationships>
</file>

<file path=ppt/slides/_rels/slide1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5.xml"/><Relationship Id="rId2" Type="http://schemas.openxmlformats.org/officeDocument/2006/relationships/chart" Target="../charts/chart74.xml"/><Relationship Id="rId1" Type="http://schemas.openxmlformats.org/officeDocument/2006/relationships/slideLayout" Target="../slideLayouts/slideLayout8.xml"/></Relationships>
</file>

<file path=ppt/slides/_rels/slide1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2" Type="http://schemas.openxmlformats.org/officeDocument/2006/relationships/chart" Target="../charts/chart76.xml"/><Relationship Id="rId1" Type="http://schemas.openxmlformats.org/officeDocument/2006/relationships/slideLayout" Target="../slideLayouts/slideLayout8.xml"/></Relationships>
</file>

<file path=ppt/slides/_rels/slide18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8.xml"/><Relationship Id="rId1" Type="http://schemas.openxmlformats.org/officeDocument/2006/relationships/slideLayout" Target="../slideLayouts/slideLayout8.xml"/></Relationships>
</file>

<file path=ppt/slides/_rels/slide18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9.xml"/><Relationship Id="rId1" Type="http://schemas.openxmlformats.org/officeDocument/2006/relationships/slideLayout" Target="../slideLayouts/slideLayout8.xml"/></Relationships>
</file>

<file path=ppt/slides/_rels/slide18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0.xml"/><Relationship Id="rId1" Type="http://schemas.openxmlformats.org/officeDocument/2006/relationships/slideLayout" Target="../slideLayouts/slideLayout8.xml"/></Relationships>
</file>

<file path=ppt/slides/_rels/slide18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1.xml"/><Relationship Id="rId1" Type="http://schemas.openxmlformats.org/officeDocument/2006/relationships/slideLayout" Target="../slideLayouts/slideLayout8.xml"/></Relationships>
</file>

<file path=ppt/slides/_rels/slide18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2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5.xml"/></Relationships>
</file>

<file path=ppt/slides/_rels/slide19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4.xml"/><Relationship Id="rId2" Type="http://schemas.openxmlformats.org/officeDocument/2006/relationships/chart" Target="../charts/chart83.xml"/><Relationship Id="rId1" Type="http://schemas.openxmlformats.org/officeDocument/2006/relationships/slideLayout" Target="../slideLayouts/slideLayout8.xml"/></Relationships>
</file>

<file path=ppt/slides/_rels/slide19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6.xml"/><Relationship Id="rId2" Type="http://schemas.openxmlformats.org/officeDocument/2006/relationships/chart" Target="../charts/chart85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87.xml"/></Relationships>
</file>

<file path=ppt/slides/_rels/slide19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9.xml"/><Relationship Id="rId2" Type="http://schemas.openxmlformats.org/officeDocument/2006/relationships/chart" Target="../charts/chart88.xml"/><Relationship Id="rId1" Type="http://schemas.openxmlformats.org/officeDocument/2006/relationships/slideLayout" Target="../slideLayouts/slideLayout8.xml"/><Relationship Id="rId5" Type="http://schemas.openxmlformats.org/officeDocument/2006/relationships/chart" Target="../charts/chart91.xml"/><Relationship Id="rId4" Type="http://schemas.openxmlformats.org/officeDocument/2006/relationships/chart" Target="../charts/chart90.xml"/></Relationships>
</file>

<file path=ppt/slides/_rels/slide19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2.xml"/><Relationship Id="rId1" Type="http://schemas.openxmlformats.org/officeDocument/2006/relationships/slideLayout" Target="../slideLayouts/slideLayout8.xml"/></Relationships>
</file>

<file path=ppt/slides/_rels/slide19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3.xml"/><Relationship Id="rId1" Type="http://schemas.openxmlformats.org/officeDocument/2006/relationships/slideLayout" Target="../slideLayouts/slideLayout8.xml"/></Relationships>
</file>

<file path=ppt/slides/_rels/slide19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4.xml"/><Relationship Id="rId1" Type="http://schemas.openxmlformats.org/officeDocument/2006/relationships/slideLayout" Target="../slideLayouts/slideLayout8.xml"/></Relationships>
</file>

<file path=ppt/slides/_rels/slide19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5.xml"/><Relationship Id="rId1" Type="http://schemas.openxmlformats.org/officeDocument/2006/relationships/slideLayout" Target="../slideLayouts/slideLayout8.xml"/></Relationships>
</file>

<file path=ppt/slides/_rels/slide19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6.xml"/><Relationship Id="rId1" Type="http://schemas.openxmlformats.org/officeDocument/2006/relationships/slideLayout" Target="../slideLayouts/slideLayout8.xml"/></Relationships>
</file>

<file path=ppt/slides/_rels/slide19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7.xm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8.xml"/></Relationships>
</file>

<file path=ppt/slides/_rels/slide19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8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6.xml"/></Relationships>
</file>

<file path=ppt/slides/_rels/slide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461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464.xml"/><Relationship Id="rId5" Type="http://schemas.openxmlformats.org/officeDocument/2006/relationships/tags" Target="../tags/tag463.xml"/><Relationship Id="rId10" Type="http://schemas.openxmlformats.org/officeDocument/2006/relationships/chart" Target="../charts/chart99.xml"/><Relationship Id="rId4" Type="http://schemas.openxmlformats.org/officeDocument/2006/relationships/tags" Target="../tags/tag462.xml"/><Relationship Id="rId9" Type="http://schemas.openxmlformats.org/officeDocument/2006/relationships/image" Target="../media/image9.emf"/></Relationships>
</file>

<file path=ppt/slides/_rels/slide20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0.xml"/><Relationship Id="rId1" Type="http://schemas.openxmlformats.org/officeDocument/2006/relationships/slideLayout" Target="../slideLayouts/slideLayout8.xml"/></Relationships>
</file>

<file path=ppt/slides/_rels/slide20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1.xml"/><Relationship Id="rId1" Type="http://schemas.openxmlformats.org/officeDocument/2006/relationships/slideLayout" Target="../slideLayouts/slideLayout8.xml"/></Relationships>
</file>

<file path=ppt/slides/_rels/slide20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3.xml"/><Relationship Id="rId2" Type="http://schemas.openxmlformats.org/officeDocument/2006/relationships/chart" Target="../charts/chart102.xml"/><Relationship Id="rId1" Type="http://schemas.openxmlformats.org/officeDocument/2006/relationships/slideLayout" Target="../slideLayouts/slideLayout8.xml"/></Relationships>
</file>

<file path=ppt/slides/_rels/slide20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4.xml"/><Relationship Id="rId1" Type="http://schemas.openxmlformats.org/officeDocument/2006/relationships/slideLayout" Target="../slideLayouts/slideLayout8.xml"/></Relationships>
</file>

<file path=ppt/slides/_rels/slide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66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65.xml"/><Relationship Id="rId1" Type="http://schemas.openxmlformats.org/officeDocument/2006/relationships/vmlDrawing" Target="../drawings/vmlDrawing26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468.xml"/><Relationship Id="rId4" Type="http://schemas.openxmlformats.org/officeDocument/2006/relationships/tags" Target="../tags/tag467.xml"/><Relationship Id="rId9" Type="http://schemas.openxmlformats.org/officeDocument/2006/relationships/chart" Target="../charts/chart105.xml"/></Relationships>
</file>

<file path=ppt/slides/_rels/slide2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470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46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473.xml"/><Relationship Id="rId5" Type="http://schemas.openxmlformats.org/officeDocument/2006/relationships/tags" Target="../tags/tag472.xml"/><Relationship Id="rId10" Type="http://schemas.openxmlformats.org/officeDocument/2006/relationships/chart" Target="../charts/chart106.xml"/><Relationship Id="rId4" Type="http://schemas.openxmlformats.org/officeDocument/2006/relationships/tags" Target="../tags/tag471.xml"/><Relationship Id="rId9" Type="http://schemas.openxmlformats.org/officeDocument/2006/relationships/image" Target="../media/image9.emf"/></Relationships>
</file>

<file path=ppt/slides/_rels/slide20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74.xml"/></Relationships>
</file>

<file path=ppt/slides/_rels/slide208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13" Type="http://schemas.openxmlformats.org/officeDocument/2006/relationships/tags" Target="../tags/tag486.xml"/><Relationship Id="rId18" Type="http://schemas.openxmlformats.org/officeDocument/2006/relationships/chart" Target="../charts/chart109.xml"/><Relationship Id="rId3" Type="http://schemas.openxmlformats.org/officeDocument/2006/relationships/tags" Target="../tags/tag476.xml"/><Relationship Id="rId7" Type="http://schemas.openxmlformats.org/officeDocument/2006/relationships/tags" Target="../tags/tag480.xml"/><Relationship Id="rId12" Type="http://schemas.openxmlformats.org/officeDocument/2006/relationships/tags" Target="../tags/tag485.xml"/><Relationship Id="rId17" Type="http://schemas.openxmlformats.org/officeDocument/2006/relationships/chart" Target="../charts/chart108.xml"/><Relationship Id="rId2" Type="http://schemas.openxmlformats.org/officeDocument/2006/relationships/tags" Target="../tags/tag475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28.vml"/><Relationship Id="rId6" Type="http://schemas.openxmlformats.org/officeDocument/2006/relationships/tags" Target="../tags/tag479.xml"/><Relationship Id="rId11" Type="http://schemas.openxmlformats.org/officeDocument/2006/relationships/tags" Target="../tags/tag484.xml"/><Relationship Id="rId5" Type="http://schemas.openxmlformats.org/officeDocument/2006/relationships/tags" Target="../tags/tag478.xml"/><Relationship Id="rId15" Type="http://schemas.openxmlformats.org/officeDocument/2006/relationships/oleObject" Target="../embeddings/oleObject28.bin"/><Relationship Id="rId10" Type="http://schemas.openxmlformats.org/officeDocument/2006/relationships/tags" Target="../tags/tag483.xml"/><Relationship Id="rId4" Type="http://schemas.openxmlformats.org/officeDocument/2006/relationships/tags" Target="../tags/tag477.xml"/><Relationship Id="rId9" Type="http://schemas.openxmlformats.org/officeDocument/2006/relationships/tags" Target="../tags/tag482.xml"/><Relationship Id="rId14" Type="http://schemas.openxmlformats.org/officeDocument/2006/relationships/slideLayout" Target="../slideLayouts/slideLayout8.xml"/></Relationships>
</file>

<file path=ppt/slides/_rels/slide20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7.xml"/><Relationship Id="rId4" Type="http://schemas.openxmlformats.org/officeDocument/2006/relationships/chart" Target="../charts/chart8.xml"/></Relationships>
</file>

<file path=ppt/slides/_rels/slide210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tags" Target="../tags/tag492.xml"/><Relationship Id="rId5" Type="http://schemas.openxmlformats.org/officeDocument/2006/relationships/tags" Target="../tags/tag491.xml"/><Relationship Id="rId4" Type="http://schemas.openxmlformats.org/officeDocument/2006/relationships/tags" Target="../tags/tag490.xml"/><Relationship Id="rId9" Type="http://schemas.openxmlformats.org/officeDocument/2006/relationships/slideLayout" Target="../slideLayouts/slideLayout8.xml"/></Relationships>
</file>

<file path=ppt/slides/_rels/slide2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8.xml"/></Relationships>
</file>

<file path=ppt/slides/_rels/slide212.xml.rels><?xml version="1.0" encoding="UTF-8" standalone="yes"?>
<Relationships xmlns="http://schemas.openxmlformats.org/package/2006/relationships"><Relationship Id="rId8" Type="http://schemas.openxmlformats.org/officeDocument/2006/relationships/tags" Target="../tags/tag501.xml"/><Relationship Id="rId13" Type="http://schemas.openxmlformats.org/officeDocument/2006/relationships/tags" Target="../tags/tag506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12" Type="http://schemas.openxmlformats.org/officeDocument/2006/relationships/tags" Target="../tags/tag505.xml"/><Relationship Id="rId17" Type="http://schemas.openxmlformats.org/officeDocument/2006/relationships/image" Target="../media/image9.emf"/><Relationship Id="rId2" Type="http://schemas.openxmlformats.org/officeDocument/2006/relationships/tags" Target="../tags/tag495.xml"/><Relationship Id="rId16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499.xml"/><Relationship Id="rId11" Type="http://schemas.openxmlformats.org/officeDocument/2006/relationships/tags" Target="../tags/tag504.xml"/><Relationship Id="rId5" Type="http://schemas.openxmlformats.org/officeDocument/2006/relationships/tags" Target="../tags/tag498.xml"/><Relationship Id="rId15" Type="http://schemas.openxmlformats.org/officeDocument/2006/relationships/slideLayout" Target="../slideLayouts/slideLayout8.xml"/><Relationship Id="rId10" Type="http://schemas.openxmlformats.org/officeDocument/2006/relationships/tags" Target="../tags/tag503.xml"/><Relationship Id="rId4" Type="http://schemas.openxmlformats.org/officeDocument/2006/relationships/tags" Target="../tags/tag497.xml"/><Relationship Id="rId9" Type="http://schemas.openxmlformats.org/officeDocument/2006/relationships/tags" Target="../tags/tag502.xml"/><Relationship Id="rId14" Type="http://schemas.openxmlformats.org/officeDocument/2006/relationships/tags" Target="../tags/tag507.xml"/></Relationships>
</file>

<file path=ppt/slides/_rels/slide2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4.xml.rels><?xml version="1.0" encoding="UTF-8" standalone="yes"?>
<Relationships xmlns="http://schemas.openxmlformats.org/package/2006/relationships"><Relationship Id="rId26" Type="http://schemas.openxmlformats.org/officeDocument/2006/relationships/tags" Target="../tags/tag533.xml"/><Relationship Id="rId117" Type="http://schemas.openxmlformats.org/officeDocument/2006/relationships/tags" Target="../tags/tag624.xml"/><Relationship Id="rId21" Type="http://schemas.openxmlformats.org/officeDocument/2006/relationships/tags" Target="../tags/tag528.xml"/><Relationship Id="rId42" Type="http://schemas.openxmlformats.org/officeDocument/2006/relationships/tags" Target="../tags/tag549.xml"/><Relationship Id="rId47" Type="http://schemas.openxmlformats.org/officeDocument/2006/relationships/tags" Target="../tags/tag554.xml"/><Relationship Id="rId63" Type="http://schemas.openxmlformats.org/officeDocument/2006/relationships/tags" Target="../tags/tag570.xml"/><Relationship Id="rId68" Type="http://schemas.openxmlformats.org/officeDocument/2006/relationships/tags" Target="../tags/tag575.xml"/><Relationship Id="rId84" Type="http://schemas.openxmlformats.org/officeDocument/2006/relationships/tags" Target="../tags/tag591.xml"/><Relationship Id="rId89" Type="http://schemas.openxmlformats.org/officeDocument/2006/relationships/tags" Target="../tags/tag596.xml"/><Relationship Id="rId112" Type="http://schemas.openxmlformats.org/officeDocument/2006/relationships/tags" Target="../tags/tag619.xml"/><Relationship Id="rId133" Type="http://schemas.openxmlformats.org/officeDocument/2006/relationships/tags" Target="../tags/tag640.xml"/><Relationship Id="rId138" Type="http://schemas.openxmlformats.org/officeDocument/2006/relationships/tags" Target="../tags/tag645.xml"/><Relationship Id="rId154" Type="http://schemas.openxmlformats.org/officeDocument/2006/relationships/chart" Target="../charts/chart115.xml"/><Relationship Id="rId16" Type="http://schemas.openxmlformats.org/officeDocument/2006/relationships/tags" Target="../tags/tag523.xml"/><Relationship Id="rId107" Type="http://schemas.openxmlformats.org/officeDocument/2006/relationships/tags" Target="../tags/tag614.xml"/><Relationship Id="rId11" Type="http://schemas.openxmlformats.org/officeDocument/2006/relationships/tags" Target="../tags/tag518.xml"/><Relationship Id="rId32" Type="http://schemas.openxmlformats.org/officeDocument/2006/relationships/tags" Target="../tags/tag539.xml"/><Relationship Id="rId37" Type="http://schemas.openxmlformats.org/officeDocument/2006/relationships/tags" Target="../tags/tag544.xml"/><Relationship Id="rId53" Type="http://schemas.openxmlformats.org/officeDocument/2006/relationships/tags" Target="../tags/tag560.xml"/><Relationship Id="rId58" Type="http://schemas.openxmlformats.org/officeDocument/2006/relationships/tags" Target="../tags/tag565.xml"/><Relationship Id="rId74" Type="http://schemas.openxmlformats.org/officeDocument/2006/relationships/tags" Target="../tags/tag581.xml"/><Relationship Id="rId79" Type="http://schemas.openxmlformats.org/officeDocument/2006/relationships/tags" Target="../tags/tag586.xml"/><Relationship Id="rId102" Type="http://schemas.openxmlformats.org/officeDocument/2006/relationships/tags" Target="../tags/tag609.xml"/><Relationship Id="rId123" Type="http://schemas.openxmlformats.org/officeDocument/2006/relationships/tags" Target="../tags/tag630.xml"/><Relationship Id="rId128" Type="http://schemas.openxmlformats.org/officeDocument/2006/relationships/tags" Target="../tags/tag635.xml"/><Relationship Id="rId144" Type="http://schemas.openxmlformats.org/officeDocument/2006/relationships/tags" Target="../tags/tag651.xml"/><Relationship Id="rId149" Type="http://schemas.openxmlformats.org/officeDocument/2006/relationships/chart" Target="../charts/chart110.xml"/><Relationship Id="rId5" Type="http://schemas.openxmlformats.org/officeDocument/2006/relationships/tags" Target="../tags/tag512.xml"/><Relationship Id="rId90" Type="http://schemas.openxmlformats.org/officeDocument/2006/relationships/tags" Target="../tags/tag597.xml"/><Relationship Id="rId95" Type="http://schemas.openxmlformats.org/officeDocument/2006/relationships/tags" Target="../tags/tag602.xml"/><Relationship Id="rId22" Type="http://schemas.openxmlformats.org/officeDocument/2006/relationships/tags" Target="../tags/tag529.xml"/><Relationship Id="rId27" Type="http://schemas.openxmlformats.org/officeDocument/2006/relationships/tags" Target="../tags/tag534.xml"/><Relationship Id="rId43" Type="http://schemas.openxmlformats.org/officeDocument/2006/relationships/tags" Target="../tags/tag550.xml"/><Relationship Id="rId48" Type="http://schemas.openxmlformats.org/officeDocument/2006/relationships/tags" Target="../tags/tag555.xml"/><Relationship Id="rId64" Type="http://schemas.openxmlformats.org/officeDocument/2006/relationships/tags" Target="../tags/tag571.xml"/><Relationship Id="rId69" Type="http://schemas.openxmlformats.org/officeDocument/2006/relationships/tags" Target="../tags/tag576.xml"/><Relationship Id="rId113" Type="http://schemas.openxmlformats.org/officeDocument/2006/relationships/tags" Target="../tags/tag620.xml"/><Relationship Id="rId118" Type="http://schemas.openxmlformats.org/officeDocument/2006/relationships/tags" Target="../tags/tag625.xml"/><Relationship Id="rId134" Type="http://schemas.openxmlformats.org/officeDocument/2006/relationships/tags" Target="../tags/tag641.xml"/><Relationship Id="rId139" Type="http://schemas.openxmlformats.org/officeDocument/2006/relationships/tags" Target="../tags/tag646.xml"/><Relationship Id="rId80" Type="http://schemas.openxmlformats.org/officeDocument/2006/relationships/tags" Target="../tags/tag587.xml"/><Relationship Id="rId85" Type="http://schemas.openxmlformats.org/officeDocument/2006/relationships/tags" Target="../tags/tag592.xml"/><Relationship Id="rId150" Type="http://schemas.openxmlformats.org/officeDocument/2006/relationships/chart" Target="../charts/chart111.xml"/><Relationship Id="rId155" Type="http://schemas.openxmlformats.org/officeDocument/2006/relationships/chart" Target="../charts/chart116.xml"/><Relationship Id="rId12" Type="http://schemas.openxmlformats.org/officeDocument/2006/relationships/tags" Target="../tags/tag519.xml"/><Relationship Id="rId17" Type="http://schemas.openxmlformats.org/officeDocument/2006/relationships/tags" Target="../tags/tag524.xml"/><Relationship Id="rId25" Type="http://schemas.openxmlformats.org/officeDocument/2006/relationships/tags" Target="../tags/tag532.xml"/><Relationship Id="rId33" Type="http://schemas.openxmlformats.org/officeDocument/2006/relationships/tags" Target="../tags/tag540.xml"/><Relationship Id="rId38" Type="http://schemas.openxmlformats.org/officeDocument/2006/relationships/tags" Target="../tags/tag545.xml"/><Relationship Id="rId46" Type="http://schemas.openxmlformats.org/officeDocument/2006/relationships/tags" Target="../tags/tag553.xml"/><Relationship Id="rId59" Type="http://schemas.openxmlformats.org/officeDocument/2006/relationships/tags" Target="../tags/tag566.xml"/><Relationship Id="rId67" Type="http://schemas.openxmlformats.org/officeDocument/2006/relationships/tags" Target="../tags/tag574.xml"/><Relationship Id="rId103" Type="http://schemas.openxmlformats.org/officeDocument/2006/relationships/tags" Target="../tags/tag610.xml"/><Relationship Id="rId108" Type="http://schemas.openxmlformats.org/officeDocument/2006/relationships/tags" Target="../tags/tag615.xml"/><Relationship Id="rId116" Type="http://schemas.openxmlformats.org/officeDocument/2006/relationships/tags" Target="../tags/tag623.xml"/><Relationship Id="rId124" Type="http://schemas.openxmlformats.org/officeDocument/2006/relationships/tags" Target="../tags/tag631.xml"/><Relationship Id="rId129" Type="http://schemas.openxmlformats.org/officeDocument/2006/relationships/tags" Target="../tags/tag636.xml"/><Relationship Id="rId137" Type="http://schemas.openxmlformats.org/officeDocument/2006/relationships/tags" Target="../tags/tag644.xml"/><Relationship Id="rId20" Type="http://schemas.openxmlformats.org/officeDocument/2006/relationships/tags" Target="../tags/tag527.xml"/><Relationship Id="rId41" Type="http://schemas.openxmlformats.org/officeDocument/2006/relationships/tags" Target="../tags/tag548.xml"/><Relationship Id="rId54" Type="http://schemas.openxmlformats.org/officeDocument/2006/relationships/tags" Target="../tags/tag561.xml"/><Relationship Id="rId62" Type="http://schemas.openxmlformats.org/officeDocument/2006/relationships/tags" Target="../tags/tag569.xml"/><Relationship Id="rId70" Type="http://schemas.openxmlformats.org/officeDocument/2006/relationships/tags" Target="../tags/tag577.xml"/><Relationship Id="rId75" Type="http://schemas.openxmlformats.org/officeDocument/2006/relationships/tags" Target="../tags/tag582.xml"/><Relationship Id="rId83" Type="http://schemas.openxmlformats.org/officeDocument/2006/relationships/tags" Target="../tags/tag590.xml"/><Relationship Id="rId88" Type="http://schemas.openxmlformats.org/officeDocument/2006/relationships/tags" Target="../tags/tag595.xml"/><Relationship Id="rId91" Type="http://schemas.openxmlformats.org/officeDocument/2006/relationships/tags" Target="../tags/tag598.xml"/><Relationship Id="rId96" Type="http://schemas.openxmlformats.org/officeDocument/2006/relationships/tags" Target="../tags/tag603.xml"/><Relationship Id="rId111" Type="http://schemas.openxmlformats.org/officeDocument/2006/relationships/tags" Target="../tags/tag618.xml"/><Relationship Id="rId132" Type="http://schemas.openxmlformats.org/officeDocument/2006/relationships/tags" Target="../tags/tag639.xml"/><Relationship Id="rId140" Type="http://schemas.openxmlformats.org/officeDocument/2006/relationships/tags" Target="../tags/tag647.xml"/><Relationship Id="rId145" Type="http://schemas.openxmlformats.org/officeDocument/2006/relationships/tags" Target="../tags/tag652.xml"/><Relationship Id="rId153" Type="http://schemas.openxmlformats.org/officeDocument/2006/relationships/chart" Target="../charts/chart114.xml"/><Relationship Id="rId1" Type="http://schemas.openxmlformats.org/officeDocument/2006/relationships/tags" Target="../tags/tag508.xml"/><Relationship Id="rId6" Type="http://schemas.openxmlformats.org/officeDocument/2006/relationships/tags" Target="../tags/tag513.xml"/><Relationship Id="rId15" Type="http://schemas.openxmlformats.org/officeDocument/2006/relationships/tags" Target="../tags/tag522.xml"/><Relationship Id="rId23" Type="http://schemas.openxmlformats.org/officeDocument/2006/relationships/tags" Target="../tags/tag530.xml"/><Relationship Id="rId28" Type="http://schemas.openxmlformats.org/officeDocument/2006/relationships/tags" Target="../tags/tag535.xml"/><Relationship Id="rId36" Type="http://schemas.openxmlformats.org/officeDocument/2006/relationships/tags" Target="../tags/tag543.xml"/><Relationship Id="rId49" Type="http://schemas.openxmlformats.org/officeDocument/2006/relationships/tags" Target="../tags/tag556.xml"/><Relationship Id="rId57" Type="http://schemas.openxmlformats.org/officeDocument/2006/relationships/tags" Target="../tags/tag564.xml"/><Relationship Id="rId106" Type="http://schemas.openxmlformats.org/officeDocument/2006/relationships/tags" Target="../tags/tag613.xml"/><Relationship Id="rId114" Type="http://schemas.openxmlformats.org/officeDocument/2006/relationships/tags" Target="../tags/tag621.xml"/><Relationship Id="rId119" Type="http://schemas.openxmlformats.org/officeDocument/2006/relationships/tags" Target="../tags/tag626.xml"/><Relationship Id="rId127" Type="http://schemas.openxmlformats.org/officeDocument/2006/relationships/tags" Target="../tags/tag634.xml"/><Relationship Id="rId10" Type="http://schemas.openxmlformats.org/officeDocument/2006/relationships/tags" Target="../tags/tag517.xml"/><Relationship Id="rId31" Type="http://schemas.openxmlformats.org/officeDocument/2006/relationships/tags" Target="../tags/tag538.xml"/><Relationship Id="rId44" Type="http://schemas.openxmlformats.org/officeDocument/2006/relationships/tags" Target="../tags/tag551.xml"/><Relationship Id="rId52" Type="http://schemas.openxmlformats.org/officeDocument/2006/relationships/tags" Target="../tags/tag559.xml"/><Relationship Id="rId60" Type="http://schemas.openxmlformats.org/officeDocument/2006/relationships/tags" Target="../tags/tag567.xml"/><Relationship Id="rId65" Type="http://schemas.openxmlformats.org/officeDocument/2006/relationships/tags" Target="../tags/tag572.xml"/><Relationship Id="rId73" Type="http://schemas.openxmlformats.org/officeDocument/2006/relationships/tags" Target="../tags/tag580.xml"/><Relationship Id="rId78" Type="http://schemas.openxmlformats.org/officeDocument/2006/relationships/tags" Target="../tags/tag585.xml"/><Relationship Id="rId81" Type="http://schemas.openxmlformats.org/officeDocument/2006/relationships/tags" Target="../tags/tag588.xml"/><Relationship Id="rId86" Type="http://schemas.openxmlformats.org/officeDocument/2006/relationships/tags" Target="../tags/tag593.xml"/><Relationship Id="rId94" Type="http://schemas.openxmlformats.org/officeDocument/2006/relationships/tags" Target="../tags/tag601.xml"/><Relationship Id="rId99" Type="http://schemas.openxmlformats.org/officeDocument/2006/relationships/tags" Target="../tags/tag606.xml"/><Relationship Id="rId101" Type="http://schemas.openxmlformats.org/officeDocument/2006/relationships/tags" Target="../tags/tag608.xml"/><Relationship Id="rId122" Type="http://schemas.openxmlformats.org/officeDocument/2006/relationships/tags" Target="../tags/tag629.xml"/><Relationship Id="rId130" Type="http://schemas.openxmlformats.org/officeDocument/2006/relationships/tags" Target="../tags/tag637.xml"/><Relationship Id="rId135" Type="http://schemas.openxmlformats.org/officeDocument/2006/relationships/tags" Target="../tags/tag642.xml"/><Relationship Id="rId143" Type="http://schemas.openxmlformats.org/officeDocument/2006/relationships/tags" Target="../tags/tag650.xml"/><Relationship Id="rId148" Type="http://schemas.openxmlformats.org/officeDocument/2006/relationships/notesSlide" Target="../notesSlides/notesSlide51.xml"/><Relationship Id="rId151" Type="http://schemas.openxmlformats.org/officeDocument/2006/relationships/chart" Target="../charts/chart112.xml"/><Relationship Id="rId156" Type="http://schemas.openxmlformats.org/officeDocument/2006/relationships/chart" Target="../charts/chart117.xml"/><Relationship Id="rId4" Type="http://schemas.openxmlformats.org/officeDocument/2006/relationships/tags" Target="../tags/tag511.xml"/><Relationship Id="rId9" Type="http://schemas.openxmlformats.org/officeDocument/2006/relationships/tags" Target="../tags/tag516.xml"/><Relationship Id="rId13" Type="http://schemas.openxmlformats.org/officeDocument/2006/relationships/tags" Target="../tags/tag520.xml"/><Relationship Id="rId18" Type="http://schemas.openxmlformats.org/officeDocument/2006/relationships/tags" Target="../tags/tag525.xml"/><Relationship Id="rId39" Type="http://schemas.openxmlformats.org/officeDocument/2006/relationships/tags" Target="../tags/tag546.xml"/><Relationship Id="rId109" Type="http://schemas.openxmlformats.org/officeDocument/2006/relationships/tags" Target="../tags/tag616.xml"/><Relationship Id="rId34" Type="http://schemas.openxmlformats.org/officeDocument/2006/relationships/tags" Target="../tags/tag541.xml"/><Relationship Id="rId50" Type="http://schemas.openxmlformats.org/officeDocument/2006/relationships/tags" Target="../tags/tag557.xml"/><Relationship Id="rId55" Type="http://schemas.openxmlformats.org/officeDocument/2006/relationships/tags" Target="../tags/tag562.xml"/><Relationship Id="rId76" Type="http://schemas.openxmlformats.org/officeDocument/2006/relationships/tags" Target="../tags/tag583.xml"/><Relationship Id="rId97" Type="http://schemas.openxmlformats.org/officeDocument/2006/relationships/tags" Target="../tags/tag604.xml"/><Relationship Id="rId104" Type="http://schemas.openxmlformats.org/officeDocument/2006/relationships/tags" Target="../tags/tag611.xml"/><Relationship Id="rId120" Type="http://schemas.openxmlformats.org/officeDocument/2006/relationships/tags" Target="../tags/tag627.xml"/><Relationship Id="rId125" Type="http://schemas.openxmlformats.org/officeDocument/2006/relationships/tags" Target="../tags/tag632.xml"/><Relationship Id="rId141" Type="http://schemas.openxmlformats.org/officeDocument/2006/relationships/tags" Target="../tags/tag648.xml"/><Relationship Id="rId146" Type="http://schemas.openxmlformats.org/officeDocument/2006/relationships/tags" Target="../tags/tag653.xml"/><Relationship Id="rId7" Type="http://schemas.openxmlformats.org/officeDocument/2006/relationships/tags" Target="../tags/tag514.xml"/><Relationship Id="rId71" Type="http://schemas.openxmlformats.org/officeDocument/2006/relationships/tags" Target="../tags/tag578.xml"/><Relationship Id="rId92" Type="http://schemas.openxmlformats.org/officeDocument/2006/relationships/tags" Target="../tags/tag599.xml"/><Relationship Id="rId2" Type="http://schemas.openxmlformats.org/officeDocument/2006/relationships/tags" Target="../tags/tag509.xml"/><Relationship Id="rId29" Type="http://schemas.openxmlformats.org/officeDocument/2006/relationships/tags" Target="../tags/tag536.xml"/><Relationship Id="rId24" Type="http://schemas.openxmlformats.org/officeDocument/2006/relationships/tags" Target="../tags/tag531.xml"/><Relationship Id="rId40" Type="http://schemas.openxmlformats.org/officeDocument/2006/relationships/tags" Target="../tags/tag547.xml"/><Relationship Id="rId45" Type="http://schemas.openxmlformats.org/officeDocument/2006/relationships/tags" Target="../tags/tag552.xml"/><Relationship Id="rId66" Type="http://schemas.openxmlformats.org/officeDocument/2006/relationships/tags" Target="../tags/tag573.xml"/><Relationship Id="rId87" Type="http://schemas.openxmlformats.org/officeDocument/2006/relationships/tags" Target="../tags/tag594.xml"/><Relationship Id="rId110" Type="http://schemas.openxmlformats.org/officeDocument/2006/relationships/tags" Target="../tags/tag617.xml"/><Relationship Id="rId115" Type="http://schemas.openxmlformats.org/officeDocument/2006/relationships/tags" Target="../tags/tag622.xml"/><Relationship Id="rId131" Type="http://schemas.openxmlformats.org/officeDocument/2006/relationships/tags" Target="../tags/tag638.xml"/><Relationship Id="rId136" Type="http://schemas.openxmlformats.org/officeDocument/2006/relationships/tags" Target="../tags/tag643.xml"/><Relationship Id="rId61" Type="http://schemas.openxmlformats.org/officeDocument/2006/relationships/tags" Target="../tags/tag568.xml"/><Relationship Id="rId82" Type="http://schemas.openxmlformats.org/officeDocument/2006/relationships/tags" Target="../tags/tag589.xml"/><Relationship Id="rId152" Type="http://schemas.openxmlformats.org/officeDocument/2006/relationships/chart" Target="../charts/chart113.xml"/><Relationship Id="rId19" Type="http://schemas.openxmlformats.org/officeDocument/2006/relationships/tags" Target="../tags/tag526.xml"/><Relationship Id="rId14" Type="http://schemas.openxmlformats.org/officeDocument/2006/relationships/tags" Target="../tags/tag521.xml"/><Relationship Id="rId30" Type="http://schemas.openxmlformats.org/officeDocument/2006/relationships/tags" Target="../tags/tag537.xml"/><Relationship Id="rId35" Type="http://schemas.openxmlformats.org/officeDocument/2006/relationships/tags" Target="../tags/tag542.xml"/><Relationship Id="rId56" Type="http://schemas.openxmlformats.org/officeDocument/2006/relationships/tags" Target="../tags/tag563.xml"/><Relationship Id="rId77" Type="http://schemas.openxmlformats.org/officeDocument/2006/relationships/tags" Target="../tags/tag584.xml"/><Relationship Id="rId100" Type="http://schemas.openxmlformats.org/officeDocument/2006/relationships/tags" Target="../tags/tag607.xml"/><Relationship Id="rId105" Type="http://schemas.openxmlformats.org/officeDocument/2006/relationships/tags" Target="../tags/tag612.xml"/><Relationship Id="rId126" Type="http://schemas.openxmlformats.org/officeDocument/2006/relationships/tags" Target="../tags/tag633.xml"/><Relationship Id="rId147" Type="http://schemas.openxmlformats.org/officeDocument/2006/relationships/slideLayout" Target="../slideLayouts/slideLayout8.xml"/><Relationship Id="rId8" Type="http://schemas.openxmlformats.org/officeDocument/2006/relationships/tags" Target="../tags/tag515.xml"/><Relationship Id="rId51" Type="http://schemas.openxmlformats.org/officeDocument/2006/relationships/tags" Target="../tags/tag558.xml"/><Relationship Id="rId72" Type="http://schemas.openxmlformats.org/officeDocument/2006/relationships/tags" Target="../tags/tag579.xml"/><Relationship Id="rId93" Type="http://schemas.openxmlformats.org/officeDocument/2006/relationships/tags" Target="../tags/tag600.xml"/><Relationship Id="rId98" Type="http://schemas.openxmlformats.org/officeDocument/2006/relationships/tags" Target="../tags/tag605.xml"/><Relationship Id="rId121" Type="http://schemas.openxmlformats.org/officeDocument/2006/relationships/tags" Target="../tags/tag628.xml"/><Relationship Id="rId142" Type="http://schemas.openxmlformats.org/officeDocument/2006/relationships/tags" Target="../tags/tag649.xml"/><Relationship Id="rId3" Type="http://schemas.openxmlformats.org/officeDocument/2006/relationships/tags" Target="../tags/tag510.xml"/></Relationships>
</file>

<file path=ppt/slides/_rels/slide215.xml.rels><?xml version="1.0" encoding="UTF-8" standalone="yes"?>
<Relationships xmlns="http://schemas.openxmlformats.org/package/2006/relationships"><Relationship Id="rId8" Type="http://schemas.openxmlformats.org/officeDocument/2006/relationships/tags" Target="../tags/tag660.xml"/><Relationship Id="rId13" Type="http://schemas.openxmlformats.org/officeDocument/2006/relationships/tags" Target="../tags/tag665.xml"/><Relationship Id="rId18" Type="http://schemas.openxmlformats.org/officeDocument/2006/relationships/slideLayout" Target="../slideLayouts/slideLayout8.xml"/><Relationship Id="rId3" Type="http://schemas.openxmlformats.org/officeDocument/2006/relationships/tags" Target="../tags/tag655.xml"/><Relationship Id="rId7" Type="http://schemas.openxmlformats.org/officeDocument/2006/relationships/tags" Target="../tags/tag659.xml"/><Relationship Id="rId12" Type="http://schemas.openxmlformats.org/officeDocument/2006/relationships/tags" Target="../tags/tag664.xml"/><Relationship Id="rId17" Type="http://schemas.openxmlformats.org/officeDocument/2006/relationships/tags" Target="../tags/tag669.xml"/><Relationship Id="rId2" Type="http://schemas.openxmlformats.org/officeDocument/2006/relationships/tags" Target="../tags/tag654.xml"/><Relationship Id="rId16" Type="http://schemas.openxmlformats.org/officeDocument/2006/relationships/tags" Target="../tags/tag668.xml"/><Relationship Id="rId20" Type="http://schemas.openxmlformats.org/officeDocument/2006/relationships/image" Target="../media/image9.emf"/><Relationship Id="rId1" Type="http://schemas.openxmlformats.org/officeDocument/2006/relationships/vmlDrawing" Target="../drawings/vmlDrawing30.vml"/><Relationship Id="rId6" Type="http://schemas.openxmlformats.org/officeDocument/2006/relationships/tags" Target="../tags/tag658.xml"/><Relationship Id="rId11" Type="http://schemas.openxmlformats.org/officeDocument/2006/relationships/tags" Target="../tags/tag663.xml"/><Relationship Id="rId5" Type="http://schemas.openxmlformats.org/officeDocument/2006/relationships/tags" Target="../tags/tag657.xml"/><Relationship Id="rId15" Type="http://schemas.openxmlformats.org/officeDocument/2006/relationships/tags" Target="../tags/tag667.xml"/><Relationship Id="rId10" Type="http://schemas.openxmlformats.org/officeDocument/2006/relationships/tags" Target="../tags/tag662.xml"/><Relationship Id="rId19" Type="http://schemas.openxmlformats.org/officeDocument/2006/relationships/oleObject" Target="../embeddings/oleObject30.bin"/><Relationship Id="rId4" Type="http://schemas.openxmlformats.org/officeDocument/2006/relationships/tags" Target="../tags/tag656.xml"/><Relationship Id="rId9" Type="http://schemas.openxmlformats.org/officeDocument/2006/relationships/tags" Target="../tags/tag661.xml"/><Relationship Id="rId14" Type="http://schemas.openxmlformats.org/officeDocument/2006/relationships/tags" Target="../tags/tag666.xml"/></Relationships>
</file>

<file path=ppt/slides/_rels/slide216.xml.rels><?xml version="1.0" encoding="UTF-8" standalone="yes"?>
<Relationships xmlns="http://schemas.openxmlformats.org/package/2006/relationships"><Relationship Id="rId8" Type="http://schemas.openxmlformats.org/officeDocument/2006/relationships/tags" Target="../tags/tag677.xml"/><Relationship Id="rId13" Type="http://schemas.openxmlformats.org/officeDocument/2006/relationships/tags" Target="../tags/tag682.xml"/><Relationship Id="rId18" Type="http://schemas.openxmlformats.org/officeDocument/2006/relationships/tags" Target="../tags/tag687.xml"/><Relationship Id="rId26" Type="http://schemas.openxmlformats.org/officeDocument/2006/relationships/tags" Target="../tags/tag695.xml"/><Relationship Id="rId3" Type="http://schemas.openxmlformats.org/officeDocument/2006/relationships/tags" Target="../tags/tag672.xml"/><Relationship Id="rId21" Type="http://schemas.openxmlformats.org/officeDocument/2006/relationships/tags" Target="../tags/tag690.xml"/><Relationship Id="rId7" Type="http://schemas.openxmlformats.org/officeDocument/2006/relationships/tags" Target="../tags/tag676.xml"/><Relationship Id="rId12" Type="http://schemas.openxmlformats.org/officeDocument/2006/relationships/tags" Target="../tags/tag681.xml"/><Relationship Id="rId17" Type="http://schemas.openxmlformats.org/officeDocument/2006/relationships/tags" Target="../tags/tag686.xml"/><Relationship Id="rId25" Type="http://schemas.openxmlformats.org/officeDocument/2006/relationships/tags" Target="../tags/tag694.xml"/><Relationship Id="rId2" Type="http://schemas.openxmlformats.org/officeDocument/2006/relationships/tags" Target="../tags/tag671.xml"/><Relationship Id="rId16" Type="http://schemas.openxmlformats.org/officeDocument/2006/relationships/tags" Target="../tags/tag685.xml"/><Relationship Id="rId20" Type="http://schemas.openxmlformats.org/officeDocument/2006/relationships/tags" Target="../tags/tag689.xml"/><Relationship Id="rId1" Type="http://schemas.openxmlformats.org/officeDocument/2006/relationships/tags" Target="../tags/tag670.xml"/><Relationship Id="rId6" Type="http://schemas.openxmlformats.org/officeDocument/2006/relationships/tags" Target="../tags/tag675.xml"/><Relationship Id="rId11" Type="http://schemas.openxmlformats.org/officeDocument/2006/relationships/tags" Target="../tags/tag680.xml"/><Relationship Id="rId24" Type="http://schemas.openxmlformats.org/officeDocument/2006/relationships/tags" Target="../tags/tag693.xml"/><Relationship Id="rId5" Type="http://schemas.openxmlformats.org/officeDocument/2006/relationships/tags" Target="../tags/tag674.xml"/><Relationship Id="rId15" Type="http://schemas.openxmlformats.org/officeDocument/2006/relationships/tags" Target="../tags/tag684.xml"/><Relationship Id="rId23" Type="http://schemas.openxmlformats.org/officeDocument/2006/relationships/tags" Target="../tags/tag692.xml"/><Relationship Id="rId28" Type="http://schemas.openxmlformats.org/officeDocument/2006/relationships/slideLayout" Target="../slideLayouts/slideLayout8.xml"/><Relationship Id="rId10" Type="http://schemas.openxmlformats.org/officeDocument/2006/relationships/tags" Target="../tags/tag679.xml"/><Relationship Id="rId19" Type="http://schemas.openxmlformats.org/officeDocument/2006/relationships/tags" Target="../tags/tag688.xml"/><Relationship Id="rId4" Type="http://schemas.openxmlformats.org/officeDocument/2006/relationships/tags" Target="../tags/tag673.xml"/><Relationship Id="rId9" Type="http://schemas.openxmlformats.org/officeDocument/2006/relationships/tags" Target="../tags/tag678.xml"/><Relationship Id="rId14" Type="http://schemas.openxmlformats.org/officeDocument/2006/relationships/tags" Target="../tags/tag683.xml"/><Relationship Id="rId22" Type="http://schemas.openxmlformats.org/officeDocument/2006/relationships/tags" Target="../tags/tag691.xml"/><Relationship Id="rId27" Type="http://schemas.openxmlformats.org/officeDocument/2006/relationships/tags" Target="../tags/tag69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8.xml"/><Relationship Id="rId4" Type="http://schemas.openxmlformats.org/officeDocument/2006/relationships/chart" Target="../charts/char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70.xml"/><Relationship Id="rId7" Type="http://schemas.openxmlformats.org/officeDocument/2006/relationships/oleObject" Target="../embeddings/oleObject8.bin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72.xml"/><Relationship Id="rId4" Type="http://schemas.openxmlformats.org/officeDocument/2006/relationships/tags" Target="../tags/tag71.xml"/><Relationship Id="rId9" Type="http://schemas.openxmlformats.org/officeDocument/2006/relationships/chart" Target="../charts/chart1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chart" Target="../charts/char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tags" Target="../tags/tag109.xml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tags" Target="../tags/tag108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image" Target="../media/image8.emf"/><Relationship Id="rId1" Type="http://schemas.openxmlformats.org/officeDocument/2006/relationships/vmlDrawing" Target="../drawings/vmlDrawing9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tags" Target="../tags/tag107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tags" Target="../tags/tag106.xml"/><Relationship Id="rId28" Type="http://schemas.openxmlformats.org/officeDocument/2006/relationships/oleObject" Target="../embeddings/oleObject9.bin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tags" Target="../tags/tag105.xml"/><Relationship Id="rId27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slideLayout" Target="../slideLayouts/slideLayout8.xml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tags" Target="../tags/tag13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2" Type="http://schemas.openxmlformats.org/officeDocument/2006/relationships/tags" Target="../tags/tag143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151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slideLayout" Target="../slideLayouts/slideLayout8.xml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10" Type="http://schemas.openxmlformats.org/officeDocument/2006/relationships/tags" Target="../tags/tag163.xml"/><Relationship Id="rId19" Type="http://schemas.openxmlformats.org/officeDocument/2006/relationships/image" Target="../media/image9.emf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tags" Target="../tags/tag181.xml"/><Relationship Id="rId18" Type="http://schemas.openxmlformats.org/officeDocument/2006/relationships/tags" Target="../tags/tag186.xml"/><Relationship Id="rId3" Type="http://schemas.openxmlformats.org/officeDocument/2006/relationships/tags" Target="../tags/tag171.xml"/><Relationship Id="rId21" Type="http://schemas.openxmlformats.org/officeDocument/2006/relationships/slideLayout" Target="../slideLayouts/slideLayout8.xml"/><Relationship Id="rId7" Type="http://schemas.openxmlformats.org/officeDocument/2006/relationships/tags" Target="../tags/tag175.xml"/><Relationship Id="rId12" Type="http://schemas.openxmlformats.org/officeDocument/2006/relationships/tags" Target="../tags/tag180.xml"/><Relationship Id="rId17" Type="http://schemas.openxmlformats.org/officeDocument/2006/relationships/tags" Target="../tags/tag185.xml"/><Relationship Id="rId2" Type="http://schemas.openxmlformats.org/officeDocument/2006/relationships/tags" Target="../tags/tag170.xml"/><Relationship Id="rId16" Type="http://schemas.openxmlformats.org/officeDocument/2006/relationships/tags" Target="../tags/tag184.xml"/><Relationship Id="rId20" Type="http://schemas.openxmlformats.org/officeDocument/2006/relationships/tags" Target="../tags/tag18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74.xml"/><Relationship Id="rId11" Type="http://schemas.openxmlformats.org/officeDocument/2006/relationships/tags" Target="../tags/tag179.xml"/><Relationship Id="rId5" Type="http://schemas.openxmlformats.org/officeDocument/2006/relationships/tags" Target="../tags/tag173.xml"/><Relationship Id="rId15" Type="http://schemas.openxmlformats.org/officeDocument/2006/relationships/tags" Target="../tags/tag183.xml"/><Relationship Id="rId23" Type="http://schemas.openxmlformats.org/officeDocument/2006/relationships/image" Target="../media/image9.emf"/><Relationship Id="rId10" Type="http://schemas.openxmlformats.org/officeDocument/2006/relationships/tags" Target="../tags/tag178.xml"/><Relationship Id="rId19" Type="http://schemas.openxmlformats.org/officeDocument/2006/relationships/tags" Target="../tags/tag187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tags" Target="../tags/tag182.xml"/><Relationship Id="rId22" Type="http://schemas.openxmlformats.org/officeDocument/2006/relationships/oleObject" Target="../embeddings/oleObject12.bin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3" Type="http://schemas.openxmlformats.org/officeDocument/2006/relationships/tags" Target="../tags/tag190.xml"/><Relationship Id="rId21" Type="http://schemas.openxmlformats.org/officeDocument/2006/relationships/tags" Target="../tags/tag208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image" Target="../media/image9.emf"/><Relationship Id="rId2" Type="http://schemas.openxmlformats.org/officeDocument/2006/relationships/tags" Target="../tags/tag189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24" Type="http://schemas.openxmlformats.org/officeDocument/2006/relationships/oleObject" Target="../embeddings/oleObject13.bin"/><Relationship Id="rId5" Type="http://schemas.openxmlformats.org/officeDocument/2006/relationships/tags" Target="../tags/tag192.xml"/><Relationship Id="rId15" Type="http://schemas.openxmlformats.org/officeDocument/2006/relationships/tags" Target="../tags/tag202.xml"/><Relationship Id="rId23" Type="http://schemas.openxmlformats.org/officeDocument/2006/relationships/slideLayout" Target="../slideLayouts/slideLayout8.xml"/><Relationship Id="rId10" Type="http://schemas.openxmlformats.org/officeDocument/2006/relationships/tags" Target="../tags/tag197.xml"/><Relationship Id="rId19" Type="http://schemas.openxmlformats.org/officeDocument/2006/relationships/tags" Target="../tags/tag206.xml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Relationship Id="rId22" Type="http://schemas.openxmlformats.org/officeDocument/2006/relationships/tags" Target="../tags/tag209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tags" Target="../tags/tag226.xml"/><Relationship Id="rId26" Type="http://schemas.openxmlformats.org/officeDocument/2006/relationships/slideLayout" Target="../slideLayouts/slideLayout8.xml"/><Relationship Id="rId3" Type="http://schemas.openxmlformats.org/officeDocument/2006/relationships/tags" Target="../tags/tag211.xml"/><Relationship Id="rId21" Type="http://schemas.openxmlformats.org/officeDocument/2006/relationships/tags" Target="../tags/tag229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tags" Target="../tags/tag225.xml"/><Relationship Id="rId25" Type="http://schemas.openxmlformats.org/officeDocument/2006/relationships/tags" Target="../tags/tag233.xml"/><Relationship Id="rId2" Type="http://schemas.openxmlformats.org/officeDocument/2006/relationships/tags" Target="../tags/tag210.xml"/><Relationship Id="rId16" Type="http://schemas.openxmlformats.org/officeDocument/2006/relationships/tags" Target="../tags/tag224.xml"/><Relationship Id="rId20" Type="http://schemas.openxmlformats.org/officeDocument/2006/relationships/tags" Target="../tags/tag22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24" Type="http://schemas.openxmlformats.org/officeDocument/2006/relationships/tags" Target="../tags/tag232.xml"/><Relationship Id="rId5" Type="http://schemas.openxmlformats.org/officeDocument/2006/relationships/tags" Target="../tags/tag213.xml"/><Relationship Id="rId15" Type="http://schemas.openxmlformats.org/officeDocument/2006/relationships/tags" Target="../tags/tag223.xml"/><Relationship Id="rId23" Type="http://schemas.openxmlformats.org/officeDocument/2006/relationships/tags" Target="../tags/tag231.xml"/><Relationship Id="rId28" Type="http://schemas.openxmlformats.org/officeDocument/2006/relationships/image" Target="../media/image9.emf"/><Relationship Id="rId10" Type="http://schemas.openxmlformats.org/officeDocument/2006/relationships/tags" Target="../tags/tag218.xml"/><Relationship Id="rId19" Type="http://schemas.openxmlformats.org/officeDocument/2006/relationships/tags" Target="../tags/tag227.xml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Relationship Id="rId22" Type="http://schemas.openxmlformats.org/officeDocument/2006/relationships/tags" Target="../tags/tag230.xml"/><Relationship Id="rId27" Type="http://schemas.openxmlformats.org/officeDocument/2006/relationships/oleObject" Target="../embeddings/oleObject14.bin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9.emf"/><Relationship Id="rId2" Type="http://schemas.openxmlformats.org/officeDocument/2006/relationships/tags" Target="../tags/tag23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23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tags" Target="../tags/tag243.xml"/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3" Type="http://schemas.openxmlformats.org/officeDocument/2006/relationships/tags" Target="../tags/tag238.xml"/><Relationship Id="rId21" Type="http://schemas.openxmlformats.org/officeDocument/2006/relationships/slideLayout" Target="../slideLayouts/slideLayout8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0" Type="http://schemas.openxmlformats.org/officeDocument/2006/relationships/tags" Target="../tags/tag25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image" Target="../media/image9.emf"/><Relationship Id="rId10" Type="http://schemas.openxmlformats.org/officeDocument/2006/relationships/tags" Target="../tags/tag245.xml"/><Relationship Id="rId19" Type="http://schemas.openxmlformats.org/officeDocument/2006/relationships/tags" Target="../tags/tag254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oleObject" Target="../embeddings/oleObject16.bin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image" Target="../media/image9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60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259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258.xml"/><Relationship Id="rId9" Type="http://schemas.openxmlformats.org/officeDocument/2006/relationships/tags" Target="../tags/tag263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68.xml"/><Relationship Id="rId4" Type="http://schemas.openxmlformats.org/officeDocument/2006/relationships/tags" Target="../tags/tag26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7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3" Type="http://schemas.openxmlformats.org/officeDocument/2006/relationships/tags" Target="../tags/tag40.xml"/><Relationship Id="rId21" Type="http://schemas.openxmlformats.org/officeDocument/2006/relationships/image" Target="../media/image8.emf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2.emf"/><Relationship Id="rId2" Type="http://schemas.openxmlformats.org/officeDocument/2006/relationships/tags" Target="../tags/tag26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png"/><Relationship Id="rId5" Type="http://schemas.openxmlformats.org/officeDocument/2006/relationships/image" Target="../media/image10.wmf"/><Relationship Id="rId4" Type="http://schemas.openxmlformats.org/officeDocument/2006/relationships/oleObject" Target="../embeddings/oleObject18.bin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E" dirty="0" err="1" smtClean="0">
                <a:latin typeface="SimonKucher" pitchFamily="2" charset="0"/>
                <a:sym typeface="SimonKucher" pitchFamily="2" charset="0"/>
              </a:rPr>
              <a:t>Coleção</a:t>
            </a:r>
            <a:r>
              <a:rPr lang="en-IE" dirty="0" smtClean="0">
                <a:latin typeface="SimonKucher" pitchFamily="2" charset="0"/>
                <a:sym typeface="SimonKucher" pitchFamily="2" charset="0"/>
              </a:rPr>
              <a:t> de slides para simples </a:t>
            </a:r>
            <a:r>
              <a:rPr lang="en-IE" dirty="0" err="1" smtClean="0">
                <a:latin typeface="SimonKucher" pitchFamily="2" charset="0"/>
                <a:sym typeface="SimonKucher" pitchFamily="2" charset="0"/>
              </a:rPr>
              <a:t>referência</a:t>
            </a:r>
            <a:endParaRPr lang="en-IE" dirty="0">
              <a:latin typeface="SimonKucher" pitchFamily="2" charset="0"/>
              <a:sym typeface="SimonKucher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latin typeface="SimonKucher" pitchFamily="2" charset="0"/>
                <a:sym typeface="SimonKucher" pitchFamily="2" charset="0"/>
              </a:rPr>
              <a:t>Deck de slides para </a:t>
            </a:r>
            <a:r>
              <a:rPr lang="en-IE" dirty="0" err="1" smtClean="0">
                <a:latin typeface="SimonKucher" pitchFamily="2" charset="0"/>
                <a:sym typeface="SimonKucher" pitchFamily="2" charset="0"/>
              </a:rPr>
              <a:t>referência</a:t>
            </a:r>
            <a:endParaRPr lang="en-IE" dirty="0">
              <a:latin typeface="SimonKucher" pitchFamily="2" charset="0"/>
              <a:sym typeface="SimonKucher" pitchFamily="2" charset="0"/>
            </a:endParaRPr>
          </a:p>
        </p:txBody>
      </p:sp>
      <p:sp>
        <p:nvSpPr>
          <p:cNvPr id="7" name="Office_address"/>
          <p:cNvSpPr txBox="1"/>
          <p:nvPr/>
        </p:nvSpPr>
        <p:spPr>
          <a:xfrm>
            <a:off x="7885114" y="5666076"/>
            <a:ext cx="2487613" cy="115416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>
              <a:spcAft>
                <a:spcPts val="600"/>
              </a:spcAft>
            </a:pPr>
            <a:r>
              <a:rPr lang="pt-BR" sz="1200" dirty="0" smtClean="0">
                <a:latin typeface="SimonKucher" pitchFamily="2" charset="0"/>
              </a:rPr>
              <a:t>São Paulo, 09 de novembro 2017</a:t>
            </a:r>
          </a:p>
          <a:p>
            <a:pPr>
              <a:spcAft>
                <a:spcPts val="600"/>
              </a:spcAft>
            </a:pPr>
            <a:r>
              <a:rPr lang="pt-BR" sz="1200" b="1" dirty="0" smtClean="0">
                <a:latin typeface="SimonKucher" pitchFamily="2" charset="0"/>
              </a:rPr>
              <a:t>Mauro </a:t>
            </a:r>
            <a:r>
              <a:rPr lang="pt-BR" sz="1200" b="1" dirty="0" err="1" smtClean="0">
                <a:latin typeface="SimonKucher" pitchFamily="2" charset="0"/>
              </a:rPr>
              <a:t>Seiji</a:t>
            </a:r>
            <a:r>
              <a:rPr lang="pt-BR" sz="1200" b="1" dirty="0" smtClean="0">
                <a:latin typeface="SimonKucher" pitchFamily="2" charset="0"/>
              </a:rPr>
              <a:t> Fukunaga</a:t>
            </a:r>
          </a:p>
          <a:p>
            <a:pPr>
              <a:spcBef>
                <a:spcPts val="600"/>
              </a:spcBef>
            </a:pPr>
            <a:endParaRPr lang="pt-BR" sz="1200" b="1" dirty="0" smtClean="0">
              <a:latin typeface="SimonKucher" pitchFamily="2" charset="0"/>
            </a:endParaRPr>
          </a:p>
          <a:p>
            <a:r>
              <a:rPr lang="pt-BR" sz="1200" dirty="0" smtClean="0">
                <a:latin typeface="SimonKucher" pitchFamily="2" charset="0"/>
              </a:rPr>
              <a:t>Tel. +55 11 99636 8686</a:t>
            </a:r>
          </a:p>
          <a:p>
            <a:r>
              <a:rPr lang="pt-BR" sz="1200" dirty="0" smtClean="0">
                <a:latin typeface="SimonKucher" pitchFamily="2" charset="0"/>
              </a:rPr>
              <a:t>mauroseiji@gmail.com</a:t>
            </a:r>
          </a:p>
        </p:txBody>
      </p:sp>
    </p:spTree>
    <p:extLst>
      <p:ext uri="{BB962C8B-B14F-4D97-AF65-F5344CB8AC3E}">
        <p14:creationId xmlns:p14="http://schemas.microsoft.com/office/powerpoint/2010/main" val="3060320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lação entre 2 situações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sp>
        <p:nvSpPr>
          <p:cNvPr id="5" name="Rectangle 4"/>
          <p:cNvSpPr/>
          <p:nvPr/>
        </p:nvSpPr>
        <p:spPr>
          <a:xfrm>
            <a:off x="4744632" y="3405195"/>
            <a:ext cx="1259641" cy="15601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744632" y="1735206"/>
            <a:ext cx="1259641" cy="15601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44632" y="5075186"/>
            <a:ext cx="1259641" cy="15601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86109" y="1735206"/>
            <a:ext cx="4172837" cy="1560128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308410" indent="-308410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xxxxxxxxxxx</a:t>
            </a: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86109" y="3405196"/>
            <a:ext cx="4172837" cy="1560128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308410" indent="-308410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xxxxxxxxxxx</a:t>
            </a:r>
            <a:endParaRPr lang="pt-BR" sz="1295" dirty="0">
              <a:solidFill>
                <a:schemeClr val="tx1"/>
              </a:solidFill>
            </a:endParaRPr>
          </a:p>
          <a:p>
            <a:pPr marL="308410" indent="-308410">
              <a:buFont typeface="Arial" panose="020B0604020202020204" pitchFamily="34" charset="0"/>
              <a:buChar char="•"/>
            </a:pP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086109" y="5075186"/>
            <a:ext cx="4172837" cy="1560128"/>
          </a:xfrm>
          <a:prstGeom prst="rect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308410" indent="-308410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xxxxxxxxxxx</a:t>
            </a:r>
            <a:endParaRPr lang="pt-BR" sz="1295" dirty="0">
              <a:solidFill>
                <a:schemeClr val="tx1"/>
              </a:solidFill>
            </a:endParaRPr>
          </a:p>
          <a:p>
            <a:pPr marL="308410" indent="-308410">
              <a:buFont typeface="Arial" panose="020B0604020202020204" pitchFamily="34" charset="0"/>
              <a:buChar char="•"/>
            </a:pP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07306" y="1735205"/>
            <a:ext cx="3354866" cy="489971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t"/>
          <a:lstStyle/>
          <a:p>
            <a:pPr marL="308410" indent="-308410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xxxxxxxxxxx</a:t>
            </a:r>
            <a:endParaRPr lang="pt-BR" sz="1295" dirty="0">
              <a:solidFill>
                <a:schemeClr val="tx1"/>
              </a:solidFill>
            </a:endParaRPr>
          </a:p>
          <a:p>
            <a:pPr marL="308410" indent="-308410">
              <a:buFont typeface="Arial" panose="020B0604020202020204" pitchFamily="34" charset="0"/>
              <a:buChar char="•"/>
            </a:pPr>
            <a:endParaRPr lang="pt-BR" sz="1295" dirty="0">
              <a:solidFill>
                <a:schemeClr val="tx1"/>
              </a:solidFill>
            </a:endParaRPr>
          </a:p>
        </p:txBody>
      </p:sp>
      <p:grpSp>
        <p:nvGrpSpPr>
          <p:cNvPr id="12" name="25 Grupo"/>
          <p:cNvGrpSpPr/>
          <p:nvPr>
            <p:custDataLst>
              <p:tags r:id="rId1"/>
            </p:custDataLst>
          </p:nvPr>
        </p:nvGrpSpPr>
        <p:grpSpPr>
          <a:xfrm>
            <a:off x="407306" y="1281346"/>
            <a:ext cx="3358635" cy="322326"/>
            <a:chOff x="559574" y="1151056"/>
            <a:chExt cx="8857922" cy="261720"/>
          </a:xfrm>
        </p:grpSpPr>
        <p:sp>
          <p:nvSpPr>
            <p:cNvPr id="13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4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25 Grupo"/>
          <p:cNvGrpSpPr/>
          <p:nvPr>
            <p:custDataLst>
              <p:tags r:id="rId2"/>
            </p:custDataLst>
          </p:nvPr>
        </p:nvGrpSpPr>
        <p:grpSpPr>
          <a:xfrm>
            <a:off x="4744631" y="1281346"/>
            <a:ext cx="5514314" cy="322326"/>
            <a:chOff x="559574" y="1151056"/>
            <a:chExt cx="8857922" cy="261720"/>
          </a:xfrm>
        </p:grpSpPr>
        <p:sp>
          <p:nvSpPr>
            <p:cNvPr id="16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7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riângulo isósceles 4"/>
          <p:cNvSpPr/>
          <p:nvPr/>
        </p:nvSpPr>
        <p:spPr>
          <a:xfrm rot="5400000" flipH="1">
            <a:off x="3004927" y="4081433"/>
            <a:ext cx="2496949" cy="207257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4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12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5656" name="Group 72"/>
          <p:cNvGraphicFramePr>
            <a:graphicFrameLocks noGrp="1"/>
          </p:cNvGraphicFramePr>
          <p:nvPr/>
        </p:nvGraphicFramePr>
        <p:xfrm>
          <a:off x="411224" y="1290222"/>
          <a:ext cx="9869362" cy="4565786"/>
        </p:xfrm>
        <a:graphic>
          <a:graphicData uri="http://schemas.openxmlformats.org/drawingml/2006/table">
            <a:tbl>
              <a:tblPr/>
              <a:tblGrid>
                <a:gridCol w="2549586"/>
                <a:gridCol w="520883"/>
                <a:gridCol w="618549"/>
                <a:gridCol w="618548"/>
                <a:gridCol w="616835"/>
                <a:gridCol w="618549"/>
                <a:gridCol w="618548"/>
                <a:gridCol w="618549"/>
                <a:gridCol w="616835"/>
                <a:gridCol w="618548"/>
                <a:gridCol w="620262"/>
                <a:gridCol w="616835"/>
                <a:gridCol w="616835"/>
              </a:tblGrid>
              <a:tr h="442065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an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b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r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pr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y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un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ul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ug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ep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Oct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ov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ic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23721">
                <a:tc>
                  <a:txBody>
                    <a:bodyPr/>
                    <a:lstStyle/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23367" marB="123367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6" name="AutoShape 20"/>
          <p:cNvSpPr>
            <a:spLocks noChangeArrowheads="1"/>
          </p:cNvSpPr>
          <p:nvPr/>
        </p:nvSpPr>
        <p:spPr bwMode="black">
          <a:xfrm>
            <a:off x="10197352" y="5476937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27" name="Line 23"/>
          <p:cNvSpPr>
            <a:spLocks noChangeShapeType="1"/>
          </p:cNvSpPr>
          <p:nvPr/>
        </p:nvSpPr>
        <p:spPr bwMode="auto">
          <a:xfrm>
            <a:off x="2962523" y="2097948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8" name="Line 24"/>
          <p:cNvSpPr>
            <a:spLocks noChangeShapeType="1"/>
          </p:cNvSpPr>
          <p:nvPr/>
        </p:nvSpPr>
        <p:spPr bwMode="auto">
          <a:xfrm>
            <a:off x="2962523" y="235145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9" name="Line 27"/>
          <p:cNvSpPr>
            <a:spLocks noChangeShapeType="1"/>
          </p:cNvSpPr>
          <p:nvPr/>
        </p:nvSpPr>
        <p:spPr bwMode="auto">
          <a:xfrm>
            <a:off x="5405877" y="2097948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30" name="Line 24"/>
          <p:cNvSpPr>
            <a:spLocks noChangeShapeType="1"/>
          </p:cNvSpPr>
          <p:nvPr/>
        </p:nvSpPr>
        <p:spPr bwMode="auto">
          <a:xfrm>
            <a:off x="5423626" y="235145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31" name="Line 27"/>
          <p:cNvSpPr>
            <a:spLocks noChangeShapeType="1"/>
          </p:cNvSpPr>
          <p:nvPr/>
        </p:nvSpPr>
        <p:spPr bwMode="auto">
          <a:xfrm>
            <a:off x="5405877" y="3000065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32" name="Line 24"/>
          <p:cNvSpPr>
            <a:spLocks noChangeShapeType="1"/>
          </p:cNvSpPr>
          <p:nvPr/>
        </p:nvSpPr>
        <p:spPr bwMode="auto">
          <a:xfrm>
            <a:off x="5423626" y="3233226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33" name="AutoShape 21"/>
          <p:cNvSpPr>
            <a:spLocks noChangeArrowheads="1"/>
          </p:cNvSpPr>
          <p:nvPr/>
        </p:nvSpPr>
        <p:spPr bwMode="black">
          <a:xfrm>
            <a:off x="5298147" y="5476937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1526960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45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1 </a:t>
            </a:r>
            <a:r>
              <a:rPr lang="pt-BR" dirty="0" err="1" smtClean="0"/>
              <a:t>month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616575" name="Group 127"/>
          <p:cNvGraphicFramePr>
            <a:graphicFrameLocks noGrp="1"/>
          </p:cNvGraphicFramePr>
          <p:nvPr/>
        </p:nvGraphicFramePr>
        <p:xfrm>
          <a:off x="411224" y="1290222"/>
          <a:ext cx="9867647" cy="4766146"/>
        </p:xfrm>
        <a:graphic>
          <a:graphicData uri="http://schemas.openxmlformats.org/drawingml/2006/table">
            <a:tbl>
              <a:tblPr/>
              <a:tblGrid>
                <a:gridCol w="2222321"/>
                <a:gridCol w="262154"/>
                <a:gridCol w="243307"/>
                <a:gridCol w="246734"/>
                <a:gridCol w="245021"/>
                <a:gridCol w="246734"/>
                <a:gridCol w="248447"/>
                <a:gridCol w="246734"/>
                <a:gridCol w="243307"/>
                <a:gridCol w="246734"/>
                <a:gridCol w="248448"/>
                <a:gridCol w="241593"/>
                <a:gridCol w="248448"/>
                <a:gridCol w="250161"/>
                <a:gridCol w="246734"/>
                <a:gridCol w="239880"/>
                <a:gridCol w="246734"/>
                <a:gridCol w="250161"/>
                <a:gridCol w="245020"/>
                <a:gridCol w="245021"/>
                <a:gridCol w="245020"/>
                <a:gridCol w="246734"/>
                <a:gridCol w="243307"/>
                <a:gridCol w="248448"/>
                <a:gridCol w="243307"/>
                <a:gridCol w="250161"/>
                <a:gridCol w="245020"/>
                <a:gridCol w="246734"/>
                <a:gridCol w="246734"/>
                <a:gridCol w="243307"/>
                <a:gridCol w="248448"/>
                <a:gridCol w="246734"/>
              </a:tblGrid>
              <a:tr h="310846"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1"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10846"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085095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10197352" y="5637197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2962523" y="2349122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2962523" y="251611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5405877" y="234912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423626" y="251611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405877" y="318507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423626" y="339788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5298147" y="5637197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178085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61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2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6746" name="Group 138"/>
          <p:cNvGraphicFramePr>
            <a:graphicFrameLocks noGrp="1"/>
          </p:cNvGraphicFramePr>
          <p:nvPr/>
        </p:nvGraphicFramePr>
        <p:xfrm>
          <a:off x="657958" y="1290221"/>
          <a:ext cx="9375896" cy="4852102"/>
        </p:xfrm>
        <a:graphic>
          <a:graphicData uri="http://schemas.openxmlformats.org/drawingml/2006/table">
            <a:tbl>
              <a:tblPr/>
              <a:tblGrid>
                <a:gridCol w="3743848"/>
                <a:gridCol w="743629"/>
                <a:gridCol w="692226"/>
                <a:gridCol w="700793"/>
                <a:gridCol w="695653"/>
                <a:gridCol w="700794"/>
                <a:gridCol w="705934"/>
                <a:gridCol w="700793"/>
                <a:gridCol w="692226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085095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w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8" name="1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9" name="AutoShape 20"/>
          <p:cNvSpPr>
            <a:spLocks noChangeArrowheads="1"/>
          </p:cNvSpPr>
          <p:nvPr/>
        </p:nvSpPr>
        <p:spPr bwMode="black">
          <a:xfrm>
            <a:off x="7133470" y="5732026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20" name="Line 23"/>
          <p:cNvSpPr>
            <a:spLocks noChangeShapeType="1"/>
          </p:cNvSpPr>
          <p:nvPr/>
        </p:nvSpPr>
        <p:spPr bwMode="auto">
          <a:xfrm>
            <a:off x="4449381" y="22031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4"/>
          <p:cNvSpPr>
            <a:spLocks noChangeShapeType="1"/>
          </p:cNvSpPr>
          <p:nvPr/>
        </p:nvSpPr>
        <p:spPr bwMode="auto">
          <a:xfrm>
            <a:off x="4449381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7"/>
          <p:cNvSpPr>
            <a:spLocks noChangeShapeType="1"/>
          </p:cNvSpPr>
          <p:nvPr/>
        </p:nvSpPr>
        <p:spPr bwMode="auto">
          <a:xfrm>
            <a:off x="6892735" y="22031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4"/>
          <p:cNvSpPr>
            <a:spLocks noChangeShapeType="1"/>
          </p:cNvSpPr>
          <p:nvPr/>
        </p:nvSpPr>
        <p:spPr bwMode="auto">
          <a:xfrm>
            <a:off x="6910484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7"/>
          <p:cNvSpPr>
            <a:spLocks noChangeShapeType="1"/>
          </p:cNvSpPr>
          <p:nvPr/>
        </p:nvSpPr>
        <p:spPr bwMode="auto">
          <a:xfrm>
            <a:off x="6892735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Line 24"/>
          <p:cNvSpPr>
            <a:spLocks noChangeShapeType="1"/>
          </p:cNvSpPr>
          <p:nvPr/>
        </p:nvSpPr>
        <p:spPr bwMode="auto">
          <a:xfrm>
            <a:off x="6910484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6" name="AutoShape 21"/>
          <p:cNvSpPr>
            <a:spLocks noChangeArrowheads="1"/>
          </p:cNvSpPr>
          <p:nvPr/>
        </p:nvSpPr>
        <p:spPr bwMode="black">
          <a:xfrm>
            <a:off x="5052218" y="5709162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32151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63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3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7769" name="Group 137"/>
          <p:cNvGraphicFramePr>
            <a:graphicFrameLocks noGrp="1"/>
          </p:cNvGraphicFramePr>
          <p:nvPr/>
        </p:nvGraphicFramePr>
        <p:xfrm>
          <a:off x="657958" y="1290222"/>
          <a:ext cx="9375897" cy="4791389"/>
        </p:xfrm>
        <a:graphic>
          <a:graphicData uri="http://schemas.openxmlformats.org/drawingml/2006/table">
            <a:tbl>
              <a:tblPr/>
              <a:tblGrid>
                <a:gridCol w="3663317"/>
                <a:gridCol w="505463"/>
                <a:gridCol w="467766"/>
                <a:gridCol w="474621"/>
                <a:gridCol w="472907"/>
                <a:gridCol w="474620"/>
                <a:gridCol w="478048"/>
                <a:gridCol w="476334"/>
                <a:gridCol w="466053"/>
                <a:gridCol w="474620"/>
                <a:gridCol w="478048"/>
                <a:gridCol w="466053"/>
                <a:gridCol w="478047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083741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7090856" y="5723432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4335544" y="22031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4335544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6778897" y="22031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6796646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6778897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6796646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4740816" y="5700568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62054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65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4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8752" name="Group 96"/>
          <p:cNvGraphicFramePr>
            <a:graphicFrameLocks noGrp="1"/>
          </p:cNvGraphicFramePr>
          <p:nvPr/>
        </p:nvGraphicFramePr>
        <p:xfrm>
          <a:off x="657957" y="1290221"/>
          <a:ext cx="9377608" cy="4852102"/>
        </p:xfrm>
        <a:graphic>
          <a:graphicData uri="http://schemas.openxmlformats.org/drawingml/2006/table">
            <a:tbl>
              <a:tblPr/>
              <a:tblGrid>
                <a:gridCol w="3046481"/>
                <a:gridCol w="421504"/>
                <a:gridCol w="388949"/>
                <a:gridCol w="394089"/>
                <a:gridCol w="394089"/>
                <a:gridCol w="394089"/>
                <a:gridCol w="397516"/>
                <a:gridCol w="395802"/>
                <a:gridCol w="388949"/>
                <a:gridCol w="394089"/>
                <a:gridCol w="394089"/>
                <a:gridCol w="395802"/>
                <a:gridCol w="394089"/>
                <a:gridCol w="395803"/>
                <a:gridCol w="397516"/>
                <a:gridCol w="387236"/>
                <a:gridCol w="397516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085095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7176440" y="5709162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4335544" y="22031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4335544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6778897" y="22031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6796646" y="237015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6778897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6796646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4826400" y="5709162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4032065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8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5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28" name="Espaço Reservado para Texto 2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9786" name="Group 106"/>
          <p:cNvGraphicFramePr>
            <a:graphicFrameLocks noGrp="1"/>
          </p:cNvGraphicFramePr>
          <p:nvPr/>
        </p:nvGraphicFramePr>
        <p:xfrm>
          <a:off x="411224" y="1290221"/>
          <a:ext cx="9869369" cy="4852102"/>
        </p:xfrm>
        <a:graphic>
          <a:graphicData uri="http://schemas.openxmlformats.org/drawingml/2006/table">
            <a:tbl>
              <a:tblPr/>
              <a:tblGrid>
                <a:gridCol w="2743204"/>
                <a:gridCol w="380382"/>
                <a:gridCol w="349540"/>
                <a:gridCol w="354680"/>
                <a:gridCol w="354681"/>
                <a:gridCol w="354680"/>
                <a:gridCol w="358108"/>
                <a:gridCol w="356394"/>
                <a:gridCol w="349540"/>
                <a:gridCol w="356394"/>
                <a:gridCol w="354680"/>
                <a:gridCol w="356394"/>
                <a:gridCol w="354681"/>
                <a:gridCol w="356394"/>
                <a:gridCol w="356394"/>
                <a:gridCol w="354680"/>
                <a:gridCol w="356394"/>
                <a:gridCol w="356394"/>
                <a:gridCol w="358108"/>
                <a:gridCol w="349540"/>
                <a:gridCol w="358107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085095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6978030" y="5709162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3200265" y="22438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3200265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5643619" y="22438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661368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643619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661368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4856925" y="5709162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26" name="Line 24"/>
          <p:cNvSpPr>
            <a:spLocks noChangeShapeType="1"/>
          </p:cNvSpPr>
          <p:nvPr/>
        </p:nvSpPr>
        <p:spPr bwMode="auto">
          <a:xfrm>
            <a:off x="3200265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7" name="Line 24"/>
          <p:cNvSpPr>
            <a:spLocks noChangeShapeType="1"/>
          </p:cNvSpPr>
          <p:nvPr/>
        </p:nvSpPr>
        <p:spPr bwMode="auto">
          <a:xfrm>
            <a:off x="5661368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376653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0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6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28" name="Espaço Reservado para Texto 2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40826" name="Group 122"/>
          <p:cNvGraphicFramePr>
            <a:graphicFrameLocks noGrp="1"/>
          </p:cNvGraphicFramePr>
          <p:nvPr/>
        </p:nvGraphicFramePr>
        <p:xfrm>
          <a:off x="411224" y="1290222"/>
          <a:ext cx="9872801" cy="4871914"/>
        </p:xfrm>
        <a:graphic>
          <a:graphicData uri="http://schemas.openxmlformats.org/drawingml/2006/table">
            <a:tbl>
              <a:tblPr/>
              <a:tblGrid>
                <a:gridCol w="2397091"/>
                <a:gridCol w="332406"/>
                <a:gridCol w="306704"/>
                <a:gridCol w="310132"/>
                <a:gridCol w="310131"/>
                <a:gridCol w="310132"/>
                <a:gridCol w="311845"/>
                <a:gridCol w="311845"/>
                <a:gridCol w="304991"/>
                <a:gridCol w="311845"/>
                <a:gridCol w="310131"/>
                <a:gridCol w="311845"/>
                <a:gridCol w="310132"/>
                <a:gridCol w="311845"/>
                <a:gridCol w="311845"/>
                <a:gridCol w="308418"/>
                <a:gridCol w="311845"/>
                <a:gridCol w="311845"/>
                <a:gridCol w="311845"/>
                <a:gridCol w="311845"/>
                <a:gridCol w="311845"/>
                <a:gridCol w="310131"/>
                <a:gridCol w="313559"/>
                <a:gridCol w="304991"/>
                <a:gridCol w="313557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 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106478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6446474" y="5709162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2848686" y="22438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2848686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5292039" y="22438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309788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292039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309788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4294845" y="5709162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26" name="Line 24"/>
          <p:cNvSpPr>
            <a:spLocks noChangeShapeType="1"/>
          </p:cNvSpPr>
          <p:nvPr/>
        </p:nvSpPr>
        <p:spPr bwMode="auto">
          <a:xfrm>
            <a:off x="2848686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7" name="Line 24"/>
          <p:cNvSpPr>
            <a:spLocks noChangeShapeType="1"/>
          </p:cNvSpPr>
          <p:nvPr/>
        </p:nvSpPr>
        <p:spPr bwMode="auto">
          <a:xfrm>
            <a:off x="5309788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3169586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339" name="Freeform 3"/>
          <p:cNvSpPr>
            <a:spLocks/>
          </p:cNvSpPr>
          <p:nvPr/>
        </p:nvSpPr>
        <p:spPr bwMode="gray">
          <a:xfrm>
            <a:off x="925253" y="4453216"/>
            <a:ext cx="7381463" cy="1754554"/>
          </a:xfrm>
          <a:custGeom>
            <a:avLst/>
            <a:gdLst/>
            <a:ahLst/>
            <a:cxnLst>
              <a:cxn ang="0">
                <a:pos x="0" y="399"/>
              </a:cxn>
              <a:cxn ang="0">
                <a:pos x="2943" y="399"/>
              </a:cxn>
              <a:cxn ang="0">
                <a:pos x="2687" y="895"/>
              </a:cxn>
              <a:cxn ang="0">
                <a:pos x="3087" y="895"/>
              </a:cxn>
              <a:cxn ang="0">
                <a:pos x="3558" y="0"/>
              </a:cxn>
              <a:cxn ang="0">
                <a:pos x="0" y="0"/>
              </a:cxn>
            </a:cxnLst>
            <a:rect l="0" t="0" r="r" b="b"/>
            <a:pathLst>
              <a:path w="3559" h="896">
                <a:moveTo>
                  <a:pt x="0" y="399"/>
                </a:moveTo>
                <a:lnTo>
                  <a:pt x="2943" y="399"/>
                </a:lnTo>
                <a:lnTo>
                  <a:pt x="2687" y="895"/>
                </a:lnTo>
                <a:lnTo>
                  <a:pt x="3087" y="895"/>
                </a:lnTo>
                <a:lnTo>
                  <a:pt x="3558" y="0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4340" name="Rectangle 4"/>
          <p:cNvSpPr>
            <a:spLocks noChangeArrowheads="1"/>
          </p:cNvSpPr>
          <p:nvPr/>
        </p:nvSpPr>
        <p:spPr bwMode="gray">
          <a:xfrm>
            <a:off x="1079461" y="4736196"/>
            <a:ext cx="658643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54342" name="Freeform 6"/>
          <p:cNvSpPr>
            <a:spLocks/>
          </p:cNvSpPr>
          <p:nvPr/>
        </p:nvSpPr>
        <p:spPr bwMode="gray">
          <a:xfrm>
            <a:off x="925253" y="1540383"/>
            <a:ext cx="7381463" cy="1754554"/>
          </a:xfrm>
          <a:custGeom>
            <a:avLst/>
            <a:gdLst/>
            <a:ahLst/>
            <a:cxnLst>
              <a:cxn ang="0">
                <a:pos x="0" y="496"/>
              </a:cxn>
              <a:cxn ang="0">
                <a:pos x="2943" y="496"/>
              </a:cxn>
              <a:cxn ang="0">
                <a:pos x="2663" y="0"/>
              </a:cxn>
              <a:cxn ang="0">
                <a:pos x="3063" y="0"/>
              </a:cxn>
              <a:cxn ang="0">
                <a:pos x="3558" y="895"/>
              </a:cxn>
              <a:cxn ang="0">
                <a:pos x="0" y="895"/>
              </a:cxn>
            </a:cxnLst>
            <a:rect l="0" t="0" r="r" b="b"/>
            <a:pathLst>
              <a:path w="3559" h="896">
                <a:moveTo>
                  <a:pt x="0" y="496"/>
                </a:moveTo>
                <a:lnTo>
                  <a:pt x="2943" y="496"/>
                </a:lnTo>
                <a:lnTo>
                  <a:pt x="2663" y="0"/>
                </a:lnTo>
                <a:lnTo>
                  <a:pt x="3063" y="0"/>
                </a:lnTo>
                <a:lnTo>
                  <a:pt x="3558" y="895"/>
                </a:lnTo>
                <a:lnTo>
                  <a:pt x="0" y="89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4343" name="Rectangle 7"/>
          <p:cNvSpPr>
            <a:spLocks noChangeArrowheads="1"/>
          </p:cNvSpPr>
          <p:nvPr/>
        </p:nvSpPr>
        <p:spPr bwMode="gray">
          <a:xfrm>
            <a:off x="1079461" y="2800019"/>
            <a:ext cx="658643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54345" name="Freeform 9"/>
          <p:cNvSpPr>
            <a:spLocks/>
          </p:cNvSpPr>
          <p:nvPr/>
        </p:nvSpPr>
        <p:spPr bwMode="gray">
          <a:xfrm>
            <a:off x="925253" y="1540383"/>
            <a:ext cx="8841306" cy="4667387"/>
          </a:xfrm>
          <a:custGeom>
            <a:avLst/>
            <a:gdLst/>
            <a:ahLst/>
            <a:cxnLst>
              <a:cxn ang="0">
                <a:pos x="0" y="991"/>
              </a:cxn>
              <a:cxn ang="0">
                <a:pos x="3750" y="991"/>
              </a:cxn>
              <a:cxn ang="0">
                <a:pos x="3207" y="0"/>
              </a:cxn>
              <a:cxn ang="0">
                <a:pos x="3630" y="0"/>
              </a:cxn>
              <a:cxn ang="0">
                <a:pos x="4262" y="1207"/>
              </a:cxn>
              <a:cxn ang="0">
                <a:pos x="3630" y="2382"/>
              </a:cxn>
              <a:cxn ang="0">
                <a:pos x="3254" y="2382"/>
              </a:cxn>
              <a:cxn ang="0">
                <a:pos x="3774" y="1391"/>
              </a:cxn>
              <a:cxn ang="0">
                <a:pos x="0" y="1391"/>
              </a:cxn>
            </a:cxnLst>
            <a:rect l="0" t="0" r="r" b="b"/>
            <a:pathLst>
              <a:path w="4263" h="2383">
                <a:moveTo>
                  <a:pt x="0" y="991"/>
                </a:moveTo>
                <a:lnTo>
                  <a:pt x="3750" y="991"/>
                </a:lnTo>
                <a:lnTo>
                  <a:pt x="3207" y="0"/>
                </a:lnTo>
                <a:lnTo>
                  <a:pt x="3630" y="0"/>
                </a:lnTo>
                <a:lnTo>
                  <a:pt x="4262" y="1207"/>
                </a:lnTo>
                <a:lnTo>
                  <a:pt x="3630" y="2382"/>
                </a:lnTo>
                <a:lnTo>
                  <a:pt x="3254" y="2382"/>
                </a:lnTo>
                <a:lnTo>
                  <a:pt x="3774" y="1391"/>
                </a:lnTo>
                <a:lnTo>
                  <a:pt x="0" y="139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4346" name="Rectangle 10"/>
          <p:cNvSpPr>
            <a:spLocks noChangeArrowheads="1"/>
          </p:cNvSpPr>
          <p:nvPr/>
        </p:nvSpPr>
        <p:spPr bwMode="gray">
          <a:xfrm>
            <a:off x="1079461" y="3759540"/>
            <a:ext cx="658643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54347" name="Rectangle 1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1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42161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387" name="Freeform 3"/>
          <p:cNvSpPr>
            <a:spLocks/>
          </p:cNvSpPr>
          <p:nvPr/>
        </p:nvSpPr>
        <p:spPr bwMode="gray">
          <a:xfrm>
            <a:off x="5407590" y="1773409"/>
            <a:ext cx="4437788" cy="3939178"/>
          </a:xfrm>
          <a:custGeom>
            <a:avLst/>
            <a:gdLst/>
            <a:ahLst/>
            <a:cxnLst>
              <a:cxn ang="0">
                <a:pos x="0" y="128"/>
              </a:cxn>
              <a:cxn ang="0">
                <a:pos x="1423" y="128"/>
              </a:cxn>
              <a:cxn ang="0">
                <a:pos x="1423" y="0"/>
              </a:cxn>
              <a:cxn ang="0">
                <a:pos x="1799" y="655"/>
              </a:cxn>
              <a:cxn ang="0">
                <a:pos x="1423" y="1302"/>
              </a:cxn>
              <a:cxn ang="0">
                <a:pos x="1423" y="1174"/>
              </a:cxn>
              <a:cxn ang="0">
                <a:pos x="0" y="1174"/>
              </a:cxn>
              <a:cxn ang="0">
                <a:pos x="0" y="655"/>
              </a:cxn>
              <a:cxn ang="0">
                <a:pos x="0" y="128"/>
              </a:cxn>
            </a:cxnLst>
            <a:rect l="0" t="0" r="r" b="b"/>
            <a:pathLst>
              <a:path w="1800" h="1303">
                <a:moveTo>
                  <a:pt x="0" y="128"/>
                </a:moveTo>
                <a:lnTo>
                  <a:pt x="1423" y="128"/>
                </a:lnTo>
                <a:lnTo>
                  <a:pt x="1423" y="0"/>
                </a:lnTo>
                <a:lnTo>
                  <a:pt x="1799" y="655"/>
                </a:lnTo>
                <a:lnTo>
                  <a:pt x="1423" y="1302"/>
                </a:lnTo>
                <a:lnTo>
                  <a:pt x="1423" y="1174"/>
                </a:lnTo>
                <a:lnTo>
                  <a:pt x="0" y="1174"/>
                </a:lnTo>
                <a:lnTo>
                  <a:pt x="0" y="655"/>
                </a:lnTo>
                <a:lnTo>
                  <a:pt x="0" y="128"/>
                </a:lnTo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6388" name="Rectangle 4"/>
          <p:cNvSpPr>
            <a:spLocks noChangeArrowheads="1"/>
          </p:cNvSpPr>
          <p:nvPr/>
        </p:nvSpPr>
        <p:spPr bwMode="gray">
          <a:xfrm>
            <a:off x="6463064" y="3627605"/>
            <a:ext cx="290940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56390" name="Freeform 6"/>
          <p:cNvSpPr>
            <a:spLocks/>
          </p:cNvSpPr>
          <p:nvPr/>
        </p:nvSpPr>
        <p:spPr bwMode="gray">
          <a:xfrm>
            <a:off x="2739778" y="2157219"/>
            <a:ext cx="3551943" cy="3745561"/>
          </a:xfrm>
          <a:custGeom>
            <a:avLst/>
            <a:gdLst/>
            <a:ahLst/>
            <a:cxnLst>
              <a:cxn ang="0">
                <a:pos x="0" y="184"/>
              </a:cxn>
              <a:cxn ang="0">
                <a:pos x="1079" y="184"/>
              </a:cxn>
              <a:cxn ang="0">
                <a:pos x="1079" y="0"/>
              </a:cxn>
              <a:cxn ang="0">
                <a:pos x="1439" y="615"/>
              </a:cxn>
              <a:cxn ang="0">
                <a:pos x="1079" y="1238"/>
              </a:cxn>
              <a:cxn ang="0">
                <a:pos x="1079" y="1054"/>
              </a:cxn>
              <a:cxn ang="0">
                <a:pos x="0" y="1054"/>
              </a:cxn>
              <a:cxn ang="0">
                <a:pos x="0" y="615"/>
              </a:cxn>
              <a:cxn ang="0">
                <a:pos x="0" y="184"/>
              </a:cxn>
            </a:cxnLst>
            <a:rect l="0" t="0" r="r" b="b"/>
            <a:pathLst>
              <a:path w="1440" h="1239">
                <a:moveTo>
                  <a:pt x="0" y="184"/>
                </a:moveTo>
                <a:lnTo>
                  <a:pt x="1079" y="184"/>
                </a:lnTo>
                <a:lnTo>
                  <a:pt x="1079" y="0"/>
                </a:lnTo>
                <a:lnTo>
                  <a:pt x="1439" y="615"/>
                </a:lnTo>
                <a:lnTo>
                  <a:pt x="1079" y="1238"/>
                </a:lnTo>
                <a:lnTo>
                  <a:pt x="1079" y="1054"/>
                </a:lnTo>
                <a:lnTo>
                  <a:pt x="0" y="1054"/>
                </a:lnTo>
                <a:lnTo>
                  <a:pt x="0" y="615"/>
                </a:lnTo>
                <a:lnTo>
                  <a:pt x="0" y="184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6391" name="Rectangle 7"/>
          <p:cNvSpPr>
            <a:spLocks noChangeArrowheads="1"/>
          </p:cNvSpPr>
          <p:nvPr/>
        </p:nvSpPr>
        <p:spPr bwMode="gray">
          <a:xfrm>
            <a:off x="3677024" y="3912036"/>
            <a:ext cx="2095526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>
                <a:solidFill>
                  <a:schemeClr val="bg1"/>
                </a:solidFill>
              </a:rPr>
              <a:t>Texto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56393" name="Freeform 9"/>
          <p:cNvSpPr>
            <a:spLocks/>
          </p:cNvSpPr>
          <p:nvPr/>
        </p:nvSpPr>
        <p:spPr bwMode="gray">
          <a:xfrm>
            <a:off x="846435" y="2714083"/>
            <a:ext cx="2664387" cy="3260661"/>
          </a:xfrm>
          <a:custGeom>
            <a:avLst/>
            <a:gdLst/>
            <a:ahLst/>
            <a:cxnLst>
              <a:cxn ang="0">
                <a:pos x="0" y="215"/>
              </a:cxn>
              <a:cxn ang="0">
                <a:pos x="768" y="215"/>
              </a:cxn>
              <a:cxn ang="0">
                <a:pos x="768" y="0"/>
              </a:cxn>
              <a:cxn ang="0">
                <a:pos x="1079" y="543"/>
              </a:cxn>
              <a:cxn ang="0">
                <a:pos x="768" y="1078"/>
              </a:cxn>
              <a:cxn ang="0">
                <a:pos x="768" y="862"/>
              </a:cxn>
              <a:cxn ang="0">
                <a:pos x="0" y="862"/>
              </a:cxn>
              <a:cxn ang="0">
                <a:pos x="0" y="543"/>
              </a:cxn>
              <a:cxn ang="0">
                <a:pos x="0" y="215"/>
              </a:cxn>
            </a:cxnLst>
            <a:rect l="0" t="0" r="r" b="b"/>
            <a:pathLst>
              <a:path w="1080" h="1079">
                <a:moveTo>
                  <a:pt x="0" y="215"/>
                </a:moveTo>
                <a:lnTo>
                  <a:pt x="768" y="215"/>
                </a:lnTo>
                <a:lnTo>
                  <a:pt x="768" y="0"/>
                </a:lnTo>
                <a:lnTo>
                  <a:pt x="1079" y="543"/>
                </a:lnTo>
                <a:lnTo>
                  <a:pt x="768" y="1078"/>
                </a:lnTo>
                <a:lnTo>
                  <a:pt x="768" y="862"/>
                </a:lnTo>
                <a:lnTo>
                  <a:pt x="0" y="862"/>
                </a:lnTo>
                <a:lnTo>
                  <a:pt x="0" y="543"/>
                </a:lnTo>
                <a:lnTo>
                  <a:pt x="0" y="215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6394" name="Rectangle 10"/>
          <p:cNvSpPr>
            <a:spLocks noChangeArrowheads="1"/>
          </p:cNvSpPr>
          <p:nvPr/>
        </p:nvSpPr>
        <p:spPr bwMode="gray">
          <a:xfrm>
            <a:off x="1007498" y="4225594"/>
            <a:ext cx="199957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>
                <a:solidFill>
                  <a:schemeClr val="bg1"/>
                </a:solidFill>
              </a:rPr>
              <a:t>Texto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56395" name="Rectangle 1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2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686856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435" name="Freeform 3"/>
          <p:cNvSpPr>
            <a:spLocks/>
          </p:cNvSpPr>
          <p:nvPr/>
        </p:nvSpPr>
        <p:spPr bwMode="gray">
          <a:xfrm>
            <a:off x="651104" y="2037277"/>
            <a:ext cx="3432004" cy="3637615"/>
          </a:xfrm>
          <a:custGeom>
            <a:avLst/>
            <a:gdLst/>
            <a:ahLst/>
            <a:cxnLst>
              <a:cxn ang="0">
                <a:pos x="1399" y="791"/>
              </a:cxn>
              <a:cxn ang="0">
                <a:pos x="1031" y="0"/>
              </a:cxn>
              <a:cxn ang="0">
                <a:pos x="0" y="0"/>
              </a:cxn>
              <a:cxn ang="0">
                <a:pos x="0" y="1598"/>
              </a:cxn>
              <a:cxn ang="0">
                <a:pos x="1031" y="1598"/>
              </a:cxn>
              <a:cxn ang="0">
                <a:pos x="1399" y="791"/>
              </a:cxn>
            </a:cxnLst>
            <a:rect l="0" t="0" r="r" b="b"/>
            <a:pathLst>
              <a:path w="1400" h="1599">
                <a:moveTo>
                  <a:pt x="1399" y="791"/>
                </a:moveTo>
                <a:lnTo>
                  <a:pt x="1031" y="0"/>
                </a:lnTo>
                <a:lnTo>
                  <a:pt x="0" y="0"/>
                </a:lnTo>
                <a:lnTo>
                  <a:pt x="0" y="1598"/>
                </a:lnTo>
                <a:lnTo>
                  <a:pt x="1031" y="1598"/>
                </a:lnTo>
                <a:lnTo>
                  <a:pt x="1399" y="79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8436" name="Rectangle 4"/>
          <p:cNvSpPr>
            <a:spLocks noChangeArrowheads="1"/>
          </p:cNvSpPr>
          <p:nvPr/>
        </p:nvSpPr>
        <p:spPr bwMode="gray">
          <a:xfrm>
            <a:off x="861856" y="3737002"/>
            <a:ext cx="2912834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58438" name="Freeform 6"/>
          <p:cNvSpPr>
            <a:spLocks/>
          </p:cNvSpPr>
          <p:nvPr/>
        </p:nvSpPr>
        <p:spPr bwMode="gray">
          <a:xfrm>
            <a:off x="3394308" y="2037278"/>
            <a:ext cx="4002576" cy="1764834"/>
          </a:xfrm>
          <a:custGeom>
            <a:avLst/>
            <a:gdLst/>
            <a:ahLst/>
            <a:cxnLst>
              <a:cxn ang="0">
                <a:pos x="1296" y="0"/>
              </a:cxn>
              <a:cxn ang="0">
                <a:pos x="1632" y="775"/>
              </a:cxn>
              <a:cxn ang="0">
                <a:pos x="368" y="775"/>
              </a:cxn>
              <a:cxn ang="0">
                <a:pos x="0" y="0"/>
              </a:cxn>
              <a:cxn ang="0">
                <a:pos x="1296" y="0"/>
              </a:cxn>
            </a:cxnLst>
            <a:rect l="0" t="0" r="r" b="b"/>
            <a:pathLst>
              <a:path w="1633" h="776">
                <a:moveTo>
                  <a:pt x="1296" y="0"/>
                </a:moveTo>
                <a:lnTo>
                  <a:pt x="1632" y="775"/>
                </a:lnTo>
                <a:lnTo>
                  <a:pt x="368" y="775"/>
                </a:lnTo>
                <a:lnTo>
                  <a:pt x="0" y="0"/>
                </a:lnTo>
                <a:lnTo>
                  <a:pt x="1296" y="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8439" name="Rectangle 7"/>
          <p:cNvSpPr>
            <a:spLocks noChangeArrowheads="1"/>
          </p:cNvSpPr>
          <p:nvPr/>
        </p:nvSpPr>
        <p:spPr bwMode="gray">
          <a:xfrm>
            <a:off x="3798678" y="2335415"/>
            <a:ext cx="2911121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58441" name="Freeform 9"/>
          <p:cNvSpPr>
            <a:spLocks/>
          </p:cNvSpPr>
          <p:nvPr/>
        </p:nvSpPr>
        <p:spPr bwMode="gray">
          <a:xfrm>
            <a:off x="3394308" y="3927193"/>
            <a:ext cx="4002576" cy="1764834"/>
          </a:xfrm>
          <a:custGeom>
            <a:avLst/>
            <a:gdLst/>
            <a:ahLst/>
            <a:cxnLst>
              <a:cxn ang="0">
                <a:pos x="1296" y="775"/>
              </a:cxn>
              <a:cxn ang="0">
                <a:pos x="1632" y="0"/>
              </a:cxn>
              <a:cxn ang="0">
                <a:pos x="352" y="0"/>
              </a:cxn>
              <a:cxn ang="0">
                <a:pos x="0" y="775"/>
              </a:cxn>
              <a:cxn ang="0">
                <a:pos x="1296" y="775"/>
              </a:cxn>
            </a:cxnLst>
            <a:rect l="0" t="0" r="r" b="b"/>
            <a:pathLst>
              <a:path w="1633" h="776">
                <a:moveTo>
                  <a:pt x="1296" y="775"/>
                </a:moveTo>
                <a:lnTo>
                  <a:pt x="1632" y="0"/>
                </a:lnTo>
                <a:lnTo>
                  <a:pt x="352" y="0"/>
                </a:lnTo>
                <a:lnTo>
                  <a:pt x="0" y="775"/>
                </a:lnTo>
                <a:lnTo>
                  <a:pt x="1296" y="77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8442" name="Rectangle 10"/>
          <p:cNvSpPr>
            <a:spLocks noChangeArrowheads="1"/>
          </p:cNvSpPr>
          <p:nvPr/>
        </p:nvSpPr>
        <p:spPr bwMode="gray">
          <a:xfrm>
            <a:off x="4288720" y="4208195"/>
            <a:ext cx="2911121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58444" name="Freeform 12"/>
          <p:cNvSpPr>
            <a:spLocks/>
          </p:cNvSpPr>
          <p:nvPr/>
        </p:nvSpPr>
        <p:spPr bwMode="gray">
          <a:xfrm>
            <a:off x="6785188" y="1237105"/>
            <a:ext cx="3255520" cy="5273942"/>
          </a:xfrm>
          <a:custGeom>
            <a:avLst/>
            <a:gdLst/>
            <a:ahLst/>
            <a:cxnLst>
              <a:cxn ang="0">
                <a:pos x="0" y="1958"/>
              </a:cxn>
              <a:cxn ang="0">
                <a:pos x="783" y="1958"/>
              </a:cxn>
              <a:cxn ang="0">
                <a:pos x="783" y="2318"/>
              </a:cxn>
              <a:cxn ang="0">
                <a:pos x="1327" y="1159"/>
              </a:cxn>
              <a:cxn ang="0">
                <a:pos x="783" y="0"/>
              </a:cxn>
              <a:cxn ang="0">
                <a:pos x="783" y="352"/>
              </a:cxn>
              <a:cxn ang="0">
                <a:pos x="0" y="352"/>
              </a:cxn>
              <a:cxn ang="0">
                <a:pos x="352" y="1159"/>
              </a:cxn>
              <a:cxn ang="0">
                <a:pos x="0" y="1958"/>
              </a:cxn>
            </a:cxnLst>
            <a:rect l="0" t="0" r="r" b="b"/>
            <a:pathLst>
              <a:path w="1328" h="2319">
                <a:moveTo>
                  <a:pt x="0" y="1958"/>
                </a:moveTo>
                <a:lnTo>
                  <a:pt x="783" y="1958"/>
                </a:lnTo>
                <a:lnTo>
                  <a:pt x="783" y="2318"/>
                </a:lnTo>
                <a:lnTo>
                  <a:pt x="1327" y="1159"/>
                </a:lnTo>
                <a:lnTo>
                  <a:pt x="783" y="0"/>
                </a:lnTo>
                <a:lnTo>
                  <a:pt x="783" y="352"/>
                </a:lnTo>
                <a:lnTo>
                  <a:pt x="0" y="352"/>
                </a:lnTo>
                <a:lnTo>
                  <a:pt x="352" y="1159"/>
                </a:lnTo>
                <a:lnTo>
                  <a:pt x="0" y="195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58445" name="Rectangle 13"/>
          <p:cNvSpPr>
            <a:spLocks noChangeArrowheads="1"/>
          </p:cNvSpPr>
          <p:nvPr/>
        </p:nvSpPr>
        <p:spPr bwMode="gray">
          <a:xfrm>
            <a:off x="7847516" y="3738715"/>
            <a:ext cx="1912190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58446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3</a:t>
            </a: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92276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nálise cruzada entre 2 agrupamentos e conclusã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en-US" dirty="0"/>
          </a:p>
        </p:txBody>
      </p:sp>
      <p:sp>
        <p:nvSpPr>
          <p:cNvPr id="4" name="CaixaDeTexto 17"/>
          <p:cNvSpPr txBox="1"/>
          <p:nvPr/>
        </p:nvSpPr>
        <p:spPr>
          <a:xfrm>
            <a:off x="7169883" y="1613018"/>
            <a:ext cx="3122701" cy="41286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55423" tIns="155423" rIns="155423" bIns="155423" rtlCol="0" anchor="t" anchorCtr="0">
            <a:noAutofit/>
          </a:bodyPr>
          <a:lstStyle/>
          <a:p>
            <a:pPr marL="195326" indent="-195326">
              <a:lnSpc>
                <a:spcPct val="90000"/>
              </a:lnSpc>
              <a:spcBef>
                <a:spcPts val="1295"/>
              </a:spcBef>
              <a:buSzPct val="100000"/>
              <a:buFont typeface="Arial" pitchFamily="34" charset="0"/>
              <a:buChar char="•"/>
            </a:pPr>
            <a:r>
              <a:rPr lang="pt-BR" sz="1295" dirty="0" err="1">
                <a:solidFill>
                  <a:prstClr val="black"/>
                </a:solidFill>
              </a:rPr>
              <a:t>Xxxxxx</a:t>
            </a:r>
            <a:r>
              <a:rPr lang="pt-BR" sz="1295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11" name="Pentágono 38"/>
          <p:cNvSpPr/>
          <p:nvPr/>
        </p:nvSpPr>
        <p:spPr>
          <a:xfrm rot="5400000">
            <a:off x="699727" y="3409083"/>
            <a:ext cx="3764316" cy="1377283"/>
          </a:xfrm>
          <a:prstGeom prst="homePlate">
            <a:avLst>
              <a:gd name="adj" fmla="val 1091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2" name="Pentágono 41"/>
          <p:cNvSpPr/>
          <p:nvPr/>
        </p:nvSpPr>
        <p:spPr>
          <a:xfrm rot="5400000">
            <a:off x="2241397" y="3409083"/>
            <a:ext cx="3764316" cy="1377283"/>
          </a:xfrm>
          <a:prstGeom prst="homePlate">
            <a:avLst>
              <a:gd name="adj" fmla="val 1091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3" name="Pentágono 42"/>
          <p:cNvSpPr/>
          <p:nvPr/>
        </p:nvSpPr>
        <p:spPr>
          <a:xfrm rot="5400000">
            <a:off x="3776105" y="3409083"/>
            <a:ext cx="3764316" cy="1377283"/>
          </a:xfrm>
          <a:prstGeom prst="homePlate">
            <a:avLst>
              <a:gd name="adj" fmla="val 1091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4" name="Retângulo 9"/>
          <p:cNvSpPr/>
          <p:nvPr/>
        </p:nvSpPr>
        <p:spPr>
          <a:xfrm>
            <a:off x="1893243" y="1799955"/>
            <a:ext cx="1377534" cy="41561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tIns="38856" rIns="38856" bIns="0" rtlCol="0" anchor="ctr" anchorCtr="0"/>
          <a:lstStyle/>
          <a:p>
            <a:pPr algn="ctr">
              <a:lnSpc>
                <a:spcPts val="1403"/>
              </a:lnSpc>
            </a:pPr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5" name="Retângulo 12"/>
          <p:cNvSpPr/>
          <p:nvPr/>
        </p:nvSpPr>
        <p:spPr>
          <a:xfrm>
            <a:off x="3434788" y="1799955"/>
            <a:ext cx="1377534" cy="41561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tIns="38856" rIns="38856" bIns="38856" rtlCol="0" anchor="ctr" anchorCtr="0"/>
          <a:lstStyle/>
          <a:p>
            <a:pPr algn="ctr">
              <a:lnSpc>
                <a:spcPct val="70000"/>
              </a:lnSpc>
            </a:pPr>
            <a:r>
              <a:rPr lang="pt-BR" sz="1295">
                <a:solidFill>
                  <a:schemeClr val="bg1"/>
                </a:solidFill>
              </a:rPr>
              <a:t>x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6" name="Retângulo 13"/>
          <p:cNvSpPr/>
          <p:nvPr/>
        </p:nvSpPr>
        <p:spPr>
          <a:xfrm>
            <a:off x="4969371" y="1799955"/>
            <a:ext cx="1377534" cy="415613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tIns="38856" rIns="38856" rtlCol="0" anchor="ctr" anchorCtr="0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7" name="Retângulo 19"/>
          <p:cNvSpPr/>
          <p:nvPr/>
        </p:nvSpPr>
        <p:spPr>
          <a:xfrm>
            <a:off x="1631019" y="2379743"/>
            <a:ext cx="4996504" cy="1010002"/>
          </a:xfrm>
          <a:prstGeom prst="homePlate">
            <a:avLst>
              <a:gd name="adj" fmla="val 14963"/>
            </a:avLst>
          </a:prstGeom>
          <a:solidFill>
            <a:srgbClr val="FFFFFF">
              <a:alpha val="60000"/>
            </a:srgb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8" name="CaixaDeTexto 33"/>
          <p:cNvSpPr txBox="1"/>
          <p:nvPr/>
        </p:nvSpPr>
        <p:spPr>
          <a:xfrm>
            <a:off x="397516" y="2140843"/>
            <a:ext cx="438069" cy="209268"/>
          </a:xfrm>
          <a:prstGeom prst="rect">
            <a:avLst/>
          </a:prstGeom>
          <a:noFill/>
        </p:spPr>
        <p:txBody>
          <a:bodyPr wrap="none" lIns="0" tIns="39477" rIns="0" bIns="0" rtlCol="0" anchor="b">
            <a:spAutoFit/>
          </a:bodyPr>
          <a:lstStyle/>
          <a:p>
            <a:pPr>
              <a:lnSpc>
                <a:spcPct val="85000"/>
              </a:lnSpc>
              <a:spcAft>
                <a:spcPts val="648"/>
              </a:spcAft>
              <a:buClr>
                <a:schemeClr val="accent2"/>
              </a:buClr>
              <a:buSzPct val="70000"/>
            </a:pPr>
            <a:r>
              <a:rPr lang="pt-BR" sz="1295" b="1" dirty="0">
                <a:solidFill>
                  <a:schemeClr val="accent2"/>
                </a:solidFill>
              </a:rPr>
              <a:t>Tema</a:t>
            </a:r>
          </a:p>
        </p:txBody>
      </p:sp>
      <p:sp>
        <p:nvSpPr>
          <p:cNvPr id="19" name="CaixaDeTexto 28"/>
          <p:cNvSpPr txBox="1"/>
          <p:nvPr/>
        </p:nvSpPr>
        <p:spPr>
          <a:xfrm>
            <a:off x="1893243" y="2379743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20" name="Retângulo 19"/>
          <p:cNvSpPr/>
          <p:nvPr/>
        </p:nvSpPr>
        <p:spPr>
          <a:xfrm>
            <a:off x="1631019" y="3550426"/>
            <a:ext cx="4996504" cy="1010002"/>
          </a:xfrm>
          <a:prstGeom prst="homePlate">
            <a:avLst>
              <a:gd name="adj" fmla="val 14963"/>
            </a:avLst>
          </a:prstGeom>
          <a:solidFill>
            <a:srgbClr val="FFFFFF">
              <a:alpha val="60000"/>
            </a:srgb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b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1" name="Retângulo 19"/>
          <p:cNvSpPr/>
          <p:nvPr/>
        </p:nvSpPr>
        <p:spPr>
          <a:xfrm>
            <a:off x="1631019" y="4721109"/>
            <a:ext cx="4996504" cy="1010002"/>
          </a:xfrm>
          <a:prstGeom prst="homePlate">
            <a:avLst>
              <a:gd name="adj" fmla="val 14963"/>
            </a:avLst>
          </a:prstGeom>
          <a:solidFill>
            <a:srgbClr val="FFFFFF">
              <a:alpha val="60000"/>
            </a:srgb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b" anchorCtr="0"/>
          <a:lstStyle/>
          <a:p>
            <a:pPr algn="ctr"/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2" name="Retângulo 15"/>
          <p:cNvSpPr/>
          <p:nvPr/>
        </p:nvSpPr>
        <p:spPr>
          <a:xfrm>
            <a:off x="397516" y="2379743"/>
            <a:ext cx="1265661" cy="10100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3" name="Retângulo 16"/>
          <p:cNvSpPr/>
          <p:nvPr/>
        </p:nvSpPr>
        <p:spPr>
          <a:xfrm>
            <a:off x="397516" y="3550426"/>
            <a:ext cx="1265661" cy="10100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4" name="Retângulo 17"/>
          <p:cNvSpPr/>
          <p:nvPr/>
        </p:nvSpPr>
        <p:spPr>
          <a:xfrm>
            <a:off x="397516" y="4721109"/>
            <a:ext cx="1265661" cy="101000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 anchorCtr="0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3" name="CaixaDeTexto 28"/>
          <p:cNvSpPr txBox="1"/>
          <p:nvPr/>
        </p:nvSpPr>
        <p:spPr>
          <a:xfrm>
            <a:off x="3434913" y="2379743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4" name="CaixaDeTexto 28"/>
          <p:cNvSpPr txBox="1"/>
          <p:nvPr/>
        </p:nvSpPr>
        <p:spPr>
          <a:xfrm>
            <a:off x="4962409" y="2379743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5" name="CaixaDeTexto 28"/>
          <p:cNvSpPr txBox="1"/>
          <p:nvPr/>
        </p:nvSpPr>
        <p:spPr>
          <a:xfrm>
            <a:off x="1893243" y="3550425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6" name="CaixaDeTexto 28"/>
          <p:cNvSpPr txBox="1"/>
          <p:nvPr/>
        </p:nvSpPr>
        <p:spPr>
          <a:xfrm>
            <a:off x="3434913" y="3550425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7" name="CaixaDeTexto 28"/>
          <p:cNvSpPr txBox="1"/>
          <p:nvPr/>
        </p:nvSpPr>
        <p:spPr>
          <a:xfrm>
            <a:off x="4962409" y="3550425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8" name="CaixaDeTexto 28"/>
          <p:cNvSpPr txBox="1"/>
          <p:nvPr/>
        </p:nvSpPr>
        <p:spPr>
          <a:xfrm>
            <a:off x="1893243" y="4721108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49" name="CaixaDeTexto 28"/>
          <p:cNvSpPr txBox="1"/>
          <p:nvPr/>
        </p:nvSpPr>
        <p:spPr>
          <a:xfrm>
            <a:off x="3434913" y="4721108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sp>
        <p:nvSpPr>
          <p:cNvPr id="50" name="CaixaDeTexto 28"/>
          <p:cNvSpPr txBox="1"/>
          <p:nvPr/>
        </p:nvSpPr>
        <p:spPr>
          <a:xfrm>
            <a:off x="4962409" y="4721108"/>
            <a:ext cx="1384496" cy="1010002"/>
          </a:xfrm>
          <a:prstGeom prst="rect">
            <a:avLst/>
          </a:prstGeom>
          <a:noFill/>
        </p:spPr>
        <p:txBody>
          <a:bodyPr wrap="square" lIns="58284" tIns="77712" rIns="58284" bIns="77712" rtlCol="0" anchor="t">
            <a:noAutofit/>
          </a:bodyPr>
          <a:lstStyle>
            <a:defPPr>
              <a:defRPr lang="pt-BR"/>
            </a:defPPr>
            <a:lvl1pPr marL="92075" indent="-92075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  <a:defRPr sz="1200">
                <a:latin typeface="+mn-lt"/>
              </a:defRPr>
            </a:lvl1pPr>
          </a:lstStyle>
          <a:p>
            <a:pPr>
              <a:buClrTx/>
              <a:buSzPct val="100000"/>
            </a:pPr>
            <a:r>
              <a:rPr lang="pt-BR" sz="1295" dirty="0" err="1"/>
              <a:t>Xxxxx</a:t>
            </a:r>
            <a:endParaRPr lang="pt-BR" sz="1295" dirty="0"/>
          </a:p>
        </p:txBody>
      </p:sp>
      <p:grpSp>
        <p:nvGrpSpPr>
          <p:cNvPr id="36" name="25 Grupo"/>
          <p:cNvGrpSpPr/>
          <p:nvPr>
            <p:custDataLst>
              <p:tags r:id="rId1"/>
            </p:custDataLst>
          </p:nvPr>
        </p:nvGrpSpPr>
        <p:grpSpPr>
          <a:xfrm>
            <a:off x="407306" y="1281346"/>
            <a:ext cx="5935818" cy="322326"/>
            <a:chOff x="559574" y="1151056"/>
            <a:chExt cx="8857922" cy="261720"/>
          </a:xfrm>
        </p:grpSpPr>
        <p:sp>
          <p:nvSpPr>
            <p:cNvPr id="37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8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25 Grupo"/>
          <p:cNvGrpSpPr/>
          <p:nvPr>
            <p:custDataLst>
              <p:tags r:id="rId2"/>
            </p:custDataLst>
          </p:nvPr>
        </p:nvGrpSpPr>
        <p:grpSpPr>
          <a:xfrm>
            <a:off x="7168579" y="1281346"/>
            <a:ext cx="3124004" cy="322326"/>
            <a:chOff x="559574" y="1151056"/>
            <a:chExt cx="8857922" cy="261720"/>
          </a:xfrm>
        </p:grpSpPr>
        <p:sp>
          <p:nvSpPr>
            <p:cNvPr id="40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41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1224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4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0484" name="Freeform 4"/>
          <p:cNvSpPr>
            <a:spLocks/>
          </p:cNvSpPr>
          <p:nvPr/>
        </p:nvSpPr>
        <p:spPr bwMode="gray">
          <a:xfrm>
            <a:off x="4444641" y="1331344"/>
            <a:ext cx="1727139" cy="1057187"/>
          </a:xfrm>
          <a:custGeom>
            <a:avLst/>
            <a:gdLst/>
            <a:ahLst/>
            <a:cxnLst>
              <a:cxn ang="0">
                <a:pos x="257" y="0"/>
              </a:cxn>
              <a:cxn ang="0">
                <a:pos x="745" y="0"/>
              </a:cxn>
              <a:cxn ang="0">
                <a:pos x="1008" y="462"/>
              </a:cxn>
              <a:cxn ang="0">
                <a:pos x="508" y="617"/>
              </a:cxn>
              <a:cxn ang="0">
                <a:pos x="0" y="455"/>
              </a:cxn>
              <a:cxn ang="0">
                <a:pos x="257" y="0"/>
              </a:cxn>
            </a:cxnLst>
            <a:rect l="0" t="0" r="r" b="b"/>
            <a:pathLst>
              <a:path w="1008" h="617">
                <a:moveTo>
                  <a:pt x="257" y="0"/>
                </a:moveTo>
                <a:lnTo>
                  <a:pt x="745" y="0"/>
                </a:lnTo>
                <a:lnTo>
                  <a:pt x="1008" y="462"/>
                </a:lnTo>
                <a:lnTo>
                  <a:pt x="508" y="617"/>
                </a:lnTo>
                <a:lnTo>
                  <a:pt x="0" y="455"/>
                </a:lnTo>
                <a:lnTo>
                  <a:pt x="257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2159" dirty="0"/>
          </a:p>
        </p:txBody>
      </p:sp>
      <p:sp>
        <p:nvSpPr>
          <p:cNvPr id="660485" name="Rectangle 5"/>
          <p:cNvSpPr>
            <a:spLocks noChangeArrowheads="1"/>
          </p:cNvSpPr>
          <p:nvPr/>
        </p:nvSpPr>
        <p:spPr bwMode="gray">
          <a:xfrm>
            <a:off x="4749632" y="1752584"/>
            <a:ext cx="112058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0487" name="Freeform 7"/>
          <p:cNvSpPr>
            <a:spLocks/>
          </p:cNvSpPr>
          <p:nvPr/>
        </p:nvSpPr>
        <p:spPr bwMode="gray">
          <a:xfrm>
            <a:off x="3778117" y="2224041"/>
            <a:ext cx="3027633" cy="1610626"/>
          </a:xfrm>
          <a:custGeom>
            <a:avLst/>
            <a:gdLst/>
            <a:ahLst/>
            <a:cxnLst>
              <a:cxn ang="0">
                <a:pos x="350" y="0"/>
              </a:cxn>
              <a:cxn ang="0">
                <a:pos x="903" y="174"/>
              </a:cxn>
              <a:cxn ang="0">
                <a:pos x="1433" y="4"/>
              </a:cxn>
              <a:cxn ang="0">
                <a:pos x="1767" y="588"/>
              </a:cxn>
              <a:cxn ang="0">
                <a:pos x="888" y="940"/>
              </a:cxn>
              <a:cxn ang="0">
                <a:pos x="0" y="612"/>
              </a:cxn>
              <a:cxn ang="0">
                <a:pos x="350" y="0"/>
              </a:cxn>
            </a:cxnLst>
            <a:rect l="0" t="0" r="r" b="b"/>
            <a:pathLst>
              <a:path w="1767" h="940">
                <a:moveTo>
                  <a:pt x="350" y="0"/>
                </a:moveTo>
                <a:lnTo>
                  <a:pt x="903" y="174"/>
                </a:lnTo>
                <a:lnTo>
                  <a:pt x="1433" y="4"/>
                </a:lnTo>
                <a:lnTo>
                  <a:pt x="1767" y="588"/>
                </a:lnTo>
                <a:lnTo>
                  <a:pt x="888" y="940"/>
                </a:lnTo>
                <a:lnTo>
                  <a:pt x="0" y="612"/>
                </a:lnTo>
                <a:lnTo>
                  <a:pt x="35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2159" dirty="0"/>
          </a:p>
        </p:txBody>
      </p:sp>
      <p:sp>
        <p:nvSpPr>
          <p:cNvPr id="660488" name="Rectangle 8"/>
          <p:cNvSpPr>
            <a:spLocks noChangeArrowheads="1"/>
          </p:cNvSpPr>
          <p:nvPr/>
        </p:nvSpPr>
        <p:spPr bwMode="gray">
          <a:xfrm>
            <a:off x="4182486" y="2972547"/>
            <a:ext cx="2254876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0490" name="Freeform 10"/>
          <p:cNvSpPr>
            <a:spLocks/>
          </p:cNvSpPr>
          <p:nvPr/>
        </p:nvSpPr>
        <p:spPr bwMode="gray">
          <a:xfrm>
            <a:off x="1644894" y="3349767"/>
            <a:ext cx="7402024" cy="3067042"/>
          </a:xfrm>
          <a:custGeom>
            <a:avLst/>
            <a:gdLst/>
            <a:ahLst/>
            <a:cxnLst>
              <a:cxn ang="0">
                <a:pos x="1206" y="24"/>
              </a:cxn>
              <a:cxn ang="0">
                <a:pos x="766" y="785"/>
              </a:cxn>
              <a:cxn ang="0">
                <a:pos x="0" y="785"/>
              </a:cxn>
              <a:cxn ang="0">
                <a:pos x="2111" y="1790"/>
              </a:cxn>
              <a:cxn ang="0">
                <a:pos x="4320" y="785"/>
              </a:cxn>
              <a:cxn ang="0">
                <a:pos x="3500" y="785"/>
              </a:cxn>
              <a:cxn ang="0">
                <a:pos x="3053" y="0"/>
              </a:cxn>
              <a:cxn ang="0">
                <a:pos x="2134" y="369"/>
              </a:cxn>
              <a:cxn ang="0">
                <a:pos x="1206" y="24"/>
              </a:cxn>
            </a:cxnLst>
            <a:rect l="0" t="0" r="r" b="b"/>
            <a:pathLst>
              <a:path w="4320" h="1790">
                <a:moveTo>
                  <a:pt x="1206" y="24"/>
                </a:moveTo>
                <a:lnTo>
                  <a:pt x="766" y="785"/>
                </a:lnTo>
                <a:lnTo>
                  <a:pt x="0" y="785"/>
                </a:lnTo>
                <a:lnTo>
                  <a:pt x="2111" y="1790"/>
                </a:lnTo>
                <a:lnTo>
                  <a:pt x="4320" y="785"/>
                </a:lnTo>
                <a:lnTo>
                  <a:pt x="3500" y="785"/>
                </a:lnTo>
                <a:lnTo>
                  <a:pt x="3053" y="0"/>
                </a:lnTo>
                <a:lnTo>
                  <a:pt x="2134" y="369"/>
                </a:lnTo>
                <a:lnTo>
                  <a:pt x="1206" y="2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660491" name="Rectangle 11"/>
          <p:cNvSpPr>
            <a:spLocks noChangeArrowheads="1"/>
          </p:cNvSpPr>
          <p:nvPr/>
        </p:nvSpPr>
        <p:spPr bwMode="gray">
          <a:xfrm>
            <a:off x="3832946" y="4768225"/>
            <a:ext cx="2953956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1456325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5</a:t>
            </a:r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2531" name="Rectangle 3"/>
          <p:cNvSpPr>
            <a:spLocks noChangeArrowheads="1"/>
          </p:cNvSpPr>
          <p:nvPr/>
        </p:nvSpPr>
        <p:spPr bwMode="gray">
          <a:xfrm>
            <a:off x="1468411" y="2707229"/>
            <a:ext cx="2616409" cy="2337121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7712" tIns="77712" rIns="77712" bIns="77712" anchor="ctr">
            <a:noAutofit/>
          </a:bodyPr>
          <a:lstStyle/>
          <a:p>
            <a:pPr algn="ctr" defTabSz="1031460">
              <a:spcBef>
                <a:spcPct val="5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33" name="Freeform 5"/>
          <p:cNvSpPr>
            <a:spLocks/>
          </p:cNvSpPr>
          <p:nvPr/>
        </p:nvSpPr>
        <p:spPr bwMode="gray">
          <a:xfrm flipH="1">
            <a:off x="747056" y="4941544"/>
            <a:ext cx="3731854" cy="1041766"/>
          </a:xfrm>
          <a:custGeom>
            <a:avLst/>
            <a:gdLst/>
            <a:ahLst/>
            <a:cxnLst>
              <a:cxn ang="0">
                <a:pos x="1474" y="556"/>
              </a:cxn>
              <a:cxn ang="0">
                <a:pos x="1474" y="556"/>
              </a:cxn>
              <a:cxn ang="0">
                <a:pos x="1474" y="556"/>
              </a:cxn>
              <a:cxn ang="0">
                <a:pos x="1474" y="432"/>
              </a:cxn>
              <a:cxn ang="0">
                <a:pos x="0" y="432"/>
              </a:cxn>
              <a:cxn ang="0">
                <a:pos x="274" y="128"/>
              </a:cxn>
              <a:cxn ang="0">
                <a:pos x="1474" y="128"/>
              </a:cxn>
              <a:cxn ang="0">
                <a:pos x="1474" y="0"/>
              </a:cxn>
              <a:cxn ang="0">
                <a:pos x="1779" y="278"/>
              </a:cxn>
              <a:cxn ang="0">
                <a:pos x="1479" y="553"/>
              </a:cxn>
              <a:cxn ang="0">
                <a:pos x="1474" y="556"/>
              </a:cxn>
            </a:cxnLst>
            <a:rect l="0" t="0" r="r" b="b"/>
            <a:pathLst>
              <a:path w="1779" h="556">
                <a:moveTo>
                  <a:pt x="1474" y="556"/>
                </a:moveTo>
                <a:lnTo>
                  <a:pt x="1474" y="556"/>
                </a:lnTo>
                <a:lnTo>
                  <a:pt x="1474" y="556"/>
                </a:lnTo>
                <a:lnTo>
                  <a:pt x="1474" y="432"/>
                </a:lnTo>
                <a:lnTo>
                  <a:pt x="0" y="432"/>
                </a:lnTo>
                <a:lnTo>
                  <a:pt x="274" y="128"/>
                </a:lnTo>
                <a:lnTo>
                  <a:pt x="1474" y="128"/>
                </a:lnTo>
                <a:lnTo>
                  <a:pt x="1474" y="0"/>
                </a:lnTo>
                <a:lnTo>
                  <a:pt x="1779" y="278"/>
                </a:lnTo>
                <a:lnTo>
                  <a:pt x="1479" y="553"/>
                </a:lnTo>
                <a:lnTo>
                  <a:pt x="1474" y="556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34" name="Rectangle 6"/>
          <p:cNvSpPr>
            <a:spLocks noChangeArrowheads="1"/>
          </p:cNvSpPr>
          <p:nvPr/>
        </p:nvSpPr>
        <p:spPr bwMode="gray">
          <a:xfrm flipH="1">
            <a:off x="1449563" y="5339060"/>
            <a:ext cx="2347401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 algn="ctr" defTabSz="1158251">
              <a:spcBef>
                <a:spcPct val="20000"/>
              </a:spcBef>
              <a:buClr>
                <a:schemeClr val="bg1"/>
              </a:buClr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36" name="Freeform 8"/>
          <p:cNvSpPr>
            <a:spLocks/>
          </p:cNvSpPr>
          <p:nvPr/>
        </p:nvSpPr>
        <p:spPr bwMode="gray">
          <a:xfrm flipH="1">
            <a:off x="424931" y="2056125"/>
            <a:ext cx="1165133" cy="3336052"/>
          </a:xfrm>
          <a:custGeom>
            <a:avLst/>
            <a:gdLst/>
            <a:ahLst/>
            <a:cxnLst>
              <a:cxn ang="0">
                <a:pos x="556" y="305"/>
              </a:cxn>
              <a:cxn ang="0">
                <a:pos x="556" y="305"/>
              </a:cxn>
              <a:cxn ang="0">
                <a:pos x="556" y="305"/>
              </a:cxn>
              <a:cxn ang="0">
                <a:pos x="432" y="305"/>
              </a:cxn>
              <a:cxn ang="0">
                <a:pos x="432" y="1781"/>
              </a:cxn>
              <a:cxn ang="0">
                <a:pos x="128" y="1505"/>
              </a:cxn>
              <a:cxn ang="0">
                <a:pos x="128" y="305"/>
              </a:cxn>
              <a:cxn ang="0">
                <a:pos x="0" y="305"/>
              </a:cxn>
              <a:cxn ang="0">
                <a:pos x="278" y="0"/>
              </a:cxn>
              <a:cxn ang="0">
                <a:pos x="553" y="300"/>
              </a:cxn>
              <a:cxn ang="0">
                <a:pos x="556" y="305"/>
              </a:cxn>
            </a:cxnLst>
            <a:rect l="0" t="0" r="r" b="b"/>
            <a:pathLst>
              <a:path w="556" h="1781">
                <a:moveTo>
                  <a:pt x="556" y="305"/>
                </a:moveTo>
                <a:lnTo>
                  <a:pt x="556" y="305"/>
                </a:lnTo>
                <a:lnTo>
                  <a:pt x="556" y="305"/>
                </a:lnTo>
                <a:lnTo>
                  <a:pt x="432" y="305"/>
                </a:lnTo>
                <a:lnTo>
                  <a:pt x="432" y="1781"/>
                </a:lnTo>
                <a:lnTo>
                  <a:pt x="128" y="1505"/>
                </a:lnTo>
                <a:lnTo>
                  <a:pt x="128" y="305"/>
                </a:lnTo>
                <a:lnTo>
                  <a:pt x="0" y="305"/>
                </a:lnTo>
                <a:lnTo>
                  <a:pt x="278" y="0"/>
                </a:lnTo>
                <a:lnTo>
                  <a:pt x="553" y="300"/>
                </a:lnTo>
                <a:lnTo>
                  <a:pt x="556" y="305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37" name="Rectangle 9"/>
          <p:cNvSpPr>
            <a:spLocks noChangeArrowheads="1"/>
          </p:cNvSpPr>
          <p:nvPr/>
        </p:nvSpPr>
        <p:spPr bwMode="gray">
          <a:xfrm rot="5400000" flipH="1">
            <a:off x="-32556" y="3647904"/>
            <a:ext cx="2097240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 algn="ctr" defTabSz="1158251">
              <a:spcBef>
                <a:spcPct val="20000"/>
              </a:spcBef>
              <a:buClr>
                <a:schemeClr val="bg1"/>
              </a:buClr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39" name="Freeform 11"/>
          <p:cNvSpPr>
            <a:spLocks/>
          </p:cNvSpPr>
          <p:nvPr/>
        </p:nvSpPr>
        <p:spPr bwMode="gray">
          <a:xfrm flipH="1">
            <a:off x="1084602" y="1768269"/>
            <a:ext cx="3733567" cy="1041766"/>
          </a:xfrm>
          <a:custGeom>
            <a:avLst/>
            <a:gdLst/>
            <a:ahLst/>
            <a:cxnLst>
              <a:cxn ang="0">
                <a:pos x="305" y="0"/>
              </a:cxn>
              <a:cxn ang="0">
                <a:pos x="305" y="0"/>
              </a:cxn>
              <a:cxn ang="0">
                <a:pos x="305" y="0"/>
              </a:cxn>
              <a:cxn ang="0">
                <a:pos x="305" y="124"/>
              </a:cxn>
              <a:cxn ang="0">
                <a:pos x="1781" y="124"/>
              </a:cxn>
              <a:cxn ang="0">
                <a:pos x="1505" y="428"/>
              </a:cxn>
              <a:cxn ang="0">
                <a:pos x="305" y="428"/>
              </a:cxn>
              <a:cxn ang="0">
                <a:pos x="305" y="556"/>
              </a:cxn>
              <a:cxn ang="0">
                <a:pos x="0" y="278"/>
              </a:cxn>
              <a:cxn ang="0">
                <a:pos x="299" y="3"/>
              </a:cxn>
              <a:cxn ang="0">
                <a:pos x="305" y="0"/>
              </a:cxn>
            </a:cxnLst>
            <a:rect l="0" t="0" r="r" b="b"/>
            <a:pathLst>
              <a:path w="1781" h="556">
                <a:moveTo>
                  <a:pt x="305" y="0"/>
                </a:moveTo>
                <a:lnTo>
                  <a:pt x="305" y="0"/>
                </a:lnTo>
                <a:lnTo>
                  <a:pt x="305" y="0"/>
                </a:lnTo>
                <a:lnTo>
                  <a:pt x="305" y="124"/>
                </a:lnTo>
                <a:lnTo>
                  <a:pt x="1781" y="124"/>
                </a:lnTo>
                <a:lnTo>
                  <a:pt x="1505" y="428"/>
                </a:lnTo>
                <a:lnTo>
                  <a:pt x="305" y="428"/>
                </a:lnTo>
                <a:lnTo>
                  <a:pt x="305" y="556"/>
                </a:lnTo>
                <a:lnTo>
                  <a:pt x="0" y="278"/>
                </a:lnTo>
                <a:lnTo>
                  <a:pt x="299" y="3"/>
                </a:lnTo>
                <a:lnTo>
                  <a:pt x="305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40" name="Rectangle 12"/>
          <p:cNvSpPr>
            <a:spLocks noChangeArrowheads="1"/>
          </p:cNvSpPr>
          <p:nvPr/>
        </p:nvSpPr>
        <p:spPr bwMode="gray">
          <a:xfrm flipH="1">
            <a:off x="1749414" y="2181206"/>
            <a:ext cx="2345687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2542" name="Freeform 14"/>
          <p:cNvSpPr>
            <a:spLocks/>
          </p:cNvSpPr>
          <p:nvPr/>
        </p:nvSpPr>
        <p:spPr bwMode="gray">
          <a:xfrm flipH="1">
            <a:off x="3964881" y="2357689"/>
            <a:ext cx="1168560" cy="3334338"/>
          </a:xfrm>
          <a:custGeom>
            <a:avLst/>
            <a:gdLst/>
            <a:ahLst/>
            <a:cxnLst>
              <a:cxn ang="0">
                <a:pos x="0" y="1476"/>
              </a:cxn>
              <a:cxn ang="0">
                <a:pos x="0" y="1476"/>
              </a:cxn>
              <a:cxn ang="0">
                <a:pos x="0" y="1476"/>
              </a:cxn>
              <a:cxn ang="0">
                <a:pos x="127" y="1476"/>
              </a:cxn>
              <a:cxn ang="0">
                <a:pos x="127" y="0"/>
              </a:cxn>
              <a:cxn ang="0">
                <a:pos x="430" y="276"/>
              </a:cxn>
              <a:cxn ang="0">
                <a:pos x="430" y="1476"/>
              </a:cxn>
              <a:cxn ang="0">
                <a:pos x="559" y="1476"/>
              </a:cxn>
              <a:cxn ang="0">
                <a:pos x="280" y="1781"/>
              </a:cxn>
              <a:cxn ang="0">
                <a:pos x="6" y="1481"/>
              </a:cxn>
              <a:cxn ang="0">
                <a:pos x="0" y="1476"/>
              </a:cxn>
            </a:cxnLst>
            <a:rect l="0" t="0" r="r" b="b"/>
            <a:pathLst>
              <a:path w="559" h="1781">
                <a:moveTo>
                  <a:pt x="0" y="1476"/>
                </a:moveTo>
                <a:lnTo>
                  <a:pt x="0" y="1476"/>
                </a:lnTo>
                <a:lnTo>
                  <a:pt x="0" y="1476"/>
                </a:lnTo>
                <a:lnTo>
                  <a:pt x="127" y="1476"/>
                </a:lnTo>
                <a:lnTo>
                  <a:pt x="127" y="0"/>
                </a:lnTo>
                <a:lnTo>
                  <a:pt x="430" y="276"/>
                </a:lnTo>
                <a:lnTo>
                  <a:pt x="430" y="1476"/>
                </a:lnTo>
                <a:lnTo>
                  <a:pt x="559" y="1476"/>
                </a:lnTo>
                <a:lnTo>
                  <a:pt x="280" y="1781"/>
                </a:lnTo>
                <a:lnTo>
                  <a:pt x="6" y="1481"/>
                </a:lnTo>
                <a:lnTo>
                  <a:pt x="0" y="1476"/>
                </a:ln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43" name="Rectangle 15"/>
          <p:cNvSpPr>
            <a:spLocks noChangeArrowheads="1"/>
          </p:cNvSpPr>
          <p:nvPr/>
        </p:nvSpPr>
        <p:spPr bwMode="gray">
          <a:xfrm rot="5400000" flipH="1">
            <a:off x="3486833" y="3889497"/>
            <a:ext cx="2097240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no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2544" name="Rectangle 16"/>
          <p:cNvSpPr>
            <a:spLocks noChangeArrowheads="1"/>
          </p:cNvSpPr>
          <p:nvPr/>
        </p:nvSpPr>
        <p:spPr bwMode="gray">
          <a:xfrm>
            <a:off x="6601852" y="2707229"/>
            <a:ext cx="2616409" cy="233712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77712" tIns="77712" rIns="77712" bIns="77712" anchor="ctr">
            <a:noAutofit/>
          </a:bodyPr>
          <a:lstStyle/>
          <a:p>
            <a:pPr algn="ctr" defTabSz="1031460">
              <a:spcBef>
                <a:spcPct val="5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46" name="Freeform 18"/>
          <p:cNvSpPr>
            <a:spLocks/>
          </p:cNvSpPr>
          <p:nvPr/>
        </p:nvSpPr>
        <p:spPr bwMode="gray">
          <a:xfrm flipH="1">
            <a:off x="5880497" y="4941544"/>
            <a:ext cx="3731854" cy="1041766"/>
          </a:xfrm>
          <a:custGeom>
            <a:avLst/>
            <a:gdLst/>
            <a:ahLst/>
            <a:cxnLst>
              <a:cxn ang="0">
                <a:pos x="1474" y="556"/>
              </a:cxn>
              <a:cxn ang="0">
                <a:pos x="1474" y="556"/>
              </a:cxn>
              <a:cxn ang="0">
                <a:pos x="1474" y="556"/>
              </a:cxn>
              <a:cxn ang="0">
                <a:pos x="1474" y="432"/>
              </a:cxn>
              <a:cxn ang="0">
                <a:pos x="0" y="432"/>
              </a:cxn>
              <a:cxn ang="0">
                <a:pos x="274" y="128"/>
              </a:cxn>
              <a:cxn ang="0">
                <a:pos x="1474" y="128"/>
              </a:cxn>
              <a:cxn ang="0">
                <a:pos x="1474" y="0"/>
              </a:cxn>
              <a:cxn ang="0">
                <a:pos x="1779" y="278"/>
              </a:cxn>
              <a:cxn ang="0">
                <a:pos x="1479" y="553"/>
              </a:cxn>
              <a:cxn ang="0">
                <a:pos x="1474" y="556"/>
              </a:cxn>
            </a:cxnLst>
            <a:rect l="0" t="0" r="r" b="b"/>
            <a:pathLst>
              <a:path w="1779" h="556">
                <a:moveTo>
                  <a:pt x="1474" y="556"/>
                </a:moveTo>
                <a:lnTo>
                  <a:pt x="1474" y="556"/>
                </a:lnTo>
                <a:lnTo>
                  <a:pt x="1474" y="556"/>
                </a:lnTo>
                <a:lnTo>
                  <a:pt x="1474" y="432"/>
                </a:lnTo>
                <a:lnTo>
                  <a:pt x="0" y="432"/>
                </a:lnTo>
                <a:lnTo>
                  <a:pt x="274" y="128"/>
                </a:lnTo>
                <a:lnTo>
                  <a:pt x="1474" y="128"/>
                </a:lnTo>
                <a:lnTo>
                  <a:pt x="1474" y="0"/>
                </a:lnTo>
                <a:lnTo>
                  <a:pt x="1779" y="278"/>
                </a:lnTo>
                <a:lnTo>
                  <a:pt x="1479" y="553"/>
                </a:lnTo>
                <a:lnTo>
                  <a:pt x="1474" y="556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47" name="Rectangle 19"/>
          <p:cNvSpPr>
            <a:spLocks noChangeArrowheads="1"/>
          </p:cNvSpPr>
          <p:nvPr/>
        </p:nvSpPr>
        <p:spPr bwMode="gray">
          <a:xfrm flipH="1">
            <a:off x="6583004" y="5354218"/>
            <a:ext cx="234740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49" name="Freeform 21"/>
          <p:cNvSpPr>
            <a:spLocks/>
          </p:cNvSpPr>
          <p:nvPr/>
        </p:nvSpPr>
        <p:spPr bwMode="gray">
          <a:xfrm flipH="1">
            <a:off x="5558372" y="2056125"/>
            <a:ext cx="1165133" cy="3336052"/>
          </a:xfrm>
          <a:custGeom>
            <a:avLst/>
            <a:gdLst/>
            <a:ahLst/>
            <a:cxnLst>
              <a:cxn ang="0">
                <a:pos x="556" y="305"/>
              </a:cxn>
              <a:cxn ang="0">
                <a:pos x="556" y="305"/>
              </a:cxn>
              <a:cxn ang="0">
                <a:pos x="556" y="305"/>
              </a:cxn>
              <a:cxn ang="0">
                <a:pos x="432" y="305"/>
              </a:cxn>
              <a:cxn ang="0">
                <a:pos x="432" y="1781"/>
              </a:cxn>
              <a:cxn ang="0">
                <a:pos x="128" y="1505"/>
              </a:cxn>
              <a:cxn ang="0">
                <a:pos x="128" y="305"/>
              </a:cxn>
              <a:cxn ang="0">
                <a:pos x="0" y="305"/>
              </a:cxn>
              <a:cxn ang="0">
                <a:pos x="278" y="0"/>
              </a:cxn>
              <a:cxn ang="0">
                <a:pos x="553" y="300"/>
              </a:cxn>
              <a:cxn ang="0">
                <a:pos x="556" y="305"/>
              </a:cxn>
            </a:cxnLst>
            <a:rect l="0" t="0" r="r" b="b"/>
            <a:pathLst>
              <a:path w="556" h="1781">
                <a:moveTo>
                  <a:pt x="556" y="305"/>
                </a:moveTo>
                <a:lnTo>
                  <a:pt x="556" y="305"/>
                </a:lnTo>
                <a:lnTo>
                  <a:pt x="556" y="305"/>
                </a:lnTo>
                <a:lnTo>
                  <a:pt x="432" y="305"/>
                </a:lnTo>
                <a:lnTo>
                  <a:pt x="432" y="1781"/>
                </a:lnTo>
                <a:lnTo>
                  <a:pt x="128" y="1505"/>
                </a:lnTo>
                <a:lnTo>
                  <a:pt x="128" y="305"/>
                </a:lnTo>
                <a:lnTo>
                  <a:pt x="0" y="305"/>
                </a:lnTo>
                <a:lnTo>
                  <a:pt x="278" y="0"/>
                </a:lnTo>
                <a:lnTo>
                  <a:pt x="553" y="300"/>
                </a:lnTo>
                <a:lnTo>
                  <a:pt x="556" y="305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50" name="Rectangle 22"/>
          <p:cNvSpPr>
            <a:spLocks noChangeArrowheads="1"/>
          </p:cNvSpPr>
          <p:nvPr/>
        </p:nvSpPr>
        <p:spPr bwMode="gray">
          <a:xfrm rot="5400000" flipH="1">
            <a:off x="5100885" y="3664775"/>
            <a:ext cx="209724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52" name="Freeform 24"/>
          <p:cNvSpPr>
            <a:spLocks/>
          </p:cNvSpPr>
          <p:nvPr/>
        </p:nvSpPr>
        <p:spPr bwMode="gray">
          <a:xfrm flipH="1">
            <a:off x="6218043" y="1768269"/>
            <a:ext cx="3733567" cy="1041766"/>
          </a:xfrm>
          <a:custGeom>
            <a:avLst/>
            <a:gdLst/>
            <a:ahLst/>
            <a:cxnLst>
              <a:cxn ang="0">
                <a:pos x="305" y="0"/>
              </a:cxn>
              <a:cxn ang="0">
                <a:pos x="305" y="0"/>
              </a:cxn>
              <a:cxn ang="0">
                <a:pos x="305" y="0"/>
              </a:cxn>
              <a:cxn ang="0">
                <a:pos x="305" y="124"/>
              </a:cxn>
              <a:cxn ang="0">
                <a:pos x="1781" y="124"/>
              </a:cxn>
              <a:cxn ang="0">
                <a:pos x="1505" y="428"/>
              </a:cxn>
              <a:cxn ang="0">
                <a:pos x="305" y="428"/>
              </a:cxn>
              <a:cxn ang="0">
                <a:pos x="305" y="556"/>
              </a:cxn>
              <a:cxn ang="0">
                <a:pos x="0" y="278"/>
              </a:cxn>
              <a:cxn ang="0">
                <a:pos x="299" y="3"/>
              </a:cxn>
              <a:cxn ang="0">
                <a:pos x="305" y="0"/>
              </a:cxn>
            </a:cxnLst>
            <a:rect l="0" t="0" r="r" b="b"/>
            <a:pathLst>
              <a:path w="1781" h="556">
                <a:moveTo>
                  <a:pt x="305" y="0"/>
                </a:moveTo>
                <a:lnTo>
                  <a:pt x="305" y="0"/>
                </a:lnTo>
                <a:lnTo>
                  <a:pt x="305" y="0"/>
                </a:lnTo>
                <a:lnTo>
                  <a:pt x="305" y="124"/>
                </a:lnTo>
                <a:lnTo>
                  <a:pt x="1781" y="124"/>
                </a:lnTo>
                <a:lnTo>
                  <a:pt x="1505" y="428"/>
                </a:lnTo>
                <a:lnTo>
                  <a:pt x="305" y="428"/>
                </a:lnTo>
                <a:lnTo>
                  <a:pt x="305" y="556"/>
                </a:lnTo>
                <a:lnTo>
                  <a:pt x="0" y="278"/>
                </a:lnTo>
                <a:lnTo>
                  <a:pt x="299" y="3"/>
                </a:lnTo>
                <a:lnTo>
                  <a:pt x="305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53" name="Rectangle 25"/>
          <p:cNvSpPr>
            <a:spLocks noChangeArrowheads="1"/>
          </p:cNvSpPr>
          <p:nvPr/>
        </p:nvSpPr>
        <p:spPr bwMode="gray">
          <a:xfrm flipH="1">
            <a:off x="6882855" y="2196364"/>
            <a:ext cx="2345687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2555" name="Freeform 27"/>
          <p:cNvSpPr>
            <a:spLocks/>
          </p:cNvSpPr>
          <p:nvPr/>
        </p:nvSpPr>
        <p:spPr bwMode="gray">
          <a:xfrm flipH="1">
            <a:off x="9098322" y="2357689"/>
            <a:ext cx="1168560" cy="3334338"/>
          </a:xfrm>
          <a:custGeom>
            <a:avLst/>
            <a:gdLst/>
            <a:ahLst/>
            <a:cxnLst>
              <a:cxn ang="0">
                <a:pos x="0" y="1476"/>
              </a:cxn>
              <a:cxn ang="0">
                <a:pos x="0" y="1476"/>
              </a:cxn>
              <a:cxn ang="0">
                <a:pos x="0" y="1476"/>
              </a:cxn>
              <a:cxn ang="0">
                <a:pos x="127" y="1476"/>
              </a:cxn>
              <a:cxn ang="0">
                <a:pos x="127" y="0"/>
              </a:cxn>
              <a:cxn ang="0">
                <a:pos x="430" y="276"/>
              </a:cxn>
              <a:cxn ang="0">
                <a:pos x="430" y="1476"/>
              </a:cxn>
              <a:cxn ang="0">
                <a:pos x="559" y="1476"/>
              </a:cxn>
              <a:cxn ang="0">
                <a:pos x="280" y="1781"/>
              </a:cxn>
              <a:cxn ang="0">
                <a:pos x="6" y="1481"/>
              </a:cxn>
              <a:cxn ang="0">
                <a:pos x="0" y="1476"/>
              </a:cxn>
            </a:cxnLst>
            <a:rect l="0" t="0" r="r" b="b"/>
            <a:pathLst>
              <a:path w="559" h="1781">
                <a:moveTo>
                  <a:pt x="0" y="1476"/>
                </a:moveTo>
                <a:lnTo>
                  <a:pt x="0" y="1476"/>
                </a:lnTo>
                <a:lnTo>
                  <a:pt x="0" y="1476"/>
                </a:lnTo>
                <a:lnTo>
                  <a:pt x="127" y="1476"/>
                </a:lnTo>
                <a:lnTo>
                  <a:pt x="127" y="0"/>
                </a:lnTo>
                <a:lnTo>
                  <a:pt x="430" y="276"/>
                </a:lnTo>
                <a:lnTo>
                  <a:pt x="430" y="1476"/>
                </a:lnTo>
                <a:lnTo>
                  <a:pt x="559" y="1476"/>
                </a:lnTo>
                <a:lnTo>
                  <a:pt x="280" y="1781"/>
                </a:lnTo>
                <a:lnTo>
                  <a:pt x="6" y="1481"/>
                </a:lnTo>
                <a:lnTo>
                  <a:pt x="0" y="1476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62556" name="Rectangle 28"/>
          <p:cNvSpPr>
            <a:spLocks noChangeArrowheads="1"/>
          </p:cNvSpPr>
          <p:nvPr/>
        </p:nvSpPr>
        <p:spPr bwMode="gray">
          <a:xfrm rot="5400000" flipH="1">
            <a:off x="8621987" y="3904655"/>
            <a:ext cx="209724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37686344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627" name="Freeform 3"/>
          <p:cNvSpPr>
            <a:spLocks/>
          </p:cNvSpPr>
          <p:nvPr/>
        </p:nvSpPr>
        <p:spPr bwMode="gray">
          <a:xfrm>
            <a:off x="7179278" y="1600352"/>
            <a:ext cx="2331981" cy="2921401"/>
          </a:xfrm>
          <a:custGeom>
            <a:avLst/>
            <a:gdLst/>
            <a:ahLst/>
            <a:cxnLst>
              <a:cxn ang="0">
                <a:pos x="0" y="403"/>
              </a:cxn>
              <a:cxn ang="0">
                <a:pos x="824" y="1826"/>
              </a:cxn>
              <a:cxn ang="0">
                <a:pos x="551" y="1984"/>
              </a:cxn>
              <a:cxn ang="0">
                <a:pos x="1534" y="2250"/>
              </a:cxn>
              <a:cxn ang="0">
                <a:pos x="1795" y="1266"/>
              </a:cxn>
              <a:cxn ang="0">
                <a:pos x="1522" y="1423"/>
              </a:cxn>
              <a:cxn ang="0">
                <a:pos x="699" y="0"/>
              </a:cxn>
              <a:cxn ang="0">
                <a:pos x="0" y="403"/>
              </a:cxn>
            </a:cxnLst>
            <a:rect l="0" t="0" r="r" b="b"/>
            <a:pathLst>
              <a:path w="1795" h="2250">
                <a:moveTo>
                  <a:pt x="0" y="403"/>
                </a:moveTo>
                <a:lnTo>
                  <a:pt x="824" y="1826"/>
                </a:lnTo>
                <a:lnTo>
                  <a:pt x="551" y="1984"/>
                </a:lnTo>
                <a:lnTo>
                  <a:pt x="1534" y="2250"/>
                </a:lnTo>
                <a:lnTo>
                  <a:pt x="1795" y="1266"/>
                </a:lnTo>
                <a:lnTo>
                  <a:pt x="1522" y="1423"/>
                </a:lnTo>
                <a:lnTo>
                  <a:pt x="699" y="0"/>
                </a:lnTo>
                <a:lnTo>
                  <a:pt x="0" y="403"/>
                </a:lnTo>
                <a:close/>
              </a:path>
            </a:pathLst>
          </a:custGeom>
          <a:solidFill>
            <a:schemeClr val="accent6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28" name="Rectangle 4"/>
          <p:cNvSpPr>
            <a:spLocks noChangeArrowheads="1"/>
          </p:cNvSpPr>
          <p:nvPr/>
        </p:nvSpPr>
        <p:spPr bwMode="gray">
          <a:xfrm>
            <a:off x="8222758" y="3737265"/>
            <a:ext cx="1151426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2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Seta 7</a:t>
            </a:r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6631" name="Freeform 7"/>
          <p:cNvSpPr>
            <a:spLocks/>
          </p:cNvSpPr>
          <p:nvPr/>
        </p:nvSpPr>
        <p:spPr bwMode="gray">
          <a:xfrm>
            <a:off x="2097240" y="1600352"/>
            <a:ext cx="2331981" cy="2921401"/>
          </a:xfrm>
          <a:custGeom>
            <a:avLst/>
            <a:gdLst/>
            <a:ahLst/>
            <a:cxnLst>
              <a:cxn ang="0">
                <a:pos x="0" y="403"/>
              </a:cxn>
              <a:cxn ang="0">
                <a:pos x="824" y="1826"/>
              </a:cxn>
              <a:cxn ang="0">
                <a:pos x="551" y="1984"/>
              </a:cxn>
              <a:cxn ang="0">
                <a:pos x="1534" y="2250"/>
              </a:cxn>
              <a:cxn ang="0">
                <a:pos x="1795" y="1266"/>
              </a:cxn>
              <a:cxn ang="0">
                <a:pos x="1522" y="1423"/>
              </a:cxn>
              <a:cxn ang="0">
                <a:pos x="699" y="0"/>
              </a:cxn>
              <a:cxn ang="0">
                <a:pos x="0" y="403"/>
              </a:cxn>
            </a:cxnLst>
            <a:rect l="0" t="0" r="r" b="b"/>
            <a:pathLst>
              <a:path w="1795" h="2250">
                <a:moveTo>
                  <a:pt x="0" y="403"/>
                </a:moveTo>
                <a:lnTo>
                  <a:pt x="824" y="1826"/>
                </a:lnTo>
                <a:lnTo>
                  <a:pt x="551" y="1984"/>
                </a:lnTo>
                <a:lnTo>
                  <a:pt x="1534" y="2250"/>
                </a:lnTo>
                <a:lnTo>
                  <a:pt x="1795" y="1266"/>
                </a:lnTo>
                <a:lnTo>
                  <a:pt x="1522" y="1423"/>
                </a:lnTo>
                <a:lnTo>
                  <a:pt x="699" y="0"/>
                </a:lnTo>
                <a:lnTo>
                  <a:pt x="0" y="403"/>
                </a:ln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32" name="Rectangle 8"/>
          <p:cNvSpPr>
            <a:spLocks noChangeArrowheads="1"/>
          </p:cNvSpPr>
          <p:nvPr/>
        </p:nvSpPr>
        <p:spPr bwMode="gray">
          <a:xfrm>
            <a:off x="3140720" y="3737265"/>
            <a:ext cx="1151426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>
                <a:solidFill>
                  <a:schemeClr val="bg1"/>
                </a:solidFill>
              </a:rPr>
              <a:t>Texto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666634" name="Freeform 10"/>
          <p:cNvSpPr>
            <a:spLocks/>
          </p:cNvSpPr>
          <p:nvPr/>
        </p:nvSpPr>
        <p:spPr bwMode="gray">
          <a:xfrm>
            <a:off x="2158924" y="3168143"/>
            <a:ext cx="2921401" cy="2331980"/>
          </a:xfrm>
          <a:custGeom>
            <a:avLst/>
            <a:gdLst/>
            <a:ahLst/>
            <a:cxnLst>
              <a:cxn ang="0">
                <a:pos x="2250" y="699"/>
              </a:cxn>
              <a:cxn ang="0">
                <a:pos x="827" y="1522"/>
              </a:cxn>
              <a:cxn ang="0">
                <a:pos x="984" y="1795"/>
              </a:cxn>
              <a:cxn ang="0">
                <a:pos x="0" y="1534"/>
              </a:cxn>
              <a:cxn ang="0">
                <a:pos x="266" y="551"/>
              </a:cxn>
              <a:cxn ang="0">
                <a:pos x="424" y="824"/>
              </a:cxn>
              <a:cxn ang="0">
                <a:pos x="504" y="776"/>
              </a:cxn>
              <a:cxn ang="0">
                <a:pos x="1487" y="1042"/>
              </a:cxn>
              <a:cxn ang="0">
                <a:pos x="1748" y="58"/>
              </a:cxn>
              <a:cxn ang="0">
                <a:pos x="1847" y="0"/>
              </a:cxn>
              <a:cxn ang="0">
                <a:pos x="2250" y="699"/>
              </a:cxn>
            </a:cxnLst>
            <a:rect l="0" t="0" r="r" b="b"/>
            <a:pathLst>
              <a:path w="2250" h="1795">
                <a:moveTo>
                  <a:pt x="2250" y="699"/>
                </a:moveTo>
                <a:lnTo>
                  <a:pt x="827" y="1522"/>
                </a:lnTo>
                <a:lnTo>
                  <a:pt x="984" y="1795"/>
                </a:lnTo>
                <a:lnTo>
                  <a:pt x="0" y="1534"/>
                </a:lnTo>
                <a:lnTo>
                  <a:pt x="266" y="551"/>
                </a:lnTo>
                <a:lnTo>
                  <a:pt x="424" y="824"/>
                </a:lnTo>
                <a:lnTo>
                  <a:pt x="504" y="776"/>
                </a:lnTo>
                <a:lnTo>
                  <a:pt x="1487" y="1042"/>
                </a:lnTo>
                <a:lnTo>
                  <a:pt x="1748" y="58"/>
                </a:lnTo>
                <a:lnTo>
                  <a:pt x="1847" y="0"/>
                </a:lnTo>
                <a:lnTo>
                  <a:pt x="2250" y="699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35" name="Rectangle 11"/>
          <p:cNvSpPr>
            <a:spLocks noChangeArrowheads="1"/>
          </p:cNvSpPr>
          <p:nvPr/>
        </p:nvSpPr>
        <p:spPr bwMode="gray">
          <a:xfrm>
            <a:off x="2189766" y="4761897"/>
            <a:ext cx="1149713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  <a:buClr>
                <a:schemeClr val="bg1"/>
              </a:buClr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37" name="Freeform 13"/>
          <p:cNvSpPr>
            <a:spLocks noEditPoints="1"/>
          </p:cNvSpPr>
          <p:nvPr/>
        </p:nvSpPr>
        <p:spPr bwMode="gray">
          <a:xfrm>
            <a:off x="1180555" y="3229827"/>
            <a:ext cx="2331980" cy="2921400"/>
          </a:xfrm>
          <a:custGeom>
            <a:avLst/>
            <a:gdLst/>
            <a:ahLst/>
            <a:cxnLst>
              <a:cxn ang="0">
                <a:pos x="1096" y="2250"/>
              </a:cxn>
              <a:cxn ang="0">
                <a:pos x="273" y="827"/>
              </a:cxn>
              <a:cxn ang="0">
                <a:pos x="0" y="984"/>
              </a:cxn>
              <a:cxn ang="0">
                <a:pos x="261" y="0"/>
              </a:cxn>
              <a:cxn ang="0">
                <a:pos x="1244" y="266"/>
              </a:cxn>
              <a:cxn ang="0">
                <a:pos x="971" y="424"/>
              </a:cxn>
              <a:cxn ang="0">
                <a:pos x="1019" y="504"/>
              </a:cxn>
              <a:cxn ang="0">
                <a:pos x="1177" y="777"/>
              </a:cxn>
              <a:cxn ang="0">
                <a:pos x="1177" y="777"/>
              </a:cxn>
              <a:cxn ang="0">
                <a:pos x="1019" y="504"/>
              </a:cxn>
              <a:cxn ang="0">
                <a:pos x="753" y="1487"/>
              </a:cxn>
              <a:cxn ang="0">
                <a:pos x="1737" y="1748"/>
              </a:cxn>
              <a:cxn ang="0">
                <a:pos x="1795" y="1847"/>
              </a:cxn>
              <a:cxn ang="0">
                <a:pos x="1096" y="2250"/>
              </a:cxn>
              <a:cxn ang="0">
                <a:pos x="1580" y="1475"/>
              </a:cxn>
              <a:cxn ang="0">
                <a:pos x="1737" y="1748"/>
              </a:cxn>
              <a:cxn ang="0">
                <a:pos x="1580" y="1475"/>
              </a:cxn>
              <a:cxn ang="0">
                <a:pos x="1580" y="1475"/>
              </a:cxn>
            </a:cxnLst>
            <a:rect l="0" t="0" r="r" b="b"/>
            <a:pathLst>
              <a:path w="1795" h="2250">
                <a:moveTo>
                  <a:pt x="1096" y="2250"/>
                </a:moveTo>
                <a:lnTo>
                  <a:pt x="273" y="827"/>
                </a:lnTo>
                <a:lnTo>
                  <a:pt x="0" y="984"/>
                </a:lnTo>
                <a:lnTo>
                  <a:pt x="261" y="0"/>
                </a:lnTo>
                <a:lnTo>
                  <a:pt x="1244" y="266"/>
                </a:lnTo>
                <a:lnTo>
                  <a:pt x="971" y="424"/>
                </a:lnTo>
                <a:lnTo>
                  <a:pt x="1019" y="504"/>
                </a:lnTo>
                <a:lnTo>
                  <a:pt x="1177" y="777"/>
                </a:lnTo>
                <a:lnTo>
                  <a:pt x="1177" y="777"/>
                </a:lnTo>
                <a:lnTo>
                  <a:pt x="1019" y="504"/>
                </a:lnTo>
                <a:lnTo>
                  <a:pt x="753" y="1487"/>
                </a:lnTo>
                <a:lnTo>
                  <a:pt x="1737" y="1748"/>
                </a:lnTo>
                <a:lnTo>
                  <a:pt x="1795" y="1847"/>
                </a:lnTo>
                <a:lnTo>
                  <a:pt x="1096" y="2250"/>
                </a:lnTo>
                <a:close/>
                <a:moveTo>
                  <a:pt x="1580" y="1475"/>
                </a:moveTo>
                <a:lnTo>
                  <a:pt x="1737" y="1748"/>
                </a:lnTo>
                <a:lnTo>
                  <a:pt x="1580" y="1475"/>
                </a:lnTo>
                <a:lnTo>
                  <a:pt x="1580" y="1475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38" name="Rectangle 14"/>
          <p:cNvSpPr>
            <a:spLocks noChangeArrowheads="1"/>
          </p:cNvSpPr>
          <p:nvPr/>
        </p:nvSpPr>
        <p:spPr bwMode="gray">
          <a:xfrm>
            <a:off x="1346757" y="3697857"/>
            <a:ext cx="114971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  <a:buClr>
                <a:schemeClr val="bg1"/>
              </a:buClr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40" name="Freeform 16"/>
          <p:cNvSpPr>
            <a:spLocks/>
          </p:cNvSpPr>
          <p:nvPr/>
        </p:nvSpPr>
        <p:spPr bwMode="gray">
          <a:xfrm>
            <a:off x="5611489" y="2251456"/>
            <a:ext cx="2921400" cy="2331981"/>
          </a:xfrm>
          <a:custGeom>
            <a:avLst/>
            <a:gdLst/>
            <a:ahLst/>
            <a:cxnLst>
              <a:cxn ang="0">
                <a:pos x="0" y="1096"/>
              </a:cxn>
              <a:cxn ang="0">
                <a:pos x="1423" y="273"/>
              </a:cxn>
              <a:cxn ang="0">
                <a:pos x="1266" y="0"/>
              </a:cxn>
              <a:cxn ang="0">
                <a:pos x="2250" y="261"/>
              </a:cxn>
              <a:cxn ang="0">
                <a:pos x="1984" y="1244"/>
              </a:cxn>
              <a:cxn ang="0">
                <a:pos x="1826" y="971"/>
              </a:cxn>
              <a:cxn ang="0">
                <a:pos x="1473" y="1177"/>
              </a:cxn>
              <a:cxn ang="0">
                <a:pos x="1746" y="1019"/>
              </a:cxn>
              <a:cxn ang="0">
                <a:pos x="763" y="753"/>
              </a:cxn>
              <a:cxn ang="0">
                <a:pos x="502" y="1737"/>
              </a:cxn>
              <a:cxn ang="0">
                <a:pos x="775" y="1580"/>
              </a:cxn>
              <a:cxn ang="0">
                <a:pos x="775" y="1580"/>
              </a:cxn>
              <a:cxn ang="0">
                <a:pos x="403" y="1795"/>
              </a:cxn>
              <a:cxn ang="0">
                <a:pos x="0" y="1096"/>
              </a:cxn>
            </a:cxnLst>
            <a:rect l="0" t="0" r="r" b="b"/>
            <a:pathLst>
              <a:path w="2250" h="1795">
                <a:moveTo>
                  <a:pt x="0" y="1096"/>
                </a:moveTo>
                <a:lnTo>
                  <a:pt x="1423" y="273"/>
                </a:lnTo>
                <a:lnTo>
                  <a:pt x="1266" y="0"/>
                </a:lnTo>
                <a:lnTo>
                  <a:pt x="2250" y="261"/>
                </a:lnTo>
                <a:lnTo>
                  <a:pt x="1984" y="1244"/>
                </a:lnTo>
                <a:lnTo>
                  <a:pt x="1826" y="971"/>
                </a:lnTo>
                <a:lnTo>
                  <a:pt x="1473" y="1177"/>
                </a:lnTo>
                <a:lnTo>
                  <a:pt x="1746" y="1019"/>
                </a:lnTo>
                <a:lnTo>
                  <a:pt x="763" y="753"/>
                </a:lnTo>
                <a:lnTo>
                  <a:pt x="502" y="1737"/>
                </a:lnTo>
                <a:lnTo>
                  <a:pt x="775" y="1580"/>
                </a:lnTo>
                <a:lnTo>
                  <a:pt x="775" y="1580"/>
                </a:lnTo>
                <a:lnTo>
                  <a:pt x="403" y="1795"/>
                </a:lnTo>
                <a:lnTo>
                  <a:pt x="0" y="1096"/>
                </a:lnTo>
                <a:close/>
              </a:path>
            </a:pathLst>
          </a:custGeom>
          <a:solidFill>
            <a:schemeClr val="accent6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41" name="Rectangle 17"/>
          <p:cNvSpPr>
            <a:spLocks noChangeArrowheads="1"/>
          </p:cNvSpPr>
          <p:nvPr/>
        </p:nvSpPr>
        <p:spPr bwMode="gray">
          <a:xfrm>
            <a:off x="7124448" y="2878836"/>
            <a:ext cx="1153139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43" name="Freeform 19"/>
          <p:cNvSpPr>
            <a:spLocks/>
          </p:cNvSpPr>
          <p:nvPr/>
        </p:nvSpPr>
        <p:spPr bwMode="gray">
          <a:xfrm>
            <a:off x="7240961" y="3168143"/>
            <a:ext cx="2921401" cy="2331980"/>
          </a:xfrm>
          <a:custGeom>
            <a:avLst/>
            <a:gdLst/>
            <a:ahLst/>
            <a:cxnLst>
              <a:cxn ang="0">
                <a:pos x="2250" y="699"/>
              </a:cxn>
              <a:cxn ang="0">
                <a:pos x="827" y="1522"/>
              </a:cxn>
              <a:cxn ang="0">
                <a:pos x="984" y="1795"/>
              </a:cxn>
              <a:cxn ang="0">
                <a:pos x="0" y="1534"/>
              </a:cxn>
              <a:cxn ang="0">
                <a:pos x="266" y="551"/>
              </a:cxn>
              <a:cxn ang="0">
                <a:pos x="424" y="824"/>
              </a:cxn>
              <a:cxn ang="0">
                <a:pos x="504" y="776"/>
              </a:cxn>
              <a:cxn ang="0">
                <a:pos x="1487" y="1042"/>
              </a:cxn>
              <a:cxn ang="0">
                <a:pos x="1748" y="58"/>
              </a:cxn>
              <a:cxn ang="0">
                <a:pos x="1847" y="0"/>
              </a:cxn>
              <a:cxn ang="0">
                <a:pos x="2250" y="699"/>
              </a:cxn>
            </a:cxnLst>
            <a:rect l="0" t="0" r="r" b="b"/>
            <a:pathLst>
              <a:path w="2250" h="1795">
                <a:moveTo>
                  <a:pt x="2250" y="699"/>
                </a:moveTo>
                <a:lnTo>
                  <a:pt x="827" y="1522"/>
                </a:lnTo>
                <a:lnTo>
                  <a:pt x="984" y="1795"/>
                </a:lnTo>
                <a:lnTo>
                  <a:pt x="0" y="1534"/>
                </a:lnTo>
                <a:lnTo>
                  <a:pt x="266" y="551"/>
                </a:lnTo>
                <a:lnTo>
                  <a:pt x="424" y="824"/>
                </a:lnTo>
                <a:lnTo>
                  <a:pt x="504" y="776"/>
                </a:lnTo>
                <a:lnTo>
                  <a:pt x="1487" y="1042"/>
                </a:lnTo>
                <a:lnTo>
                  <a:pt x="1748" y="58"/>
                </a:lnTo>
                <a:lnTo>
                  <a:pt x="1847" y="0"/>
                </a:lnTo>
                <a:lnTo>
                  <a:pt x="2250" y="699"/>
                </a:lnTo>
                <a:close/>
              </a:path>
            </a:pathLst>
          </a:custGeom>
          <a:solidFill>
            <a:schemeClr val="accent6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44" name="Rectangle 20"/>
          <p:cNvSpPr>
            <a:spLocks noChangeArrowheads="1"/>
          </p:cNvSpPr>
          <p:nvPr/>
        </p:nvSpPr>
        <p:spPr bwMode="gray">
          <a:xfrm>
            <a:off x="7271804" y="4761897"/>
            <a:ext cx="1149713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46" name="Freeform 22"/>
          <p:cNvSpPr>
            <a:spLocks noEditPoints="1"/>
          </p:cNvSpPr>
          <p:nvPr/>
        </p:nvSpPr>
        <p:spPr bwMode="gray">
          <a:xfrm>
            <a:off x="6262593" y="3229827"/>
            <a:ext cx="2331980" cy="2921400"/>
          </a:xfrm>
          <a:custGeom>
            <a:avLst/>
            <a:gdLst/>
            <a:ahLst/>
            <a:cxnLst>
              <a:cxn ang="0">
                <a:pos x="1096" y="2250"/>
              </a:cxn>
              <a:cxn ang="0">
                <a:pos x="273" y="827"/>
              </a:cxn>
              <a:cxn ang="0">
                <a:pos x="0" y="984"/>
              </a:cxn>
              <a:cxn ang="0">
                <a:pos x="261" y="0"/>
              </a:cxn>
              <a:cxn ang="0">
                <a:pos x="1244" y="266"/>
              </a:cxn>
              <a:cxn ang="0">
                <a:pos x="971" y="424"/>
              </a:cxn>
              <a:cxn ang="0">
                <a:pos x="1019" y="504"/>
              </a:cxn>
              <a:cxn ang="0">
                <a:pos x="1177" y="777"/>
              </a:cxn>
              <a:cxn ang="0">
                <a:pos x="1177" y="777"/>
              </a:cxn>
              <a:cxn ang="0">
                <a:pos x="1019" y="504"/>
              </a:cxn>
              <a:cxn ang="0">
                <a:pos x="753" y="1487"/>
              </a:cxn>
              <a:cxn ang="0">
                <a:pos x="1737" y="1748"/>
              </a:cxn>
              <a:cxn ang="0">
                <a:pos x="1795" y="1847"/>
              </a:cxn>
              <a:cxn ang="0">
                <a:pos x="1096" y="2250"/>
              </a:cxn>
              <a:cxn ang="0">
                <a:pos x="1580" y="1475"/>
              </a:cxn>
              <a:cxn ang="0">
                <a:pos x="1737" y="1748"/>
              </a:cxn>
              <a:cxn ang="0">
                <a:pos x="1580" y="1475"/>
              </a:cxn>
              <a:cxn ang="0">
                <a:pos x="1580" y="1475"/>
              </a:cxn>
            </a:cxnLst>
            <a:rect l="0" t="0" r="r" b="b"/>
            <a:pathLst>
              <a:path w="1795" h="2250">
                <a:moveTo>
                  <a:pt x="1096" y="2250"/>
                </a:moveTo>
                <a:lnTo>
                  <a:pt x="273" y="827"/>
                </a:lnTo>
                <a:lnTo>
                  <a:pt x="0" y="984"/>
                </a:lnTo>
                <a:lnTo>
                  <a:pt x="261" y="0"/>
                </a:lnTo>
                <a:lnTo>
                  <a:pt x="1244" y="266"/>
                </a:lnTo>
                <a:lnTo>
                  <a:pt x="971" y="424"/>
                </a:lnTo>
                <a:lnTo>
                  <a:pt x="1019" y="504"/>
                </a:lnTo>
                <a:lnTo>
                  <a:pt x="1177" y="777"/>
                </a:lnTo>
                <a:lnTo>
                  <a:pt x="1177" y="777"/>
                </a:lnTo>
                <a:lnTo>
                  <a:pt x="1019" y="504"/>
                </a:lnTo>
                <a:lnTo>
                  <a:pt x="753" y="1487"/>
                </a:lnTo>
                <a:lnTo>
                  <a:pt x="1737" y="1748"/>
                </a:lnTo>
                <a:lnTo>
                  <a:pt x="1795" y="1847"/>
                </a:lnTo>
                <a:lnTo>
                  <a:pt x="1096" y="2250"/>
                </a:lnTo>
                <a:close/>
                <a:moveTo>
                  <a:pt x="1580" y="1475"/>
                </a:moveTo>
                <a:lnTo>
                  <a:pt x="1737" y="1748"/>
                </a:lnTo>
                <a:lnTo>
                  <a:pt x="1580" y="1475"/>
                </a:lnTo>
                <a:lnTo>
                  <a:pt x="1580" y="1475"/>
                </a:lnTo>
                <a:close/>
              </a:path>
            </a:pathLst>
          </a:custGeom>
          <a:solidFill>
            <a:schemeClr val="accent6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47" name="Rectangle 23"/>
          <p:cNvSpPr>
            <a:spLocks noChangeArrowheads="1"/>
          </p:cNvSpPr>
          <p:nvPr/>
        </p:nvSpPr>
        <p:spPr bwMode="gray">
          <a:xfrm>
            <a:off x="6428795" y="3697857"/>
            <a:ext cx="114971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6649" name="Freeform 25"/>
          <p:cNvSpPr>
            <a:spLocks/>
          </p:cNvSpPr>
          <p:nvPr/>
        </p:nvSpPr>
        <p:spPr bwMode="gray">
          <a:xfrm>
            <a:off x="529451" y="2251456"/>
            <a:ext cx="2921400" cy="2331981"/>
          </a:xfrm>
          <a:custGeom>
            <a:avLst/>
            <a:gdLst/>
            <a:ahLst/>
            <a:cxnLst>
              <a:cxn ang="0">
                <a:pos x="0" y="1096"/>
              </a:cxn>
              <a:cxn ang="0">
                <a:pos x="1423" y="273"/>
              </a:cxn>
              <a:cxn ang="0">
                <a:pos x="1266" y="0"/>
              </a:cxn>
              <a:cxn ang="0">
                <a:pos x="2250" y="261"/>
              </a:cxn>
              <a:cxn ang="0">
                <a:pos x="1984" y="1244"/>
              </a:cxn>
              <a:cxn ang="0">
                <a:pos x="1826" y="971"/>
              </a:cxn>
              <a:cxn ang="0">
                <a:pos x="1473" y="1177"/>
              </a:cxn>
              <a:cxn ang="0">
                <a:pos x="1746" y="1019"/>
              </a:cxn>
              <a:cxn ang="0">
                <a:pos x="763" y="753"/>
              </a:cxn>
              <a:cxn ang="0">
                <a:pos x="502" y="1737"/>
              </a:cxn>
              <a:cxn ang="0">
                <a:pos x="775" y="1580"/>
              </a:cxn>
              <a:cxn ang="0">
                <a:pos x="775" y="1580"/>
              </a:cxn>
              <a:cxn ang="0">
                <a:pos x="403" y="1795"/>
              </a:cxn>
              <a:cxn ang="0">
                <a:pos x="0" y="1096"/>
              </a:cxn>
            </a:cxnLst>
            <a:rect l="0" t="0" r="r" b="b"/>
            <a:pathLst>
              <a:path w="2250" h="1795">
                <a:moveTo>
                  <a:pt x="0" y="1096"/>
                </a:moveTo>
                <a:lnTo>
                  <a:pt x="1423" y="273"/>
                </a:lnTo>
                <a:lnTo>
                  <a:pt x="1266" y="0"/>
                </a:lnTo>
                <a:lnTo>
                  <a:pt x="2250" y="261"/>
                </a:lnTo>
                <a:lnTo>
                  <a:pt x="1984" y="1244"/>
                </a:lnTo>
                <a:lnTo>
                  <a:pt x="1826" y="971"/>
                </a:lnTo>
                <a:lnTo>
                  <a:pt x="1473" y="1177"/>
                </a:lnTo>
                <a:lnTo>
                  <a:pt x="1746" y="1019"/>
                </a:lnTo>
                <a:lnTo>
                  <a:pt x="763" y="753"/>
                </a:lnTo>
                <a:lnTo>
                  <a:pt x="502" y="1737"/>
                </a:lnTo>
                <a:lnTo>
                  <a:pt x="775" y="1580"/>
                </a:lnTo>
                <a:lnTo>
                  <a:pt x="775" y="1580"/>
                </a:lnTo>
                <a:lnTo>
                  <a:pt x="403" y="1795"/>
                </a:lnTo>
                <a:lnTo>
                  <a:pt x="0" y="1096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666650" name="Rectangle 26"/>
          <p:cNvSpPr>
            <a:spLocks noChangeArrowheads="1"/>
          </p:cNvSpPr>
          <p:nvPr/>
        </p:nvSpPr>
        <p:spPr bwMode="gray">
          <a:xfrm>
            <a:off x="2042411" y="2878836"/>
            <a:ext cx="1153139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>
                <a:solidFill>
                  <a:schemeClr val="bg1"/>
                </a:solidFill>
              </a:rPr>
              <a:t>Texto</a:t>
            </a:r>
            <a:endParaRPr lang="pt-BR" sz="1511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7344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674" name="Freeform 2"/>
          <p:cNvSpPr>
            <a:spLocks/>
          </p:cNvSpPr>
          <p:nvPr/>
        </p:nvSpPr>
        <p:spPr bwMode="gray">
          <a:xfrm>
            <a:off x="992078" y="4712012"/>
            <a:ext cx="8726506" cy="332270"/>
          </a:xfrm>
          <a:custGeom>
            <a:avLst/>
            <a:gdLst/>
            <a:ahLst/>
            <a:cxnLst>
              <a:cxn ang="0">
                <a:pos x="0" y="1143"/>
              </a:cxn>
              <a:cxn ang="0">
                <a:pos x="3070" y="1143"/>
              </a:cxn>
              <a:cxn ang="0">
                <a:pos x="3782" y="0"/>
              </a:cxn>
              <a:cxn ang="0">
                <a:pos x="18" y="0"/>
              </a:cxn>
            </a:cxnLst>
            <a:rect l="0" t="0" r="r" b="b"/>
            <a:pathLst>
              <a:path w="3783" h="1144">
                <a:moveTo>
                  <a:pt x="0" y="1143"/>
                </a:moveTo>
                <a:lnTo>
                  <a:pt x="3070" y="1143"/>
                </a:lnTo>
                <a:lnTo>
                  <a:pt x="3782" y="0"/>
                </a:lnTo>
                <a:lnTo>
                  <a:pt x="18" y="0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75" name="Freeform 3"/>
          <p:cNvSpPr>
            <a:spLocks/>
          </p:cNvSpPr>
          <p:nvPr/>
        </p:nvSpPr>
        <p:spPr bwMode="gray">
          <a:xfrm>
            <a:off x="1010925" y="4346195"/>
            <a:ext cx="7969170" cy="332270"/>
          </a:xfrm>
          <a:custGeom>
            <a:avLst/>
            <a:gdLst/>
            <a:ahLst/>
            <a:cxnLst>
              <a:cxn ang="0">
                <a:pos x="0" y="727"/>
              </a:cxn>
              <a:cxn ang="0">
                <a:pos x="2982" y="727"/>
              </a:cxn>
              <a:cxn ang="0">
                <a:pos x="3454" y="0"/>
              </a:cxn>
              <a:cxn ang="0">
                <a:pos x="10" y="0"/>
              </a:cxn>
            </a:cxnLst>
            <a:rect l="0" t="0" r="r" b="b"/>
            <a:pathLst>
              <a:path w="3455" h="728">
                <a:moveTo>
                  <a:pt x="0" y="727"/>
                </a:moveTo>
                <a:lnTo>
                  <a:pt x="2982" y="727"/>
                </a:lnTo>
                <a:lnTo>
                  <a:pt x="3454" y="0"/>
                </a:lnTo>
                <a:lnTo>
                  <a:pt x="10" y="0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76" name="Freeform 4"/>
          <p:cNvSpPr>
            <a:spLocks/>
          </p:cNvSpPr>
          <p:nvPr/>
        </p:nvSpPr>
        <p:spPr bwMode="gray">
          <a:xfrm>
            <a:off x="1010924" y="4024070"/>
            <a:ext cx="7157004" cy="332270"/>
          </a:xfrm>
          <a:custGeom>
            <a:avLst/>
            <a:gdLst/>
            <a:ahLst/>
            <a:cxnLst>
              <a:cxn ang="0">
                <a:pos x="0" y="360"/>
              </a:cxn>
              <a:cxn ang="0">
                <a:pos x="2902" y="360"/>
              </a:cxn>
              <a:cxn ang="0">
                <a:pos x="3102" y="0"/>
              </a:cxn>
              <a:cxn ang="0">
                <a:pos x="4" y="0"/>
              </a:cxn>
            </a:cxnLst>
            <a:rect l="0" t="0" r="r" b="b"/>
            <a:pathLst>
              <a:path w="3103" h="361">
                <a:moveTo>
                  <a:pt x="0" y="360"/>
                </a:moveTo>
                <a:lnTo>
                  <a:pt x="2902" y="360"/>
                </a:lnTo>
                <a:lnTo>
                  <a:pt x="3102" y="0"/>
                </a:lnTo>
                <a:lnTo>
                  <a:pt x="4" y="0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77" name="Freeform 5"/>
          <p:cNvSpPr>
            <a:spLocks/>
          </p:cNvSpPr>
          <p:nvPr/>
        </p:nvSpPr>
        <p:spPr bwMode="gray">
          <a:xfrm>
            <a:off x="973229" y="2703870"/>
            <a:ext cx="8740215" cy="33227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075" y="0"/>
              </a:cxn>
              <a:cxn ang="0">
                <a:pos x="3788" y="1143"/>
              </a:cxn>
              <a:cxn ang="0">
                <a:pos x="16" y="1143"/>
              </a:cxn>
            </a:cxnLst>
            <a:rect l="0" t="0" r="r" b="b"/>
            <a:pathLst>
              <a:path w="3789" h="1144">
                <a:moveTo>
                  <a:pt x="0" y="0"/>
                </a:moveTo>
                <a:lnTo>
                  <a:pt x="3075" y="0"/>
                </a:lnTo>
                <a:lnTo>
                  <a:pt x="3788" y="1143"/>
                </a:lnTo>
                <a:lnTo>
                  <a:pt x="16" y="1143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78" name="Freeform 6"/>
          <p:cNvSpPr>
            <a:spLocks/>
          </p:cNvSpPr>
          <p:nvPr/>
        </p:nvSpPr>
        <p:spPr bwMode="gray">
          <a:xfrm>
            <a:off x="1010924" y="3069688"/>
            <a:ext cx="7950322" cy="33227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74" y="0"/>
              </a:cxn>
              <a:cxn ang="0">
                <a:pos x="3446" y="727"/>
              </a:cxn>
              <a:cxn ang="0">
                <a:pos x="0" y="727"/>
              </a:cxn>
            </a:cxnLst>
            <a:rect l="0" t="0" r="r" b="b"/>
            <a:pathLst>
              <a:path w="3447" h="728">
                <a:moveTo>
                  <a:pt x="0" y="0"/>
                </a:moveTo>
                <a:lnTo>
                  <a:pt x="2974" y="0"/>
                </a:lnTo>
                <a:lnTo>
                  <a:pt x="3446" y="727"/>
                </a:lnTo>
                <a:lnTo>
                  <a:pt x="0" y="727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79" name="Freeform 7"/>
          <p:cNvSpPr>
            <a:spLocks/>
          </p:cNvSpPr>
          <p:nvPr/>
        </p:nvSpPr>
        <p:spPr bwMode="gray">
          <a:xfrm>
            <a:off x="992077" y="3391813"/>
            <a:ext cx="7175851" cy="33227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902" y="0"/>
              </a:cxn>
              <a:cxn ang="0">
                <a:pos x="3110" y="360"/>
              </a:cxn>
              <a:cxn ang="0">
                <a:pos x="9" y="360"/>
              </a:cxn>
            </a:cxnLst>
            <a:rect l="0" t="0" r="r" b="b"/>
            <a:pathLst>
              <a:path w="3111" h="361">
                <a:moveTo>
                  <a:pt x="0" y="0"/>
                </a:moveTo>
                <a:lnTo>
                  <a:pt x="2902" y="0"/>
                </a:lnTo>
                <a:lnTo>
                  <a:pt x="3110" y="360"/>
                </a:lnTo>
                <a:lnTo>
                  <a:pt x="9" y="360"/>
                </a:lnTo>
              </a:path>
            </a:pathLst>
          </a:custGeom>
          <a:noFill/>
          <a:ln w="28575" cap="rnd" cmpd="sng">
            <a:solidFill>
              <a:schemeClr val="bg2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endParaRPr lang="pt-BR" sz="2159" dirty="0"/>
          </a:p>
        </p:txBody>
      </p:sp>
      <p:sp>
        <p:nvSpPr>
          <p:cNvPr id="668680" name="Rectangle 8"/>
          <p:cNvSpPr>
            <a:spLocks noChangeArrowheads="1"/>
          </p:cNvSpPr>
          <p:nvPr/>
        </p:nvSpPr>
        <p:spPr bwMode="gray">
          <a:xfrm>
            <a:off x="1019492" y="2114646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1" name="Rectangle 9"/>
          <p:cNvSpPr>
            <a:spLocks noChangeArrowheads="1"/>
          </p:cNvSpPr>
          <p:nvPr/>
        </p:nvSpPr>
        <p:spPr bwMode="gray">
          <a:xfrm>
            <a:off x="1019492" y="2798305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2" name="Rectangle 10"/>
          <p:cNvSpPr>
            <a:spLocks noChangeArrowheads="1"/>
          </p:cNvSpPr>
          <p:nvPr/>
        </p:nvSpPr>
        <p:spPr bwMode="gray">
          <a:xfrm>
            <a:off x="1019492" y="3439128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3" name="Rectangle 11"/>
          <p:cNvSpPr>
            <a:spLocks noChangeArrowheads="1"/>
          </p:cNvSpPr>
          <p:nvPr/>
        </p:nvSpPr>
        <p:spPr bwMode="gray">
          <a:xfrm>
            <a:off x="1019492" y="4074812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4" name="Rectangle 12"/>
          <p:cNvSpPr>
            <a:spLocks noChangeArrowheads="1"/>
          </p:cNvSpPr>
          <p:nvPr/>
        </p:nvSpPr>
        <p:spPr bwMode="gray">
          <a:xfrm>
            <a:off x="1019492" y="4713921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5" name="Rectangle 13"/>
          <p:cNvSpPr>
            <a:spLocks noChangeArrowheads="1"/>
          </p:cNvSpPr>
          <p:nvPr/>
        </p:nvSpPr>
        <p:spPr bwMode="gray">
          <a:xfrm>
            <a:off x="1019492" y="5401008"/>
            <a:ext cx="66858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68686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Clips</a:t>
            </a:r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31119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Triângulo de </a:t>
            </a:r>
            <a:r>
              <a:rPr lang="pt-BR" dirty="0" err="1"/>
              <a:t>Flows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13" name="Grupo 12"/>
          <p:cNvGrpSpPr/>
          <p:nvPr/>
        </p:nvGrpSpPr>
        <p:grpSpPr>
          <a:xfrm>
            <a:off x="2676978" y="1785404"/>
            <a:ext cx="5337859" cy="4177345"/>
            <a:chOff x="1579563" y="876300"/>
            <a:chExt cx="6746875" cy="5280025"/>
          </a:xfrm>
        </p:grpSpPr>
        <p:sp>
          <p:nvSpPr>
            <p:cNvPr id="676868" name="Freeform 4"/>
            <p:cNvSpPr>
              <a:spLocks/>
            </p:cNvSpPr>
            <p:nvPr/>
          </p:nvSpPr>
          <p:spPr bwMode="gray">
            <a:xfrm>
              <a:off x="3344863" y="876300"/>
              <a:ext cx="4057650" cy="2822575"/>
            </a:xfrm>
            <a:custGeom>
              <a:avLst/>
              <a:gdLst/>
              <a:ahLst/>
              <a:cxnLst>
                <a:cxn ang="0">
                  <a:pos x="802" y="340"/>
                </a:cxn>
                <a:cxn ang="0">
                  <a:pos x="473" y="781"/>
                </a:cxn>
                <a:cxn ang="0">
                  <a:pos x="0" y="783"/>
                </a:cxn>
                <a:cxn ang="0">
                  <a:pos x="566" y="0"/>
                </a:cxn>
                <a:cxn ang="0">
                  <a:pos x="1276" y="1039"/>
                </a:cxn>
                <a:cxn ang="0">
                  <a:pos x="1078" y="1039"/>
                </a:cxn>
                <a:cxn ang="0">
                  <a:pos x="1718" y="1359"/>
                </a:cxn>
                <a:cxn ang="0">
                  <a:pos x="1953" y="1039"/>
                </a:cxn>
                <a:cxn ang="0">
                  <a:pos x="1747" y="1039"/>
                </a:cxn>
                <a:cxn ang="0">
                  <a:pos x="1024" y="0"/>
                </a:cxn>
                <a:cxn ang="0">
                  <a:pos x="566" y="0"/>
                </a:cxn>
              </a:cxnLst>
              <a:rect l="0" t="0" r="r" b="b"/>
              <a:pathLst>
                <a:path w="1953" h="1359">
                  <a:moveTo>
                    <a:pt x="802" y="340"/>
                  </a:moveTo>
                  <a:lnTo>
                    <a:pt x="473" y="781"/>
                  </a:lnTo>
                  <a:lnTo>
                    <a:pt x="0" y="783"/>
                  </a:lnTo>
                  <a:lnTo>
                    <a:pt x="566" y="0"/>
                  </a:lnTo>
                  <a:lnTo>
                    <a:pt x="1276" y="1039"/>
                  </a:lnTo>
                  <a:lnTo>
                    <a:pt x="1078" y="1039"/>
                  </a:lnTo>
                  <a:lnTo>
                    <a:pt x="1718" y="1359"/>
                  </a:lnTo>
                  <a:lnTo>
                    <a:pt x="1953" y="1039"/>
                  </a:lnTo>
                  <a:lnTo>
                    <a:pt x="1747" y="1039"/>
                  </a:lnTo>
                  <a:lnTo>
                    <a:pt x="1024" y="0"/>
                  </a:lnTo>
                  <a:lnTo>
                    <a:pt x="566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1511">
                <a:solidFill>
                  <a:schemeClr val="bg1"/>
                </a:solidFill>
              </a:endParaRPr>
            </a:p>
          </p:txBody>
        </p:sp>
        <p:sp>
          <p:nvSpPr>
            <p:cNvPr id="676869" name="Rectangle 5"/>
            <p:cNvSpPr>
              <a:spLocks noChangeArrowheads="1"/>
            </p:cNvSpPr>
            <p:nvPr/>
          </p:nvSpPr>
          <p:spPr bwMode="gray">
            <a:xfrm>
              <a:off x="5440363" y="1951738"/>
              <a:ext cx="827088" cy="293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>
                  <a:solidFill>
                    <a:schemeClr val="bg1"/>
                  </a:solidFill>
                </a:rPr>
                <a:t>Texto</a:t>
              </a:r>
              <a:endParaRPr lang="pt-BR" sz="1511" dirty="0">
                <a:solidFill>
                  <a:schemeClr val="bg1"/>
                </a:solidFill>
              </a:endParaRPr>
            </a:p>
          </p:txBody>
        </p:sp>
        <p:sp>
          <p:nvSpPr>
            <p:cNvPr id="676871" name="Freeform 7"/>
            <p:cNvSpPr>
              <a:spLocks/>
            </p:cNvSpPr>
            <p:nvPr/>
          </p:nvSpPr>
          <p:spPr bwMode="gray">
            <a:xfrm>
              <a:off x="4319588" y="3865563"/>
              <a:ext cx="4006850" cy="2290762"/>
            </a:xfrm>
            <a:custGeom>
              <a:avLst/>
              <a:gdLst/>
              <a:ahLst/>
              <a:cxnLst>
                <a:cxn ang="0">
                  <a:pos x="1473" y="516"/>
                </a:cxn>
                <a:cxn ang="0">
                  <a:pos x="1109" y="0"/>
                </a:cxn>
                <a:cxn ang="0">
                  <a:pos x="1559" y="0"/>
                </a:cxn>
                <a:cxn ang="0">
                  <a:pos x="1929" y="516"/>
                </a:cxn>
                <a:cxn ang="0">
                  <a:pos x="340" y="516"/>
                </a:cxn>
                <a:cxn ang="0">
                  <a:pos x="339" y="296"/>
                </a:cxn>
                <a:cxn ang="0">
                  <a:pos x="0" y="695"/>
                </a:cxn>
                <a:cxn ang="0">
                  <a:pos x="346" y="1103"/>
                </a:cxn>
                <a:cxn ang="0">
                  <a:pos x="346" y="897"/>
                </a:cxn>
                <a:cxn ang="0">
                  <a:pos x="1675" y="896"/>
                </a:cxn>
                <a:cxn ang="0">
                  <a:pos x="1923" y="518"/>
                </a:cxn>
              </a:cxnLst>
              <a:rect l="0" t="0" r="r" b="b"/>
              <a:pathLst>
                <a:path w="1929" h="1103">
                  <a:moveTo>
                    <a:pt x="1473" y="516"/>
                  </a:moveTo>
                  <a:lnTo>
                    <a:pt x="1109" y="0"/>
                  </a:lnTo>
                  <a:lnTo>
                    <a:pt x="1559" y="0"/>
                  </a:lnTo>
                  <a:lnTo>
                    <a:pt x="1929" y="516"/>
                  </a:lnTo>
                  <a:lnTo>
                    <a:pt x="340" y="516"/>
                  </a:lnTo>
                  <a:lnTo>
                    <a:pt x="339" y="296"/>
                  </a:lnTo>
                  <a:lnTo>
                    <a:pt x="0" y="695"/>
                  </a:lnTo>
                  <a:lnTo>
                    <a:pt x="346" y="1103"/>
                  </a:lnTo>
                  <a:lnTo>
                    <a:pt x="346" y="897"/>
                  </a:lnTo>
                  <a:lnTo>
                    <a:pt x="1675" y="896"/>
                  </a:lnTo>
                  <a:lnTo>
                    <a:pt x="1923" y="51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1511">
                <a:solidFill>
                  <a:schemeClr val="bg1"/>
                </a:solidFill>
              </a:endParaRPr>
            </a:p>
          </p:txBody>
        </p:sp>
        <p:sp>
          <p:nvSpPr>
            <p:cNvPr id="676872" name="Rectangle 8"/>
            <p:cNvSpPr>
              <a:spLocks noChangeArrowheads="1"/>
            </p:cNvSpPr>
            <p:nvPr/>
          </p:nvSpPr>
          <p:spPr bwMode="gray">
            <a:xfrm>
              <a:off x="5908676" y="5191826"/>
              <a:ext cx="827088" cy="293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>
                  <a:solidFill>
                    <a:schemeClr val="bg1"/>
                  </a:solidFill>
                </a:rPr>
                <a:t>Texto</a:t>
              </a:r>
              <a:endParaRPr lang="pt-BR" sz="1511" dirty="0">
                <a:solidFill>
                  <a:schemeClr val="bg1"/>
                </a:solidFill>
              </a:endParaRPr>
            </a:p>
          </p:txBody>
        </p:sp>
        <p:sp>
          <p:nvSpPr>
            <p:cNvPr id="676874" name="Freeform 10"/>
            <p:cNvSpPr>
              <a:spLocks/>
            </p:cNvSpPr>
            <p:nvPr/>
          </p:nvSpPr>
          <p:spPr bwMode="gray">
            <a:xfrm>
              <a:off x="1579563" y="2622550"/>
              <a:ext cx="2640012" cy="3141663"/>
            </a:xfrm>
            <a:custGeom>
              <a:avLst/>
              <a:gdLst/>
              <a:ahLst/>
              <a:cxnLst>
                <a:cxn ang="0">
                  <a:pos x="507" y="1119"/>
                </a:cxn>
                <a:cxn ang="0">
                  <a:pos x="1256" y="1118"/>
                </a:cxn>
                <a:cxn ang="0">
                  <a:pos x="1256" y="1512"/>
                </a:cxn>
                <a:cxn ang="0">
                  <a:pos x="230" y="1511"/>
                </a:cxn>
                <a:cxn ang="0">
                  <a:pos x="1073" y="318"/>
                </a:cxn>
                <a:cxn ang="0">
                  <a:pos x="1271" y="318"/>
                </a:cxn>
                <a:cxn ang="0">
                  <a:pos x="1043" y="0"/>
                </a:cxn>
                <a:cxn ang="0">
                  <a:pos x="411" y="314"/>
                </a:cxn>
                <a:cxn ang="0">
                  <a:pos x="598" y="314"/>
                </a:cxn>
                <a:cxn ang="0">
                  <a:pos x="0" y="1159"/>
                </a:cxn>
                <a:cxn ang="0">
                  <a:pos x="228" y="1511"/>
                </a:cxn>
              </a:cxnLst>
              <a:rect l="0" t="0" r="r" b="b"/>
              <a:pathLst>
                <a:path w="1271" h="1512">
                  <a:moveTo>
                    <a:pt x="507" y="1119"/>
                  </a:moveTo>
                  <a:lnTo>
                    <a:pt x="1256" y="1118"/>
                  </a:lnTo>
                  <a:lnTo>
                    <a:pt x="1256" y="1512"/>
                  </a:lnTo>
                  <a:lnTo>
                    <a:pt x="230" y="1511"/>
                  </a:lnTo>
                  <a:lnTo>
                    <a:pt x="1073" y="318"/>
                  </a:lnTo>
                  <a:lnTo>
                    <a:pt x="1271" y="318"/>
                  </a:lnTo>
                  <a:lnTo>
                    <a:pt x="1043" y="0"/>
                  </a:lnTo>
                  <a:lnTo>
                    <a:pt x="411" y="314"/>
                  </a:lnTo>
                  <a:lnTo>
                    <a:pt x="598" y="314"/>
                  </a:lnTo>
                  <a:lnTo>
                    <a:pt x="0" y="1159"/>
                  </a:lnTo>
                  <a:lnTo>
                    <a:pt x="228" y="1511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1511">
                <a:solidFill>
                  <a:schemeClr val="bg1"/>
                </a:solidFill>
              </a:endParaRPr>
            </a:p>
          </p:txBody>
        </p:sp>
        <p:sp>
          <p:nvSpPr>
            <p:cNvPr id="676875" name="Rectangle 11"/>
            <p:cNvSpPr>
              <a:spLocks noChangeArrowheads="1"/>
            </p:cNvSpPr>
            <p:nvPr/>
          </p:nvSpPr>
          <p:spPr bwMode="gray">
            <a:xfrm>
              <a:off x="2241550" y="4010726"/>
              <a:ext cx="827087" cy="2938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>
                  <a:solidFill>
                    <a:schemeClr val="bg1"/>
                  </a:solidFill>
                </a:rPr>
                <a:t>Texto</a:t>
              </a:r>
              <a:endParaRPr lang="pt-BR" sz="151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3360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0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Loops</a:t>
            </a:r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17" name="Grupo 16"/>
          <p:cNvGrpSpPr/>
          <p:nvPr/>
        </p:nvGrpSpPr>
        <p:grpSpPr>
          <a:xfrm>
            <a:off x="577427" y="2671247"/>
            <a:ext cx="9536960" cy="2403944"/>
            <a:chOff x="534988" y="2401888"/>
            <a:chExt cx="8836025" cy="2227262"/>
          </a:xfrm>
        </p:grpSpPr>
        <p:sp>
          <p:nvSpPr>
            <p:cNvPr id="683012" name="Arc 4"/>
            <p:cNvSpPr>
              <a:spLocks/>
            </p:cNvSpPr>
            <p:nvPr/>
          </p:nvSpPr>
          <p:spPr bwMode="gray">
            <a:xfrm>
              <a:off x="976313" y="2401888"/>
              <a:ext cx="2490787" cy="221615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3132 w 43200"/>
                <a:gd name="T1" fmla="*/ 41471 h 43200"/>
                <a:gd name="T2" fmla="*/ 20885 w 43200"/>
                <a:gd name="T3" fmla="*/ 4318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</a:path>
                <a:path w="43200" h="43200" stroke="0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pPr algn="ctr" defTabSz="1055447" eaLnBrk="0" hangingPunct="0"/>
              <a:endParaRPr lang="en-US" sz="1727"/>
            </a:p>
          </p:txBody>
        </p:sp>
        <p:sp>
          <p:nvSpPr>
            <p:cNvPr id="683013" name="Line 5"/>
            <p:cNvSpPr>
              <a:spLocks noChangeShapeType="1"/>
            </p:cNvSpPr>
            <p:nvPr/>
          </p:nvSpPr>
          <p:spPr bwMode="gray">
            <a:xfrm flipH="1">
              <a:off x="534988" y="4616451"/>
              <a:ext cx="1654175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endParaRPr lang="pt-BR" sz="2159"/>
            </a:p>
          </p:txBody>
        </p:sp>
        <p:sp>
          <p:nvSpPr>
            <p:cNvPr id="683014" name="Rectangle 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71575" y="3407020"/>
              <a:ext cx="208915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/>
                <a:t>Texto</a:t>
              </a:r>
              <a:endParaRPr lang="pt-BR" sz="1511" dirty="0"/>
            </a:p>
          </p:txBody>
        </p:sp>
        <p:sp>
          <p:nvSpPr>
            <p:cNvPr id="683016" name="Arc 8"/>
            <p:cNvSpPr>
              <a:spLocks/>
            </p:cNvSpPr>
            <p:nvPr/>
          </p:nvSpPr>
          <p:spPr bwMode="gray">
            <a:xfrm>
              <a:off x="3695700" y="2413000"/>
              <a:ext cx="2487613" cy="221615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3132 w 43200"/>
                <a:gd name="T1" fmla="*/ 41471 h 43200"/>
                <a:gd name="T2" fmla="*/ 20885 w 43200"/>
                <a:gd name="T3" fmla="*/ 4318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</a:path>
                <a:path w="43200" h="43200" stroke="0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pPr algn="ctr" defTabSz="1055447" eaLnBrk="0" hangingPunct="0"/>
              <a:endParaRPr lang="en-US" sz="1727"/>
            </a:p>
          </p:txBody>
        </p:sp>
        <p:sp>
          <p:nvSpPr>
            <p:cNvPr id="683017" name="Line 9"/>
            <p:cNvSpPr>
              <a:spLocks noChangeShapeType="1"/>
            </p:cNvSpPr>
            <p:nvPr/>
          </p:nvSpPr>
          <p:spPr bwMode="gray">
            <a:xfrm flipH="1">
              <a:off x="3254375" y="4627563"/>
              <a:ext cx="1654175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endParaRPr lang="pt-BR" sz="2159"/>
            </a:p>
          </p:txBody>
        </p:sp>
        <p:sp>
          <p:nvSpPr>
            <p:cNvPr id="683018" name="Rectangle 1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892550" y="3407020"/>
              <a:ext cx="208756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/>
                <a:t>Texto</a:t>
              </a:r>
              <a:endParaRPr lang="pt-BR" sz="1511" dirty="0"/>
            </a:p>
          </p:txBody>
        </p:sp>
        <p:sp>
          <p:nvSpPr>
            <p:cNvPr id="683020" name="Line 12"/>
            <p:cNvSpPr>
              <a:spLocks noChangeShapeType="1"/>
            </p:cNvSpPr>
            <p:nvPr/>
          </p:nvSpPr>
          <p:spPr bwMode="gray">
            <a:xfrm>
              <a:off x="8191500" y="4618038"/>
              <a:ext cx="1179513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 type="stealth" w="med" len="med"/>
            </a:ln>
            <a:effectLst/>
          </p:spPr>
          <p:txBody>
            <a:bodyPr wrap="none" lIns="147169" tIns="73581" rIns="147169" bIns="73581" anchor="ctr"/>
            <a:lstStyle/>
            <a:p>
              <a:endParaRPr lang="pt-BR" sz="2159"/>
            </a:p>
          </p:txBody>
        </p:sp>
        <p:sp>
          <p:nvSpPr>
            <p:cNvPr id="683021" name="Arc 13"/>
            <p:cNvSpPr>
              <a:spLocks/>
            </p:cNvSpPr>
            <p:nvPr/>
          </p:nvSpPr>
          <p:spPr bwMode="gray">
            <a:xfrm>
              <a:off x="6413500" y="2401888"/>
              <a:ext cx="2490788" cy="221615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13132 w 43200"/>
                <a:gd name="T1" fmla="*/ 41471 h 43200"/>
                <a:gd name="T2" fmla="*/ 20885 w 43200"/>
                <a:gd name="T3" fmla="*/ 43188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</a:path>
                <a:path w="43200" h="43200" stroke="0" extrusionOk="0">
                  <a:moveTo>
                    <a:pt x="13132" y="41470"/>
                  </a:moveTo>
                  <a:cubicBezTo>
                    <a:pt x="5168" y="38077"/>
                    <a:pt x="0" y="3025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21361" y="43200"/>
                    <a:pt x="21123" y="43196"/>
                    <a:pt x="20884" y="43188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pPr algn="ctr" defTabSz="1055447" eaLnBrk="0" hangingPunct="0"/>
              <a:endParaRPr lang="en-US" sz="1727"/>
            </a:p>
          </p:txBody>
        </p:sp>
        <p:sp>
          <p:nvSpPr>
            <p:cNvPr id="683022" name="Line 14"/>
            <p:cNvSpPr>
              <a:spLocks noChangeShapeType="1"/>
            </p:cNvSpPr>
            <p:nvPr/>
          </p:nvSpPr>
          <p:spPr bwMode="gray">
            <a:xfrm flipH="1">
              <a:off x="5972175" y="4616451"/>
              <a:ext cx="1657350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lIns="147169" tIns="73581" rIns="147169" bIns="73581" anchor="ctr"/>
            <a:lstStyle/>
            <a:p>
              <a:endParaRPr lang="pt-BR" sz="2159"/>
            </a:p>
          </p:txBody>
        </p:sp>
        <p:sp>
          <p:nvSpPr>
            <p:cNvPr id="683023" name="Rectangle 1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11938" y="3407020"/>
              <a:ext cx="208915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/>
                <a:t>Texto</a:t>
              </a:r>
              <a:endParaRPr lang="pt-BR" sz="1511" dirty="0"/>
            </a:p>
          </p:txBody>
        </p:sp>
      </p:grpSp>
    </p:spTree>
    <p:extLst>
      <p:ext uri="{BB962C8B-B14F-4D97-AF65-F5344CB8AC3E}">
        <p14:creationId xmlns:p14="http://schemas.microsoft.com/office/powerpoint/2010/main" val="868821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0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Árvore Horizontal</a:t>
            </a:r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85059" name="Freeform 3"/>
          <p:cNvSpPr>
            <a:spLocks/>
          </p:cNvSpPr>
          <p:nvPr/>
        </p:nvSpPr>
        <p:spPr bwMode="gray">
          <a:xfrm>
            <a:off x="4444642" y="1819672"/>
            <a:ext cx="1896769" cy="676806"/>
          </a:xfrm>
          <a:custGeom>
            <a:avLst/>
            <a:gdLst/>
            <a:ahLst/>
            <a:cxnLst>
              <a:cxn ang="0">
                <a:pos x="0" y="360"/>
              </a:cxn>
              <a:cxn ang="0">
                <a:pos x="192" y="0"/>
              </a:cxn>
              <a:cxn ang="0">
                <a:pos x="832" y="0"/>
              </a:cxn>
            </a:cxnLst>
            <a:rect l="0" t="0" r="r" b="b"/>
            <a:pathLst>
              <a:path w="833" h="361">
                <a:moveTo>
                  <a:pt x="0" y="360"/>
                </a:moveTo>
                <a:lnTo>
                  <a:pt x="192" y="0"/>
                </a:lnTo>
                <a:lnTo>
                  <a:pt x="832" y="0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0" name="Freeform 4"/>
          <p:cNvSpPr>
            <a:spLocks/>
          </p:cNvSpPr>
          <p:nvPr/>
        </p:nvSpPr>
        <p:spPr bwMode="gray">
          <a:xfrm>
            <a:off x="4444642" y="2523892"/>
            <a:ext cx="1896769" cy="66309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2" y="351"/>
              </a:cxn>
              <a:cxn ang="0">
                <a:pos x="832" y="351"/>
              </a:cxn>
            </a:cxnLst>
            <a:rect l="0" t="0" r="r" b="b"/>
            <a:pathLst>
              <a:path w="833" h="352">
                <a:moveTo>
                  <a:pt x="0" y="0"/>
                </a:moveTo>
                <a:lnTo>
                  <a:pt x="192" y="351"/>
                </a:lnTo>
                <a:lnTo>
                  <a:pt x="832" y="351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1" name="Freeform 5"/>
          <p:cNvSpPr>
            <a:spLocks/>
          </p:cNvSpPr>
          <p:nvPr/>
        </p:nvSpPr>
        <p:spPr bwMode="gray">
          <a:xfrm>
            <a:off x="2206899" y="2493050"/>
            <a:ext cx="4134511" cy="1382739"/>
          </a:xfrm>
          <a:custGeom>
            <a:avLst/>
            <a:gdLst/>
            <a:ahLst/>
            <a:cxnLst>
              <a:cxn ang="0">
                <a:pos x="1815" y="0"/>
              </a:cxn>
              <a:cxn ang="0">
                <a:pos x="384" y="0"/>
              </a:cxn>
              <a:cxn ang="0">
                <a:pos x="0" y="735"/>
              </a:cxn>
            </a:cxnLst>
            <a:rect l="0" t="0" r="r" b="b"/>
            <a:pathLst>
              <a:path w="1816" h="736">
                <a:moveTo>
                  <a:pt x="1815" y="0"/>
                </a:moveTo>
                <a:lnTo>
                  <a:pt x="384" y="0"/>
                </a:lnTo>
                <a:lnTo>
                  <a:pt x="0" y="735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2" name="Freeform 6"/>
          <p:cNvSpPr>
            <a:spLocks/>
          </p:cNvSpPr>
          <p:nvPr/>
        </p:nvSpPr>
        <p:spPr bwMode="gray">
          <a:xfrm>
            <a:off x="4444642" y="5284230"/>
            <a:ext cx="1896769" cy="66481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2" y="352"/>
              </a:cxn>
              <a:cxn ang="0">
                <a:pos x="832" y="352"/>
              </a:cxn>
            </a:cxnLst>
            <a:rect l="0" t="0" r="r" b="b"/>
            <a:pathLst>
              <a:path w="833" h="353">
                <a:moveTo>
                  <a:pt x="0" y="0"/>
                </a:moveTo>
                <a:lnTo>
                  <a:pt x="192" y="352"/>
                </a:lnTo>
                <a:lnTo>
                  <a:pt x="832" y="352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3" name="Freeform 7"/>
          <p:cNvSpPr>
            <a:spLocks/>
          </p:cNvSpPr>
          <p:nvPr/>
        </p:nvSpPr>
        <p:spPr bwMode="gray">
          <a:xfrm>
            <a:off x="4444642" y="4622846"/>
            <a:ext cx="1896769" cy="663099"/>
          </a:xfrm>
          <a:custGeom>
            <a:avLst/>
            <a:gdLst/>
            <a:ahLst/>
            <a:cxnLst>
              <a:cxn ang="0">
                <a:pos x="0" y="351"/>
              </a:cxn>
              <a:cxn ang="0">
                <a:pos x="192" y="0"/>
              </a:cxn>
              <a:cxn ang="0">
                <a:pos x="832" y="0"/>
              </a:cxn>
            </a:cxnLst>
            <a:rect l="0" t="0" r="r" b="b"/>
            <a:pathLst>
              <a:path w="833" h="352">
                <a:moveTo>
                  <a:pt x="0" y="351"/>
                </a:moveTo>
                <a:lnTo>
                  <a:pt x="192" y="0"/>
                </a:lnTo>
                <a:lnTo>
                  <a:pt x="832" y="0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4" name="Freeform 8"/>
          <p:cNvSpPr>
            <a:spLocks/>
          </p:cNvSpPr>
          <p:nvPr/>
        </p:nvSpPr>
        <p:spPr bwMode="gray">
          <a:xfrm>
            <a:off x="2206900" y="3874077"/>
            <a:ext cx="6372252" cy="1399873"/>
          </a:xfrm>
          <a:custGeom>
            <a:avLst/>
            <a:gdLst/>
            <a:ahLst/>
            <a:cxnLst>
              <a:cxn ang="0">
                <a:pos x="2798" y="743"/>
              </a:cxn>
              <a:cxn ang="0">
                <a:pos x="384" y="743"/>
              </a:cxn>
              <a:cxn ang="0">
                <a:pos x="0" y="0"/>
              </a:cxn>
            </a:cxnLst>
            <a:rect l="0" t="0" r="r" b="b"/>
            <a:pathLst>
              <a:path w="2799" h="744">
                <a:moveTo>
                  <a:pt x="2798" y="743"/>
                </a:moveTo>
                <a:lnTo>
                  <a:pt x="384" y="743"/>
                </a:lnTo>
                <a:lnTo>
                  <a:pt x="0" y="0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5" name="Freeform 9"/>
          <p:cNvSpPr>
            <a:spLocks/>
          </p:cNvSpPr>
          <p:nvPr/>
        </p:nvSpPr>
        <p:spPr bwMode="gray">
          <a:xfrm>
            <a:off x="6740639" y="5270523"/>
            <a:ext cx="1877921" cy="466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1" y="248"/>
              </a:cxn>
              <a:cxn ang="0">
                <a:pos x="823" y="248"/>
              </a:cxn>
            </a:cxnLst>
            <a:rect l="0" t="0" r="r" b="b"/>
            <a:pathLst>
              <a:path w="824" h="249">
                <a:moveTo>
                  <a:pt x="0" y="0"/>
                </a:moveTo>
                <a:lnTo>
                  <a:pt x="191" y="248"/>
                </a:lnTo>
                <a:lnTo>
                  <a:pt x="823" y="248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6" name="Freeform 10"/>
          <p:cNvSpPr>
            <a:spLocks/>
          </p:cNvSpPr>
          <p:nvPr/>
        </p:nvSpPr>
        <p:spPr bwMode="gray">
          <a:xfrm>
            <a:off x="6740639" y="4790762"/>
            <a:ext cx="1877921" cy="450633"/>
          </a:xfrm>
          <a:custGeom>
            <a:avLst/>
            <a:gdLst/>
            <a:ahLst/>
            <a:cxnLst>
              <a:cxn ang="0">
                <a:pos x="0" y="239"/>
              </a:cxn>
              <a:cxn ang="0">
                <a:pos x="191" y="0"/>
              </a:cxn>
              <a:cxn ang="0">
                <a:pos x="823" y="0"/>
              </a:cxn>
            </a:cxnLst>
            <a:rect l="0" t="0" r="r" b="b"/>
            <a:pathLst>
              <a:path w="824" h="240">
                <a:moveTo>
                  <a:pt x="0" y="239"/>
                </a:moveTo>
                <a:lnTo>
                  <a:pt x="191" y="0"/>
                </a:lnTo>
                <a:lnTo>
                  <a:pt x="823" y="0"/>
                </a:lnTo>
              </a:path>
            </a:pathLst>
          </a:custGeom>
          <a:noFill/>
          <a:ln w="25400" cap="rnd">
            <a:solidFill>
              <a:schemeClr val="accent6"/>
            </a:solidFill>
            <a:round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685067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9230" y="3773248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685068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454497" y="1696569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69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54497" y="2371661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0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454497" y="3077595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1" name="Rectangle 1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454497" y="4496316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2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454497" y="5817371"/>
            <a:ext cx="15352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3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760776" y="4672799"/>
            <a:ext cx="153180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4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760776" y="5154273"/>
            <a:ext cx="153180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5" name="Rectangle 1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8760776" y="5639174"/>
            <a:ext cx="153180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971492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85076" name="Oval 20"/>
          <p:cNvSpPr>
            <a:spLocks noChangeArrowheads="1"/>
          </p:cNvSpPr>
          <p:nvPr/>
        </p:nvSpPr>
        <p:spPr bwMode="gray">
          <a:xfrm>
            <a:off x="4362396" y="2352550"/>
            <a:ext cx="294710" cy="46723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685077" name="Oval 21"/>
          <p:cNvSpPr>
            <a:spLocks noChangeArrowheads="1"/>
          </p:cNvSpPr>
          <p:nvPr/>
        </p:nvSpPr>
        <p:spPr bwMode="gray">
          <a:xfrm>
            <a:off x="2121229" y="3742142"/>
            <a:ext cx="298137" cy="46723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685078" name="Oval 22"/>
          <p:cNvSpPr>
            <a:spLocks noChangeArrowheads="1"/>
          </p:cNvSpPr>
          <p:nvPr/>
        </p:nvSpPr>
        <p:spPr bwMode="gray">
          <a:xfrm>
            <a:off x="4362396" y="5135163"/>
            <a:ext cx="294710" cy="46723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685079" name="Oval 23"/>
          <p:cNvSpPr>
            <a:spLocks noChangeArrowheads="1"/>
          </p:cNvSpPr>
          <p:nvPr/>
        </p:nvSpPr>
        <p:spPr bwMode="gray">
          <a:xfrm>
            <a:off x="6648115" y="5135163"/>
            <a:ext cx="292997" cy="46723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2352780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Cruz</a:t>
            </a:r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97348" name="Freeform 4"/>
          <p:cNvSpPr>
            <a:spLocks/>
          </p:cNvSpPr>
          <p:nvPr/>
        </p:nvSpPr>
        <p:spPr bwMode="gray">
          <a:xfrm>
            <a:off x="3637616" y="2172639"/>
            <a:ext cx="3416582" cy="3416582"/>
          </a:xfrm>
          <a:custGeom>
            <a:avLst/>
            <a:gdLst/>
            <a:ahLst/>
            <a:cxnLst>
              <a:cxn ang="0">
                <a:pos x="996" y="0"/>
              </a:cxn>
              <a:cxn ang="0">
                <a:pos x="821" y="197"/>
              </a:cxn>
              <a:cxn ang="0">
                <a:pos x="892" y="197"/>
              </a:cxn>
              <a:cxn ang="0">
                <a:pos x="892" y="892"/>
              </a:cxn>
              <a:cxn ang="0">
                <a:pos x="197" y="892"/>
              </a:cxn>
              <a:cxn ang="0">
                <a:pos x="197" y="821"/>
              </a:cxn>
              <a:cxn ang="0">
                <a:pos x="0" y="996"/>
              </a:cxn>
              <a:cxn ang="0">
                <a:pos x="197" y="1170"/>
              </a:cxn>
              <a:cxn ang="0">
                <a:pos x="197" y="1100"/>
              </a:cxn>
              <a:cxn ang="0">
                <a:pos x="892" y="1100"/>
              </a:cxn>
              <a:cxn ang="0">
                <a:pos x="892" y="1797"/>
              </a:cxn>
              <a:cxn ang="0">
                <a:pos x="821" y="1797"/>
              </a:cxn>
              <a:cxn ang="0">
                <a:pos x="996" y="1994"/>
              </a:cxn>
              <a:cxn ang="0">
                <a:pos x="1170" y="1797"/>
              </a:cxn>
              <a:cxn ang="0">
                <a:pos x="1100" y="1797"/>
              </a:cxn>
              <a:cxn ang="0">
                <a:pos x="1100" y="1100"/>
              </a:cxn>
              <a:cxn ang="0">
                <a:pos x="1797" y="1100"/>
              </a:cxn>
              <a:cxn ang="0">
                <a:pos x="1797" y="1170"/>
              </a:cxn>
              <a:cxn ang="0">
                <a:pos x="1994" y="996"/>
              </a:cxn>
              <a:cxn ang="0">
                <a:pos x="1797" y="821"/>
              </a:cxn>
              <a:cxn ang="0">
                <a:pos x="1797" y="892"/>
              </a:cxn>
              <a:cxn ang="0">
                <a:pos x="1100" y="892"/>
              </a:cxn>
              <a:cxn ang="0">
                <a:pos x="1100" y="197"/>
              </a:cxn>
              <a:cxn ang="0">
                <a:pos x="1170" y="197"/>
              </a:cxn>
              <a:cxn ang="0">
                <a:pos x="996" y="0"/>
              </a:cxn>
            </a:cxnLst>
            <a:rect l="0" t="0" r="r" b="b"/>
            <a:pathLst>
              <a:path w="1994" h="1994">
                <a:moveTo>
                  <a:pt x="996" y="0"/>
                </a:moveTo>
                <a:lnTo>
                  <a:pt x="821" y="197"/>
                </a:lnTo>
                <a:lnTo>
                  <a:pt x="892" y="197"/>
                </a:lnTo>
                <a:lnTo>
                  <a:pt x="892" y="892"/>
                </a:lnTo>
                <a:lnTo>
                  <a:pt x="197" y="892"/>
                </a:lnTo>
                <a:lnTo>
                  <a:pt x="197" y="821"/>
                </a:lnTo>
                <a:lnTo>
                  <a:pt x="0" y="996"/>
                </a:lnTo>
                <a:lnTo>
                  <a:pt x="197" y="1170"/>
                </a:lnTo>
                <a:lnTo>
                  <a:pt x="197" y="1100"/>
                </a:lnTo>
                <a:lnTo>
                  <a:pt x="892" y="1100"/>
                </a:lnTo>
                <a:lnTo>
                  <a:pt x="892" y="1797"/>
                </a:lnTo>
                <a:lnTo>
                  <a:pt x="821" y="1797"/>
                </a:lnTo>
                <a:lnTo>
                  <a:pt x="996" y="1994"/>
                </a:lnTo>
                <a:lnTo>
                  <a:pt x="1170" y="1797"/>
                </a:lnTo>
                <a:lnTo>
                  <a:pt x="1100" y="1797"/>
                </a:lnTo>
                <a:lnTo>
                  <a:pt x="1100" y="1100"/>
                </a:lnTo>
                <a:lnTo>
                  <a:pt x="1797" y="1100"/>
                </a:lnTo>
                <a:lnTo>
                  <a:pt x="1797" y="1170"/>
                </a:lnTo>
                <a:lnTo>
                  <a:pt x="1994" y="996"/>
                </a:lnTo>
                <a:lnTo>
                  <a:pt x="1797" y="821"/>
                </a:lnTo>
                <a:lnTo>
                  <a:pt x="1797" y="892"/>
                </a:lnTo>
                <a:lnTo>
                  <a:pt x="1100" y="892"/>
                </a:lnTo>
                <a:lnTo>
                  <a:pt x="1100" y="197"/>
                </a:lnTo>
                <a:lnTo>
                  <a:pt x="1170" y="197"/>
                </a:lnTo>
                <a:lnTo>
                  <a:pt x="996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97349" name="Rectangle 5"/>
          <p:cNvSpPr>
            <a:spLocks noChangeArrowheads="1"/>
          </p:cNvSpPr>
          <p:nvPr/>
        </p:nvSpPr>
        <p:spPr bwMode="gray">
          <a:xfrm>
            <a:off x="4682809" y="3762967"/>
            <a:ext cx="1326196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>
                <a:solidFill>
                  <a:schemeClr val="bg1"/>
                </a:solidFill>
              </a:rPr>
              <a:t>Texto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97351" name="Freeform 7"/>
          <p:cNvSpPr>
            <a:spLocks/>
          </p:cNvSpPr>
          <p:nvPr/>
        </p:nvSpPr>
        <p:spPr bwMode="gray">
          <a:xfrm>
            <a:off x="2385097" y="3106459"/>
            <a:ext cx="1485546" cy="1548942"/>
          </a:xfrm>
          <a:custGeom>
            <a:avLst/>
            <a:gdLst/>
            <a:ahLst/>
            <a:cxnLst>
              <a:cxn ang="0">
                <a:pos x="486" y="2"/>
              </a:cxn>
              <a:cxn ang="0">
                <a:pos x="553" y="12"/>
              </a:cxn>
              <a:cxn ang="0">
                <a:pos x="617" y="31"/>
              </a:cxn>
              <a:cxn ang="0">
                <a:pos x="676" y="59"/>
              </a:cxn>
              <a:cxn ang="0">
                <a:pos x="730" y="96"/>
              </a:cxn>
              <a:cxn ang="0">
                <a:pos x="778" y="141"/>
              </a:cxn>
              <a:cxn ang="0">
                <a:pos x="819" y="190"/>
              </a:cxn>
              <a:cxn ang="0">
                <a:pos x="853" y="246"/>
              </a:cxn>
              <a:cxn ang="0">
                <a:pos x="867" y="277"/>
              </a:cxn>
              <a:cxn ang="0">
                <a:pos x="867" y="625"/>
              </a:cxn>
              <a:cxn ang="0">
                <a:pos x="853" y="656"/>
              </a:cxn>
              <a:cxn ang="0">
                <a:pos x="819" y="713"/>
              </a:cxn>
              <a:cxn ang="0">
                <a:pos x="778" y="763"/>
              </a:cxn>
              <a:cxn ang="0">
                <a:pos x="730" y="807"/>
              </a:cxn>
              <a:cxn ang="0">
                <a:pos x="676" y="843"/>
              </a:cxn>
              <a:cxn ang="0">
                <a:pos x="617" y="871"/>
              </a:cxn>
              <a:cxn ang="0">
                <a:pos x="553" y="892"/>
              </a:cxn>
              <a:cxn ang="0">
                <a:pos x="486" y="902"/>
              </a:cxn>
              <a:cxn ang="0">
                <a:pos x="427" y="902"/>
              </a:cxn>
              <a:cxn ang="0">
                <a:pos x="382" y="898"/>
              </a:cxn>
              <a:cxn ang="0">
                <a:pos x="339" y="890"/>
              </a:cxn>
              <a:cxn ang="0">
                <a:pos x="295" y="875"/>
              </a:cxn>
              <a:cxn ang="0">
                <a:pos x="256" y="859"/>
              </a:cxn>
              <a:cxn ang="0">
                <a:pos x="216" y="838"/>
              </a:cxn>
              <a:cxn ang="0">
                <a:pos x="181" y="814"/>
              </a:cxn>
              <a:cxn ang="0">
                <a:pos x="148" y="786"/>
              </a:cxn>
              <a:cxn ang="0">
                <a:pos x="117" y="755"/>
              </a:cxn>
              <a:cxn ang="0">
                <a:pos x="89" y="722"/>
              </a:cxn>
              <a:cxn ang="0">
                <a:pos x="65" y="686"/>
              </a:cxn>
              <a:cxn ang="0">
                <a:pos x="44" y="648"/>
              </a:cxn>
              <a:cxn ang="0">
                <a:pos x="27" y="607"/>
              </a:cxn>
              <a:cxn ang="0">
                <a:pos x="14" y="565"/>
              </a:cxn>
              <a:cxn ang="0">
                <a:pos x="4" y="520"/>
              </a:cxn>
              <a:cxn ang="0">
                <a:pos x="0" y="475"/>
              </a:cxn>
              <a:cxn ang="0">
                <a:pos x="0" y="429"/>
              </a:cxn>
              <a:cxn ang="0">
                <a:pos x="4" y="382"/>
              </a:cxn>
              <a:cxn ang="0">
                <a:pos x="14" y="339"/>
              </a:cxn>
              <a:cxn ang="0">
                <a:pos x="27" y="297"/>
              </a:cxn>
              <a:cxn ang="0">
                <a:pos x="44" y="256"/>
              </a:cxn>
              <a:cxn ang="0">
                <a:pos x="65" y="218"/>
              </a:cxn>
              <a:cxn ang="0">
                <a:pos x="89" y="182"/>
              </a:cxn>
              <a:cxn ang="0">
                <a:pos x="117" y="148"/>
              </a:cxn>
              <a:cxn ang="0">
                <a:pos x="148" y="117"/>
              </a:cxn>
              <a:cxn ang="0">
                <a:pos x="181" y="90"/>
              </a:cxn>
              <a:cxn ang="0">
                <a:pos x="216" y="65"/>
              </a:cxn>
              <a:cxn ang="0">
                <a:pos x="256" y="44"/>
              </a:cxn>
              <a:cxn ang="0">
                <a:pos x="295" y="27"/>
              </a:cxn>
              <a:cxn ang="0">
                <a:pos x="339" y="14"/>
              </a:cxn>
              <a:cxn ang="0">
                <a:pos x="382" y="5"/>
              </a:cxn>
              <a:cxn ang="0">
                <a:pos x="427" y="0"/>
              </a:cxn>
            </a:cxnLst>
            <a:rect l="0" t="0" r="r" b="b"/>
            <a:pathLst>
              <a:path w="867" h="904">
                <a:moveTo>
                  <a:pt x="451" y="0"/>
                </a:moveTo>
                <a:lnTo>
                  <a:pt x="486" y="2"/>
                </a:lnTo>
                <a:lnTo>
                  <a:pt x="520" y="5"/>
                </a:lnTo>
                <a:lnTo>
                  <a:pt x="553" y="12"/>
                </a:lnTo>
                <a:lnTo>
                  <a:pt x="586" y="20"/>
                </a:lnTo>
                <a:lnTo>
                  <a:pt x="617" y="31"/>
                </a:lnTo>
                <a:lnTo>
                  <a:pt x="646" y="44"/>
                </a:lnTo>
                <a:lnTo>
                  <a:pt x="676" y="59"/>
                </a:lnTo>
                <a:lnTo>
                  <a:pt x="704" y="78"/>
                </a:lnTo>
                <a:lnTo>
                  <a:pt x="730" y="96"/>
                </a:lnTo>
                <a:lnTo>
                  <a:pt x="754" y="117"/>
                </a:lnTo>
                <a:lnTo>
                  <a:pt x="778" y="141"/>
                </a:lnTo>
                <a:lnTo>
                  <a:pt x="799" y="165"/>
                </a:lnTo>
                <a:lnTo>
                  <a:pt x="819" y="190"/>
                </a:lnTo>
                <a:lnTo>
                  <a:pt x="837" y="218"/>
                </a:lnTo>
                <a:lnTo>
                  <a:pt x="853" y="246"/>
                </a:lnTo>
                <a:lnTo>
                  <a:pt x="867" y="276"/>
                </a:lnTo>
                <a:lnTo>
                  <a:pt x="867" y="277"/>
                </a:lnTo>
                <a:lnTo>
                  <a:pt x="671" y="451"/>
                </a:lnTo>
                <a:lnTo>
                  <a:pt x="867" y="625"/>
                </a:lnTo>
                <a:lnTo>
                  <a:pt x="867" y="627"/>
                </a:lnTo>
                <a:lnTo>
                  <a:pt x="853" y="656"/>
                </a:lnTo>
                <a:lnTo>
                  <a:pt x="837" y="686"/>
                </a:lnTo>
                <a:lnTo>
                  <a:pt x="819" y="713"/>
                </a:lnTo>
                <a:lnTo>
                  <a:pt x="799" y="739"/>
                </a:lnTo>
                <a:lnTo>
                  <a:pt x="778" y="763"/>
                </a:lnTo>
                <a:lnTo>
                  <a:pt x="754" y="786"/>
                </a:lnTo>
                <a:lnTo>
                  <a:pt x="730" y="807"/>
                </a:lnTo>
                <a:lnTo>
                  <a:pt x="704" y="826"/>
                </a:lnTo>
                <a:lnTo>
                  <a:pt x="676" y="843"/>
                </a:lnTo>
                <a:lnTo>
                  <a:pt x="646" y="859"/>
                </a:lnTo>
                <a:lnTo>
                  <a:pt x="617" y="871"/>
                </a:lnTo>
                <a:lnTo>
                  <a:pt x="586" y="883"/>
                </a:lnTo>
                <a:lnTo>
                  <a:pt x="553" y="892"/>
                </a:lnTo>
                <a:lnTo>
                  <a:pt x="520" y="898"/>
                </a:lnTo>
                <a:lnTo>
                  <a:pt x="486" y="902"/>
                </a:lnTo>
                <a:lnTo>
                  <a:pt x="451" y="904"/>
                </a:lnTo>
                <a:lnTo>
                  <a:pt x="427" y="902"/>
                </a:lnTo>
                <a:lnTo>
                  <a:pt x="405" y="901"/>
                </a:lnTo>
                <a:lnTo>
                  <a:pt x="382" y="898"/>
                </a:lnTo>
                <a:lnTo>
                  <a:pt x="360" y="894"/>
                </a:lnTo>
                <a:lnTo>
                  <a:pt x="339" y="890"/>
                </a:lnTo>
                <a:lnTo>
                  <a:pt x="316" y="883"/>
                </a:lnTo>
                <a:lnTo>
                  <a:pt x="295" y="875"/>
                </a:lnTo>
                <a:lnTo>
                  <a:pt x="275" y="868"/>
                </a:lnTo>
                <a:lnTo>
                  <a:pt x="256" y="859"/>
                </a:lnTo>
                <a:lnTo>
                  <a:pt x="236" y="849"/>
                </a:lnTo>
                <a:lnTo>
                  <a:pt x="216" y="838"/>
                </a:lnTo>
                <a:lnTo>
                  <a:pt x="198" y="826"/>
                </a:lnTo>
                <a:lnTo>
                  <a:pt x="181" y="814"/>
                </a:lnTo>
                <a:lnTo>
                  <a:pt x="164" y="800"/>
                </a:lnTo>
                <a:lnTo>
                  <a:pt x="148" y="786"/>
                </a:lnTo>
                <a:lnTo>
                  <a:pt x="132" y="772"/>
                </a:lnTo>
                <a:lnTo>
                  <a:pt x="117" y="755"/>
                </a:lnTo>
                <a:lnTo>
                  <a:pt x="103" y="739"/>
                </a:lnTo>
                <a:lnTo>
                  <a:pt x="89" y="722"/>
                </a:lnTo>
                <a:lnTo>
                  <a:pt x="76" y="704"/>
                </a:lnTo>
                <a:lnTo>
                  <a:pt x="65" y="686"/>
                </a:lnTo>
                <a:lnTo>
                  <a:pt x="53" y="668"/>
                </a:lnTo>
                <a:lnTo>
                  <a:pt x="44" y="648"/>
                </a:lnTo>
                <a:lnTo>
                  <a:pt x="35" y="627"/>
                </a:lnTo>
                <a:lnTo>
                  <a:pt x="27" y="607"/>
                </a:lnTo>
                <a:lnTo>
                  <a:pt x="20" y="586"/>
                </a:lnTo>
                <a:lnTo>
                  <a:pt x="14" y="565"/>
                </a:lnTo>
                <a:lnTo>
                  <a:pt x="8" y="543"/>
                </a:lnTo>
                <a:lnTo>
                  <a:pt x="4" y="520"/>
                </a:lnTo>
                <a:lnTo>
                  <a:pt x="1" y="498"/>
                </a:lnTo>
                <a:lnTo>
                  <a:pt x="0" y="475"/>
                </a:lnTo>
                <a:lnTo>
                  <a:pt x="0" y="451"/>
                </a:lnTo>
                <a:lnTo>
                  <a:pt x="0" y="429"/>
                </a:lnTo>
                <a:lnTo>
                  <a:pt x="1" y="405"/>
                </a:lnTo>
                <a:lnTo>
                  <a:pt x="4" y="382"/>
                </a:lnTo>
                <a:lnTo>
                  <a:pt x="8" y="360"/>
                </a:lnTo>
                <a:lnTo>
                  <a:pt x="14" y="339"/>
                </a:lnTo>
                <a:lnTo>
                  <a:pt x="20" y="318"/>
                </a:lnTo>
                <a:lnTo>
                  <a:pt x="27" y="297"/>
                </a:lnTo>
                <a:lnTo>
                  <a:pt x="35" y="276"/>
                </a:lnTo>
                <a:lnTo>
                  <a:pt x="44" y="256"/>
                </a:lnTo>
                <a:lnTo>
                  <a:pt x="53" y="236"/>
                </a:lnTo>
                <a:lnTo>
                  <a:pt x="65" y="218"/>
                </a:lnTo>
                <a:lnTo>
                  <a:pt x="76" y="200"/>
                </a:lnTo>
                <a:lnTo>
                  <a:pt x="89" y="182"/>
                </a:lnTo>
                <a:lnTo>
                  <a:pt x="103" y="165"/>
                </a:lnTo>
                <a:lnTo>
                  <a:pt x="117" y="148"/>
                </a:lnTo>
                <a:lnTo>
                  <a:pt x="132" y="132"/>
                </a:lnTo>
                <a:lnTo>
                  <a:pt x="148" y="117"/>
                </a:lnTo>
                <a:lnTo>
                  <a:pt x="164" y="103"/>
                </a:lnTo>
                <a:lnTo>
                  <a:pt x="181" y="90"/>
                </a:lnTo>
                <a:lnTo>
                  <a:pt x="198" y="78"/>
                </a:lnTo>
                <a:lnTo>
                  <a:pt x="216" y="65"/>
                </a:lnTo>
                <a:lnTo>
                  <a:pt x="236" y="55"/>
                </a:lnTo>
                <a:lnTo>
                  <a:pt x="256" y="44"/>
                </a:lnTo>
                <a:lnTo>
                  <a:pt x="275" y="36"/>
                </a:lnTo>
                <a:lnTo>
                  <a:pt x="295" y="27"/>
                </a:lnTo>
                <a:lnTo>
                  <a:pt x="316" y="20"/>
                </a:lnTo>
                <a:lnTo>
                  <a:pt x="339" y="14"/>
                </a:lnTo>
                <a:lnTo>
                  <a:pt x="360" y="9"/>
                </a:lnTo>
                <a:lnTo>
                  <a:pt x="382" y="5"/>
                </a:lnTo>
                <a:lnTo>
                  <a:pt x="405" y="2"/>
                </a:lnTo>
                <a:lnTo>
                  <a:pt x="427" y="0"/>
                </a:lnTo>
                <a:lnTo>
                  <a:pt x="451" y="0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97352" name="Rectangle 8"/>
          <p:cNvSpPr>
            <a:spLocks noChangeArrowheads="1"/>
          </p:cNvSpPr>
          <p:nvPr/>
        </p:nvSpPr>
        <p:spPr bwMode="gray">
          <a:xfrm>
            <a:off x="2402231" y="3781289"/>
            <a:ext cx="112058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97354" name="Freeform 10"/>
          <p:cNvSpPr>
            <a:spLocks/>
          </p:cNvSpPr>
          <p:nvPr/>
        </p:nvSpPr>
        <p:spPr bwMode="gray">
          <a:xfrm>
            <a:off x="6821171" y="3106459"/>
            <a:ext cx="1485545" cy="1548942"/>
          </a:xfrm>
          <a:custGeom>
            <a:avLst/>
            <a:gdLst/>
            <a:ahLst/>
            <a:cxnLst>
              <a:cxn ang="0">
                <a:pos x="381" y="2"/>
              </a:cxn>
              <a:cxn ang="0">
                <a:pos x="314" y="12"/>
              </a:cxn>
              <a:cxn ang="0">
                <a:pos x="250" y="33"/>
              </a:cxn>
              <a:cxn ang="0">
                <a:pos x="191" y="61"/>
              </a:cxn>
              <a:cxn ang="0">
                <a:pos x="137" y="97"/>
              </a:cxn>
              <a:cxn ang="0">
                <a:pos x="89" y="141"/>
              </a:cxn>
              <a:cxn ang="0">
                <a:pos x="48" y="191"/>
              </a:cxn>
              <a:cxn ang="0">
                <a:pos x="14" y="246"/>
              </a:cxn>
              <a:cxn ang="0">
                <a:pos x="0" y="277"/>
              </a:cxn>
              <a:cxn ang="0">
                <a:pos x="0" y="625"/>
              </a:cxn>
              <a:cxn ang="0">
                <a:pos x="14" y="658"/>
              </a:cxn>
              <a:cxn ang="0">
                <a:pos x="48" y="714"/>
              </a:cxn>
              <a:cxn ang="0">
                <a:pos x="89" y="763"/>
              </a:cxn>
              <a:cxn ang="0">
                <a:pos x="137" y="808"/>
              </a:cxn>
              <a:cxn ang="0">
                <a:pos x="191" y="845"/>
              </a:cxn>
              <a:cxn ang="0">
                <a:pos x="250" y="873"/>
              </a:cxn>
              <a:cxn ang="0">
                <a:pos x="314" y="892"/>
              </a:cxn>
              <a:cxn ang="0">
                <a:pos x="381" y="902"/>
              </a:cxn>
              <a:cxn ang="0">
                <a:pos x="440" y="904"/>
              </a:cxn>
              <a:cxn ang="0">
                <a:pos x="485" y="899"/>
              </a:cxn>
              <a:cxn ang="0">
                <a:pos x="528" y="890"/>
              </a:cxn>
              <a:cxn ang="0">
                <a:pos x="571" y="877"/>
              </a:cxn>
              <a:cxn ang="0">
                <a:pos x="611" y="860"/>
              </a:cxn>
              <a:cxn ang="0">
                <a:pos x="651" y="839"/>
              </a:cxn>
              <a:cxn ang="0">
                <a:pos x="686" y="814"/>
              </a:cxn>
              <a:cxn ang="0">
                <a:pos x="719" y="787"/>
              </a:cxn>
              <a:cxn ang="0">
                <a:pos x="750" y="756"/>
              </a:cxn>
              <a:cxn ang="0">
                <a:pos x="778" y="722"/>
              </a:cxn>
              <a:cxn ang="0">
                <a:pos x="802" y="686"/>
              </a:cxn>
              <a:cxn ang="0">
                <a:pos x="823" y="648"/>
              </a:cxn>
              <a:cxn ang="0">
                <a:pos x="840" y="607"/>
              </a:cxn>
              <a:cxn ang="0">
                <a:pos x="853" y="565"/>
              </a:cxn>
              <a:cxn ang="0">
                <a:pos x="863" y="522"/>
              </a:cxn>
              <a:cxn ang="0">
                <a:pos x="867" y="475"/>
              </a:cxn>
              <a:cxn ang="0">
                <a:pos x="867" y="429"/>
              </a:cxn>
              <a:cxn ang="0">
                <a:pos x="863" y="384"/>
              </a:cxn>
              <a:cxn ang="0">
                <a:pos x="853" y="339"/>
              </a:cxn>
              <a:cxn ang="0">
                <a:pos x="840" y="297"/>
              </a:cxn>
              <a:cxn ang="0">
                <a:pos x="823" y="256"/>
              </a:cxn>
              <a:cxn ang="0">
                <a:pos x="802" y="218"/>
              </a:cxn>
              <a:cxn ang="0">
                <a:pos x="778" y="182"/>
              </a:cxn>
              <a:cxn ang="0">
                <a:pos x="750" y="149"/>
              </a:cxn>
              <a:cxn ang="0">
                <a:pos x="719" y="118"/>
              </a:cxn>
              <a:cxn ang="0">
                <a:pos x="686" y="90"/>
              </a:cxn>
              <a:cxn ang="0">
                <a:pos x="651" y="66"/>
              </a:cxn>
              <a:cxn ang="0">
                <a:pos x="611" y="45"/>
              </a:cxn>
              <a:cxn ang="0">
                <a:pos x="571" y="29"/>
              </a:cxn>
              <a:cxn ang="0">
                <a:pos x="528" y="14"/>
              </a:cxn>
              <a:cxn ang="0">
                <a:pos x="485" y="6"/>
              </a:cxn>
              <a:cxn ang="0">
                <a:pos x="440" y="2"/>
              </a:cxn>
            </a:cxnLst>
            <a:rect l="0" t="0" r="r" b="b"/>
            <a:pathLst>
              <a:path w="867" h="904">
                <a:moveTo>
                  <a:pt x="416" y="0"/>
                </a:moveTo>
                <a:lnTo>
                  <a:pt x="381" y="2"/>
                </a:lnTo>
                <a:lnTo>
                  <a:pt x="347" y="6"/>
                </a:lnTo>
                <a:lnTo>
                  <a:pt x="314" y="12"/>
                </a:lnTo>
                <a:lnTo>
                  <a:pt x="281" y="21"/>
                </a:lnTo>
                <a:lnTo>
                  <a:pt x="250" y="33"/>
                </a:lnTo>
                <a:lnTo>
                  <a:pt x="221" y="45"/>
                </a:lnTo>
                <a:lnTo>
                  <a:pt x="191" y="61"/>
                </a:lnTo>
                <a:lnTo>
                  <a:pt x="163" y="78"/>
                </a:lnTo>
                <a:lnTo>
                  <a:pt x="137" y="97"/>
                </a:lnTo>
                <a:lnTo>
                  <a:pt x="113" y="118"/>
                </a:lnTo>
                <a:lnTo>
                  <a:pt x="89" y="141"/>
                </a:lnTo>
                <a:lnTo>
                  <a:pt x="68" y="165"/>
                </a:lnTo>
                <a:lnTo>
                  <a:pt x="48" y="191"/>
                </a:lnTo>
                <a:lnTo>
                  <a:pt x="30" y="218"/>
                </a:lnTo>
                <a:lnTo>
                  <a:pt x="14" y="246"/>
                </a:lnTo>
                <a:lnTo>
                  <a:pt x="0" y="277"/>
                </a:lnTo>
                <a:lnTo>
                  <a:pt x="0" y="277"/>
                </a:lnTo>
                <a:lnTo>
                  <a:pt x="196" y="451"/>
                </a:lnTo>
                <a:lnTo>
                  <a:pt x="0" y="625"/>
                </a:lnTo>
                <a:lnTo>
                  <a:pt x="0" y="628"/>
                </a:lnTo>
                <a:lnTo>
                  <a:pt x="14" y="658"/>
                </a:lnTo>
                <a:lnTo>
                  <a:pt x="30" y="686"/>
                </a:lnTo>
                <a:lnTo>
                  <a:pt x="48" y="714"/>
                </a:lnTo>
                <a:lnTo>
                  <a:pt x="68" y="739"/>
                </a:lnTo>
                <a:lnTo>
                  <a:pt x="89" y="763"/>
                </a:lnTo>
                <a:lnTo>
                  <a:pt x="113" y="787"/>
                </a:lnTo>
                <a:lnTo>
                  <a:pt x="137" y="808"/>
                </a:lnTo>
                <a:lnTo>
                  <a:pt x="163" y="826"/>
                </a:lnTo>
                <a:lnTo>
                  <a:pt x="191" y="845"/>
                </a:lnTo>
                <a:lnTo>
                  <a:pt x="221" y="860"/>
                </a:lnTo>
                <a:lnTo>
                  <a:pt x="250" y="873"/>
                </a:lnTo>
                <a:lnTo>
                  <a:pt x="281" y="884"/>
                </a:lnTo>
                <a:lnTo>
                  <a:pt x="314" y="892"/>
                </a:lnTo>
                <a:lnTo>
                  <a:pt x="347" y="899"/>
                </a:lnTo>
                <a:lnTo>
                  <a:pt x="381" y="902"/>
                </a:lnTo>
                <a:lnTo>
                  <a:pt x="416" y="904"/>
                </a:lnTo>
                <a:lnTo>
                  <a:pt x="440" y="904"/>
                </a:lnTo>
                <a:lnTo>
                  <a:pt x="462" y="902"/>
                </a:lnTo>
                <a:lnTo>
                  <a:pt x="485" y="899"/>
                </a:lnTo>
                <a:lnTo>
                  <a:pt x="507" y="895"/>
                </a:lnTo>
                <a:lnTo>
                  <a:pt x="528" y="890"/>
                </a:lnTo>
                <a:lnTo>
                  <a:pt x="551" y="884"/>
                </a:lnTo>
                <a:lnTo>
                  <a:pt x="571" y="877"/>
                </a:lnTo>
                <a:lnTo>
                  <a:pt x="592" y="868"/>
                </a:lnTo>
                <a:lnTo>
                  <a:pt x="611" y="860"/>
                </a:lnTo>
                <a:lnTo>
                  <a:pt x="631" y="849"/>
                </a:lnTo>
                <a:lnTo>
                  <a:pt x="651" y="839"/>
                </a:lnTo>
                <a:lnTo>
                  <a:pt x="669" y="826"/>
                </a:lnTo>
                <a:lnTo>
                  <a:pt x="686" y="814"/>
                </a:lnTo>
                <a:lnTo>
                  <a:pt x="703" y="801"/>
                </a:lnTo>
                <a:lnTo>
                  <a:pt x="719" y="787"/>
                </a:lnTo>
                <a:lnTo>
                  <a:pt x="735" y="772"/>
                </a:lnTo>
                <a:lnTo>
                  <a:pt x="750" y="756"/>
                </a:lnTo>
                <a:lnTo>
                  <a:pt x="764" y="739"/>
                </a:lnTo>
                <a:lnTo>
                  <a:pt x="778" y="722"/>
                </a:lnTo>
                <a:lnTo>
                  <a:pt x="791" y="706"/>
                </a:lnTo>
                <a:lnTo>
                  <a:pt x="802" y="686"/>
                </a:lnTo>
                <a:lnTo>
                  <a:pt x="814" y="668"/>
                </a:lnTo>
                <a:lnTo>
                  <a:pt x="823" y="648"/>
                </a:lnTo>
                <a:lnTo>
                  <a:pt x="832" y="628"/>
                </a:lnTo>
                <a:lnTo>
                  <a:pt x="840" y="607"/>
                </a:lnTo>
                <a:lnTo>
                  <a:pt x="847" y="586"/>
                </a:lnTo>
                <a:lnTo>
                  <a:pt x="853" y="565"/>
                </a:lnTo>
                <a:lnTo>
                  <a:pt x="859" y="544"/>
                </a:lnTo>
                <a:lnTo>
                  <a:pt x="863" y="522"/>
                </a:lnTo>
                <a:lnTo>
                  <a:pt x="866" y="499"/>
                </a:lnTo>
                <a:lnTo>
                  <a:pt x="867" y="475"/>
                </a:lnTo>
                <a:lnTo>
                  <a:pt x="867" y="453"/>
                </a:lnTo>
                <a:lnTo>
                  <a:pt x="867" y="429"/>
                </a:lnTo>
                <a:lnTo>
                  <a:pt x="866" y="406"/>
                </a:lnTo>
                <a:lnTo>
                  <a:pt x="863" y="384"/>
                </a:lnTo>
                <a:lnTo>
                  <a:pt x="859" y="361"/>
                </a:lnTo>
                <a:lnTo>
                  <a:pt x="853" y="339"/>
                </a:lnTo>
                <a:lnTo>
                  <a:pt x="847" y="318"/>
                </a:lnTo>
                <a:lnTo>
                  <a:pt x="840" y="297"/>
                </a:lnTo>
                <a:lnTo>
                  <a:pt x="832" y="277"/>
                </a:lnTo>
                <a:lnTo>
                  <a:pt x="823" y="256"/>
                </a:lnTo>
                <a:lnTo>
                  <a:pt x="814" y="236"/>
                </a:lnTo>
                <a:lnTo>
                  <a:pt x="802" y="218"/>
                </a:lnTo>
                <a:lnTo>
                  <a:pt x="791" y="200"/>
                </a:lnTo>
                <a:lnTo>
                  <a:pt x="778" y="182"/>
                </a:lnTo>
                <a:lnTo>
                  <a:pt x="764" y="165"/>
                </a:lnTo>
                <a:lnTo>
                  <a:pt x="750" y="149"/>
                </a:lnTo>
                <a:lnTo>
                  <a:pt x="735" y="132"/>
                </a:lnTo>
                <a:lnTo>
                  <a:pt x="719" y="118"/>
                </a:lnTo>
                <a:lnTo>
                  <a:pt x="703" y="104"/>
                </a:lnTo>
                <a:lnTo>
                  <a:pt x="686" y="90"/>
                </a:lnTo>
                <a:lnTo>
                  <a:pt x="669" y="78"/>
                </a:lnTo>
                <a:lnTo>
                  <a:pt x="651" y="66"/>
                </a:lnTo>
                <a:lnTo>
                  <a:pt x="631" y="55"/>
                </a:lnTo>
                <a:lnTo>
                  <a:pt x="611" y="45"/>
                </a:lnTo>
                <a:lnTo>
                  <a:pt x="592" y="36"/>
                </a:lnTo>
                <a:lnTo>
                  <a:pt x="571" y="29"/>
                </a:lnTo>
                <a:lnTo>
                  <a:pt x="551" y="21"/>
                </a:lnTo>
                <a:lnTo>
                  <a:pt x="528" y="14"/>
                </a:lnTo>
                <a:lnTo>
                  <a:pt x="507" y="10"/>
                </a:lnTo>
                <a:lnTo>
                  <a:pt x="485" y="6"/>
                </a:lnTo>
                <a:lnTo>
                  <a:pt x="462" y="3"/>
                </a:lnTo>
                <a:lnTo>
                  <a:pt x="440" y="2"/>
                </a:lnTo>
                <a:lnTo>
                  <a:pt x="416" y="0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97355" name="Rectangle 11"/>
          <p:cNvSpPr>
            <a:spLocks noChangeArrowheads="1"/>
          </p:cNvSpPr>
          <p:nvPr/>
        </p:nvSpPr>
        <p:spPr bwMode="gray">
          <a:xfrm>
            <a:off x="7172425" y="3781289"/>
            <a:ext cx="112058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97357" name="Freeform 13"/>
          <p:cNvSpPr>
            <a:spLocks/>
          </p:cNvSpPr>
          <p:nvPr/>
        </p:nvSpPr>
        <p:spPr bwMode="gray">
          <a:xfrm>
            <a:off x="4571435" y="913266"/>
            <a:ext cx="1548942" cy="1485545"/>
          </a:xfrm>
          <a:custGeom>
            <a:avLst/>
            <a:gdLst/>
            <a:ahLst/>
            <a:cxnLst>
              <a:cxn ang="0">
                <a:pos x="2" y="486"/>
              </a:cxn>
              <a:cxn ang="0">
                <a:pos x="12" y="553"/>
              </a:cxn>
              <a:cxn ang="0">
                <a:pos x="33" y="617"/>
              </a:cxn>
              <a:cxn ang="0">
                <a:pos x="61" y="676"/>
              </a:cxn>
              <a:cxn ang="0">
                <a:pos x="97" y="730"/>
              </a:cxn>
              <a:cxn ang="0">
                <a:pos x="141" y="778"/>
              </a:cxn>
              <a:cxn ang="0">
                <a:pos x="191" y="819"/>
              </a:cxn>
              <a:cxn ang="0">
                <a:pos x="246" y="853"/>
              </a:cxn>
              <a:cxn ang="0">
                <a:pos x="277" y="867"/>
              </a:cxn>
              <a:cxn ang="0">
                <a:pos x="625" y="867"/>
              </a:cxn>
              <a:cxn ang="0">
                <a:pos x="658" y="853"/>
              </a:cxn>
              <a:cxn ang="0">
                <a:pos x="714" y="819"/>
              </a:cxn>
              <a:cxn ang="0">
                <a:pos x="763" y="778"/>
              </a:cxn>
              <a:cxn ang="0">
                <a:pos x="808" y="730"/>
              </a:cxn>
              <a:cxn ang="0">
                <a:pos x="845" y="676"/>
              </a:cxn>
              <a:cxn ang="0">
                <a:pos x="873" y="617"/>
              </a:cxn>
              <a:cxn ang="0">
                <a:pos x="892" y="553"/>
              </a:cxn>
              <a:cxn ang="0">
                <a:pos x="902" y="486"/>
              </a:cxn>
              <a:cxn ang="0">
                <a:pos x="904" y="427"/>
              </a:cxn>
              <a:cxn ang="0">
                <a:pos x="899" y="382"/>
              </a:cxn>
              <a:cxn ang="0">
                <a:pos x="890" y="339"/>
              </a:cxn>
              <a:cxn ang="0">
                <a:pos x="877" y="296"/>
              </a:cxn>
              <a:cxn ang="0">
                <a:pos x="860" y="256"/>
              </a:cxn>
              <a:cxn ang="0">
                <a:pos x="839" y="216"/>
              </a:cxn>
              <a:cxn ang="0">
                <a:pos x="814" y="181"/>
              </a:cxn>
              <a:cxn ang="0">
                <a:pos x="787" y="148"/>
              </a:cxn>
              <a:cxn ang="0">
                <a:pos x="756" y="117"/>
              </a:cxn>
              <a:cxn ang="0">
                <a:pos x="722" y="89"/>
              </a:cxn>
              <a:cxn ang="0">
                <a:pos x="686" y="65"/>
              </a:cxn>
              <a:cxn ang="0">
                <a:pos x="648" y="44"/>
              </a:cxn>
              <a:cxn ang="0">
                <a:pos x="607" y="27"/>
              </a:cxn>
              <a:cxn ang="0">
                <a:pos x="565" y="14"/>
              </a:cxn>
              <a:cxn ang="0">
                <a:pos x="522" y="4"/>
              </a:cxn>
              <a:cxn ang="0">
                <a:pos x="475" y="0"/>
              </a:cxn>
              <a:cxn ang="0">
                <a:pos x="429" y="0"/>
              </a:cxn>
              <a:cxn ang="0">
                <a:pos x="384" y="4"/>
              </a:cxn>
              <a:cxn ang="0">
                <a:pos x="339" y="14"/>
              </a:cxn>
              <a:cxn ang="0">
                <a:pos x="297" y="27"/>
              </a:cxn>
              <a:cxn ang="0">
                <a:pos x="256" y="44"/>
              </a:cxn>
              <a:cxn ang="0">
                <a:pos x="218" y="65"/>
              </a:cxn>
              <a:cxn ang="0">
                <a:pos x="182" y="89"/>
              </a:cxn>
              <a:cxn ang="0">
                <a:pos x="149" y="117"/>
              </a:cxn>
              <a:cxn ang="0">
                <a:pos x="118" y="148"/>
              </a:cxn>
              <a:cxn ang="0">
                <a:pos x="90" y="181"/>
              </a:cxn>
              <a:cxn ang="0">
                <a:pos x="66" y="216"/>
              </a:cxn>
              <a:cxn ang="0">
                <a:pos x="45" y="256"/>
              </a:cxn>
              <a:cxn ang="0">
                <a:pos x="29" y="296"/>
              </a:cxn>
              <a:cxn ang="0">
                <a:pos x="14" y="339"/>
              </a:cxn>
              <a:cxn ang="0">
                <a:pos x="6" y="382"/>
              </a:cxn>
              <a:cxn ang="0">
                <a:pos x="2" y="427"/>
              </a:cxn>
            </a:cxnLst>
            <a:rect l="0" t="0" r="r" b="b"/>
            <a:pathLst>
              <a:path w="904" h="867">
                <a:moveTo>
                  <a:pt x="0" y="451"/>
                </a:moveTo>
                <a:lnTo>
                  <a:pt x="2" y="486"/>
                </a:lnTo>
                <a:lnTo>
                  <a:pt x="6" y="520"/>
                </a:lnTo>
                <a:lnTo>
                  <a:pt x="12" y="553"/>
                </a:lnTo>
                <a:lnTo>
                  <a:pt x="21" y="586"/>
                </a:lnTo>
                <a:lnTo>
                  <a:pt x="33" y="617"/>
                </a:lnTo>
                <a:lnTo>
                  <a:pt x="45" y="646"/>
                </a:lnTo>
                <a:lnTo>
                  <a:pt x="61" y="676"/>
                </a:lnTo>
                <a:lnTo>
                  <a:pt x="78" y="704"/>
                </a:lnTo>
                <a:lnTo>
                  <a:pt x="97" y="730"/>
                </a:lnTo>
                <a:lnTo>
                  <a:pt x="118" y="754"/>
                </a:lnTo>
                <a:lnTo>
                  <a:pt x="141" y="778"/>
                </a:lnTo>
                <a:lnTo>
                  <a:pt x="165" y="799"/>
                </a:lnTo>
                <a:lnTo>
                  <a:pt x="191" y="819"/>
                </a:lnTo>
                <a:lnTo>
                  <a:pt x="218" y="837"/>
                </a:lnTo>
                <a:lnTo>
                  <a:pt x="246" y="853"/>
                </a:lnTo>
                <a:lnTo>
                  <a:pt x="277" y="867"/>
                </a:lnTo>
                <a:lnTo>
                  <a:pt x="277" y="867"/>
                </a:lnTo>
                <a:lnTo>
                  <a:pt x="451" y="671"/>
                </a:lnTo>
                <a:lnTo>
                  <a:pt x="625" y="867"/>
                </a:lnTo>
                <a:lnTo>
                  <a:pt x="628" y="867"/>
                </a:lnTo>
                <a:lnTo>
                  <a:pt x="658" y="853"/>
                </a:lnTo>
                <a:lnTo>
                  <a:pt x="686" y="837"/>
                </a:lnTo>
                <a:lnTo>
                  <a:pt x="714" y="819"/>
                </a:lnTo>
                <a:lnTo>
                  <a:pt x="739" y="799"/>
                </a:lnTo>
                <a:lnTo>
                  <a:pt x="763" y="778"/>
                </a:lnTo>
                <a:lnTo>
                  <a:pt x="787" y="754"/>
                </a:lnTo>
                <a:lnTo>
                  <a:pt x="808" y="730"/>
                </a:lnTo>
                <a:lnTo>
                  <a:pt x="826" y="704"/>
                </a:lnTo>
                <a:lnTo>
                  <a:pt x="845" y="676"/>
                </a:lnTo>
                <a:lnTo>
                  <a:pt x="860" y="646"/>
                </a:lnTo>
                <a:lnTo>
                  <a:pt x="873" y="617"/>
                </a:lnTo>
                <a:lnTo>
                  <a:pt x="884" y="586"/>
                </a:lnTo>
                <a:lnTo>
                  <a:pt x="892" y="553"/>
                </a:lnTo>
                <a:lnTo>
                  <a:pt x="899" y="520"/>
                </a:lnTo>
                <a:lnTo>
                  <a:pt x="902" y="486"/>
                </a:lnTo>
                <a:lnTo>
                  <a:pt x="904" y="451"/>
                </a:lnTo>
                <a:lnTo>
                  <a:pt x="904" y="427"/>
                </a:lnTo>
                <a:lnTo>
                  <a:pt x="902" y="405"/>
                </a:lnTo>
                <a:lnTo>
                  <a:pt x="899" y="382"/>
                </a:lnTo>
                <a:lnTo>
                  <a:pt x="895" y="360"/>
                </a:lnTo>
                <a:lnTo>
                  <a:pt x="890" y="339"/>
                </a:lnTo>
                <a:lnTo>
                  <a:pt x="884" y="316"/>
                </a:lnTo>
                <a:lnTo>
                  <a:pt x="877" y="296"/>
                </a:lnTo>
                <a:lnTo>
                  <a:pt x="868" y="275"/>
                </a:lnTo>
                <a:lnTo>
                  <a:pt x="860" y="256"/>
                </a:lnTo>
                <a:lnTo>
                  <a:pt x="849" y="236"/>
                </a:lnTo>
                <a:lnTo>
                  <a:pt x="839" y="216"/>
                </a:lnTo>
                <a:lnTo>
                  <a:pt x="826" y="198"/>
                </a:lnTo>
                <a:lnTo>
                  <a:pt x="814" y="181"/>
                </a:lnTo>
                <a:lnTo>
                  <a:pt x="801" y="164"/>
                </a:lnTo>
                <a:lnTo>
                  <a:pt x="787" y="148"/>
                </a:lnTo>
                <a:lnTo>
                  <a:pt x="772" y="132"/>
                </a:lnTo>
                <a:lnTo>
                  <a:pt x="756" y="117"/>
                </a:lnTo>
                <a:lnTo>
                  <a:pt x="739" y="103"/>
                </a:lnTo>
                <a:lnTo>
                  <a:pt x="722" y="89"/>
                </a:lnTo>
                <a:lnTo>
                  <a:pt x="704" y="76"/>
                </a:lnTo>
                <a:lnTo>
                  <a:pt x="686" y="65"/>
                </a:lnTo>
                <a:lnTo>
                  <a:pt x="668" y="53"/>
                </a:lnTo>
                <a:lnTo>
                  <a:pt x="648" y="44"/>
                </a:lnTo>
                <a:lnTo>
                  <a:pt x="628" y="35"/>
                </a:lnTo>
                <a:lnTo>
                  <a:pt x="607" y="27"/>
                </a:lnTo>
                <a:lnTo>
                  <a:pt x="586" y="20"/>
                </a:lnTo>
                <a:lnTo>
                  <a:pt x="565" y="14"/>
                </a:lnTo>
                <a:lnTo>
                  <a:pt x="544" y="8"/>
                </a:lnTo>
                <a:lnTo>
                  <a:pt x="522" y="4"/>
                </a:lnTo>
                <a:lnTo>
                  <a:pt x="499" y="1"/>
                </a:lnTo>
                <a:lnTo>
                  <a:pt x="475" y="0"/>
                </a:lnTo>
                <a:lnTo>
                  <a:pt x="453" y="0"/>
                </a:lnTo>
                <a:lnTo>
                  <a:pt x="429" y="0"/>
                </a:lnTo>
                <a:lnTo>
                  <a:pt x="406" y="1"/>
                </a:lnTo>
                <a:lnTo>
                  <a:pt x="384" y="4"/>
                </a:lnTo>
                <a:lnTo>
                  <a:pt x="361" y="8"/>
                </a:lnTo>
                <a:lnTo>
                  <a:pt x="339" y="14"/>
                </a:lnTo>
                <a:lnTo>
                  <a:pt x="318" y="20"/>
                </a:lnTo>
                <a:lnTo>
                  <a:pt x="297" y="27"/>
                </a:lnTo>
                <a:lnTo>
                  <a:pt x="277" y="35"/>
                </a:lnTo>
                <a:lnTo>
                  <a:pt x="256" y="44"/>
                </a:lnTo>
                <a:lnTo>
                  <a:pt x="236" y="53"/>
                </a:lnTo>
                <a:lnTo>
                  <a:pt x="218" y="65"/>
                </a:lnTo>
                <a:lnTo>
                  <a:pt x="200" y="76"/>
                </a:lnTo>
                <a:lnTo>
                  <a:pt x="182" y="89"/>
                </a:lnTo>
                <a:lnTo>
                  <a:pt x="165" y="103"/>
                </a:lnTo>
                <a:lnTo>
                  <a:pt x="149" y="117"/>
                </a:lnTo>
                <a:lnTo>
                  <a:pt x="132" y="132"/>
                </a:lnTo>
                <a:lnTo>
                  <a:pt x="118" y="148"/>
                </a:lnTo>
                <a:lnTo>
                  <a:pt x="104" y="164"/>
                </a:lnTo>
                <a:lnTo>
                  <a:pt x="90" y="181"/>
                </a:lnTo>
                <a:lnTo>
                  <a:pt x="78" y="198"/>
                </a:lnTo>
                <a:lnTo>
                  <a:pt x="66" y="216"/>
                </a:lnTo>
                <a:lnTo>
                  <a:pt x="55" y="236"/>
                </a:lnTo>
                <a:lnTo>
                  <a:pt x="45" y="256"/>
                </a:lnTo>
                <a:lnTo>
                  <a:pt x="36" y="275"/>
                </a:lnTo>
                <a:lnTo>
                  <a:pt x="29" y="296"/>
                </a:lnTo>
                <a:lnTo>
                  <a:pt x="21" y="316"/>
                </a:lnTo>
                <a:lnTo>
                  <a:pt x="14" y="339"/>
                </a:lnTo>
                <a:lnTo>
                  <a:pt x="10" y="360"/>
                </a:lnTo>
                <a:lnTo>
                  <a:pt x="6" y="382"/>
                </a:lnTo>
                <a:lnTo>
                  <a:pt x="3" y="405"/>
                </a:lnTo>
                <a:lnTo>
                  <a:pt x="2" y="427"/>
                </a:lnTo>
                <a:lnTo>
                  <a:pt x="0" y="451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97358" name="Rectangle 14"/>
          <p:cNvSpPr>
            <a:spLocks noChangeArrowheads="1"/>
          </p:cNvSpPr>
          <p:nvPr/>
        </p:nvSpPr>
        <p:spPr bwMode="gray">
          <a:xfrm>
            <a:off x="4785615" y="1555541"/>
            <a:ext cx="112058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97360" name="Freeform 16"/>
          <p:cNvSpPr>
            <a:spLocks/>
          </p:cNvSpPr>
          <p:nvPr/>
        </p:nvSpPr>
        <p:spPr bwMode="gray">
          <a:xfrm>
            <a:off x="4571435" y="5349341"/>
            <a:ext cx="1548942" cy="1485546"/>
          </a:xfrm>
          <a:custGeom>
            <a:avLst/>
            <a:gdLst/>
            <a:ahLst/>
            <a:cxnLst>
              <a:cxn ang="0">
                <a:pos x="2" y="381"/>
              </a:cxn>
              <a:cxn ang="0">
                <a:pos x="12" y="314"/>
              </a:cxn>
              <a:cxn ang="0">
                <a:pos x="31" y="250"/>
              </a:cxn>
              <a:cxn ang="0">
                <a:pos x="59" y="191"/>
              </a:cxn>
              <a:cxn ang="0">
                <a:pos x="96" y="137"/>
              </a:cxn>
              <a:cxn ang="0">
                <a:pos x="141" y="89"/>
              </a:cxn>
              <a:cxn ang="0">
                <a:pos x="190" y="48"/>
              </a:cxn>
              <a:cxn ang="0">
                <a:pos x="246" y="14"/>
              </a:cxn>
              <a:cxn ang="0">
                <a:pos x="277" y="0"/>
              </a:cxn>
              <a:cxn ang="0">
                <a:pos x="625" y="0"/>
              </a:cxn>
              <a:cxn ang="0">
                <a:pos x="656" y="14"/>
              </a:cxn>
              <a:cxn ang="0">
                <a:pos x="713" y="48"/>
              </a:cxn>
              <a:cxn ang="0">
                <a:pos x="763" y="89"/>
              </a:cxn>
              <a:cxn ang="0">
                <a:pos x="807" y="137"/>
              </a:cxn>
              <a:cxn ang="0">
                <a:pos x="843" y="191"/>
              </a:cxn>
              <a:cxn ang="0">
                <a:pos x="871" y="250"/>
              </a:cxn>
              <a:cxn ang="0">
                <a:pos x="892" y="314"/>
              </a:cxn>
              <a:cxn ang="0">
                <a:pos x="902" y="381"/>
              </a:cxn>
              <a:cxn ang="0">
                <a:pos x="902" y="440"/>
              </a:cxn>
              <a:cxn ang="0">
                <a:pos x="898" y="485"/>
              </a:cxn>
              <a:cxn ang="0">
                <a:pos x="890" y="528"/>
              </a:cxn>
              <a:cxn ang="0">
                <a:pos x="875" y="572"/>
              </a:cxn>
              <a:cxn ang="0">
                <a:pos x="859" y="611"/>
              </a:cxn>
              <a:cxn ang="0">
                <a:pos x="838" y="651"/>
              </a:cxn>
              <a:cxn ang="0">
                <a:pos x="814" y="686"/>
              </a:cxn>
              <a:cxn ang="0">
                <a:pos x="786" y="719"/>
              </a:cxn>
              <a:cxn ang="0">
                <a:pos x="755" y="750"/>
              </a:cxn>
              <a:cxn ang="0">
                <a:pos x="722" y="778"/>
              </a:cxn>
              <a:cxn ang="0">
                <a:pos x="686" y="802"/>
              </a:cxn>
              <a:cxn ang="0">
                <a:pos x="648" y="823"/>
              </a:cxn>
              <a:cxn ang="0">
                <a:pos x="607" y="840"/>
              </a:cxn>
              <a:cxn ang="0">
                <a:pos x="565" y="853"/>
              </a:cxn>
              <a:cxn ang="0">
                <a:pos x="520" y="863"/>
              </a:cxn>
              <a:cxn ang="0">
                <a:pos x="475" y="867"/>
              </a:cxn>
              <a:cxn ang="0">
                <a:pos x="429" y="867"/>
              </a:cxn>
              <a:cxn ang="0">
                <a:pos x="382" y="863"/>
              </a:cxn>
              <a:cxn ang="0">
                <a:pos x="339" y="853"/>
              </a:cxn>
              <a:cxn ang="0">
                <a:pos x="297" y="840"/>
              </a:cxn>
              <a:cxn ang="0">
                <a:pos x="256" y="823"/>
              </a:cxn>
              <a:cxn ang="0">
                <a:pos x="218" y="802"/>
              </a:cxn>
              <a:cxn ang="0">
                <a:pos x="182" y="778"/>
              </a:cxn>
              <a:cxn ang="0">
                <a:pos x="148" y="750"/>
              </a:cxn>
              <a:cxn ang="0">
                <a:pos x="117" y="719"/>
              </a:cxn>
              <a:cxn ang="0">
                <a:pos x="90" y="686"/>
              </a:cxn>
              <a:cxn ang="0">
                <a:pos x="65" y="651"/>
              </a:cxn>
              <a:cxn ang="0">
                <a:pos x="44" y="611"/>
              </a:cxn>
              <a:cxn ang="0">
                <a:pos x="27" y="572"/>
              </a:cxn>
              <a:cxn ang="0">
                <a:pos x="14" y="528"/>
              </a:cxn>
              <a:cxn ang="0">
                <a:pos x="5" y="485"/>
              </a:cxn>
              <a:cxn ang="0">
                <a:pos x="0" y="440"/>
              </a:cxn>
            </a:cxnLst>
            <a:rect l="0" t="0" r="r" b="b"/>
            <a:pathLst>
              <a:path w="904" h="867">
                <a:moveTo>
                  <a:pt x="0" y="416"/>
                </a:moveTo>
                <a:lnTo>
                  <a:pt x="2" y="381"/>
                </a:lnTo>
                <a:lnTo>
                  <a:pt x="5" y="347"/>
                </a:lnTo>
                <a:lnTo>
                  <a:pt x="12" y="314"/>
                </a:lnTo>
                <a:lnTo>
                  <a:pt x="20" y="281"/>
                </a:lnTo>
                <a:lnTo>
                  <a:pt x="31" y="250"/>
                </a:lnTo>
                <a:lnTo>
                  <a:pt x="44" y="221"/>
                </a:lnTo>
                <a:lnTo>
                  <a:pt x="59" y="191"/>
                </a:lnTo>
                <a:lnTo>
                  <a:pt x="78" y="163"/>
                </a:lnTo>
                <a:lnTo>
                  <a:pt x="96" y="137"/>
                </a:lnTo>
                <a:lnTo>
                  <a:pt x="117" y="113"/>
                </a:lnTo>
                <a:lnTo>
                  <a:pt x="141" y="89"/>
                </a:lnTo>
                <a:lnTo>
                  <a:pt x="165" y="68"/>
                </a:lnTo>
                <a:lnTo>
                  <a:pt x="190" y="48"/>
                </a:lnTo>
                <a:lnTo>
                  <a:pt x="218" y="30"/>
                </a:lnTo>
                <a:lnTo>
                  <a:pt x="246" y="14"/>
                </a:lnTo>
                <a:lnTo>
                  <a:pt x="276" y="0"/>
                </a:lnTo>
                <a:lnTo>
                  <a:pt x="277" y="0"/>
                </a:lnTo>
                <a:lnTo>
                  <a:pt x="451" y="196"/>
                </a:lnTo>
                <a:lnTo>
                  <a:pt x="625" y="0"/>
                </a:lnTo>
                <a:lnTo>
                  <a:pt x="627" y="0"/>
                </a:lnTo>
                <a:lnTo>
                  <a:pt x="656" y="14"/>
                </a:lnTo>
                <a:lnTo>
                  <a:pt x="686" y="30"/>
                </a:lnTo>
                <a:lnTo>
                  <a:pt x="713" y="48"/>
                </a:lnTo>
                <a:lnTo>
                  <a:pt x="739" y="68"/>
                </a:lnTo>
                <a:lnTo>
                  <a:pt x="763" y="89"/>
                </a:lnTo>
                <a:lnTo>
                  <a:pt x="786" y="113"/>
                </a:lnTo>
                <a:lnTo>
                  <a:pt x="807" y="137"/>
                </a:lnTo>
                <a:lnTo>
                  <a:pt x="826" y="163"/>
                </a:lnTo>
                <a:lnTo>
                  <a:pt x="843" y="191"/>
                </a:lnTo>
                <a:lnTo>
                  <a:pt x="859" y="221"/>
                </a:lnTo>
                <a:lnTo>
                  <a:pt x="871" y="250"/>
                </a:lnTo>
                <a:lnTo>
                  <a:pt x="883" y="281"/>
                </a:lnTo>
                <a:lnTo>
                  <a:pt x="892" y="314"/>
                </a:lnTo>
                <a:lnTo>
                  <a:pt x="898" y="347"/>
                </a:lnTo>
                <a:lnTo>
                  <a:pt x="902" y="381"/>
                </a:lnTo>
                <a:lnTo>
                  <a:pt x="904" y="416"/>
                </a:lnTo>
                <a:lnTo>
                  <a:pt x="902" y="440"/>
                </a:lnTo>
                <a:lnTo>
                  <a:pt x="901" y="462"/>
                </a:lnTo>
                <a:lnTo>
                  <a:pt x="898" y="485"/>
                </a:lnTo>
                <a:lnTo>
                  <a:pt x="894" y="507"/>
                </a:lnTo>
                <a:lnTo>
                  <a:pt x="890" y="528"/>
                </a:lnTo>
                <a:lnTo>
                  <a:pt x="883" y="551"/>
                </a:lnTo>
                <a:lnTo>
                  <a:pt x="875" y="572"/>
                </a:lnTo>
                <a:lnTo>
                  <a:pt x="868" y="592"/>
                </a:lnTo>
                <a:lnTo>
                  <a:pt x="859" y="611"/>
                </a:lnTo>
                <a:lnTo>
                  <a:pt x="849" y="631"/>
                </a:lnTo>
                <a:lnTo>
                  <a:pt x="838" y="651"/>
                </a:lnTo>
                <a:lnTo>
                  <a:pt x="826" y="669"/>
                </a:lnTo>
                <a:lnTo>
                  <a:pt x="814" y="686"/>
                </a:lnTo>
                <a:lnTo>
                  <a:pt x="800" y="703"/>
                </a:lnTo>
                <a:lnTo>
                  <a:pt x="786" y="719"/>
                </a:lnTo>
                <a:lnTo>
                  <a:pt x="772" y="735"/>
                </a:lnTo>
                <a:lnTo>
                  <a:pt x="755" y="750"/>
                </a:lnTo>
                <a:lnTo>
                  <a:pt x="739" y="764"/>
                </a:lnTo>
                <a:lnTo>
                  <a:pt x="722" y="778"/>
                </a:lnTo>
                <a:lnTo>
                  <a:pt x="704" y="791"/>
                </a:lnTo>
                <a:lnTo>
                  <a:pt x="686" y="802"/>
                </a:lnTo>
                <a:lnTo>
                  <a:pt x="668" y="814"/>
                </a:lnTo>
                <a:lnTo>
                  <a:pt x="648" y="823"/>
                </a:lnTo>
                <a:lnTo>
                  <a:pt x="627" y="832"/>
                </a:lnTo>
                <a:lnTo>
                  <a:pt x="607" y="840"/>
                </a:lnTo>
                <a:lnTo>
                  <a:pt x="586" y="847"/>
                </a:lnTo>
                <a:lnTo>
                  <a:pt x="565" y="853"/>
                </a:lnTo>
                <a:lnTo>
                  <a:pt x="543" y="859"/>
                </a:lnTo>
                <a:lnTo>
                  <a:pt x="520" y="863"/>
                </a:lnTo>
                <a:lnTo>
                  <a:pt x="498" y="866"/>
                </a:lnTo>
                <a:lnTo>
                  <a:pt x="475" y="867"/>
                </a:lnTo>
                <a:lnTo>
                  <a:pt x="451" y="867"/>
                </a:lnTo>
                <a:lnTo>
                  <a:pt x="429" y="867"/>
                </a:lnTo>
                <a:lnTo>
                  <a:pt x="405" y="866"/>
                </a:lnTo>
                <a:lnTo>
                  <a:pt x="382" y="863"/>
                </a:lnTo>
                <a:lnTo>
                  <a:pt x="360" y="859"/>
                </a:lnTo>
                <a:lnTo>
                  <a:pt x="339" y="853"/>
                </a:lnTo>
                <a:lnTo>
                  <a:pt x="318" y="847"/>
                </a:lnTo>
                <a:lnTo>
                  <a:pt x="297" y="840"/>
                </a:lnTo>
                <a:lnTo>
                  <a:pt x="276" y="832"/>
                </a:lnTo>
                <a:lnTo>
                  <a:pt x="256" y="823"/>
                </a:lnTo>
                <a:lnTo>
                  <a:pt x="236" y="814"/>
                </a:lnTo>
                <a:lnTo>
                  <a:pt x="218" y="802"/>
                </a:lnTo>
                <a:lnTo>
                  <a:pt x="198" y="791"/>
                </a:lnTo>
                <a:lnTo>
                  <a:pt x="182" y="778"/>
                </a:lnTo>
                <a:lnTo>
                  <a:pt x="165" y="764"/>
                </a:lnTo>
                <a:lnTo>
                  <a:pt x="148" y="750"/>
                </a:lnTo>
                <a:lnTo>
                  <a:pt x="132" y="735"/>
                </a:lnTo>
                <a:lnTo>
                  <a:pt x="117" y="719"/>
                </a:lnTo>
                <a:lnTo>
                  <a:pt x="103" y="703"/>
                </a:lnTo>
                <a:lnTo>
                  <a:pt x="90" y="686"/>
                </a:lnTo>
                <a:lnTo>
                  <a:pt x="78" y="669"/>
                </a:lnTo>
                <a:lnTo>
                  <a:pt x="65" y="651"/>
                </a:lnTo>
                <a:lnTo>
                  <a:pt x="55" y="631"/>
                </a:lnTo>
                <a:lnTo>
                  <a:pt x="44" y="611"/>
                </a:lnTo>
                <a:lnTo>
                  <a:pt x="36" y="592"/>
                </a:lnTo>
                <a:lnTo>
                  <a:pt x="27" y="572"/>
                </a:lnTo>
                <a:lnTo>
                  <a:pt x="20" y="551"/>
                </a:lnTo>
                <a:lnTo>
                  <a:pt x="14" y="528"/>
                </a:lnTo>
                <a:lnTo>
                  <a:pt x="9" y="507"/>
                </a:lnTo>
                <a:lnTo>
                  <a:pt x="5" y="485"/>
                </a:lnTo>
                <a:lnTo>
                  <a:pt x="2" y="462"/>
                </a:lnTo>
                <a:lnTo>
                  <a:pt x="0" y="440"/>
                </a:lnTo>
                <a:lnTo>
                  <a:pt x="0" y="416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>
            <a:noAutofit/>
          </a:bodyPr>
          <a:lstStyle/>
          <a:p>
            <a:pPr algn="ctr"/>
            <a:endParaRPr lang="pt-BR" sz="1295" dirty="0"/>
          </a:p>
        </p:txBody>
      </p:sp>
      <p:sp>
        <p:nvSpPr>
          <p:cNvPr id="697361" name="Rectangle 17"/>
          <p:cNvSpPr>
            <a:spLocks noChangeArrowheads="1"/>
          </p:cNvSpPr>
          <p:nvPr/>
        </p:nvSpPr>
        <p:spPr bwMode="gray">
          <a:xfrm>
            <a:off x="4785615" y="5993329"/>
            <a:ext cx="112058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1240145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to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507836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35" imgW="325" imgH="325" progId="TCLayout.ActiveDocument.1">
                  <p:embed/>
                </p:oleObj>
              </mc:Choice>
              <mc:Fallback>
                <p:oleObj name="think-cell Slide" r:id="rId35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tângulo 34"/>
          <p:cNvSpPr/>
          <p:nvPr>
            <p:custDataLst>
              <p:tags r:id="rId3"/>
            </p:custDataLst>
          </p:nvPr>
        </p:nvSpPr>
        <p:spPr>
          <a:xfrm>
            <a:off x="3542196" y="3072792"/>
            <a:ext cx="1466224" cy="2955067"/>
          </a:xfrm>
          <a:prstGeom prst="rect">
            <a:avLst/>
          </a:pr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6" name="Retângulo 35"/>
          <p:cNvSpPr/>
          <p:nvPr>
            <p:custDataLst>
              <p:tags r:id="rId4"/>
            </p:custDataLst>
          </p:nvPr>
        </p:nvSpPr>
        <p:spPr>
          <a:xfrm>
            <a:off x="6666312" y="2513445"/>
            <a:ext cx="1466224" cy="3528122"/>
          </a:xfrm>
          <a:prstGeom prst="rect">
            <a:avLst/>
          </a:pr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7" name="Retângulo 36"/>
          <p:cNvSpPr/>
          <p:nvPr>
            <p:custDataLst>
              <p:tags r:id="rId5"/>
            </p:custDataLst>
          </p:nvPr>
        </p:nvSpPr>
        <p:spPr>
          <a:xfrm>
            <a:off x="8228372" y="2340557"/>
            <a:ext cx="1466224" cy="3714717"/>
          </a:xfrm>
          <a:prstGeom prst="rect">
            <a:avLst/>
          </a:pr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8" name="Forma livre 37"/>
          <p:cNvSpPr/>
          <p:nvPr>
            <p:custDataLst>
              <p:tags r:id="rId6"/>
            </p:custDataLst>
          </p:nvPr>
        </p:nvSpPr>
        <p:spPr>
          <a:xfrm>
            <a:off x="1980138" y="3530441"/>
            <a:ext cx="1466224" cy="2483711"/>
          </a:xfrm>
          <a:custGeom>
            <a:avLst/>
            <a:gdLst>
              <a:gd name="connsiteX0" fmla="*/ 0 w 1464550"/>
              <a:gd name="connsiteY0" fmla="*/ 0 h 2886075"/>
              <a:gd name="connsiteX1" fmla="*/ 1464550 w 1464550"/>
              <a:gd name="connsiteY1" fmla="*/ 0 h 2886075"/>
              <a:gd name="connsiteX2" fmla="*/ 1464550 w 1464550"/>
              <a:gd name="connsiteY2" fmla="*/ 2886075 h 2886075"/>
              <a:gd name="connsiteX3" fmla="*/ 0 w 1464550"/>
              <a:gd name="connsiteY3" fmla="*/ 2886075 h 2886075"/>
              <a:gd name="connsiteX4" fmla="*/ 0 w 1464550"/>
              <a:gd name="connsiteY4" fmla="*/ 0 h 2886075"/>
              <a:gd name="connsiteX0" fmla="*/ 0 w 1464550"/>
              <a:gd name="connsiteY0" fmla="*/ 257175 h 2886075"/>
              <a:gd name="connsiteX1" fmla="*/ 1464550 w 1464550"/>
              <a:gd name="connsiteY1" fmla="*/ 0 h 2886075"/>
              <a:gd name="connsiteX2" fmla="*/ 1464550 w 1464550"/>
              <a:gd name="connsiteY2" fmla="*/ 2886075 h 2886075"/>
              <a:gd name="connsiteX3" fmla="*/ 0 w 1464550"/>
              <a:gd name="connsiteY3" fmla="*/ 2886075 h 2886075"/>
              <a:gd name="connsiteX4" fmla="*/ 0 w 1464550"/>
              <a:gd name="connsiteY4" fmla="*/ 257175 h 288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4550" h="2886075">
                <a:moveTo>
                  <a:pt x="0" y="257175"/>
                </a:moveTo>
                <a:lnTo>
                  <a:pt x="1464550" y="0"/>
                </a:lnTo>
                <a:lnTo>
                  <a:pt x="1464550" y="2886075"/>
                </a:lnTo>
                <a:lnTo>
                  <a:pt x="0" y="2886075"/>
                </a:lnTo>
                <a:lnTo>
                  <a:pt x="0" y="257175"/>
                </a:lnTo>
                <a:close/>
              </a:path>
            </a:pathLst>
          </a:cu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39" name="Retângulo 38"/>
          <p:cNvSpPr/>
          <p:nvPr>
            <p:custDataLst>
              <p:tags r:id="rId7"/>
            </p:custDataLst>
          </p:nvPr>
        </p:nvSpPr>
        <p:spPr>
          <a:xfrm>
            <a:off x="5104254" y="2737184"/>
            <a:ext cx="1466224" cy="3304382"/>
          </a:xfrm>
          <a:prstGeom prst="rect">
            <a:avLst/>
          </a:pr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40" name="Forma livre 39"/>
          <p:cNvSpPr/>
          <p:nvPr>
            <p:custDataLst>
              <p:tags r:id="rId8"/>
            </p:custDataLst>
          </p:nvPr>
        </p:nvSpPr>
        <p:spPr>
          <a:xfrm>
            <a:off x="418078" y="4040279"/>
            <a:ext cx="1466224" cy="1946458"/>
          </a:xfrm>
          <a:custGeom>
            <a:avLst/>
            <a:gdLst>
              <a:gd name="connsiteX0" fmla="*/ 0 w 1464550"/>
              <a:gd name="connsiteY0" fmla="*/ 0 h 2533650"/>
              <a:gd name="connsiteX1" fmla="*/ 1464550 w 1464550"/>
              <a:gd name="connsiteY1" fmla="*/ 0 h 2533650"/>
              <a:gd name="connsiteX2" fmla="*/ 1464550 w 1464550"/>
              <a:gd name="connsiteY2" fmla="*/ 2533650 h 2533650"/>
              <a:gd name="connsiteX3" fmla="*/ 0 w 1464550"/>
              <a:gd name="connsiteY3" fmla="*/ 2533650 h 2533650"/>
              <a:gd name="connsiteX4" fmla="*/ 0 w 1464550"/>
              <a:gd name="connsiteY4" fmla="*/ 0 h 2533650"/>
              <a:gd name="connsiteX0" fmla="*/ 2381 w 1464550"/>
              <a:gd name="connsiteY0" fmla="*/ 526256 h 2533650"/>
              <a:gd name="connsiteX1" fmla="*/ 1464550 w 1464550"/>
              <a:gd name="connsiteY1" fmla="*/ 0 h 2533650"/>
              <a:gd name="connsiteX2" fmla="*/ 1464550 w 1464550"/>
              <a:gd name="connsiteY2" fmla="*/ 2533650 h 2533650"/>
              <a:gd name="connsiteX3" fmla="*/ 0 w 1464550"/>
              <a:gd name="connsiteY3" fmla="*/ 2533650 h 2533650"/>
              <a:gd name="connsiteX4" fmla="*/ 2381 w 1464550"/>
              <a:gd name="connsiteY4" fmla="*/ 526256 h 253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64550" h="2533650">
                <a:moveTo>
                  <a:pt x="2381" y="526256"/>
                </a:moveTo>
                <a:lnTo>
                  <a:pt x="1464550" y="0"/>
                </a:lnTo>
                <a:lnTo>
                  <a:pt x="1464550" y="2533650"/>
                </a:lnTo>
                <a:lnTo>
                  <a:pt x="0" y="2533650"/>
                </a:lnTo>
                <a:cubicBezTo>
                  <a:pt x="794" y="1864519"/>
                  <a:pt x="1587" y="1195387"/>
                  <a:pt x="2381" y="526256"/>
                </a:cubicBezTo>
                <a:close/>
              </a:path>
            </a:pathLst>
          </a:custGeom>
          <a:solidFill>
            <a:srgbClr val="E6EAEA"/>
          </a:solidFill>
          <a:ln w="9525" cap="flat" cmpd="sng" algn="ctr">
            <a:noFill/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63" name="Rectangle 99"/>
          <p:cNvSpPr/>
          <p:nvPr>
            <p:custDataLst>
              <p:tags r:id="rId9"/>
            </p:custDataLst>
          </p:nvPr>
        </p:nvSpPr>
        <p:spPr>
          <a:xfrm>
            <a:off x="418078" y="6103250"/>
            <a:ext cx="6153562" cy="39751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marL="0" lvl="1" algn="ctr" defTabSz="986912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511" kern="0">
                <a:solidFill>
                  <a:sysClr val="window" lastClr="FFFFFF"/>
                </a:solidFill>
                <a:latin typeface="Arial" charset="0"/>
                <a:cs typeface="Arial" charset="0"/>
              </a:rPr>
              <a:t>xxx</a:t>
            </a:r>
            <a:endParaRPr lang="pt-BR" sz="1511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64" name="Rectangle 100"/>
          <p:cNvSpPr/>
          <p:nvPr>
            <p:custDataLst>
              <p:tags r:id="rId10"/>
            </p:custDataLst>
          </p:nvPr>
        </p:nvSpPr>
        <p:spPr>
          <a:xfrm>
            <a:off x="6666312" y="6103250"/>
            <a:ext cx="1464613" cy="39751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marL="0" lvl="1" algn="ctr" defTabSz="986912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511" kern="0">
                <a:solidFill>
                  <a:sysClr val="window" lastClr="FFFFFF"/>
                </a:solidFill>
                <a:latin typeface="Arial" charset="0"/>
                <a:cs typeface="Arial" charset="0"/>
              </a:rPr>
              <a:t>xxx</a:t>
            </a:r>
            <a:endParaRPr lang="pt-BR" sz="1511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65" name="Rectangle 101"/>
          <p:cNvSpPr/>
          <p:nvPr>
            <p:custDataLst>
              <p:tags r:id="rId11"/>
            </p:custDataLst>
          </p:nvPr>
        </p:nvSpPr>
        <p:spPr>
          <a:xfrm>
            <a:off x="8229983" y="6103250"/>
            <a:ext cx="1464613" cy="397516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marL="0" lvl="1" algn="ctr" defTabSz="986912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511" kern="0">
                <a:solidFill>
                  <a:sysClr val="window" lastClr="FFFFFF"/>
                </a:solidFill>
                <a:latin typeface="Arial" charset="0"/>
                <a:cs typeface="Arial" charset="0"/>
              </a:rPr>
              <a:t>xxx</a:t>
            </a:r>
            <a:endParaRPr lang="pt-BR" sz="1511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66" name="Título 6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7" name="Espaço Reservado para Texto 6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1" name="Forma livre 40"/>
          <p:cNvSpPr/>
          <p:nvPr>
            <p:custDataLst>
              <p:tags r:id="rId12"/>
            </p:custDataLst>
          </p:nvPr>
        </p:nvSpPr>
        <p:spPr>
          <a:xfrm>
            <a:off x="317139" y="1730300"/>
            <a:ext cx="9893353" cy="2743204"/>
          </a:xfrm>
          <a:custGeom>
            <a:avLst/>
            <a:gdLst>
              <a:gd name="connsiteX0" fmla="*/ 0 w 9131300"/>
              <a:gd name="connsiteY0" fmla="*/ 230978 h 1152525"/>
              <a:gd name="connsiteX1" fmla="*/ 8555038 w 9131300"/>
              <a:gd name="connsiteY1" fmla="*/ 230978 h 1152525"/>
              <a:gd name="connsiteX2" fmla="*/ 8555038 w 9131300"/>
              <a:gd name="connsiteY2" fmla="*/ 0 h 1152525"/>
              <a:gd name="connsiteX3" fmla="*/ 9131300 w 9131300"/>
              <a:gd name="connsiteY3" fmla="*/ 576263 h 1152525"/>
              <a:gd name="connsiteX4" fmla="*/ 8555038 w 9131300"/>
              <a:gd name="connsiteY4" fmla="*/ 1152525 h 1152525"/>
              <a:gd name="connsiteX5" fmla="*/ 8555038 w 9131300"/>
              <a:gd name="connsiteY5" fmla="*/ 921547 h 1152525"/>
              <a:gd name="connsiteX6" fmla="*/ 0 w 9131300"/>
              <a:gd name="connsiteY6" fmla="*/ 921547 h 1152525"/>
              <a:gd name="connsiteX7" fmla="*/ 0 w 9131300"/>
              <a:gd name="connsiteY7" fmla="*/ 230978 h 1152525"/>
              <a:gd name="connsiteX0" fmla="*/ 0 w 9131300"/>
              <a:gd name="connsiteY0" fmla="*/ 23097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7" fmla="*/ 0 w 9131300"/>
              <a:gd name="connsiteY7" fmla="*/ 230978 h 2541588"/>
              <a:gd name="connsiteX0" fmla="*/ 0 w 9131300"/>
              <a:gd name="connsiteY0" fmla="*/ 2541587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7" fmla="*/ 0 w 9131300"/>
              <a:gd name="connsiteY7" fmla="*/ 2541587 h 2541588"/>
              <a:gd name="connsiteX0" fmla="*/ 0 w 9131300"/>
              <a:gd name="connsiteY0" fmla="*/ 2541587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7" fmla="*/ 0 w 9131300"/>
              <a:gd name="connsiteY7" fmla="*/ 2541587 h 2541588"/>
              <a:gd name="connsiteX0" fmla="*/ 0 w 9131300"/>
              <a:gd name="connsiteY0" fmla="*/ 2541587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7" fmla="*/ 0 w 9131300"/>
              <a:gd name="connsiteY7" fmla="*/ 2541587 h 2541588"/>
              <a:gd name="connsiteX0" fmla="*/ 0 w 9131300"/>
              <a:gd name="connsiteY0" fmla="*/ 2541587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7" fmla="*/ 0 w 9131300"/>
              <a:gd name="connsiteY7" fmla="*/ 2541587 h 2541588"/>
              <a:gd name="connsiteX0" fmla="*/ 321310 w 9131300"/>
              <a:gd name="connsiteY0" fmla="*/ 2720339 h 2720339"/>
              <a:gd name="connsiteX1" fmla="*/ 8555038 w 9131300"/>
              <a:gd name="connsiteY1" fmla="*/ 230978 h 2720339"/>
              <a:gd name="connsiteX2" fmla="*/ 8555038 w 9131300"/>
              <a:gd name="connsiteY2" fmla="*/ 0 h 2720339"/>
              <a:gd name="connsiteX3" fmla="*/ 9131300 w 9131300"/>
              <a:gd name="connsiteY3" fmla="*/ 576263 h 2720339"/>
              <a:gd name="connsiteX4" fmla="*/ 8555038 w 9131300"/>
              <a:gd name="connsiteY4" fmla="*/ 1152525 h 2720339"/>
              <a:gd name="connsiteX5" fmla="*/ 8555038 w 9131300"/>
              <a:gd name="connsiteY5" fmla="*/ 921547 h 2720339"/>
              <a:gd name="connsiteX6" fmla="*/ 0 w 9131300"/>
              <a:gd name="connsiteY6" fmla="*/ 2541588 h 2720339"/>
              <a:gd name="connsiteX7" fmla="*/ 321310 w 9131300"/>
              <a:gd name="connsiteY7" fmla="*/ 2720339 h 2720339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  <a:gd name="connsiteX0" fmla="*/ 0 w 9131300"/>
              <a:gd name="connsiteY0" fmla="*/ 2541588 h 2541588"/>
              <a:gd name="connsiteX1" fmla="*/ 8555038 w 9131300"/>
              <a:gd name="connsiteY1" fmla="*/ 230978 h 2541588"/>
              <a:gd name="connsiteX2" fmla="*/ 8555038 w 9131300"/>
              <a:gd name="connsiteY2" fmla="*/ 0 h 2541588"/>
              <a:gd name="connsiteX3" fmla="*/ 9131300 w 9131300"/>
              <a:gd name="connsiteY3" fmla="*/ 576263 h 2541588"/>
              <a:gd name="connsiteX4" fmla="*/ 8555038 w 9131300"/>
              <a:gd name="connsiteY4" fmla="*/ 1152525 h 2541588"/>
              <a:gd name="connsiteX5" fmla="*/ 8555038 w 9131300"/>
              <a:gd name="connsiteY5" fmla="*/ 921547 h 2541588"/>
              <a:gd name="connsiteX6" fmla="*/ 0 w 9131300"/>
              <a:gd name="connsiteY6" fmla="*/ 2541588 h 2541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31300" h="2541588">
                <a:moveTo>
                  <a:pt x="0" y="2541588"/>
                </a:moveTo>
                <a:cubicBezTo>
                  <a:pt x="2879111" y="1113017"/>
                  <a:pt x="5712884" y="201462"/>
                  <a:pt x="8555038" y="230978"/>
                </a:cubicBezTo>
                <a:lnTo>
                  <a:pt x="8555038" y="0"/>
                </a:lnTo>
                <a:lnTo>
                  <a:pt x="9131300" y="576263"/>
                </a:lnTo>
                <a:lnTo>
                  <a:pt x="8555038" y="1152525"/>
                </a:lnTo>
                <a:lnTo>
                  <a:pt x="8555038" y="921547"/>
                </a:lnTo>
                <a:cubicBezTo>
                  <a:pt x="5751365" y="867963"/>
                  <a:pt x="3154955" y="1625146"/>
                  <a:pt x="0" y="2541588"/>
                </a:cubicBezTo>
                <a:close/>
              </a:path>
            </a:pathLst>
          </a:custGeom>
          <a:solidFill>
            <a:srgbClr val="0A4F79"/>
          </a:solidFill>
          <a:ln w="9525" cap="flat" cmpd="sng" algn="ctr">
            <a:solidFill>
              <a:srgbClr val="9FAAA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endParaRPr lang="pt-BR" sz="1187" kern="0" dirty="0">
              <a:solidFill>
                <a:sysClr val="windowText" lastClr="000000"/>
              </a:solidFill>
              <a:latin typeface="Arial"/>
            </a:endParaRPr>
          </a:p>
        </p:txBody>
      </p:sp>
      <p:grpSp>
        <p:nvGrpSpPr>
          <p:cNvPr id="59" name="Grupo 133"/>
          <p:cNvGrpSpPr/>
          <p:nvPr>
            <p:custDataLst>
              <p:tags r:id="rId13"/>
            </p:custDataLst>
          </p:nvPr>
        </p:nvGrpSpPr>
        <p:grpSpPr>
          <a:xfrm>
            <a:off x="418077" y="1297473"/>
            <a:ext cx="9855658" cy="330762"/>
            <a:chOff x="344488" y="990536"/>
            <a:chExt cx="4320000" cy="306452"/>
          </a:xfrm>
        </p:grpSpPr>
        <p:sp>
          <p:nvSpPr>
            <p:cNvPr id="60" name="8 Marcador de texto"/>
            <p:cNvSpPr txBox="1"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44488" y="990536"/>
              <a:ext cx="4320000" cy="305442"/>
            </a:xfrm>
            <a:prstGeom prst="rect">
              <a:avLst/>
            </a:prstGeom>
            <a:solidFill>
              <a:sysClr val="window" lastClr="FFFFFF"/>
            </a:solidFill>
            <a:ln w="9525">
              <a:solidFill>
                <a:sysClr val="window" lastClr="FFFFFF"/>
              </a:solidFill>
              <a:miter lim="800000"/>
              <a:headEnd/>
              <a:tailEnd/>
            </a:ln>
            <a:effectLst/>
          </p:spPr>
          <p:txBody>
            <a:bodyPr lIns="0" tIns="50513" rIns="0" anchor="b">
              <a:spAutoFit/>
            </a:bodyPr>
            <a:lstStyle/>
            <a:p>
              <a:pPr defTabSz="986912">
                <a:spcBef>
                  <a:spcPct val="30000"/>
                </a:spcBef>
                <a:defRPr/>
              </a:pPr>
              <a:r>
                <a:rPr lang="en-US" sz="1511" b="1" kern="0">
                  <a:solidFill>
                    <a:srgbClr val="0A4F79"/>
                  </a:solidFill>
                </a:rPr>
                <a:t>xxx</a:t>
              </a:r>
              <a:endParaRPr lang="en-US" sz="1511" b="1" kern="0" dirty="0">
                <a:solidFill>
                  <a:srgbClr val="0A4F79"/>
                </a:solidFill>
              </a:endParaRPr>
            </a:p>
          </p:txBody>
        </p:sp>
        <p:cxnSp>
          <p:nvCxnSpPr>
            <p:cNvPr id="61" name="27 Conector recto"/>
            <p:cNvCxnSpPr/>
            <p:nvPr>
              <p:custDataLst>
                <p:tags r:id="rId32"/>
              </p:custDataLst>
            </p:nvPr>
          </p:nvCxnSpPr>
          <p:spPr bwMode="auto">
            <a:xfrm>
              <a:off x="344488" y="1296988"/>
              <a:ext cx="4320000" cy="0"/>
            </a:xfrm>
            <a:prstGeom prst="line">
              <a:avLst/>
            </a:prstGeom>
            <a:noFill/>
            <a:ln w="19050" cap="flat" cmpd="sng" algn="ctr">
              <a:solidFill>
                <a:srgbClr val="0A4F79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62" name="27 Conector recto"/>
            <p:cNvCxnSpPr/>
            <p:nvPr>
              <p:custDataLst>
                <p:tags r:id="rId33"/>
              </p:custDataLst>
            </p:nvPr>
          </p:nvCxnSpPr>
          <p:spPr bwMode="auto">
            <a:xfrm>
              <a:off x="344488" y="1296988"/>
              <a:ext cx="4320000" cy="0"/>
            </a:xfrm>
            <a:prstGeom prst="line">
              <a:avLst/>
            </a:prstGeom>
            <a:noFill/>
            <a:ln w="19050" cap="flat" cmpd="sng" algn="ctr">
              <a:solidFill>
                <a:srgbClr val="0A4F79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42" name="Oval 52"/>
          <p:cNvSpPr/>
          <p:nvPr>
            <p:custDataLst>
              <p:tags r:id="rId14"/>
            </p:custDataLst>
          </p:nvPr>
        </p:nvSpPr>
        <p:spPr>
          <a:xfrm>
            <a:off x="620687" y="4232617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1</a:t>
            </a:r>
          </a:p>
        </p:txBody>
      </p:sp>
      <p:sp>
        <p:nvSpPr>
          <p:cNvPr id="43" name="Oval 54"/>
          <p:cNvSpPr/>
          <p:nvPr>
            <p:custDataLst>
              <p:tags r:id="rId15"/>
            </p:custDataLst>
          </p:nvPr>
        </p:nvSpPr>
        <p:spPr>
          <a:xfrm>
            <a:off x="2203288" y="3723977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2</a:t>
            </a:r>
          </a:p>
        </p:txBody>
      </p:sp>
      <p:sp>
        <p:nvSpPr>
          <p:cNvPr id="44" name="Oval 58"/>
          <p:cNvSpPr/>
          <p:nvPr>
            <p:custDataLst>
              <p:tags r:id="rId16"/>
            </p:custDataLst>
          </p:nvPr>
        </p:nvSpPr>
        <p:spPr>
          <a:xfrm>
            <a:off x="3785889" y="3282193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3</a:t>
            </a:r>
          </a:p>
        </p:txBody>
      </p:sp>
      <p:sp>
        <p:nvSpPr>
          <p:cNvPr id="45" name="Oval 60"/>
          <p:cNvSpPr/>
          <p:nvPr>
            <p:custDataLst>
              <p:tags r:id="rId17"/>
            </p:custDataLst>
          </p:nvPr>
        </p:nvSpPr>
        <p:spPr>
          <a:xfrm>
            <a:off x="5368490" y="2918922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4</a:t>
            </a:r>
          </a:p>
        </p:txBody>
      </p:sp>
      <p:sp>
        <p:nvSpPr>
          <p:cNvPr id="46" name="Oval 62"/>
          <p:cNvSpPr/>
          <p:nvPr>
            <p:custDataLst>
              <p:tags r:id="rId18"/>
            </p:custDataLst>
          </p:nvPr>
        </p:nvSpPr>
        <p:spPr>
          <a:xfrm>
            <a:off x="6951090" y="2663859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5</a:t>
            </a:r>
          </a:p>
        </p:txBody>
      </p:sp>
      <p:sp>
        <p:nvSpPr>
          <p:cNvPr id="47" name="Oval 64"/>
          <p:cNvSpPr/>
          <p:nvPr>
            <p:custDataLst>
              <p:tags r:id="rId19"/>
            </p:custDataLst>
          </p:nvPr>
        </p:nvSpPr>
        <p:spPr>
          <a:xfrm>
            <a:off x="8533693" y="2560939"/>
            <a:ext cx="255892" cy="271199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38856" rIns="38856" rtlCol="0" anchor="ctr"/>
          <a:lstStyle/>
          <a:p>
            <a:pPr algn="ctr" defTabSz="986912">
              <a:defRPr/>
            </a:pPr>
            <a:r>
              <a:rPr lang="pt-BR" sz="1187" kern="0" dirty="0">
                <a:solidFill>
                  <a:sysClr val="window" lastClr="FFFFFF"/>
                </a:solidFill>
                <a:latin typeface="Arial"/>
              </a:rPr>
              <a:t>6</a:t>
            </a:r>
          </a:p>
        </p:txBody>
      </p:sp>
      <p:sp>
        <p:nvSpPr>
          <p:cNvPr id="48" name="Rectangle 37"/>
          <p:cNvSpPr/>
          <p:nvPr>
            <p:custDataLst>
              <p:tags r:id="rId20"/>
            </p:custDataLst>
          </p:nvPr>
        </p:nvSpPr>
        <p:spPr>
          <a:xfrm>
            <a:off x="522789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sp>
        <p:nvSpPr>
          <p:cNvPr id="49" name="Rectangle 53"/>
          <p:cNvSpPr/>
          <p:nvPr>
            <p:custDataLst>
              <p:tags r:id="rId21"/>
            </p:custDataLst>
          </p:nvPr>
        </p:nvSpPr>
        <p:spPr>
          <a:xfrm>
            <a:off x="2084847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indent="-226167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sp>
        <p:nvSpPr>
          <p:cNvPr id="50" name="Rectangle 57"/>
          <p:cNvSpPr/>
          <p:nvPr>
            <p:custDataLst>
              <p:tags r:id="rId22"/>
            </p:custDataLst>
          </p:nvPr>
        </p:nvSpPr>
        <p:spPr>
          <a:xfrm>
            <a:off x="3646907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indent="-226167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sp>
        <p:nvSpPr>
          <p:cNvPr id="51" name="Rectangle 59"/>
          <p:cNvSpPr/>
          <p:nvPr>
            <p:custDataLst>
              <p:tags r:id="rId23"/>
            </p:custDataLst>
          </p:nvPr>
        </p:nvSpPr>
        <p:spPr>
          <a:xfrm>
            <a:off x="5208964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indent="-226167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sp>
        <p:nvSpPr>
          <p:cNvPr id="52" name="Rectangle 61"/>
          <p:cNvSpPr/>
          <p:nvPr>
            <p:custDataLst>
              <p:tags r:id="rId24"/>
            </p:custDataLst>
          </p:nvPr>
        </p:nvSpPr>
        <p:spPr>
          <a:xfrm>
            <a:off x="6771024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indent="-226167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sp>
        <p:nvSpPr>
          <p:cNvPr id="53" name="Rectangle 63"/>
          <p:cNvSpPr/>
          <p:nvPr>
            <p:custDataLst>
              <p:tags r:id="rId25"/>
            </p:custDataLst>
          </p:nvPr>
        </p:nvSpPr>
        <p:spPr>
          <a:xfrm>
            <a:off x="8333081" y="4571882"/>
            <a:ext cx="1256803" cy="2092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pPr marL="0" lvl="1" indent="-226167" eaLnBrk="0" hangingPunct="0">
              <a:lnSpc>
                <a:spcPct val="105000"/>
              </a:lnSpc>
              <a:spcBef>
                <a:spcPct val="50000"/>
              </a:spcBef>
              <a:defRPr/>
            </a:pPr>
            <a:r>
              <a:rPr lang="pt-BR" sz="1295">
                <a:latin typeface="Arial" charset="0"/>
                <a:cs typeface="Arial" charset="0"/>
              </a:rPr>
              <a:t>xxx</a:t>
            </a:r>
            <a:endParaRPr lang="pt-BR" sz="1295" dirty="0">
              <a:latin typeface="Arial" charset="0"/>
              <a:cs typeface="Arial" charset="0"/>
            </a:endParaRPr>
          </a:p>
        </p:txBody>
      </p:sp>
      <p:cxnSp>
        <p:nvCxnSpPr>
          <p:cNvPr id="54" name="Conector reto 53"/>
          <p:cNvCxnSpPr/>
          <p:nvPr>
            <p:custDataLst>
              <p:tags r:id="rId26"/>
            </p:custDataLst>
          </p:nvPr>
        </p:nvCxnSpPr>
        <p:spPr>
          <a:xfrm flipH="1">
            <a:off x="2331234" y="3995176"/>
            <a:ext cx="0" cy="501413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</a:ln>
          <a:effectLst/>
        </p:spPr>
      </p:cxnSp>
      <p:cxnSp>
        <p:nvCxnSpPr>
          <p:cNvPr id="55" name="Conector reto 54"/>
          <p:cNvCxnSpPr>
            <a:stCxn id="44" idx="4"/>
          </p:cNvCxnSpPr>
          <p:nvPr>
            <p:custDataLst>
              <p:tags r:id="rId27"/>
            </p:custDataLst>
          </p:nvPr>
        </p:nvCxnSpPr>
        <p:spPr>
          <a:xfrm>
            <a:off x="3913835" y="3553393"/>
            <a:ext cx="0" cy="943197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</a:ln>
          <a:effectLst/>
        </p:spPr>
      </p:cxnSp>
      <p:cxnSp>
        <p:nvCxnSpPr>
          <p:cNvPr id="56" name="Conector reto 55"/>
          <p:cNvCxnSpPr>
            <a:stCxn id="45" idx="4"/>
          </p:cNvCxnSpPr>
          <p:nvPr>
            <p:custDataLst>
              <p:tags r:id="rId28"/>
            </p:custDataLst>
          </p:nvPr>
        </p:nvCxnSpPr>
        <p:spPr>
          <a:xfrm>
            <a:off x="5496434" y="3190120"/>
            <a:ext cx="0" cy="1306468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</a:ln>
          <a:effectLst/>
        </p:spPr>
      </p:cxnSp>
      <p:cxnSp>
        <p:nvCxnSpPr>
          <p:cNvPr id="57" name="Conector reto 56"/>
          <p:cNvCxnSpPr>
            <a:stCxn id="46" idx="4"/>
          </p:cNvCxnSpPr>
          <p:nvPr>
            <p:custDataLst>
              <p:tags r:id="rId29"/>
            </p:custDataLst>
          </p:nvPr>
        </p:nvCxnSpPr>
        <p:spPr>
          <a:xfrm>
            <a:off x="7079036" y="2935058"/>
            <a:ext cx="0" cy="1561531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</a:ln>
          <a:effectLst/>
        </p:spPr>
      </p:cxnSp>
      <p:cxnSp>
        <p:nvCxnSpPr>
          <p:cNvPr id="58" name="Conector reto 57"/>
          <p:cNvCxnSpPr>
            <a:stCxn id="47" idx="4"/>
          </p:cNvCxnSpPr>
          <p:nvPr>
            <p:custDataLst>
              <p:tags r:id="rId30"/>
            </p:custDataLst>
          </p:nvPr>
        </p:nvCxnSpPr>
        <p:spPr>
          <a:xfrm>
            <a:off x="8661639" y="2832138"/>
            <a:ext cx="0" cy="1664451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393408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</a:t>
            </a:r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4823310" y="1703158"/>
            <a:ext cx="5524103" cy="332406"/>
            <a:chOff x="2815" y="948"/>
            <a:chExt cx="3224" cy="194"/>
          </a:xfrm>
        </p:grpSpPr>
        <p:sp>
          <p:nvSpPr>
            <p:cNvPr id="701444" name="Freeform 4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2815" y="948"/>
              <a:ext cx="1825" cy="194"/>
            </a:xfrm>
            <a:custGeom>
              <a:avLst/>
              <a:gdLst/>
              <a:ahLst/>
              <a:cxnLst>
                <a:cxn ang="0">
                  <a:pos x="849" y="157"/>
                </a:cxn>
                <a:cxn ang="0">
                  <a:pos x="171" y="908"/>
                </a:cxn>
                <a:cxn ang="0">
                  <a:pos x="229" y="970"/>
                </a:cxn>
                <a:cxn ang="0">
                  <a:pos x="0" y="970"/>
                </a:cxn>
                <a:cxn ang="0">
                  <a:pos x="0" y="723"/>
                </a:cxn>
                <a:cxn ang="0">
                  <a:pos x="74" y="802"/>
                </a:cxn>
                <a:cxn ang="0">
                  <a:pos x="803" y="0"/>
                </a:cxn>
                <a:cxn ang="0">
                  <a:pos x="1824" y="0"/>
                </a:cxn>
                <a:cxn ang="0">
                  <a:pos x="1825" y="158"/>
                </a:cxn>
                <a:cxn ang="0">
                  <a:pos x="849" y="157"/>
                </a:cxn>
              </a:cxnLst>
              <a:rect l="0" t="0" r="r" b="b"/>
              <a:pathLst>
                <a:path w="1825" h="970">
                  <a:moveTo>
                    <a:pt x="849" y="157"/>
                  </a:moveTo>
                  <a:lnTo>
                    <a:pt x="171" y="908"/>
                  </a:lnTo>
                  <a:lnTo>
                    <a:pt x="229" y="970"/>
                  </a:lnTo>
                  <a:lnTo>
                    <a:pt x="0" y="970"/>
                  </a:lnTo>
                  <a:lnTo>
                    <a:pt x="0" y="723"/>
                  </a:lnTo>
                  <a:lnTo>
                    <a:pt x="74" y="802"/>
                  </a:lnTo>
                  <a:lnTo>
                    <a:pt x="803" y="0"/>
                  </a:lnTo>
                  <a:lnTo>
                    <a:pt x="1824" y="0"/>
                  </a:lnTo>
                  <a:lnTo>
                    <a:pt x="1825" y="158"/>
                  </a:lnTo>
                  <a:lnTo>
                    <a:pt x="849" y="157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45" name="Rectangl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694" y="968"/>
              <a:ext cx="134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5217400" y="2342268"/>
            <a:ext cx="5130014" cy="332406"/>
            <a:chOff x="3045" y="1321"/>
            <a:chExt cx="2994" cy="194"/>
          </a:xfrm>
        </p:grpSpPr>
        <p:sp>
          <p:nvSpPr>
            <p:cNvPr id="701447" name="Freeform 7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3045" y="1321"/>
              <a:ext cx="1592" cy="194"/>
            </a:xfrm>
            <a:custGeom>
              <a:avLst/>
              <a:gdLst/>
              <a:ahLst/>
              <a:cxnLst>
                <a:cxn ang="0">
                  <a:pos x="1553" y="143"/>
                </a:cxn>
                <a:cxn ang="0">
                  <a:pos x="733" y="143"/>
                </a:cxn>
                <a:cxn ang="0">
                  <a:pos x="167" y="705"/>
                </a:cxn>
                <a:cxn ang="0">
                  <a:pos x="223" y="761"/>
                </a:cxn>
                <a:cxn ang="0">
                  <a:pos x="0" y="761"/>
                </a:cxn>
                <a:cxn ang="0">
                  <a:pos x="0" y="539"/>
                </a:cxn>
                <a:cxn ang="0">
                  <a:pos x="72" y="610"/>
                </a:cxn>
                <a:cxn ang="0">
                  <a:pos x="693" y="0"/>
                </a:cxn>
                <a:cxn ang="0">
                  <a:pos x="1553" y="0"/>
                </a:cxn>
                <a:cxn ang="0">
                  <a:pos x="1553" y="143"/>
                </a:cxn>
              </a:cxnLst>
              <a:rect l="0" t="0" r="r" b="b"/>
              <a:pathLst>
                <a:path w="1554" h="762">
                  <a:moveTo>
                    <a:pt x="1553" y="143"/>
                  </a:moveTo>
                  <a:lnTo>
                    <a:pt x="733" y="143"/>
                  </a:lnTo>
                  <a:lnTo>
                    <a:pt x="167" y="705"/>
                  </a:lnTo>
                  <a:lnTo>
                    <a:pt x="223" y="761"/>
                  </a:lnTo>
                  <a:lnTo>
                    <a:pt x="0" y="761"/>
                  </a:lnTo>
                  <a:lnTo>
                    <a:pt x="0" y="539"/>
                  </a:lnTo>
                  <a:lnTo>
                    <a:pt x="72" y="610"/>
                  </a:lnTo>
                  <a:lnTo>
                    <a:pt x="693" y="0"/>
                  </a:lnTo>
                  <a:lnTo>
                    <a:pt x="1553" y="0"/>
                  </a:lnTo>
                  <a:lnTo>
                    <a:pt x="1553" y="14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48" name="Rectangle 8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694" y="1325"/>
              <a:ext cx="134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5609774" y="2919695"/>
            <a:ext cx="4737639" cy="332406"/>
            <a:chOff x="3274" y="1658"/>
            <a:chExt cx="2765" cy="194"/>
          </a:xfrm>
        </p:grpSpPr>
        <p:sp>
          <p:nvSpPr>
            <p:cNvPr id="701450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3274" y="1658"/>
              <a:ext cx="1363" cy="194"/>
            </a:xfrm>
            <a:custGeom>
              <a:avLst/>
              <a:gdLst/>
              <a:ahLst/>
              <a:cxnLst>
                <a:cxn ang="0">
                  <a:pos x="1329" y="151"/>
                </a:cxn>
                <a:cxn ang="0">
                  <a:pos x="644" y="151"/>
                </a:cxn>
                <a:cxn ang="0">
                  <a:pos x="167" y="626"/>
                </a:cxn>
                <a:cxn ang="0">
                  <a:pos x="231" y="682"/>
                </a:cxn>
                <a:cxn ang="0">
                  <a:pos x="0" y="682"/>
                </a:cxn>
                <a:cxn ang="0">
                  <a:pos x="0" y="460"/>
                </a:cxn>
                <a:cxn ang="0">
                  <a:pos x="72" y="539"/>
                </a:cxn>
                <a:cxn ang="0">
                  <a:pos x="612" y="0"/>
                </a:cxn>
                <a:cxn ang="0">
                  <a:pos x="1329" y="0"/>
                </a:cxn>
                <a:cxn ang="0">
                  <a:pos x="1329" y="151"/>
                </a:cxn>
              </a:cxnLst>
              <a:rect l="0" t="0" r="r" b="b"/>
              <a:pathLst>
                <a:path w="1330" h="683">
                  <a:moveTo>
                    <a:pt x="1329" y="151"/>
                  </a:moveTo>
                  <a:lnTo>
                    <a:pt x="644" y="151"/>
                  </a:lnTo>
                  <a:lnTo>
                    <a:pt x="167" y="626"/>
                  </a:lnTo>
                  <a:lnTo>
                    <a:pt x="231" y="682"/>
                  </a:lnTo>
                  <a:lnTo>
                    <a:pt x="0" y="682"/>
                  </a:lnTo>
                  <a:lnTo>
                    <a:pt x="0" y="460"/>
                  </a:lnTo>
                  <a:lnTo>
                    <a:pt x="72" y="539"/>
                  </a:lnTo>
                  <a:lnTo>
                    <a:pt x="612" y="0"/>
                  </a:lnTo>
                  <a:lnTo>
                    <a:pt x="1329" y="0"/>
                  </a:lnTo>
                  <a:lnTo>
                    <a:pt x="1329" y="15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51" name="Rectangle 1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694" y="1682"/>
              <a:ext cx="1345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5" name="Group 12"/>
          <p:cNvGrpSpPr>
            <a:grpSpLocks/>
          </p:cNvGrpSpPr>
          <p:nvPr/>
        </p:nvGrpSpPr>
        <p:grpSpPr bwMode="auto">
          <a:xfrm>
            <a:off x="344400" y="3546810"/>
            <a:ext cx="4711937" cy="1238811"/>
            <a:chOff x="201" y="2024"/>
            <a:chExt cx="2750" cy="723"/>
          </a:xfrm>
        </p:grpSpPr>
        <p:sp>
          <p:nvSpPr>
            <p:cNvPr id="701453" name="Freeform 13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1589" y="2024"/>
              <a:ext cx="1362" cy="194"/>
            </a:xfrm>
            <a:custGeom>
              <a:avLst/>
              <a:gdLst/>
              <a:ahLst/>
              <a:cxnLst>
                <a:cxn ang="0">
                  <a:pos x="0" y="531"/>
                </a:cxn>
                <a:cxn ang="0">
                  <a:pos x="685" y="531"/>
                </a:cxn>
                <a:cxn ang="0">
                  <a:pos x="1162" y="56"/>
                </a:cxn>
                <a:cxn ang="0">
                  <a:pos x="1098" y="0"/>
                </a:cxn>
                <a:cxn ang="0">
                  <a:pos x="1329" y="0"/>
                </a:cxn>
                <a:cxn ang="0">
                  <a:pos x="1329" y="222"/>
                </a:cxn>
                <a:cxn ang="0">
                  <a:pos x="1257" y="143"/>
                </a:cxn>
                <a:cxn ang="0">
                  <a:pos x="717" y="682"/>
                </a:cxn>
                <a:cxn ang="0">
                  <a:pos x="0" y="682"/>
                </a:cxn>
                <a:cxn ang="0">
                  <a:pos x="0" y="531"/>
                </a:cxn>
              </a:cxnLst>
              <a:rect l="0" t="0" r="r" b="b"/>
              <a:pathLst>
                <a:path w="1330" h="683">
                  <a:moveTo>
                    <a:pt x="0" y="531"/>
                  </a:moveTo>
                  <a:lnTo>
                    <a:pt x="685" y="531"/>
                  </a:lnTo>
                  <a:lnTo>
                    <a:pt x="1162" y="56"/>
                  </a:lnTo>
                  <a:lnTo>
                    <a:pt x="1098" y="0"/>
                  </a:lnTo>
                  <a:lnTo>
                    <a:pt x="1329" y="0"/>
                  </a:lnTo>
                  <a:lnTo>
                    <a:pt x="1329" y="222"/>
                  </a:lnTo>
                  <a:lnTo>
                    <a:pt x="1257" y="143"/>
                  </a:lnTo>
                  <a:lnTo>
                    <a:pt x="717" y="682"/>
                  </a:lnTo>
                  <a:lnTo>
                    <a:pt x="0" y="682"/>
                  </a:lnTo>
                  <a:lnTo>
                    <a:pt x="0" y="531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54" name="Rectangl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1" y="2631"/>
              <a:ext cx="137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6" name="Group 15"/>
          <p:cNvGrpSpPr>
            <a:grpSpLocks/>
          </p:cNvGrpSpPr>
          <p:nvPr/>
        </p:nvGrpSpPr>
        <p:grpSpPr bwMode="auto">
          <a:xfrm>
            <a:off x="344400" y="3975167"/>
            <a:ext cx="5104312" cy="1423862"/>
            <a:chOff x="201" y="2274"/>
            <a:chExt cx="2979" cy="831"/>
          </a:xfrm>
        </p:grpSpPr>
        <p:sp>
          <p:nvSpPr>
            <p:cNvPr id="701456" name="Freeform 16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1589" y="2274"/>
              <a:ext cx="1591" cy="194"/>
            </a:xfrm>
            <a:custGeom>
              <a:avLst/>
              <a:gdLst/>
              <a:ahLst/>
              <a:cxnLst>
                <a:cxn ang="0">
                  <a:pos x="0" y="618"/>
                </a:cxn>
                <a:cxn ang="0">
                  <a:pos x="820" y="618"/>
                </a:cxn>
                <a:cxn ang="0">
                  <a:pos x="1386" y="56"/>
                </a:cxn>
                <a:cxn ang="0">
                  <a:pos x="1330" y="0"/>
                </a:cxn>
                <a:cxn ang="0">
                  <a:pos x="1553" y="0"/>
                </a:cxn>
                <a:cxn ang="0">
                  <a:pos x="1553" y="222"/>
                </a:cxn>
                <a:cxn ang="0">
                  <a:pos x="1481" y="151"/>
                </a:cxn>
                <a:cxn ang="0">
                  <a:pos x="860" y="761"/>
                </a:cxn>
                <a:cxn ang="0">
                  <a:pos x="0" y="761"/>
                </a:cxn>
                <a:cxn ang="0">
                  <a:pos x="0" y="618"/>
                </a:cxn>
              </a:cxnLst>
              <a:rect l="0" t="0" r="r" b="b"/>
              <a:pathLst>
                <a:path w="1554" h="762">
                  <a:moveTo>
                    <a:pt x="0" y="618"/>
                  </a:moveTo>
                  <a:lnTo>
                    <a:pt x="820" y="618"/>
                  </a:lnTo>
                  <a:lnTo>
                    <a:pt x="1386" y="56"/>
                  </a:lnTo>
                  <a:lnTo>
                    <a:pt x="1330" y="0"/>
                  </a:lnTo>
                  <a:lnTo>
                    <a:pt x="1553" y="0"/>
                  </a:lnTo>
                  <a:lnTo>
                    <a:pt x="1553" y="222"/>
                  </a:lnTo>
                  <a:lnTo>
                    <a:pt x="1481" y="151"/>
                  </a:lnTo>
                  <a:lnTo>
                    <a:pt x="860" y="761"/>
                  </a:lnTo>
                  <a:lnTo>
                    <a:pt x="0" y="761"/>
                  </a:lnTo>
                  <a:lnTo>
                    <a:pt x="0" y="618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57" name="Rectangle 1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01" y="2989"/>
              <a:ext cx="137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7" name="Group 18"/>
          <p:cNvGrpSpPr>
            <a:grpSpLocks/>
          </p:cNvGrpSpPr>
          <p:nvPr/>
        </p:nvGrpSpPr>
        <p:grpSpPr bwMode="auto">
          <a:xfrm>
            <a:off x="344400" y="4403526"/>
            <a:ext cx="5494974" cy="1608912"/>
            <a:chOff x="201" y="2524"/>
            <a:chExt cx="3207" cy="939"/>
          </a:xfrm>
        </p:grpSpPr>
        <p:sp>
          <p:nvSpPr>
            <p:cNvPr id="701459" name="Freeform 1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1589" y="2524"/>
              <a:ext cx="1819" cy="194"/>
            </a:xfrm>
            <a:custGeom>
              <a:avLst/>
              <a:gdLst/>
              <a:ahLst/>
              <a:cxnLst>
                <a:cxn ang="0">
                  <a:pos x="0" y="813"/>
                </a:cxn>
                <a:cxn ang="0">
                  <a:pos x="970" y="813"/>
                </a:cxn>
                <a:cxn ang="0">
                  <a:pos x="1648" y="62"/>
                </a:cxn>
                <a:cxn ang="0">
                  <a:pos x="1591" y="0"/>
                </a:cxn>
                <a:cxn ang="0">
                  <a:pos x="1819" y="0"/>
                </a:cxn>
                <a:cxn ang="0">
                  <a:pos x="1819" y="247"/>
                </a:cxn>
                <a:cxn ang="0">
                  <a:pos x="1745" y="168"/>
                </a:cxn>
                <a:cxn ang="0">
                  <a:pos x="1009" y="958"/>
                </a:cxn>
                <a:cxn ang="0">
                  <a:pos x="0" y="957"/>
                </a:cxn>
                <a:cxn ang="0">
                  <a:pos x="0" y="813"/>
                </a:cxn>
              </a:cxnLst>
              <a:rect l="0" t="0" r="r" b="b"/>
              <a:pathLst>
                <a:path w="1819" h="958">
                  <a:moveTo>
                    <a:pt x="0" y="813"/>
                  </a:moveTo>
                  <a:lnTo>
                    <a:pt x="970" y="813"/>
                  </a:lnTo>
                  <a:lnTo>
                    <a:pt x="1648" y="62"/>
                  </a:lnTo>
                  <a:lnTo>
                    <a:pt x="1591" y="0"/>
                  </a:lnTo>
                  <a:lnTo>
                    <a:pt x="1819" y="0"/>
                  </a:lnTo>
                  <a:lnTo>
                    <a:pt x="1819" y="247"/>
                  </a:lnTo>
                  <a:lnTo>
                    <a:pt x="1745" y="168"/>
                  </a:lnTo>
                  <a:lnTo>
                    <a:pt x="1009" y="958"/>
                  </a:lnTo>
                  <a:lnTo>
                    <a:pt x="0" y="957"/>
                  </a:lnTo>
                  <a:lnTo>
                    <a:pt x="0" y="813"/>
                  </a:lnTo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folHlink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01460" name="Rectangl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1" y="3347"/>
              <a:ext cx="1376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287849" lvl="1" indent="-185046" defTabSz="1127410">
                <a:spcBef>
                  <a:spcPct val="20000"/>
                </a:spcBef>
                <a:buClr>
                  <a:schemeClr val="bg2"/>
                </a:buClr>
                <a:buFont typeface="Wingdings" pitchFamily="2" charset="2"/>
                <a:buChar char="§"/>
                <a:tabLst>
                  <a:tab pos="5165868" algn="l"/>
                </a:tabLst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20767421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scrição de etapas/divisões ordenada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20011" y="2001295"/>
            <a:ext cx="2307964" cy="8287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511" b="1">
                <a:solidFill>
                  <a:schemeClr val="bg1"/>
                </a:solidFill>
              </a:rPr>
              <a:t>xxx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60496" y="2001295"/>
            <a:ext cx="2309419" cy="8287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511" b="1">
                <a:solidFill>
                  <a:schemeClr val="bg1"/>
                </a:solidFill>
              </a:rPr>
              <a:t>xxxx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402437" y="2001295"/>
            <a:ext cx="2309419" cy="8287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511" b="1">
                <a:solidFill>
                  <a:schemeClr val="bg1"/>
                </a:solidFill>
              </a:rPr>
              <a:t>xxxx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7" name="Isosceles Triangle 6"/>
          <p:cNvSpPr/>
          <p:nvPr/>
        </p:nvSpPr>
        <p:spPr>
          <a:xfrm rot="10800000">
            <a:off x="1107309" y="2898736"/>
            <a:ext cx="1133370" cy="163246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8" name="Isosceles Triangle 7"/>
          <p:cNvSpPr/>
          <p:nvPr/>
        </p:nvSpPr>
        <p:spPr>
          <a:xfrm rot="10800000">
            <a:off x="3425590" y="2898736"/>
            <a:ext cx="1379234" cy="163246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9" name="Isosceles Triangle 8"/>
          <p:cNvSpPr/>
          <p:nvPr/>
        </p:nvSpPr>
        <p:spPr>
          <a:xfrm rot="10800000">
            <a:off x="5867530" y="2898736"/>
            <a:ext cx="1379234" cy="163246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0011" y="3130637"/>
            <a:ext cx="2307964" cy="35551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2" tIns="116567" rIns="77712" rtlCol="0" anchor="t" anchorCtr="0"/>
          <a:lstStyle/>
          <a:p>
            <a:pPr marL="188473" indent="-188473">
              <a:spcBef>
                <a:spcPts val="324"/>
              </a:spcBef>
              <a:buFont typeface="Arial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</a:t>
            </a: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60496" y="3130637"/>
            <a:ext cx="2309419" cy="35551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12" tIns="116567" rIns="0" bIns="493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8473" indent="-188473">
              <a:spcBef>
                <a:spcPts val="324"/>
              </a:spcBef>
              <a:buFont typeface="Arial" pitchFamily="34" charset="0"/>
              <a:buChar char="•"/>
            </a:pPr>
            <a:r>
              <a:rPr lang="pt-BR" sz="1295" dirty="0">
                <a:solidFill>
                  <a:schemeClr val="tx1"/>
                </a:solidFill>
              </a:rPr>
              <a:t>Xxx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402437" y="3130637"/>
            <a:ext cx="2309419" cy="35551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12" tIns="116567" rIns="77712" bIns="493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8473" indent="-188473">
              <a:spcBef>
                <a:spcPts val="324"/>
              </a:spcBef>
              <a:buFont typeface="Arial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</a:t>
            </a: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844377" y="2001295"/>
            <a:ext cx="2309419" cy="82878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511" b="1">
                <a:solidFill>
                  <a:schemeClr val="bg1"/>
                </a:solidFill>
              </a:rPr>
              <a:t>xxx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14" name="Isosceles Triangle 13"/>
          <p:cNvSpPr/>
          <p:nvPr/>
        </p:nvSpPr>
        <p:spPr>
          <a:xfrm rot="10800000">
            <a:off x="8309471" y="2898736"/>
            <a:ext cx="1379234" cy="163246"/>
          </a:xfrm>
          <a:prstGeom prst="triangl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844377" y="3130637"/>
            <a:ext cx="2309419" cy="355518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712" tIns="116567" rIns="77712" bIns="493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8473" indent="-188473">
              <a:spcBef>
                <a:spcPts val="324"/>
              </a:spcBef>
              <a:buFont typeface="Arial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</a:t>
            </a:r>
            <a:endParaRPr lang="pt-BR" sz="1295" dirty="0">
              <a:solidFill>
                <a:schemeClr val="tx1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85957" y="1898489"/>
            <a:ext cx="268105" cy="26859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95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Oval 16"/>
          <p:cNvSpPr/>
          <p:nvPr/>
        </p:nvSpPr>
        <p:spPr>
          <a:xfrm>
            <a:off x="2895642" y="1898489"/>
            <a:ext cx="268105" cy="26859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95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8" name="Oval 17"/>
          <p:cNvSpPr/>
          <p:nvPr/>
        </p:nvSpPr>
        <p:spPr>
          <a:xfrm>
            <a:off x="5319951" y="1898489"/>
            <a:ext cx="268105" cy="26859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95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2" name="Oval 21"/>
          <p:cNvSpPr/>
          <p:nvPr/>
        </p:nvSpPr>
        <p:spPr>
          <a:xfrm>
            <a:off x="7756521" y="1898489"/>
            <a:ext cx="268105" cy="268597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pt-BR" sz="1295" dirty="0">
                <a:solidFill>
                  <a:schemeClr val="tx1"/>
                </a:solidFill>
              </a:rPr>
              <a:t>4</a:t>
            </a:r>
          </a:p>
        </p:txBody>
      </p:sp>
      <p:grpSp>
        <p:nvGrpSpPr>
          <p:cNvPr id="23" name="25 Grupo"/>
          <p:cNvGrpSpPr/>
          <p:nvPr>
            <p:custDataLst>
              <p:tags r:id="rId1"/>
            </p:custDataLst>
          </p:nvPr>
        </p:nvGrpSpPr>
        <p:grpSpPr>
          <a:xfrm>
            <a:off x="403268" y="1281346"/>
            <a:ext cx="9885278" cy="322326"/>
            <a:chOff x="559574" y="1151056"/>
            <a:chExt cx="8857922" cy="261720"/>
          </a:xfrm>
        </p:grpSpPr>
        <p:sp>
          <p:nvSpPr>
            <p:cNvPr id="24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3096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5799137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ítulo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" name="Grupo 133"/>
          <p:cNvGrpSpPr/>
          <p:nvPr>
            <p:custDataLst>
              <p:tags r:id="rId3"/>
            </p:custDataLst>
          </p:nvPr>
        </p:nvGrpSpPr>
        <p:grpSpPr>
          <a:xfrm>
            <a:off x="409511" y="1297473"/>
            <a:ext cx="9872791" cy="330762"/>
            <a:chOff x="344488" y="990536"/>
            <a:chExt cx="4320000" cy="306452"/>
          </a:xfrm>
        </p:grpSpPr>
        <p:sp>
          <p:nvSpPr>
            <p:cNvPr id="135" name="8 Marcador de texto"/>
            <p:cNvSpPr txBox="1"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44488" y="990536"/>
              <a:ext cx="4320000" cy="305442"/>
            </a:xfrm>
            <a:prstGeom prst="rect">
              <a:avLst/>
            </a:prstGeom>
            <a:solidFill>
              <a:sysClr val="window" lastClr="FFFFFF"/>
            </a:solidFill>
            <a:ln w="9525">
              <a:solidFill>
                <a:schemeClr val="lt1"/>
              </a:solidFill>
              <a:miter lim="800000"/>
              <a:headEnd/>
              <a:tailEnd/>
            </a:ln>
            <a:effectLst/>
          </p:spPr>
          <p:txBody>
            <a:bodyPr lIns="0" tIns="50513" rIns="0" anchor="b">
              <a:spAutoFit/>
            </a:bodyPr>
            <a:lstStyle/>
            <a:p>
              <a:pPr>
                <a:spcBef>
                  <a:spcPct val="30000"/>
                </a:spcBef>
                <a:defRPr/>
              </a:pPr>
              <a:r>
                <a:rPr lang="en-US" sz="1511" b="1">
                  <a:solidFill>
                    <a:schemeClr val="accent1"/>
                  </a:solidFill>
                </a:rPr>
                <a:t>xxxxxxxxxxx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36" name="27 Conector recto"/>
            <p:cNvCxnSpPr/>
            <p:nvPr>
              <p:custDataLst>
                <p:tags r:id="rId18"/>
              </p:custDataLst>
            </p:nvPr>
          </p:nvCxnSpPr>
          <p:spPr bwMode="auto">
            <a:xfrm>
              <a:off x="344488" y="1296988"/>
              <a:ext cx="432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27 Conector recto"/>
            <p:cNvCxnSpPr/>
            <p:nvPr>
              <p:custDataLst>
                <p:tags r:id="rId19"/>
              </p:custDataLst>
            </p:nvPr>
          </p:nvCxnSpPr>
          <p:spPr bwMode="auto">
            <a:xfrm>
              <a:off x="344488" y="1296988"/>
              <a:ext cx="432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Retângulo 21"/>
          <p:cNvSpPr/>
          <p:nvPr>
            <p:custDataLst>
              <p:tags r:id="rId4"/>
            </p:custDataLst>
          </p:nvPr>
        </p:nvSpPr>
        <p:spPr>
          <a:xfrm>
            <a:off x="409509" y="2280294"/>
            <a:ext cx="2510178" cy="5751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90187" indent="-190187">
              <a:spcBef>
                <a:spcPts val="324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324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324"/>
              </a:spcBef>
              <a:buFont typeface="Arial" pitchFamily="34" charset="0"/>
              <a:buChar char="•"/>
            </a:pPr>
            <a:r>
              <a:rPr lang="pt-BR" sz="1079"/>
              <a:t>Xxxx </a:t>
            </a:r>
            <a:endParaRPr lang="pt-BR" sz="1079" dirty="0"/>
          </a:p>
        </p:txBody>
      </p:sp>
      <p:sp>
        <p:nvSpPr>
          <p:cNvPr id="27" name="30 Rectángulo"/>
          <p:cNvSpPr/>
          <p:nvPr>
            <p:custDataLst>
              <p:tags r:id="rId5"/>
            </p:custDataLst>
          </p:nvPr>
        </p:nvSpPr>
        <p:spPr>
          <a:xfrm>
            <a:off x="-1" y="6385669"/>
            <a:ext cx="10691813" cy="5620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15" rIns="777115" anchor="ctr"/>
          <a:lstStyle/>
          <a:p>
            <a:pPr algn="ctr">
              <a:defRPr/>
            </a:pPr>
            <a:r>
              <a:rPr lang="pt-BR" sz="1511">
                <a:solidFill>
                  <a:schemeClr val="bg1"/>
                </a:solidFill>
              </a:rPr>
              <a:t>...x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114" name="Freeform 4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874557" y="1892605"/>
            <a:ext cx="1313236" cy="4169336"/>
          </a:xfrm>
          <a:custGeom>
            <a:avLst/>
            <a:gdLst>
              <a:gd name="T0" fmla="*/ 2147483647 w 1244"/>
              <a:gd name="T1" fmla="*/ 0 h 3712"/>
              <a:gd name="T2" fmla="*/ 2147483647 w 1244"/>
              <a:gd name="T3" fmla="*/ 2147483647 h 3712"/>
              <a:gd name="T4" fmla="*/ 2147483647 w 1244"/>
              <a:gd name="T5" fmla="*/ 2147483647 h 3712"/>
              <a:gd name="T6" fmla="*/ 2147483647 w 1244"/>
              <a:gd name="T7" fmla="*/ 2147483647 h 3712"/>
              <a:gd name="T8" fmla="*/ 2147483647 w 1244"/>
              <a:gd name="T9" fmla="*/ 2147483647 h 3712"/>
              <a:gd name="T10" fmla="*/ 2147483647 w 1244"/>
              <a:gd name="T11" fmla="*/ 2147483647 h 3712"/>
              <a:gd name="T12" fmla="*/ 2147483647 w 1244"/>
              <a:gd name="T13" fmla="*/ 2147483647 h 3712"/>
              <a:gd name="T14" fmla="*/ 2147483647 w 1244"/>
              <a:gd name="T15" fmla="*/ 2147483647 h 3712"/>
              <a:gd name="T16" fmla="*/ 2147483647 w 1244"/>
              <a:gd name="T17" fmla="*/ 2147483647 h 3712"/>
              <a:gd name="T18" fmla="*/ 2147483647 w 1244"/>
              <a:gd name="T19" fmla="*/ 2147483647 h 3712"/>
              <a:gd name="T20" fmla="*/ 2147483647 w 1244"/>
              <a:gd name="T21" fmla="*/ 2147483647 h 3712"/>
              <a:gd name="T22" fmla="*/ 2147483647 w 1244"/>
              <a:gd name="T23" fmla="*/ 2147483647 h 3712"/>
              <a:gd name="T24" fmla="*/ 2147483647 w 1244"/>
              <a:gd name="T25" fmla="*/ 2147483647 h 3712"/>
              <a:gd name="T26" fmla="*/ 2147483647 w 1244"/>
              <a:gd name="T27" fmla="*/ 2147483647 h 3712"/>
              <a:gd name="T28" fmla="*/ 0 w 1244"/>
              <a:gd name="T29" fmla="*/ 2147483647 h 3712"/>
              <a:gd name="T30" fmla="*/ 2147483647 w 1244"/>
              <a:gd name="T31" fmla="*/ 2147483647 h 3712"/>
              <a:gd name="T32" fmla="*/ 2147483647 w 1244"/>
              <a:gd name="T33" fmla="*/ 2147483647 h 3712"/>
              <a:gd name="T34" fmla="*/ 2147483647 w 1244"/>
              <a:gd name="T35" fmla="*/ 2147483647 h 3712"/>
              <a:gd name="T36" fmla="*/ 2147483647 w 1244"/>
              <a:gd name="T37" fmla="*/ 2147483647 h 3712"/>
              <a:gd name="T38" fmla="*/ 2147483647 w 1244"/>
              <a:gd name="T39" fmla="*/ 2147483647 h 3712"/>
              <a:gd name="T40" fmla="*/ 2147483647 w 1244"/>
              <a:gd name="T41" fmla="*/ 2147483647 h 3712"/>
              <a:gd name="T42" fmla="*/ 2147483647 w 1244"/>
              <a:gd name="T43" fmla="*/ 2147483647 h 3712"/>
              <a:gd name="T44" fmla="*/ 2147483647 w 1244"/>
              <a:gd name="T45" fmla="*/ 2147483647 h 3712"/>
              <a:gd name="T46" fmla="*/ 2147483647 w 1244"/>
              <a:gd name="T47" fmla="*/ 2147483647 h 3712"/>
              <a:gd name="T48" fmla="*/ 2147483647 w 1244"/>
              <a:gd name="T49" fmla="*/ 2147483647 h 3712"/>
              <a:gd name="T50" fmla="*/ 2147483647 w 1244"/>
              <a:gd name="T51" fmla="*/ 2147483647 h 3712"/>
              <a:gd name="T52" fmla="*/ 2147483647 w 1244"/>
              <a:gd name="T53" fmla="*/ 2147483647 h 3712"/>
              <a:gd name="T54" fmla="*/ 2147483647 w 1244"/>
              <a:gd name="T55" fmla="*/ 2147483647 h 3712"/>
              <a:gd name="T56" fmla="*/ 2147483647 w 1244"/>
              <a:gd name="T57" fmla="*/ 2147483647 h 3712"/>
              <a:gd name="T58" fmla="*/ 2147483647 w 1244"/>
              <a:gd name="T59" fmla="*/ 2147483647 h 3712"/>
              <a:gd name="T60" fmla="*/ 2147483647 w 1244"/>
              <a:gd name="T61" fmla="*/ 2147483647 h 3712"/>
              <a:gd name="T62" fmla="*/ 2147483647 w 1244"/>
              <a:gd name="T63" fmla="*/ 2147483647 h 3712"/>
              <a:gd name="T64" fmla="*/ 2147483647 w 1244"/>
              <a:gd name="T65" fmla="*/ 2147483647 h 3712"/>
              <a:gd name="T66" fmla="*/ 2147483647 w 1244"/>
              <a:gd name="T67" fmla="*/ 2147483647 h 3712"/>
              <a:gd name="T68" fmla="*/ 2147483647 w 1244"/>
              <a:gd name="T69" fmla="*/ 0 h 371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244"/>
              <a:gd name="T106" fmla="*/ 0 h 3712"/>
              <a:gd name="T107" fmla="*/ 1244 w 1244"/>
              <a:gd name="T108" fmla="*/ 3712 h 371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244" h="3712">
                <a:moveTo>
                  <a:pt x="616" y="0"/>
                </a:moveTo>
                <a:lnTo>
                  <a:pt x="39" y="0"/>
                </a:lnTo>
                <a:lnTo>
                  <a:pt x="125" y="42"/>
                </a:lnTo>
                <a:lnTo>
                  <a:pt x="201" y="106"/>
                </a:lnTo>
                <a:lnTo>
                  <a:pt x="267" y="191"/>
                </a:lnTo>
                <a:lnTo>
                  <a:pt x="329" y="287"/>
                </a:lnTo>
                <a:lnTo>
                  <a:pt x="390" y="429"/>
                </a:lnTo>
                <a:lnTo>
                  <a:pt x="442" y="578"/>
                </a:lnTo>
                <a:lnTo>
                  <a:pt x="488" y="746"/>
                </a:lnTo>
                <a:lnTo>
                  <a:pt x="530" y="959"/>
                </a:lnTo>
                <a:lnTo>
                  <a:pt x="558" y="1136"/>
                </a:lnTo>
                <a:lnTo>
                  <a:pt x="582" y="1324"/>
                </a:lnTo>
                <a:lnTo>
                  <a:pt x="594" y="1513"/>
                </a:lnTo>
                <a:lnTo>
                  <a:pt x="606" y="1746"/>
                </a:lnTo>
                <a:lnTo>
                  <a:pt x="606" y="2045"/>
                </a:lnTo>
                <a:lnTo>
                  <a:pt x="584" y="2303"/>
                </a:lnTo>
                <a:lnTo>
                  <a:pt x="562" y="2526"/>
                </a:lnTo>
                <a:lnTo>
                  <a:pt x="526" y="2767"/>
                </a:lnTo>
                <a:lnTo>
                  <a:pt x="488" y="2962"/>
                </a:lnTo>
                <a:lnTo>
                  <a:pt x="446" y="3112"/>
                </a:lnTo>
                <a:lnTo>
                  <a:pt x="398" y="3242"/>
                </a:lnTo>
                <a:lnTo>
                  <a:pt x="365" y="3333"/>
                </a:lnTo>
                <a:lnTo>
                  <a:pt x="329" y="3415"/>
                </a:lnTo>
                <a:lnTo>
                  <a:pt x="275" y="3495"/>
                </a:lnTo>
                <a:lnTo>
                  <a:pt x="237" y="3561"/>
                </a:lnTo>
                <a:lnTo>
                  <a:pt x="181" y="3620"/>
                </a:lnTo>
                <a:lnTo>
                  <a:pt x="153" y="3648"/>
                </a:lnTo>
                <a:lnTo>
                  <a:pt x="115" y="3676"/>
                </a:lnTo>
                <a:lnTo>
                  <a:pt x="69" y="3696"/>
                </a:lnTo>
                <a:lnTo>
                  <a:pt x="0" y="3712"/>
                </a:lnTo>
                <a:lnTo>
                  <a:pt x="660" y="3712"/>
                </a:lnTo>
                <a:lnTo>
                  <a:pt x="724" y="3698"/>
                </a:lnTo>
                <a:lnTo>
                  <a:pt x="787" y="3656"/>
                </a:lnTo>
                <a:lnTo>
                  <a:pt x="839" y="3612"/>
                </a:lnTo>
                <a:lnTo>
                  <a:pt x="879" y="3561"/>
                </a:lnTo>
                <a:lnTo>
                  <a:pt x="917" y="3511"/>
                </a:lnTo>
                <a:lnTo>
                  <a:pt x="951" y="3451"/>
                </a:lnTo>
                <a:lnTo>
                  <a:pt x="985" y="3383"/>
                </a:lnTo>
                <a:lnTo>
                  <a:pt x="1025" y="3293"/>
                </a:lnTo>
                <a:lnTo>
                  <a:pt x="1061" y="3200"/>
                </a:lnTo>
                <a:lnTo>
                  <a:pt x="1096" y="3092"/>
                </a:lnTo>
                <a:lnTo>
                  <a:pt x="1128" y="2972"/>
                </a:lnTo>
                <a:lnTo>
                  <a:pt x="1160" y="2833"/>
                </a:lnTo>
                <a:lnTo>
                  <a:pt x="1188" y="2663"/>
                </a:lnTo>
                <a:lnTo>
                  <a:pt x="1212" y="2472"/>
                </a:lnTo>
                <a:lnTo>
                  <a:pt x="1234" y="2237"/>
                </a:lnTo>
                <a:lnTo>
                  <a:pt x="1244" y="2014"/>
                </a:lnTo>
                <a:lnTo>
                  <a:pt x="1244" y="1726"/>
                </a:lnTo>
                <a:lnTo>
                  <a:pt x="1234" y="1491"/>
                </a:lnTo>
                <a:lnTo>
                  <a:pt x="1222" y="1346"/>
                </a:lnTo>
                <a:lnTo>
                  <a:pt x="1208" y="1214"/>
                </a:lnTo>
                <a:lnTo>
                  <a:pt x="1194" y="1096"/>
                </a:lnTo>
                <a:lnTo>
                  <a:pt x="1176" y="1001"/>
                </a:lnTo>
                <a:lnTo>
                  <a:pt x="1158" y="881"/>
                </a:lnTo>
                <a:lnTo>
                  <a:pt x="1128" y="746"/>
                </a:lnTo>
                <a:lnTo>
                  <a:pt x="1102" y="646"/>
                </a:lnTo>
                <a:lnTo>
                  <a:pt x="1071" y="542"/>
                </a:lnTo>
                <a:lnTo>
                  <a:pt x="1051" y="488"/>
                </a:lnTo>
                <a:lnTo>
                  <a:pt x="1027" y="421"/>
                </a:lnTo>
                <a:lnTo>
                  <a:pt x="1001" y="357"/>
                </a:lnTo>
                <a:lnTo>
                  <a:pt x="963" y="277"/>
                </a:lnTo>
                <a:lnTo>
                  <a:pt x="935" y="229"/>
                </a:lnTo>
                <a:lnTo>
                  <a:pt x="911" y="191"/>
                </a:lnTo>
                <a:lnTo>
                  <a:pt x="881" y="150"/>
                </a:lnTo>
                <a:lnTo>
                  <a:pt x="847" y="108"/>
                </a:lnTo>
                <a:lnTo>
                  <a:pt x="817" y="76"/>
                </a:lnTo>
                <a:lnTo>
                  <a:pt x="775" y="42"/>
                </a:lnTo>
                <a:lnTo>
                  <a:pt x="732" y="18"/>
                </a:lnTo>
                <a:lnTo>
                  <a:pt x="696" y="6"/>
                </a:lnTo>
                <a:lnTo>
                  <a:pt x="658" y="0"/>
                </a:lnTo>
                <a:lnTo>
                  <a:pt x="616" y="0"/>
                </a:lnTo>
                <a:close/>
              </a:path>
            </a:pathLst>
          </a:custGeom>
          <a:solidFill>
            <a:schemeClr val="accent1"/>
          </a:solidFill>
          <a:ln w="12700">
            <a:solidFill>
              <a:srgbClr val="D1CEC6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 sz="2159" dirty="0"/>
          </a:p>
        </p:txBody>
      </p:sp>
      <p:sp>
        <p:nvSpPr>
          <p:cNvPr id="116" name="Text Box 1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132542" y="2208776"/>
            <a:ext cx="2937702" cy="102894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174851" anchor="ctr"/>
          <a:lstStyle/>
          <a:p>
            <a:pPr algn="ctr" eaLnBrk="1" hangingPunct="1"/>
            <a:r>
              <a:rPr lang="pt-BR" sz="1295"/>
              <a:t>   xxx</a:t>
            </a:r>
            <a:endParaRPr lang="pt-BR" sz="1295" dirty="0"/>
          </a:p>
        </p:txBody>
      </p:sp>
      <p:sp>
        <p:nvSpPr>
          <p:cNvPr id="117" name="Text 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32542" y="3473238"/>
            <a:ext cx="2937702" cy="1028946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174851" anchor="ctr"/>
          <a:lstStyle/>
          <a:p>
            <a:pPr algn="ctr" eaLnBrk="1" hangingPunct="1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118" name="Text Box 18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132542" y="4737699"/>
            <a:ext cx="2937702" cy="1028946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174851" anchor="ctr"/>
          <a:lstStyle/>
          <a:p>
            <a:pPr algn="ctr" eaLnBrk="1" hangingPunct="1"/>
            <a:r>
              <a:rPr lang="pt-BR" sz="1295"/>
              <a:t>    xxx</a:t>
            </a:r>
            <a:endParaRPr lang="pt-BR" sz="1295" dirty="0"/>
          </a:p>
        </p:txBody>
      </p:sp>
      <p:sp>
        <p:nvSpPr>
          <p:cNvPr id="119" name="Freeform 6"/>
          <p:cNvSpPr>
            <a:spLocks/>
          </p:cNvSpPr>
          <p:nvPr/>
        </p:nvSpPr>
        <p:spPr bwMode="auto">
          <a:xfrm>
            <a:off x="3035756" y="1891815"/>
            <a:ext cx="1501114" cy="2157730"/>
          </a:xfrm>
          <a:custGeom>
            <a:avLst/>
            <a:gdLst>
              <a:gd name="T0" fmla="*/ 2147483647 w 1422"/>
              <a:gd name="T1" fmla="*/ 0 h 1922"/>
              <a:gd name="T2" fmla="*/ 2147483647 w 1422"/>
              <a:gd name="T3" fmla="*/ 0 h 1922"/>
              <a:gd name="T4" fmla="*/ 2147483647 w 1422"/>
              <a:gd name="T5" fmla="*/ 2147483647 h 1922"/>
              <a:gd name="T6" fmla="*/ 2147483647 w 1422"/>
              <a:gd name="T7" fmla="*/ 2147483647 h 1922"/>
              <a:gd name="T8" fmla="*/ 2147483647 w 1422"/>
              <a:gd name="T9" fmla="*/ 2147483647 h 1922"/>
              <a:gd name="T10" fmla="*/ 2147483647 w 1422"/>
              <a:gd name="T11" fmla="*/ 2147483647 h 1922"/>
              <a:gd name="T12" fmla="*/ 2147483647 w 1422"/>
              <a:gd name="T13" fmla="*/ 2147483647 h 1922"/>
              <a:gd name="T14" fmla="*/ 2147483647 w 1422"/>
              <a:gd name="T15" fmla="*/ 2147483647 h 1922"/>
              <a:gd name="T16" fmla="*/ 2147483647 w 1422"/>
              <a:gd name="T17" fmla="*/ 2147483647 h 1922"/>
              <a:gd name="T18" fmla="*/ 2147483647 w 1422"/>
              <a:gd name="T19" fmla="*/ 2147483647 h 1922"/>
              <a:gd name="T20" fmla="*/ 2147483647 w 1422"/>
              <a:gd name="T21" fmla="*/ 2147483647 h 1922"/>
              <a:gd name="T22" fmla="*/ 2147483647 w 1422"/>
              <a:gd name="T23" fmla="*/ 2147483647 h 1922"/>
              <a:gd name="T24" fmla="*/ 2147483647 w 1422"/>
              <a:gd name="T25" fmla="*/ 2147483647 h 1922"/>
              <a:gd name="T26" fmla="*/ 2147483647 w 1422"/>
              <a:gd name="T27" fmla="*/ 2147483647 h 1922"/>
              <a:gd name="T28" fmla="*/ 2147483647 w 1422"/>
              <a:gd name="T29" fmla="*/ 2147483647 h 1922"/>
              <a:gd name="T30" fmla="*/ 2147483647 w 1422"/>
              <a:gd name="T31" fmla="*/ 2147483647 h 1922"/>
              <a:gd name="T32" fmla="*/ 2147483647 w 1422"/>
              <a:gd name="T33" fmla="*/ 2147483647 h 1922"/>
              <a:gd name="T34" fmla="*/ 2147483647 w 1422"/>
              <a:gd name="T35" fmla="*/ 2147483647 h 1922"/>
              <a:gd name="T36" fmla="*/ 2147483647 w 1422"/>
              <a:gd name="T37" fmla="*/ 2147483647 h 1922"/>
              <a:gd name="T38" fmla="*/ 2147483647 w 1422"/>
              <a:gd name="T39" fmla="*/ 2147483647 h 1922"/>
              <a:gd name="T40" fmla="*/ 2147483647 w 1422"/>
              <a:gd name="T41" fmla="*/ 2147483647 h 1922"/>
              <a:gd name="T42" fmla="*/ 2147483647 w 1422"/>
              <a:gd name="T43" fmla="*/ 2147483647 h 1922"/>
              <a:gd name="T44" fmla="*/ 0 w 1422"/>
              <a:gd name="T45" fmla="*/ 2147483647 h 1922"/>
              <a:gd name="T46" fmla="*/ 2147483647 w 1422"/>
              <a:gd name="T47" fmla="*/ 2147483647 h 1922"/>
              <a:gd name="T48" fmla="*/ 2147483647 w 1422"/>
              <a:gd name="T49" fmla="*/ 2147483647 h 1922"/>
              <a:gd name="T50" fmla="*/ 2147483647 w 1422"/>
              <a:gd name="T51" fmla="*/ 2147483647 h 1922"/>
              <a:gd name="T52" fmla="*/ 2147483647 w 1422"/>
              <a:gd name="T53" fmla="*/ 2147483647 h 1922"/>
              <a:gd name="T54" fmla="*/ 2147483647 w 1422"/>
              <a:gd name="T55" fmla="*/ 2147483647 h 1922"/>
              <a:gd name="T56" fmla="*/ 2147483647 w 1422"/>
              <a:gd name="T57" fmla="*/ 2147483647 h 1922"/>
              <a:gd name="T58" fmla="*/ 2147483647 w 1422"/>
              <a:gd name="T59" fmla="*/ 2147483647 h 1922"/>
              <a:gd name="T60" fmla="*/ 2147483647 w 1422"/>
              <a:gd name="T61" fmla="*/ 2147483647 h 1922"/>
              <a:gd name="T62" fmla="*/ 2147483647 w 1422"/>
              <a:gd name="T63" fmla="*/ 2147483647 h 1922"/>
              <a:gd name="T64" fmla="*/ 2147483647 w 1422"/>
              <a:gd name="T65" fmla="*/ 2147483647 h 1922"/>
              <a:gd name="T66" fmla="*/ 2147483647 w 1422"/>
              <a:gd name="T67" fmla="*/ 2147483647 h 1922"/>
              <a:gd name="T68" fmla="*/ 2147483647 w 1422"/>
              <a:gd name="T69" fmla="*/ 2147483647 h 1922"/>
              <a:gd name="T70" fmla="*/ 2147483647 w 1422"/>
              <a:gd name="T71" fmla="*/ 2147483647 h 1922"/>
              <a:gd name="T72" fmla="*/ 2147483647 w 1422"/>
              <a:gd name="T73" fmla="*/ 2147483647 h 1922"/>
              <a:gd name="T74" fmla="*/ 2147483647 w 1422"/>
              <a:gd name="T75" fmla="*/ 2147483647 h 1922"/>
              <a:gd name="T76" fmla="*/ 2147483647 w 1422"/>
              <a:gd name="T77" fmla="*/ 2147483647 h 1922"/>
              <a:gd name="T78" fmla="*/ 2147483647 w 1422"/>
              <a:gd name="T79" fmla="*/ 2147483647 h 1922"/>
              <a:gd name="T80" fmla="*/ 2147483647 w 1422"/>
              <a:gd name="T81" fmla="*/ 2147483647 h 1922"/>
              <a:gd name="T82" fmla="*/ 2147483647 w 1422"/>
              <a:gd name="T83" fmla="*/ 2147483647 h 1922"/>
              <a:gd name="T84" fmla="*/ 2147483647 w 1422"/>
              <a:gd name="T85" fmla="*/ 2147483647 h 1922"/>
              <a:gd name="T86" fmla="*/ 2147483647 w 1422"/>
              <a:gd name="T87" fmla="*/ 2147483647 h 1922"/>
              <a:gd name="T88" fmla="*/ 2147483647 w 1422"/>
              <a:gd name="T89" fmla="*/ 2147483647 h 1922"/>
              <a:gd name="T90" fmla="*/ 2147483647 w 1422"/>
              <a:gd name="T91" fmla="*/ 2147483647 h 1922"/>
              <a:gd name="T92" fmla="*/ 2147483647 w 1422"/>
              <a:gd name="T93" fmla="*/ 2147483647 h 1922"/>
              <a:gd name="T94" fmla="*/ 2147483647 w 1422"/>
              <a:gd name="T95" fmla="*/ 2147483647 h 1922"/>
              <a:gd name="T96" fmla="*/ 2147483647 w 1422"/>
              <a:gd name="T97" fmla="*/ 2147483647 h 1922"/>
              <a:gd name="T98" fmla="*/ 2147483647 w 1422"/>
              <a:gd name="T99" fmla="*/ 2147483647 h 1922"/>
              <a:gd name="T100" fmla="*/ 2147483647 w 1422"/>
              <a:gd name="T101" fmla="*/ 2147483647 h 1922"/>
              <a:gd name="T102" fmla="*/ 2147483647 w 1422"/>
              <a:gd name="T103" fmla="*/ 0 h 1922"/>
              <a:gd name="T104" fmla="*/ 2147483647 w 1422"/>
              <a:gd name="T105" fmla="*/ 0 h 192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422"/>
              <a:gd name="T160" fmla="*/ 0 h 1922"/>
              <a:gd name="T161" fmla="*/ 1422 w 1422"/>
              <a:gd name="T162" fmla="*/ 1922 h 1922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878 w 10000"/>
              <a:gd name="connsiteY15" fmla="*/ 4990 h 10000"/>
              <a:gd name="connsiteX16" fmla="*/ 1793 w 10000"/>
              <a:gd name="connsiteY16" fmla="*/ 5406 h 10000"/>
              <a:gd name="connsiteX17" fmla="*/ 1737 w 10000"/>
              <a:gd name="connsiteY17" fmla="*/ 5713 h 10000"/>
              <a:gd name="connsiteX18" fmla="*/ 1681 w 10000"/>
              <a:gd name="connsiteY18" fmla="*/ 6025 h 10000"/>
              <a:gd name="connsiteX19" fmla="*/ 1596 w 10000"/>
              <a:gd name="connsiteY19" fmla="*/ 6504 h 10000"/>
              <a:gd name="connsiteX20" fmla="*/ 1456 w 10000"/>
              <a:gd name="connsiteY20" fmla="*/ 7643 h 10000"/>
              <a:gd name="connsiteX21" fmla="*/ 0 w 10000"/>
              <a:gd name="connsiteY21" fmla="*/ 7643 h 10000"/>
              <a:gd name="connsiteX22" fmla="*/ 3586 w 10000"/>
              <a:gd name="connsiteY22" fmla="*/ 10000 h 10000"/>
              <a:gd name="connsiteX23" fmla="*/ 7644 w 10000"/>
              <a:gd name="connsiteY23" fmla="*/ 7643 h 10000"/>
              <a:gd name="connsiteX24" fmla="*/ 5999 w 10000"/>
              <a:gd name="connsiteY24" fmla="*/ 7643 h 10000"/>
              <a:gd name="connsiteX25" fmla="*/ 6055 w 10000"/>
              <a:gd name="connsiteY25" fmla="*/ 7232 h 10000"/>
              <a:gd name="connsiteX26" fmla="*/ 6125 w 10000"/>
              <a:gd name="connsiteY26" fmla="*/ 6753 h 10000"/>
              <a:gd name="connsiteX27" fmla="*/ 6210 w 10000"/>
              <a:gd name="connsiteY27" fmla="*/ 6233 h 10000"/>
              <a:gd name="connsiteX28" fmla="*/ 6294 w 10000"/>
              <a:gd name="connsiteY28" fmla="*/ 5713 h 10000"/>
              <a:gd name="connsiteX29" fmla="*/ 6406 w 10000"/>
              <a:gd name="connsiteY29" fmla="*/ 5260 h 10000"/>
              <a:gd name="connsiteX30" fmla="*/ 6491 w 10000"/>
              <a:gd name="connsiteY30" fmla="*/ 4844 h 10000"/>
              <a:gd name="connsiteX31" fmla="*/ 6688 w 10000"/>
              <a:gd name="connsiteY31" fmla="*/ 4136 h 10000"/>
              <a:gd name="connsiteX32" fmla="*/ 6885 w 10000"/>
              <a:gd name="connsiteY32" fmla="*/ 3528 h 10000"/>
              <a:gd name="connsiteX33" fmla="*/ 7053 w 10000"/>
              <a:gd name="connsiteY33" fmla="*/ 3091 h 10000"/>
              <a:gd name="connsiteX34" fmla="*/ 7194 w 10000"/>
              <a:gd name="connsiteY34" fmla="*/ 2737 h 10000"/>
              <a:gd name="connsiteX35" fmla="*/ 7363 w 10000"/>
              <a:gd name="connsiteY35" fmla="*/ 2383 h 10000"/>
              <a:gd name="connsiteX36" fmla="*/ 7504 w 10000"/>
              <a:gd name="connsiteY36" fmla="*/ 2118 h 10000"/>
              <a:gd name="connsiteX37" fmla="*/ 7672 w 10000"/>
              <a:gd name="connsiteY37" fmla="*/ 1826 h 10000"/>
              <a:gd name="connsiteX38" fmla="*/ 7813 w 10000"/>
              <a:gd name="connsiteY38" fmla="*/ 1597 h 10000"/>
              <a:gd name="connsiteX39" fmla="*/ 7968 w 10000"/>
              <a:gd name="connsiteY39" fmla="*/ 1379 h 10000"/>
              <a:gd name="connsiteX40" fmla="*/ 8122 w 10000"/>
              <a:gd name="connsiteY40" fmla="*/ 1181 h 10000"/>
              <a:gd name="connsiteX41" fmla="*/ 8312 w 10000"/>
              <a:gd name="connsiteY41" fmla="*/ 952 h 10000"/>
              <a:gd name="connsiteX42" fmla="*/ 8481 w 10000"/>
              <a:gd name="connsiteY42" fmla="*/ 786 h 10000"/>
              <a:gd name="connsiteX43" fmla="*/ 8678 w 10000"/>
              <a:gd name="connsiteY43" fmla="*/ 604 h 10000"/>
              <a:gd name="connsiteX44" fmla="*/ 8861 w 10000"/>
              <a:gd name="connsiteY44" fmla="*/ 458 h 10000"/>
              <a:gd name="connsiteX45" fmla="*/ 9030 w 10000"/>
              <a:gd name="connsiteY45" fmla="*/ 354 h 10000"/>
              <a:gd name="connsiteX46" fmla="*/ 9241 w 10000"/>
              <a:gd name="connsiteY46" fmla="*/ 229 h 10000"/>
              <a:gd name="connsiteX47" fmla="*/ 9437 w 10000"/>
              <a:gd name="connsiteY47" fmla="*/ 146 h 10000"/>
              <a:gd name="connsiteX48" fmla="*/ 9620 w 10000"/>
              <a:gd name="connsiteY48" fmla="*/ 83 h 10000"/>
              <a:gd name="connsiteX49" fmla="*/ 9775 w 10000"/>
              <a:gd name="connsiteY49" fmla="*/ 42 h 10000"/>
              <a:gd name="connsiteX50" fmla="*/ 10000 w 10000"/>
              <a:gd name="connsiteY50" fmla="*/ 0 h 10000"/>
              <a:gd name="connsiteX51" fmla="*/ 5858 w 10000"/>
              <a:gd name="connsiteY51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878 w 10000"/>
              <a:gd name="connsiteY15" fmla="*/ 4990 h 10000"/>
              <a:gd name="connsiteX16" fmla="*/ 1793 w 10000"/>
              <a:gd name="connsiteY16" fmla="*/ 5406 h 10000"/>
              <a:gd name="connsiteX17" fmla="*/ 1737 w 10000"/>
              <a:gd name="connsiteY17" fmla="*/ 5713 h 10000"/>
              <a:gd name="connsiteX18" fmla="*/ 1681 w 10000"/>
              <a:gd name="connsiteY18" fmla="*/ 6025 h 10000"/>
              <a:gd name="connsiteX19" fmla="*/ 1456 w 10000"/>
              <a:gd name="connsiteY19" fmla="*/ 7643 h 10000"/>
              <a:gd name="connsiteX20" fmla="*/ 0 w 10000"/>
              <a:gd name="connsiteY20" fmla="*/ 7643 h 10000"/>
              <a:gd name="connsiteX21" fmla="*/ 3586 w 10000"/>
              <a:gd name="connsiteY21" fmla="*/ 10000 h 10000"/>
              <a:gd name="connsiteX22" fmla="*/ 7644 w 10000"/>
              <a:gd name="connsiteY22" fmla="*/ 7643 h 10000"/>
              <a:gd name="connsiteX23" fmla="*/ 5999 w 10000"/>
              <a:gd name="connsiteY23" fmla="*/ 7643 h 10000"/>
              <a:gd name="connsiteX24" fmla="*/ 6055 w 10000"/>
              <a:gd name="connsiteY24" fmla="*/ 7232 h 10000"/>
              <a:gd name="connsiteX25" fmla="*/ 6125 w 10000"/>
              <a:gd name="connsiteY25" fmla="*/ 6753 h 10000"/>
              <a:gd name="connsiteX26" fmla="*/ 6210 w 10000"/>
              <a:gd name="connsiteY26" fmla="*/ 6233 h 10000"/>
              <a:gd name="connsiteX27" fmla="*/ 6294 w 10000"/>
              <a:gd name="connsiteY27" fmla="*/ 5713 h 10000"/>
              <a:gd name="connsiteX28" fmla="*/ 6406 w 10000"/>
              <a:gd name="connsiteY28" fmla="*/ 5260 h 10000"/>
              <a:gd name="connsiteX29" fmla="*/ 6491 w 10000"/>
              <a:gd name="connsiteY29" fmla="*/ 4844 h 10000"/>
              <a:gd name="connsiteX30" fmla="*/ 6688 w 10000"/>
              <a:gd name="connsiteY30" fmla="*/ 4136 h 10000"/>
              <a:gd name="connsiteX31" fmla="*/ 6885 w 10000"/>
              <a:gd name="connsiteY31" fmla="*/ 3528 h 10000"/>
              <a:gd name="connsiteX32" fmla="*/ 7053 w 10000"/>
              <a:gd name="connsiteY32" fmla="*/ 3091 h 10000"/>
              <a:gd name="connsiteX33" fmla="*/ 7194 w 10000"/>
              <a:gd name="connsiteY33" fmla="*/ 2737 h 10000"/>
              <a:gd name="connsiteX34" fmla="*/ 7363 w 10000"/>
              <a:gd name="connsiteY34" fmla="*/ 2383 h 10000"/>
              <a:gd name="connsiteX35" fmla="*/ 7504 w 10000"/>
              <a:gd name="connsiteY35" fmla="*/ 2118 h 10000"/>
              <a:gd name="connsiteX36" fmla="*/ 7672 w 10000"/>
              <a:gd name="connsiteY36" fmla="*/ 1826 h 10000"/>
              <a:gd name="connsiteX37" fmla="*/ 7813 w 10000"/>
              <a:gd name="connsiteY37" fmla="*/ 1597 h 10000"/>
              <a:gd name="connsiteX38" fmla="*/ 7968 w 10000"/>
              <a:gd name="connsiteY38" fmla="*/ 1379 h 10000"/>
              <a:gd name="connsiteX39" fmla="*/ 8122 w 10000"/>
              <a:gd name="connsiteY39" fmla="*/ 1181 h 10000"/>
              <a:gd name="connsiteX40" fmla="*/ 8312 w 10000"/>
              <a:gd name="connsiteY40" fmla="*/ 952 h 10000"/>
              <a:gd name="connsiteX41" fmla="*/ 8481 w 10000"/>
              <a:gd name="connsiteY41" fmla="*/ 786 h 10000"/>
              <a:gd name="connsiteX42" fmla="*/ 8678 w 10000"/>
              <a:gd name="connsiteY42" fmla="*/ 604 h 10000"/>
              <a:gd name="connsiteX43" fmla="*/ 8861 w 10000"/>
              <a:gd name="connsiteY43" fmla="*/ 458 h 10000"/>
              <a:gd name="connsiteX44" fmla="*/ 9030 w 10000"/>
              <a:gd name="connsiteY44" fmla="*/ 354 h 10000"/>
              <a:gd name="connsiteX45" fmla="*/ 9241 w 10000"/>
              <a:gd name="connsiteY45" fmla="*/ 229 h 10000"/>
              <a:gd name="connsiteX46" fmla="*/ 9437 w 10000"/>
              <a:gd name="connsiteY46" fmla="*/ 146 h 10000"/>
              <a:gd name="connsiteX47" fmla="*/ 9620 w 10000"/>
              <a:gd name="connsiteY47" fmla="*/ 83 h 10000"/>
              <a:gd name="connsiteX48" fmla="*/ 9775 w 10000"/>
              <a:gd name="connsiteY48" fmla="*/ 42 h 10000"/>
              <a:gd name="connsiteX49" fmla="*/ 10000 w 10000"/>
              <a:gd name="connsiteY49" fmla="*/ 0 h 10000"/>
              <a:gd name="connsiteX50" fmla="*/ 5858 w 10000"/>
              <a:gd name="connsiteY50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878 w 10000"/>
              <a:gd name="connsiteY15" fmla="*/ 4990 h 10000"/>
              <a:gd name="connsiteX16" fmla="*/ 1793 w 10000"/>
              <a:gd name="connsiteY16" fmla="*/ 5406 h 10000"/>
              <a:gd name="connsiteX17" fmla="*/ 1737 w 10000"/>
              <a:gd name="connsiteY17" fmla="*/ 5713 h 10000"/>
              <a:gd name="connsiteX18" fmla="*/ 1456 w 10000"/>
              <a:gd name="connsiteY18" fmla="*/ 7643 h 10000"/>
              <a:gd name="connsiteX19" fmla="*/ 0 w 10000"/>
              <a:gd name="connsiteY19" fmla="*/ 7643 h 10000"/>
              <a:gd name="connsiteX20" fmla="*/ 3586 w 10000"/>
              <a:gd name="connsiteY20" fmla="*/ 10000 h 10000"/>
              <a:gd name="connsiteX21" fmla="*/ 7644 w 10000"/>
              <a:gd name="connsiteY21" fmla="*/ 7643 h 10000"/>
              <a:gd name="connsiteX22" fmla="*/ 5999 w 10000"/>
              <a:gd name="connsiteY22" fmla="*/ 7643 h 10000"/>
              <a:gd name="connsiteX23" fmla="*/ 6055 w 10000"/>
              <a:gd name="connsiteY23" fmla="*/ 7232 h 10000"/>
              <a:gd name="connsiteX24" fmla="*/ 6125 w 10000"/>
              <a:gd name="connsiteY24" fmla="*/ 6753 h 10000"/>
              <a:gd name="connsiteX25" fmla="*/ 6210 w 10000"/>
              <a:gd name="connsiteY25" fmla="*/ 6233 h 10000"/>
              <a:gd name="connsiteX26" fmla="*/ 6294 w 10000"/>
              <a:gd name="connsiteY26" fmla="*/ 5713 h 10000"/>
              <a:gd name="connsiteX27" fmla="*/ 6406 w 10000"/>
              <a:gd name="connsiteY27" fmla="*/ 5260 h 10000"/>
              <a:gd name="connsiteX28" fmla="*/ 6491 w 10000"/>
              <a:gd name="connsiteY28" fmla="*/ 4844 h 10000"/>
              <a:gd name="connsiteX29" fmla="*/ 6688 w 10000"/>
              <a:gd name="connsiteY29" fmla="*/ 4136 h 10000"/>
              <a:gd name="connsiteX30" fmla="*/ 6885 w 10000"/>
              <a:gd name="connsiteY30" fmla="*/ 3528 h 10000"/>
              <a:gd name="connsiteX31" fmla="*/ 7053 w 10000"/>
              <a:gd name="connsiteY31" fmla="*/ 3091 h 10000"/>
              <a:gd name="connsiteX32" fmla="*/ 7194 w 10000"/>
              <a:gd name="connsiteY32" fmla="*/ 2737 h 10000"/>
              <a:gd name="connsiteX33" fmla="*/ 7363 w 10000"/>
              <a:gd name="connsiteY33" fmla="*/ 2383 h 10000"/>
              <a:gd name="connsiteX34" fmla="*/ 7504 w 10000"/>
              <a:gd name="connsiteY34" fmla="*/ 2118 h 10000"/>
              <a:gd name="connsiteX35" fmla="*/ 7672 w 10000"/>
              <a:gd name="connsiteY35" fmla="*/ 1826 h 10000"/>
              <a:gd name="connsiteX36" fmla="*/ 7813 w 10000"/>
              <a:gd name="connsiteY36" fmla="*/ 1597 h 10000"/>
              <a:gd name="connsiteX37" fmla="*/ 7968 w 10000"/>
              <a:gd name="connsiteY37" fmla="*/ 1379 h 10000"/>
              <a:gd name="connsiteX38" fmla="*/ 8122 w 10000"/>
              <a:gd name="connsiteY38" fmla="*/ 1181 h 10000"/>
              <a:gd name="connsiteX39" fmla="*/ 8312 w 10000"/>
              <a:gd name="connsiteY39" fmla="*/ 952 h 10000"/>
              <a:gd name="connsiteX40" fmla="*/ 8481 w 10000"/>
              <a:gd name="connsiteY40" fmla="*/ 786 h 10000"/>
              <a:gd name="connsiteX41" fmla="*/ 8678 w 10000"/>
              <a:gd name="connsiteY41" fmla="*/ 604 h 10000"/>
              <a:gd name="connsiteX42" fmla="*/ 8861 w 10000"/>
              <a:gd name="connsiteY42" fmla="*/ 458 h 10000"/>
              <a:gd name="connsiteX43" fmla="*/ 9030 w 10000"/>
              <a:gd name="connsiteY43" fmla="*/ 354 h 10000"/>
              <a:gd name="connsiteX44" fmla="*/ 9241 w 10000"/>
              <a:gd name="connsiteY44" fmla="*/ 229 h 10000"/>
              <a:gd name="connsiteX45" fmla="*/ 9437 w 10000"/>
              <a:gd name="connsiteY45" fmla="*/ 146 h 10000"/>
              <a:gd name="connsiteX46" fmla="*/ 9620 w 10000"/>
              <a:gd name="connsiteY46" fmla="*/ 83 h 10000"/>
              <a:gd name="connsiteX47" fmla="*/ 9775 w 10000"/>
              <a:gd name="connsiteY47" fmla="*/ 42 h 10000"/>
              <a:gd name="connsiteX48" fmla="*/ 10000 w 10000"/>
              <a:gd name="connsiteY48" fmla="*/ 0 h 10000"/>
              <a:gd name="connsiteX49" fmla="*/ 5858 w 10000"/>
              <a:gd name="connsiteY49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878 w 10000"/>
              <a:gd name="connsiteY15" fmla="*/ 4990 h 10000"/>
              <a:gd name="connsiteX16" fmla="*/ 1793 w 10000"/>
              <a:gd name="connsiteY16" fmla="*/ 5406 h 10000"/>
              <a:gd name="connsiteX17" fmla="*/ 1456 w 10000"/>
              <a:gd name="connsiteY17" fmla="*/ 7643 h 10000"/>
              <a:gd name="connsiteX18" fmla="*/ 0 w 10000"/>
              <a:gd name="connsiteY18" fmla="*/ 7643 h 10000"/>
              <a:gd name="connsiteX19" fmla="*/ 3586 w 10000"/>
              <a:gd name="connsiteY19" fmla="*/ 10000 h 10000"/>
              <a:gd name="connsiteX20" fmla="*/ 7644 w 10000"/>
              <a:gd name="connsiteY20" fmla="*/ 7643 h 10000"/>
              <a:gd name="connsiteX21" fmla="*/ 5999 w 10000"/>
              <a:gd name="connsiteY21" fmla="*/ 7643 h 10000"/>
              <a:gd name="connsiteX22" fmla="*/ 6055 w 10000"/>
              <a:gd name="connsiteY22" fmla="*/ 7232 h 10000"/>
              <a:gd name="connsiteX23" fmla="*/ 6125 w 10000"/>
              <a:gd name="connsiteY23" fmla="*/ 6753 h 10000"/>
              <a:gd name="connsiteX24" fmla="*/ 6210 w 10000"/>
              <a:gd name="connsiteY24" fmla="*/ 6233 h 10000"/>
              <a:gd name="connsiteX25" fmla="*/ 6294 w 10000"/>
              <a:gd name="connsiteY25" fmla="*/ 5713 h 10000"/>
              <a:gd name="connsiteX26" fmla="*/ 6406 w 10000"/>
              <a:gd name="connsiteY26" fmla="*/ 5260 h 10000"/>
              <a:gd name="connsiteX27" fmla="*/ 6491 w 10000"/>
              <a:gd name="connsiteY27" fmla="*/ 4844 h 10000"/>
              <a:gd name="connsiteX28" fmla="*/ 6688 w 10000"/>
              <a:gd name="connsiteY28" fmla="*/ 4136 h 10000"/>
              <a:gd name="connsiteX29" fmla="*/ 6885 w 10000"/>
              <a:gd name="connsiteY29" fmla="*/ 3528 h 10000"/>
              <a:gd name="connsiteX30" fmla="*/ 7053 w 10000"/>
              <a:gd name="connsiteY30" fmla="*/ 3091 h 10000"/>
              <a:gd name="connsiteX31" fmla="*/ 7194 w 10000"/>
              <a:gd name="connsiteY31" fmla="*/ 2737 h 10000"/>
              <a:gd name="connsiteX32" fmla="*/ 7363 w 10000"/>
              <a:gd name="connsiteY32" fmla="*/ 2383 h 10000"/>
              <a:gd name="connsiteX33" fmla="*/ 7504 w 10000"/>
              <a:gd name="connsiteY33" fmla="*/ 2118 h 10000"/>
              <a:gd name="connsiteX34" fmla="*/ 7672 w 10000"/>
              <a:gd name="connsiteY34" fmla="*/ 1826 h 10000"/>
              <a:gd name="connsiteX35" fmla="*/ 7813 w 10000"/>
              <a:gd name="connsiteY35" fmla="*/ 1597 h 10000"/>
              <a:gd name="connsiteX36" fmla="*/ 7968 w 10000"/>
              <a:gd name="connsiteY36" fmla="*/ 1379 h 10000"/>
              <a:gd name="connsiteX37" fmla="*/ 8122 w 10000"/>
              <a:gd name="connsiteY37" fmla="*/ 1181 h 10000"/>
              <a:gd name="connsiteX38" fmla="*/ 8312 w 10000"/>
              <a:gd name="connsiteY38" fmla="*/ 952 h 10000"/>
              <a:gd name="connsiteX39" fmla="*/ 8481 w 10000"/>
              <a:gd name="connsiteY39" fmla="*/ 786 h 10000"/>
              <a:gd name="connsiteX40" fmla="*/ 8678 w 10000"/>
              <a:gd name="connsiteY40" fmla="*/ 604 h 10000"/>
              <a:gd name="connsiteX41" fmla="*/ 8861 w 10000"/>
              <a:gd name="connsiteY41" fmla="*/ 458 h 10000"/>
              <a:gd name="connsiteX42" fmla="*/ 9030 w 10000"/>
              <a:gd name="connsiteY42" fmla="*/ 354 h 10000"/>
              <a:gd name="connsiteX43" fmla="*/ 9241 w 10000"/>
              <a:gd name="connsiteY43" fmla="*/ 229 h 10000"/>
              <a:gd name="connsiteX44" fmla="*/ 9437 w 10000"/>
              <a:gd name="connsiteY44" fmla="*/ 146 h 10000"/>
              <a:gd name="connsiteX45" fmla="*/ 9620 w 10000"/>
              <a:gd name="connsiteY45" fmla="*/ 83 h 10000"/>
              <a:gd name="connsiteX46" fmla="*/ 9775 w 10000"/>
              <a:gd name="connsiteY46" fmla="*/ 42 h 10000"/>
              <a:gd name="connsiteX47" fmla="*/ 10000 w 10000"/>
              <a:gd name="connsiteY47" fmla="*/ 0 h 10000"/>
              <a:gd name="connsiteX48" fmla="*/ 5858 w 10000"/>
              <a:gd name="connsiteY48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878 w 10000"/>
              <a:gd name="connsiteY15" fmla="*/ 4990 h 10000"/>
              <a:gd name="connsiteX16" fmla="*/ 1456 w 10000"/>
              <a:gd name="connsiteY16" fmla="*/ 7643 h 10000"/>
              <a:gd name="connsiteX17" fmla="*/ 0 w 10000"/>
              <a:gd name="connsiteY17" fmla="*/ 7643 h 10000"/>
              <a:gd name="connsiteX18" fmla="*/ 3586 w 10000"/>
              <a:gd name="connsiteY18" fmla="*/ 10000 h 10000"/>
              <a:gd name="connsiteX19" fmla="*/ 7644 w 10000"/>
              <a:gd name="connsiteY19" fmla="*/ 7643 h 10000"/>
              <a:gd name="connsiteX20" fmla="*/ 5999 w 10000"/>
              <a:gd name="connsiteY20" fmla="*/ 7643 h 10000"/>
              <a:gd name="connsiteX21" fmla="*/ 6055 w 10000"/>
              <a:gd name="connsiteY21" fmla="*/ 7232 h 10000"/>
              <a:gd name="connsiteX22" fmla="*/ 6125 w 10000"/>
              <a:gd name="connsiteY22" fmla="*/ 6753 h 10000"/>
              <a:gd name="connsiteX23" fmla="*/ 6210 w 10000"/>
              <a:gd name="connsiteY23" fmla="*/ 6233 h 10000"/>
              <a:gd name="connsiteX24" fmla="*/ 6294 w 10000"/>
              <a:gd name="connsiteY24" fmla="*/ 5713 h 10000"/>
              <a:gd name="connsiteX25" fmla="*/ 6406 w 10000"/>
              <a:gd name="connsiteY25" fmla="*/ 5260 h 10000"/>
              <a:gd name="connsiteX26" fmla="*/ 6491 w 10000"/>
              <a:gd name="connsiteY26" fmla="*/ 4844 h 10000"/>
              <a:gd name="connsiteX27" fmla="*/ 6688 w 10000"/>
              <a:gd name="connsiteY27" fmla="*/ 4136 h 10000"/>
              <a:gd name="connsiteX28" fmla="*/ 6885 w 10000"/>
              <a:gd name="connsiteY28" fmla="*/ 3528 h 10000"/>
              <a:gd name="connsiteX29" fmla="*/ 7053 w 10000"/>
              <a:gd name="connsiteY29" fmla="*/ 3091 h 10000"/>
              <a:gd name="connsiteX30" fmla="*/ 7194 w 10000"/>
              <a:gd name="connsiteY30" fmla="*/ 2737 h 10000"/>
              <a:gd name="connsiteX31" fmla="*/ 7363 w 10000"/>
              <a:gd name="connsiteY31" fmla="*/ 2383 h 10000"/>
              <a:gd name="connsiteX32" fmla="*/ 7504 w 10000"/>
              <a:gd name="connsiteY32" fmla="*/ 2118 h 10000"/>
              <a:gd name="connsiteX33" fmla="*/ 7672 w 10000"/>
              <a:gd name="connsiteY33" fmla="*/ 1826 h 10000"/>
              <a:gd name="connsiteX34" fmla="*/ 7813 w 10000"/>
              <a:gd name="connsiteY34" fmla="*/ 1597 h 10000"/>
              <a:gd name="connsiteX35" fmla="*/ 7968 w 10000"/>
              <a:gd name="connsiteY35" fmla="*/ 1379 h 10000"/>
              <a:gd name="connsiteX36" fmla="*/ 8122 w 10000"/>
              <a:gd name="connsiteY36" fmla="*/ 1181 h 10000"/>
              <a:gd name="connsiteX37" fmla="*/ 8312 w 10000"/>
              <a:gd name="connsiteY37" fmla="*/ 952 h 10000"/>
              <a:gd name="connsiteX38" fmla="*/ 8481 w 10000"/>
              <a:gd name="connsiteY38" fmla="*/ 786 h 10000"/>
              <a:gd name="connsiteX39" fmla="*/ 8678 w 10000"/>
              <a:gd name="connsiteY39" fmla="*/ 604 h 10000"/>
              <a:gd name="connsiteX40" fmla="*/ 8861 w 10000"/>
              <a:gd name="connsiteY40" fmla="*/ 458 h 10000"/>
              <a:gd name="connsiteX41" fmla="*/ 9030 w 10000"/>
              <a:gd name="connsiteY41" fmla="*/ 354 h 10000"/>
              <a:gd name="connsiteX42" fmla="*/ 9241 w 10000"/>
              <a:gd name="connsiteY42" fmla="*/ 229 h 10000"/>
              <a:gd name="connsiteX43" fmla="*/ 9437 w 10000"/>
              <a:gd name="connsiteY43" fmla="*/ 146 h 10000"/>
              <a:gd name="connsiteX44" fmla="*/ 9620 w 10000"/>
              <a:gd name="connsiteY44" fmla="*/ 83 h 10000"/>
              <a:gd name="connsiteX45" fmla="*/ 9775 w 10000"/>
              <a:gd name="connsiteY45" fmla="*/ 42 h 10000"/>
              <a:gd name="connsiteX46" fmla="*/ 10000 w 10000"/>
              <a:gd name="connsiteY46" fmla="*/ 0 h 10000"/>
              <a:gd name="connsiteX47" fmla="*/ 5858 w 10000"/>
              <a:gd name="connsiteY47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990 w 10000"/>
              <a:gd name="connsiteY14" fmla="*/ 4532 h 10000"/>
              <a:gd name="connsiteX15" fmla="*/ 1456 w 10000"/>
              <a:gd name="connsiteY15" fmla="*/ 7643 h 10000"/>
              <a:gd name="connsiteX16" fmla="*/ 0 w 10000"/>
              <a:gd name="connsiteY16" fmla="*/ 7643 h 10000"/>
              <a:gd name="connsiteX17" fmla="*/ 3586 w 10000"/>
              <a:gd name="connsiteY17" fmla="*/ 10000 h 10000"/>
              <a:gd name="connsiteX18" fmla="*/ 7644 w 10000"/>
              <a:gd name="connsiteY18" fmla="*/ 7643 h 10000"/>
              <a:gd name="connsiteX19" fmla="*/ 5999 w 10000"/>
              <a:gd name="connsiteY19" fmla="*/ 7643 h 10000"/>
              <a:gd name="connsiteX20" fmla="*/ 6055 w 10000"/>
              <a:gd name="connsiteY20" fmla="*/ 7232 h 10000"/>
              <a:gd name="connsiteX21" fmla="*/ 6125 w 10000"/>
              <a:gd name="connsiteY21" fmla="*/ 6753 h 10000"/>
              <a:gd name="connsiteX22" fmla="*/ 6210 w 10000"/>
              <a:gd name="connsiteY22" fmla="*/ 6233 h 10000"/>
              <a:gd name="connsiteX23" fmla="*/ 6294 w 10000"/>
              <a:gd name="connsiteY23" fmla="*/ 5713 h 10000"/>
              <a:gd name="connsiteX24" fmla="*/ 6406 w 10000"/>
              <a:gd name="connsiteY24" fmla="*/ 5260 h 10000"/>
              <a:gd name="connsiteX25" fmla="*/ 6491 w 10000"/>
              <a:gd name="connsiteY25" fmla="*/ 4844 h 10000"/>
              <a:gd name="connsiteX26" fmla="*/ 6688 w 10000"/>
              <a:gd name="connsiteY26" fmla="*/ 4136 h 10000"/>
              <a:gd name="connsiteX27" fmla="*/ 6885 w 10000"/>
              <a:gd name="connsiteY27" fmla="*/ 3528 h 10000"/>
              <a:gd name="connsiteX28" fmla="*/ 7053 w 10000"/>
              <a:gd name="connsiteY28" fmla="*/ 3091 h 10000"/>
              <a:gd name="connsiteX29" fmla="*/ 7194 w 10000"/>
              <a:gd name="connsiteY29" fmla="*/ 2737 h 10000"/>
              <a:gd name="connsiteX30" fmla="*/ 7363 w 10000"/>
              <a:gd name="connsiteY30" fmla="*/ 2383 h 10000"/>
              <a:gd name="connsiteX31" fmla="*/ 7504 w 10000"/>
              <a:gd name="connsiteY31" fmla="*/ 2118 h 10000"/>
              <a:gd name="connsiteX32" fmla="*/ 7672 w 10000"/>
              <a:gd name="connsiteY32" fmla="*/ 1826 h 10000"/>
              <a:gd name="connsiteX33" fmla="*/ 7813 w 10000"/>
              <a:gd name="connsiteY33" fmla="*/ 1597 h 10000"/>
              <a:gd name="connsiteX34" fmla="*/ 7968 w 10000"/>
              <a:gd name="connsiteY34" fmla="*/ 1379 h 10000"/>
              <a:gd name="connsiteX35" fmla="*/ 8122 w 10000"/>
              <a:gd name="connsiteY35" fmla="*/ 1181 h 10000"/>
              <a:gd name="connsiteX36" fmla="*/ 8312 w 10000"/>
              <a:gd name="connsiteY36" fmla="*/ 952 h 10000"/>
              <a:gd name="connsiteX37" fmla="*/ 8481 w 10000"/>
              <a:gd name="connsiteY37" fmla="*/ 786 h 10000"/>
              <a:gd name="connsiteX38" fmla="*/ 8678 w 10000"/>
              <a:gd name="connsiteY38" fmla="*/ 604 h 10000"/>
              <a:gd name="connsiteX39" fmla="*/ 8861 w 10000"/>
              <a:gd name="connsiteY39" fmla="*/ 458 h 10000"/>
              <a:gd name="connsiteX40" fmla="*/ 9030 w 10000"/>
              <a:gd name="connsiteY40" fmla="*/ 354 h 10000"/>
              <a:gd name="connsiteX41" fmla="*/ 9241 w 10000"/>
              <a:gd name="connsiteY41" fmla="*/ 229 h 10000"/>
              <a:gd name="connsiteX42" fmla="*/ 9437 w 10000"/>
              <a:gd name="connsiteY42" fmla="*/ 146 h 10000"/>
              <a:gd name="connsiteX43" fmla="*/ 9620 w 10000"/>
              <a:gd name="connsiteY43" fmla="*/ 83 h 10000"/>
              <a:gd name="connsiteX44" fmla="*/ 9775 w 10000"/>
              <a:gd name="connsiteY44" fmla="*/ 42 h 10000"/>
              <a:gd name="connsiteX45" fmla="*/ 10000 w 10000"/>
              <a:gd name="connsiteY45" fmla="*/ 0 h 10000"/>
              <a:gd name="connsiteX46" fmla="*/ 5858 w 10000"/>
              <a:gd name="connsiteY46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2159 w 10000"/>
              <a:gd name="connsiteY13" fmla="*/ 4053 h 10000"/>
              <a:gd name="connsiteX14" fmla="*/ 1456 w 10000"/>
              <a:gd name="connsiteY14" fmla="*/ 7643 h 10000"/>
              <a:gd name="connsiteX15" fmla="*/ 0 w 10000"/>
              <a:gd name="connsiteY15" fmla="*/ 7643 h 10000"/>
              <a:gd name="connsiteX16" fmla="*/ 3586 w 10000"/>
              <a:gd name="connsiteY16" fmla="*/ 10000 h 10000"/>
              <a:gd name="connsiteX17" fmla="*/ 7644 w 10000"/>
              <a:gd name="connsiteY17" fmla="*/ 7643 h 10000"/>
              <a:gd name="connsiteX18" fmla="*/ 5999 w 10000"/>
              <a:gd name="connsiteY18" fmla="*/ 7643 h 10000"/>
              <a:gd name="connsiteX19" fmla="*/ 6055 w 10000"/>
              <a:gd name="connsiteY19" fmla="*/ 7232 h 10000"/>
              <a:gd name="connsiteX20" fmla="*/ 6125 w 10000"/>
              <a:gd name="connsiteY20" fmla="*/ 6753 h 10000"/>
              <a:gd name="connsiteX21" fmla="*/ 6210 w 10000"/>
              <a:gd name="connsiteY21" fmla="*/ 6233 h 10000"/>
              <a:gd name="connsiteX22" fmla="*/ 6294 w 10000"/>
              <a:gd name="connsiteY22" fmla="*/ 5713 h 10000"/>
              <a:gd name="connsiteX23" fmla="*/ 6406 w 10000"/>
              <a:gd name="connsiteY23" fmla="*/ 5260 h 10000"/>
              <a:gd name="connsiteX24" fmla="*/ 6491 w 10000"/>
              <a:gd name="connsiteY24" fmla="*/ 4844 h 10000"/>
              <a:gd name="connsiteX25" fmla="*/ 6688 w 10000"/>
              <a:gd name="connsiteY25" fmla="*/ 4136 h 10000"/>
              <a:gd name="connsiteX26" fmla="*/ 6885 w 10000"/>
              <a:gd name="connsiteY26" fmla="*/ 3528 h 10000"/>
              <a:gd name="connsiteX27" fmla="*/ 7053 w 10000"/>
              <a:gd name="connsiteY27" fmla="*/ 3091 h 10000"/>
              <a:gd name="connsiteX28" fmla="*/ 7194 w 10000"/>
              <a:gd name="connsiteY28" fmla="*/ 2737 h 10000"/>
              <a:gd name="connsiteX29" fmla="*/ 7363 w 10000"/>
              <a:gd name="connsiteY29" fmla="*/ 2383 h 10000"/>
              <a:gd name="connsiteX30" fmla="*/ 7504 w 10000"/>
              <a:gd name="connsiteY30" fmla="*/ 2118 h 10000"/>
              <a:gd name="connsiteX31" fmla="*/ 7672 w 10000"/>
              <a:gd name="connsiteY31" fmla="*/ 1826 h 10000"/>
              <a:gd name="connsiteX32" fmla="*/ 7813 w 10000"/>
              <a:gd name="connsiteY32" fmla="*/ 1597 h 10000"/>
              <a:gd name="connsiteX33" fmla="*/ 7968 w 10000"/>
              <a:gd name="connsiteY33" fmla="*/ 1379 h 10000"/>
              <a:gd name="connsiteX34" fmla="*/ 8122 w 10000"/>
              <a:gd name="connsiteY34" fmla="*/ 1181 h 10000"/>
              <a:gd name="connsiteX35" fmla="*/ 8312 w 10000"/>
              <a:gd name="connsiteY35" fmla="*/ 952 h 10000"/>
              <a:gd name="connsiteX36" fmla="*/ 8481 w 10000"/>
              <a:gd name="connsiteY36" fmla="*/ 786 h 10000"/>
              <a:gd name="connsiteX37" fmla="*/ 8678 w 10000"/>
              <a:gd name="connsiteY37" fmla="*/ 604 h 10000"/>
              <a:gd name="connsiteX38" fmla="*/ 8861 w 10000"/>
              <a:gd name="connsiteY38" fmla="*/ 458 h 10000"/>
              <a:gd name="connsiteX39" fmla="*/ 9030 w 10000"/>
              <a:gd name="connsiteY39" fmla="*/ 354 h 10000"/>
              <a:gd name="connsiteX40" fmla="*/ 9241 w 10000"/>
              <a:gd name="connsiteY40" fmla="*/ 229 h 10000"/>
              <a:gd name="connsiteX41" fmla="*/ 9437 w 10000"/>
              <a:gd name="connsiteY41" fmla="*/ 146 h 10000"/>
              <a:gd name="connsiteX42" fmla="*/ 9620 w 10000"/>
              <a:gd name="connsiteY42" fmla="*/ 83 h 10000"/>
              <a:gd name="connsiteX43" fmla="*/ 9775 w 10000"/>
              <a:gd name="connsiteY43" fmla="*/ 42 h 10000"/>
              <a:gd name="connsiteX44" fmla="*/ 10000 w 10000"/>
              <a:gd name="connsiteY44" fmla="*/ 0 h 10000"/>
              <a:gd name="connsiteX45" fmla="*/ 5858 w 10000"/>
              <a:gd name="connsiteY45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2271 w 10000"/>
              <a:gd name="connsiteY12" fmla="*/ 3632 h 10000"/>
              <a:gd name="connsiteX13" fmla="*/ 1456 w 10000"/>
              <a:gd name="connsiteY13" fmla="*/ 7643 h 10000"/>
              <a:gd name="connsiteX14" fmla="*/ 0 w 10000"/>
              <a:gd name="connsiteY14" fmla="*/ 7643 h 10000"/>
              <a:gd name="connsiteX15" fmla="*/ 3586 w 10000"/>
              <a:gd name="connsiteY15" fmla="*/ 10000 h 10000"/>
              <a:gd name="connsiteX16" fmla="*/ 7644 w 10000"/>
              <a:gd name="connsiteY16" fmla="*/ 7643 h 10000"/>
              <a:gd name="connsiteX17" fmla="*/ 5999 w 10000"/>
              <a:gd name="connsiteY17" fmla="*/ 7643 h 10000"/>
              <a:gd name="connsiteX18" fmla="*/ 6055 w 10000"/>
              <a:gd name="connsiteY18" fmla="*/ 7232 h 10000"/>
              <a:gd name="connsiteX19" fmla="*/ 6125 w 10000"/>
              <a:gd name="connsiteY19" fmla="*/ 6753 h 10000"/>
              <a:gd name="connsiteX20" fmla="*/ 6210 w 10000"/>
              <a:gd name="connsiteY20" fmla="*/ 6233 h 10000"/>
              <a:gd name="connsiteX21" fmla="*/ 6294 w 10000"/>
              <a:gd name="connsiteY21" fmla="*/ 5713 h 10000"/>
              <a:gd name="connsiteX22" fmla="*/ 6406 w 10000"/>
              <a:gd name="connsiteY22" fmla="*/ 5260 h 10000"/>
              <a:gd name="connsiteX23" fmla="*/ 6491 w 10000"/>
              <a:gd name="connsiteY23" fmla="*/ 4844 h 10000"/>
              <a:gd name="connsiteX24" fmla="*/ 6688 w 10000"/>
              <a:gd name="connsiteY24" fmla="*/ 4136 h 10000"/>
              <a:gd name="connsiteX25" fmla="*/ 6885 w 10000"/>
              <a:gd name="connsiteY25" fmla="*/ 3528 h 10000"/>
              <a:gd name="connsiteX26" fmla="*/ 7053 w 10000"/>
              <a:gd name="connsiteY26" fmla="*/ 3091 h 10000"/>
              <a:gd name="connsiteX27" fmla="*/ 7194 w 10000"/>
              <a:gd name="connsiteY27" fmla="*/ 2737 h 10000"/>
              <a:gd name="connsiteX28" fmla="*/ 7363 w 10000"/>
              <a:gd name="connsiteY28" fmla="*/ 2383 h 10000"/>
              <a:gd name="connsiteX29" fmla="*/ 7504 w 10000"/>
              <a:gd name="connsiteY29" fmla="*/ 2118 h 10000"/>
              <a:gd name="connsiteX30" fmla="*/ 7672 w 10000"/>
              <a:gd name="connsiteY30" fmla="*/ 1826 h 10000"/>
              <a:gd name="connsiteX31" fmla="*/ 7813 w 10000"/>
              <a:gd name="connsiteY31" fmla="*/ 1597 h 10000"/>
              <a:gd name="connsiteX32" fmla="*/ 7968 w 10000"/>
              <a:gd name="connsiteY32" fmla="*/ 1379 h 10000"/>
              <a:gd name="connsiteX33" fmla="*/ 8122 w 10000"/>
              <a:gd name="connsiteY33" fmla="*/ 1181 h 10000"/>
              <a:gd name="connsiteX34" fmla="*/ 8312 w 10000"/>
              <a:gd name="connsiteY34" fmla="*/ 952 h 10000"/>
              <a:gd name="connsiteX35" fmla="*/ 8481 w 10000"/>
              <a:gd name="connsiteY35" fmla="*/ 786 h 10000"/>
              <a:gd name="connsiteX36" fmla="*/ 8678 w 10000"/>
              <a:gd name="connsiteY36" fmla="*/ 604 h 10000"/>
              <a:gd name="connsiteX37" fmla="*/ 8861 w 10000"/>
              <a:gd name="connsiteY37" fmla="*/ 458 h 10000"/>
              <a:gd name="connsiteX38" fmla="*/ 9030 w 10000"/>
              <a:gd name="connsiteY38" fmla="*/ 354 h 10000"/>
              <a:gd name="connsiteX39" fmla="*/ 9241 w 10000"/>
              <a:gd name="connsiteY39" fmla="*/ 229 h 10000"/>
              <a:gd name="connsiteX40" fmla="*/ 9437 w 10000"/>
              <a:gd name="connsiteY40" fmla="*/ 146 h 10000"/>
              <a:gd name="connsiteX41" fmla="*/ 9620 w 10000"/>
              <a:gd name="connsiteY41" fmla="*/ 83 h 10000"/>
              <a:gd name="connsiteX42" fmla="*/ 9775 w 10000"/>
              <a:gd name="connsiteY42" fmla="*/ 42 h 10000"/>
              <a:gd name="connsiteX43" fmla="*/ 10000 w 10000"/>
              <a:gd name="connsiteY43" fmla="*/ 0 h 10000"/>
              <a:gd name="connsiteX44" fmla="*/ 5858 w 10000"/>
              <a:gd name="connsiteY44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2525 w 10000"/>
              <a:gd name="connsiteY11" fmla="*/ 3007 h 10000"/>
              <a:gd name="connsiteX12" fmla="*/ 1456 w 10000"/>
              <a:gd name="connsiteY12" fmla="*/ 7643 h 10000"/>
              <a:gd name="connsiteX13" fmla="*/ 0 w 10000"/>
              <a:gd name="connsiteY13" fmla="*/ 7643 h 10000"/>
              <a:gd name="connsiteX14" fmla="*/ 3586 w 10000"/>
              <a:gd name="connsiteY14" fmla="*/ 10000 h 10000"/>
              <a:gd name="connsiteX15" fmla="*/ 7644 w 10000"/>
              <a:gd name="connsiteY15" fmla="*/ 7643 h 10000"/>
              <a:gd name="connsiteX16" fmla="*/ 5999 w 10000"/>
              <a:gd name="connsiteY16" fmla="*/ 7643 h 10000"/>
              <a:gd name="connsiteX17" fmla="*/ 6055 w 10000"/>
              <a:gd name="connsiteY17" fmla="*/ 7232 h 10000"/>
              <a:gd name="connsiteX18" fmla="*/ 6125 w 10000"/>
              <a:gd name="connsiteY18" fmla="*/ 6753 h 10000"/>
              <a:gd name="connsiteX19" fmla="*/ 6210 w 10000"/>
              <a:gd name="connsiteY19" fmla="*/ 6233 h 10000"/>
              <a:gd name="connsiteX20" fmla="*/ 6294 w 10000"/>
              <a:gd name="connsiteY20" fmla="*/ 5713 h 10000"/>
              <a:gd name="connsiteX21" fmla="*/ 6406 w 10000"/>
              <a:gd name="connsiteY21" fmla="*/ 5260 h 10000"/>
              <a:gd name="connsiteX22" fmla="*/ 6491 w 10000"/>
              <a:gd name="connsiteY22" fmla="*/ 4844 h 10000"/>
              <a:gd name="connsiteX23" fmla="*/ 6688 w 10000"/>
              <a:gd name="connsiteY23" fmla="*/ 4136 h 10000"/>
              <a:gd name="connsiteX24" fmla="*/ 6885 w 10000"/>
              <a:gd name="connsiteY24" fmla="*/ 3528 h 10000"/>
              <a:gd name="connsiteX25" fmla="*/ 7053 w 10000"/>
              <a:gd name="connsiteY25" fmla="*/ 3091 h 10000"/>
              <a:gd name="connsiteX26" fmla="*/ 7194 w 10000"/>
              <a:gd name="connsiteY26" fmla="*/ 2737 h 10000"/>
              <a:gd name="connsiteX27" fmla="*/ 7363 w 10000"/>
              <a:gd name="connsiteY27" fmla="*/ 2383 h 10000"/>
              <a:gd name="connsiteX28" fmla="*/ 7504 w 10000"/>
              <a:gd name="connsiteY28" fmla="*/ 2118 h 10000"/>
              <a:gd name="connsiteX29" fmla="*/ 7672 w 10000"/>
              <a:gd name="connsiteY29" fmla="*/ 1826 h 10000"/>
              <a:gd name="connsiteX30" fmla="*/ 7813 w 10000"/>
              <a:gd name="connsiteY30" fmla="*/ 1597 h 10000"/>
              <a:gd name="connsiteX31" fmla="*/ 7968 w 10000"/>
              <a:gd name="connsiteY31" fmla="*/ 1379 h 10000"/>
              <a:gd name="connsiteX32" fmla="*/ 8122 w 10000"/>
              <a:gd name="connsiteY32" fmla="*/ 1181 h 10000"/>
              <a:gd name="connsiteX33" fmla="*/ 8312 w 10000"/>
              <a:gd name="connsiteY33" fmla="*/ 952 h 10000"/>
              <a:gd name="connsiteX34" fmla="*/ 8481 w 10000"/>
              <a:gd name="connsiteY34" fmla="*/ 786 h 10000"/>
              <a:gd name="connsiteX35" fmla="*/ 8678 w 10000"/>
              <a:gd name="connsiteY35" fmla="*/ 604 h 10000"/>
              <a:gd name="connsiteX36" fmla="*/ 8861 w 10000"/>
              <a:gd name="connsiteY36" fmla="*/ 458 h 10000"/>
              <a:gd name="connsiteX37" fmla="*/ 9030 w 10000"/>
              <a:gd name="connsiteY37" fmla="*/ 354 h 10000"/>
              <a:gd name="connsiteX38" fmla="*/ 9241 w 10000"/>
              <a:gd name="connsiteY38" fmla="*/ 229 h 10000"/>
              <a:gd name="connsiteX39" fmla="*/ 9437 w 10000"/>
              <a:gd name="connsiteY39" fmla="*/ 146 h 10000"/>
              <a:gd name="connsiteX40" fmla="*/ 9620 w 10000"/>
              <a:gd name="connsiteY40" fmla="*/ 83 h 10000"/>
              <a:gd name="connsiteX41" fmla="*/ 9775 w 10000"/>
              <a:gd name="connsiteY41" fmla="*/ 42 h 10000"/>
              <a:gd name="connsiteX42" fmla="*/ 10000 w 10000"/>
              <a:gd name="connsiteY42" fmla="*/ 0 h 10000"/>
              <a:gd name="connsiteX43" fmla="*/ 5858 w 10000"/>
              <a:gd name="connsiteY43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2778 w 10000"/>
              <a:gd name="connsiteY10" fmla="*/ 2445 h 10000"/>
              <a:gd name="connsiteX11" fmla="*/ 1456 w 10000"/>
              <a:gd name="connsiteY11" fmla="*/ 7643 h 10000"/>
              <a:gd name="connsiteX12" fmla="*/ 0 w 10000"/>
              <a:gd name="connsiteY12" fmla="*/ 7643 h 10000"/>
              <a:gd name="connsiteX13" fmla="*/ 3586 w 10000"/>
              <a:gd name="connsiteY13" fmla="*/ 10000 h 10000"/>
              <a:gd name="connsiteX14" fmla="*/ 7644 w 10000"/>
              <a:gd name="connsiteY14" fmla="*/ 7643 h 10000"/>
              <a:gd name="connsiteX15" fmla="*/ 5999 w 10000"/>
              <a:gd name="connsiteY15" fmla="*/ 7643 h 10000"/>
              <a:gd name="connsiteX16" fmla="*/ 6055 w 10000"/>
              <a:gd name="connsiteY16" fmla="*/ 7232 h 10000"/>
              <a:gd name="connsiteX17" fmla="*/ 6125 w 10000"/>
              <a:gd name="connsiteY17" fmla="*/ 6753 h 10000"/>
              <a:gd name="connsiteX18" fmla="*/ 6210 w 10000"/>
              <a:gd name="connsiteY18" fmla="*/ 6233 h 10000"/>
              <a:gd name="connsiteX19" fmla="*/ 6294 w 10000"/>
              <a:gd name="connsiteY19" fmla="*/ 5713 h 10000"/>
              <a:gd name="connsiteX20" fmla="*/ 6406 w 10000"/>
              <a:gd name="connsiteY20" fmla="*/ 5260 h 10000"/>
              <a:gd name="connsiteX21" fmla="*/ 6491 w 10000"/>
              <a:gd name="connsiteY21" fmla="*/ 4844 h 10000"/>
              <a:gd name="connsiteX22" fmla="*/ 6688 w 10000"/>
              <a:gd name="connsiteY22" fmla="*/ 4136 h 10000"/>
              <a:gd name="connsiteX23" fmla="*/ 6885 w 10000"/>
              <a:gd name="connsiteY23" fmla="*/ 3528 h 10000"/>
              <a:gd name="connsiteX24" fmla="*/ 7053 w 10000"/>
              <a:gd name="connsiteY24" fmla="*/ 3091 h 10000"/>
              <a:gd name="connsiteX25" fmla="*/ 7194 w 10000"/>
              <a:gd name="connsiteY25" fmla="*/ 2737 h 10000"/>
              <a:gd name="connsiteX26" fmla="*/ 7363 w 10000"/>
              <a:gd name="connsiteY26" fmla="*/ 2383 h 10000"/>
              <a:gd name="connsiteX27" fmla="*/ 7504 w 10000"/>
              <a:gd name="connsiteY27" fmla="*/ 2118 h 10000"/>
              <a:gd name="connsiteX28" fmla="*/ 7672 w 10000"/>
              <a:gd name="connsiteY28" fmla="*/ 1826 h 10000"/>
              <a:gd name="connsiteX29" fmla="*/ 7813 w 10000"/>
              <a:gd name="connsiteY29" fmla="*/ 1597 h 10000"/>
              <a:gd name="connsiteX30" fmla="*/ 7968 w 10000"/>
              <a:gd name="connsiteY30" fmla="*/ 1379 h 10000"/>
              <a:gd name="connsiteX31" fmla="*/ 8122 w 10000"/>
              <a:gd name="connsiteY31" fmla="*/ 1181 h 10000"/>
              <a:gd name="connsiteX32" fmla="*/ 8312 w 10000"/>
              <a:gd name="connsiteY32" fmla="*/ 952 h 10000"/>
              <a:gd name="connsiteX33" fmla="*/ 8481 w 10000"/>
              <a:gd name="connsiteY33" fmla="*/ 786 h 10000"/>
              <a:gd name="connsiteX34" fmla="*/ 8678 w 10000"/>
              <a:gd name="connsiteY34" fmla="*/ 604 h 10000"/>
              <a:gd name="connsiteX35" fmla="*/ 8861 w 10000"/>
              <a:gd name="connsiteY35" fmla="*/ 458 h 10000"/>
              <a:gd name="connsiteX36" fmla="*/ 9030 w 10000"/>
              <a:gd name="connsiteY36" fmla="*/ 354 h 10000"/>
              <a:gd name="connsiteX37" fmla="*/ 9241 w 10000"/>
              <a:gd name="connsiteY37" fmla="*/ 229 h 10000"/>
              <a:gd name="connsiteX38" fmla="*/ 9437 w 10000"/>
              <a:gd name="connsiteY38" fmla="*/ 146 h 10000"/>
              <a:gd name="connsiteX39" fmla="*/ 9620 w 10000"/>
              <a:gd name="connsiteY39" fmla="*/ 83 h 10000"/>
              <a:gd name="connsiteX40" fmla="*/ 9775 w 10000"/>
              <a:gd name="connsiteY40" fmla="*/ 42 h 10000"/>
              <a:gd name="connsiteX41" fmla="*/ 10000 w 10000"/>
              <a:gd name="connsiteY41" fmla="*/ 0 h 10000"/>
              <a:gd name="connsiteX42" fmla="*/ 5858 w 10000"/>
              <a:gd name="connsiteY42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3003 w 10000"/>
              <a:gd name="connsiteY9" fmla="*/ 1993 h 10000"/>
              <a:gd name="connsiteX10" fmla="*/ 1456 w 10000"/>
              <a:gd name="connsiteY10" fmla="*/ 7643 h 10000"/>
              <a:gd name="connsiteX11" fmla="*/ 0 w 10000"/>
              <a:gd name="connsiteY11" fmla="*/ 7643 h 10000"/>
              <a:gd name="connsiteX12" fmla="*/ 3586 w 10000"/>
              <a:gd name="connsiteY12" fmla="*/ 10000 h 10000"/>
              <a:gd name="connsiteX13" fmla="*/ 7644 w 10000"/>
              <a:gd name="connsiteY13" fmla="*/ 7643 h 10000"/>
              <a:gd name="connsiteX14" fmla="*/ 5999 w 10000"/>
              <a:gd name="connsiteY14" fmla="*/ 7643 h 10000"/>
              <a:gd name="connsiteX15" fmla="*/ 6055 w 10000"/>
              <a:gd name="connsiteY15" fmla="*/ 7232 h 10000"/>
              <a:gd name="connsiteX16" fmla="*/ 6125 w 10000"/>
              <a:gd name="connsiteY16" fmla="*/ 6753 h 10000"/>
              <a:gd name="connsiteX17" fmla="*/ 6210 w 10000"/>
              <a:gd name="connsiteY17" fmla="*/ 6233 h 10000"/>
              <a:gd name="connsiteX18" fmla="*/ 6294 w 10000"/>
              <a:gd name="connsiteY18" fmla="*/ 5713 h 10000"/>
              <a:gd name="connsiteX19" fmla="*/ 6406 w 10000"/>
              <a:gd name="connsiteY19" fmla="*/ 5260 h 10000"/>
              <a:gd name="connsiteX20" fmla="*/ 6491 w 10000"/>
              <a:gd name="connsiteY20" fmla="*/ 4844 h 10000"/>
              <a:gd name="connsiteX21" fmla="*/ 6688 w 10000"/>
              <a:gd name="connsiteY21" fmla="*/ 4136 h 10000"/>
              <a:gd name="connsiteX22" fmla="*/ 6885 w 10000"/>
              <a:gd name="connsiteY22" fmla="*/ 3528 h 10000"/>
              <a:gd name="connsiteX23" fmla="*/ 7053 w 10000"/>
              <a:gd name="connsiteY23" fmla="*/ 3091 h 10000"/>
              <a:gd name="connsiteX24" fmla="*/ 7194 w 10000"/>
              <a:gd name="connsiteY24" fmla="*/ 2737 h 10000"/>
              <a:gd name="connsiteX25" fmla="*/ 7363 w 10000"/>
              <a:gd name="connsiteY25" fmla="*/ 2383 h 10000"/>
              <a:gd name="connsiteX26" fmla="*/ 7504 w 10000"/>
              <a:gd name="connsiteY26" fmla="*/ 2118 h 10000"/>
              <a:gd name="connsiteX27" fmla="*/ 7672 w 10000"/>
              <a:gd name="connsiteY27" fmla="*/ 1826 h 10000"/>
              <a:gd name="connsiteX28" fmla="*/ 7813 w 10000"/>
              <a:gd name="connsiteY28" fmla="*/ 1597 h 10000"/>
              <a:gd name="connsiteX29" fmla="*/ 7968 w 10000"/>
              <a:gd name="connsiteY29" fmla="*/ 1379 h 10000"/>
              <a:gd name="connsiteX30" fmla="*/ 8122 w 10000"/>
              <a:gd name="connsiteY30" fmla="*/ 1181 h 10000"/>
              <a:gd name="connsiteX31" fmla="*/ 8312 w 10000"/>
              <a:gd name="connsiteY31" fmla="*/ 952 h 10000"/>
              <a:gd name="connsiteX32" fmla="*/ 8481 w 10000"/>
              <a:gd name="connsiteY32" fmla="*/ 786 h 10000"/>
              <a:gd name="connsiteX33" fmla="*/ 8678 w 10000"/>
              <a:gd name="connsiteY33" fmla="*/ 604 h 10000"/>
              <a:gd name="connsiteX34" fmla="*/ 8861 w 10000"/>
              <a:gd name="connsiteY34" fmla="*/ 458 h 10000"/>
              <a:gd name="connsiteX35" fmla="*/ 9030 w 10000"/>
              <a:gd name="connsiteY35" fmla="*/ 354 h 10000"/>
              <a:gd name="connsiteX36" fmla="*/ 9241 w 10000"/>
              <a:gd name="connsiteY36" fmla="*/ 229 h 10000"/>
              <a:gd name="connsiteX37" fmla="*/ 9437 w 10000"/>
              <a:gd name="connsiteY37" fmla="*/ 146 h 10000"/>
              <a:gd name="connsiteX38" fmla="*/ 9620 w 10000"/>
              <a:gd name="connsiteY38" fmla="*/ 83 h 10000"/>
              <a:gd name="connsiteX39" fmla="*/ 9775 w 10000"/>
              <a:gd name="connsiteY39" fmla="*/ 42 h 10000"/>
              <a:gd name="connsiteX40" fmla="*/ 10000 w 10000"/>
              <a:gd name="connsiteY40" fmla="*/ 0 h 10000"/>
              <a:gd name="connsiteX41" fmla="*/ 5858 w 10000"/>
              <a:gd name="connsiteY41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3277 w 10000"/>
              <a:gd name="connsiteY8" fmla="*/ 1597 h 10000"/>
              <a:gd name="connsiteX9" fmla="*/ 1456 w 10000"/>
              <a:gd name="connsiteY9" fmla="*/ 7643 h 10000"/>
              <a:gd name="connsiteX10" fmla="*/ 0 w 10000"/>
              <a:gd name="connsiteY10" fmla="*/ 7643 h 10000"/>
              <a:gd name="connsiteX11" fmla="*/ 3586 w 10000"/>
              <a:gd name="connsiteY11" fmla="*/ 10000 h 10000"/>
              <a:gd name="connsiteX12" fmla="*/ 7644 w 10000"/>
              <a:gd name="connsiteY12" fmla="*/ 7643 h 10000"/>
              <a:gd name="connsiteX13" fmla="*/ 5999 w 10000"/>
              <a:gd name="connsiteY13" fmla="*/ 7643 h 10000"/>
              <a:gd name="connsiteX14" fmla="*/ 6055 w 10000"/>
              <a:gd name="connsiteY14" fmla="*/ 7232 h 10000"/>
              <a:gd name="connsiteX15" fmla="*/ 6125 w 10000"/>
              <a:gd name="connsiteY15" fmla="*/ 6753 h 10000"/>
              <a:gd name="connsiteX16" fmla="*/ 6210 w 10000"/>
              <a:gd name="connsiteY16" fmla="*/ 6233 h 10000"/>
              <a:gd name="connsiteX17" fmla="*/ 6294 w 10000"/>
              <a:gd name="connsiteY17" fmla="*/ 5713 h 10000"/>
              <a:gd name="connsiteX18" fmla="*/ 6406 w 10000"/>
              <a:gd name="connsiteY18" fmla="*/ 5260 h 10000"/>
              <a:gd name="connsiteX19" fmla="*/ 6491 w 10000"/>
              <a:gd name="connsiteY19" fmla="*/ 4844 h 10000"/>
              <a:gd name="connsiteX20" fmla="*/ 6688 w 10000"/>
              <a:gd name="connsiteY20" fmla="*/ 4136 h 10000"/>
              <a:gd name="connsiteX21" fmla="*/ 6885 w 10000"/>
              <a:gd name="connsiteY21" fmla="*/ 3528 h 10000"/>
              <a:gd name="connsiteX22" fmla="*/ 7053 w 10000"/>
              <a:gd name="connsiteY22" fmla="*/ 3091 h 10000"/>
              <a:gd name="connsiteX23" fmla="*/ 7194 w 10000"/>
              <a:gd name="connsiteY23" fmla="*/ 2737 h 10000"/>
              <a:gd name="connsiteX24" fmla="*/ 7363 w 10000"/>
              <a:gd name="connsiteY24" fmla="*/ 2383 h 10000"/>
              <a:gd name="connsiteX25" fmla="*/ 7504 w 10000"/>
              <a:gd name="connsiteY25" fmla="*/ 2118 h 10000"/>
              <a:gd name="connsiteX26" fmla="*/ 7672 w 10000"/>
              <a:gd name="connsiteY26" fmla="*/ 1826 h 10000"/>
              <a:gd name="connsiteX27" fmla="*/ 7813 w 10000"/>
              <a:gd name="connsiteY27" fmla="*/ 1597 h 10000"/>
              <a:gd name="connsiteX28" fmla="*/ 7968 w 10000"/>
              <a:gd name="connsiteY28" fmla="*/ 1379 h 10000"/>
              <a:gd name="connsiteX29" fmla="*/ 8122 w 10000"/>
              <a:gd name="connsiteY29" fmla="*/ 1181 h 10000"/>
              <a:gd name="connsiteX30" fmla="*/ 8312 w 10000"/>
              <a:gd name="connsiteY30" fmla="*/ 952 h 10000"/>
              <a:gd name="connsiteX31" fmla="*/ 8481 w 10000"/>
              <a:gd name="connsiteY31" fmla="*/ 786 h 10000"/>
              <a:gd name="connsiteX32" fmla="*/ 8678 w 10000"/>
              <a:gd name="connsiteY32" fmla="*/ 604 h 10000"/>
              <a:gd name="connsiteX33" fmla="*/ 8861 w 10000"/>
              <a:gd name="connsiteY33" fmla="*/ 458 h 10000"/>
              <a:gd name="connsiteX34" fmla="*/ 9030 w 10000"/>
              <a:gd name="connsiteY34" fmla="*/ 354 h 10000"/>
              <a:gd name="connsiteX35" fmla="*/ 9241 w 10000"/>
              <a:gd name="connsiteY35" fmla="*/ 229 h 10000"/>
              <a:gd name="connsiteX36" fmla="*/ 9437 w 10000"/>
              <a:gd name="connsiteY36" fmla="*/ 146 h 10000"/>
              <a:gd name="connsiteX37" fmla="*/ 9620 w 10000"/>
              <a:gd name="connsiteY37" fmla="*/ 83 h 10000"/>
              <a:gd name="connsiteX38" fmla="*/ 9775 w 10000"/>
              <a:gd name="connsiteY38" fmla="*/ 42 h 10000"/>
              <a:gd name="connsiteX39" fmla="*/ 10000 w 10000"/>
              <a:gd name="connsiteY39" fmla="*/ 0 h 10000"/>
              <a:gd name="connsiteX40" fmla="*/ 5858 w 10000"/>
              <a:gd name="connsiteY40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3586 w 10000"/>
              <a:gd name="connsiteY7" fmla="*/ 1181 h 10000"/>
              <a:gd name="connsiteX8" fmla="*/ 1456 w 10000"/>
              <a:gd name="connsiteY8" fmla="*/ 7643 h 10000"/>
              <a:gd name="connsiteX9" fmla="*/ 0 w 10000"/>
              <a:gd name="connsiteY9" fmla="*/ 7643 h 10000"/>
              <a:gd name="connsiteX10" fmla="*/ 3586 w 10000"/>
              <a:gd name="connsiteY10" fmla="*/ 10000 h 10000"/>
              <a:gd name="connsiteX11" fmla="*/ 7644 w 10000"/>
              <a:gd name="connsiteY11" fmla="*/ 7643 h 10000"/>
              <a:gd name="connsiteX12" fmla="*/ 5999 w 10000"/>
              <a:gd name="connsiteY12" fmla="*/ 7643 h 10000"/>
              <a:gd name="connsiteX13" fmla="*/ 6055 w 10000"/>
              <a:gd name="connsiteY13" fmla="*/ 7232 h 10000"/>
              <a:gd name="connsiteX14" fmla="*/ 6125 w 10000"/>
              <a:gd name="connsiteY14" fmla="*/ 6753 h 10000"/>
              <a:gd name="connsiteX15" fmla="*/ 6210 w 10000"/>
              <a:gd name="connsiteY15" fmla="*/ 6233 h 10000"/>
              <a:gd name="connsiteX16" fmla="*/ 6294 w 10000"/>
              <a:gd name="connsiteY16" fmla="*/ 5713 h 10000"/>
              <a:gd name="connsiteX17" fmla="*/ 6406 w 10000"/>
              <a:gd name="connsiteY17" fmla="*/ 5260 h 10000"/>
              <a:gd name="connsiteX18" fmla="*/ 6491 w 10000"/>
              <a:gd name="connsiteY18" fmla="*/ 4844 h 10000"/>
              <a:gd name="connsiteX19" fmla="*/ 6688 w 10000"/>
              <a:gd name="connsiteY19" fmla="*/ 4136 h 10000"/>
              <a:gd name="connsiteX20" fmla="*/ 6885 w 10000"/>
              <a:gd name="connsiteY20" fmla="*/ 3528 h 10000"/>
              <a:gd name="connsiteX21" fmla="*/ 7053 w 10000"/>
              <a:gd name="connsiteY21" fmla="*/ 3091 h 10000"/>
              <a:gd name="connsiteX22" fmla="*/ 7194 w 10000"/>
              <a:gd name="connsiteY22" fmla="*/ 2737 h 10000"/>
              <a:gd name="connsiteX23" fmla="*/ 7363 w 10000"/>
              <a:gd name="connsiteY23" fmla="*/ 2383 h 10000"/>
              <a:gd name="connsiteX24" fmla="*/ 7504 w 10000"/>
              <a:gd name="connsiteY24" fmla="*/ 2118 h 10000"/>
              <a:gd name="connsiteX25" fmla="*/ 7672 w 10000"/>
              <a:gd name="connsiteY25" fmla="*/ 1826 h 10000"/>
              <a:gd name="connsiteX26" fmla="*/ 7813 w 10000"/>
              <a:gd name="connsiteY26" fmla="*/ 1597 h 10000"/>
              <a:gd name="connsiteX27" fmla="*/ 7968 w 10000"/>
              <a:gd name="connsiteY27" fmla="*/ 1379 h 10000"/>
              <a:gd name="connsiteX28" fmla="*/ 8122 w 10000"/>
              <a:gd name="connsiteY28" fmla="*/ 1181 h 10000"/>
              <a:gd name="connsiteX29" fmla="*/ 8312 w 10000"/>
              <a:gd name="connsiteY29" fmla="*/ 952 h 10000"/>
              <a:gd name="connsiteX30" fmla="*/ 8481 w 10000"/>
              <a:gd name="connsiteY30" fmla="*/ 786 h 10000"/>
              <a:gd name="connsiteX31" fmla="*/ 8678 w 10000"/>
              <a:gd name="connsiteY31" fmla="*/ 604 h 10000"/>
              <a:gd name="connsiteX32" fmla="*/ 8861 w 10000"/>
              <a:gd name="connsiteY32" fmla="*/ 458 h 10000"/>
              <a:gd name="connsiteX33" fmla="*/ 9030 w 10000"/>
              <a:gd name="connsiteY33" fmla="*/ 354 h 10000"/>
              <a:gd name="connsiteX34" fmla="*/ 9241 w 10000"/>
              <a:gd name="connsiteY34" fmla="*/ 229 h 10000"/>
              <a:gd name="connsiteX35" fmla="*/ 9437 w 10000"/>
              <a:gd name="connsiteY35" fmla="*/ 146 h 10000"/>
              <a:gd name="connsiteX36" fmla="*/ 9620 w 10000"/>
              <a:gd name="connsiteY36" fmla="*/ 83 h 10000"/>
              <a:gd name="connsiteX37" fmla="*/ 9775 w 10000"/>
              <a:gd name="connsiteY37" fmla="*/ 42 h 10000"/>
              <a:gd name="connsiteX38" fmla="*/ 10000 w 10000"/>
              <a:gd name="connsiteY38" fmla="*/ 0 h 10000"/>
              <a:gd name="connsiteX39" fmla="*/ 5858 w 10000"/>
              <a:gd name="connsiteY39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3812 w 10000"/>
              <a:gd name="connsiteY6" fmla="*/ 890 h 10000"/>
              <a:gd name="connsiteX7" fmla="*/ 1456 w 10000"/>
              <a:gd name="connsiteY7" fmla="*/ 7643 h 10000"/>
              <a:gd name="connsiteX8" fmla="*/ 0 w 10000"/>
              <a:gd name="connsiteY8" fmla="*/ 7643 h 10000"/>
              <a:gd name="connsiteX9" fmla="*/ 3586 w 10000"/>
              <a:gd name="connsiteY9" fmla="*/ 10000 h 10000"/>
              <a:gd name="connsiteX10" fmla="*/ 7644 w 10000"/>
              <a:gd name="connsiteY10" fmla="*/ 7643 h 10000"/>
              <a:gd name="connsiteX11" fmla="*/ 5999 w 10000"/>
              <a:gd name="connsiteY11" fmla="*/ 7643 h 10000"/>
              <a:gd name="connsiteX12" fmla="*/ 6055 w 10000"/>
              <a:gd name="connsiteY12" fmla="*/ 7232 h 10000"/>
              <a:gd name="connsiteX13" fmla="*/ 6125 w 10000"/>
              <a:gd name="connsiteY13" fmla="*/ 6753 h 10000"/>
              <a:gd name="connsiteX14" fmla="*/ 6210 w 10000"/>
              <a:gd name="connsiteY14" fmla="*/ 6233 h 10000"/>
              <a:gd name="connsiteX15" fmla="*/ 6294 w 10000"/>
              <a:gd name="connsiteY15" fmla="*/ 5713 h 10000"/>
              <a:gd name="connsiteX16" fmla="*/ 6406 w 10000"/>
              <a:gd name="connsiteY16" fmla="*/ 5260 h 10000"/>
              <a:gd name="connsiteX17" fmla="*/ 6491 w 10000"/>
              <a:gd name="connsiteY17" fmla="*/ 4844 h 10000"/>
              <a:gd name="connsiteX18" fmla="*/ 6688 w 10000"/>
              <a:gd name="connsiteY18" fmla="*/ 4136 h 10000"/>
              <a:gd name="connsiteX19" fmla="*/ 6885 w 10000"/>
              <a:gd name="connsiteY19" fmla="*/ 3528 h 10000"/>
              <a:gd name="connsiteX20" fmla="*/ 7053 w 10000"/>
              <a:gd name="connsiteY20" fmla="*/ 3091 h 10000"/>
              <a:gd name="connsiteX21" fmla="*/ 7194 w 10000"/>
              <a:gd name="connsiteY21" fmla="*/ 2737 h 10000"/>
              <a:gd name="connsiteX22" fmla="*/ 7363 w 10000"/>
              <a:gd name="connsiteY22" fmla="*/ 2383 h 10000"/>
              <a:gd name="connsiteX23" fmla="*/ 7504 w 10000"/>
              <a:gd name="connsiteY23" fmla="*/ 2118 h 10000"/>
              <a:gd name="connsiteX24" fmla="*/ 7672 w 10000"/>
              <a:gd name="connsiteY24" fmla="*/ 1826 h 10000"/>
              <a:gd name="connsiteX25" fmla="*/ 7813 w 10000"/>
              <a:gd name="connsiteY25" fmla="*/ 1597 h 10000"/>
              <a:gd name="connsiteX26" fmla="*/ 7968 w 10000"/>
              <a:gd name="connsiteY26" fmla="*/ 1379 h 10000"/>
              <a:gd name="connsiteX27" fmla="*/ 8122 w 10000"/>
              <a:gd name="connsiteY27" fmla="*/ 1181 h 10000"/>
              <a:gd name="connsiteX28" fmla="*/ 8312 w 10000"/>
              <a:gd name="connsiteY28" fmla="*/ 952 h 10000"/>
              <a:gd name="connsiteX29" fmla="*/ 8481 w 10000"/>
              <a:gd name="connsiteY29" fmla="*/ 786 h 10000"/>
              <a:gd name="connsiteX30" fmla="*/ 8678 w 10000"/>
              <a:gd name="connsiteY30" fmla="*/ 604 h 10000"/>
              <a:gd name="connsiteX31" fmla="*/ 8861 w 10000"/>
              <a:gd name="connsiteY31" fmla="*/ 458 h 10000"/>
              <a:gd name="connsiteX32" fmla="*/ 9030 w 10000"/>
              <a:gd name="connsiteY32" fmla="*/ 354 h 10000"/>
              <a:gd name="connsiteX33" fmla="*/ 9241 w 10000"/>
              <a:gd name="connsiteY33" fmla="*/ 229 h 10000"/>
              <a:gd name="connsiteX34" fmla="*/ 9437 w 10000"/>
              <a:gd name="connsiteY34" fmla="*/ 146 h 10000"/>
              <a:gd name="connsiteX35" fmla="*/ 9620 w 10000"/>
              <a:gd name="connsiteY35" fmla="*/ 83 h 10000"/>
              <a:gd name="connsiteX36" fmla="*/ 9775 w 10000"/>
              <a:gd name="connsiteY36" fmla="*/ 42 h 10000"/>
              <a:gd name="connsiteX37" fmla="*/ 10000 w 10000"/>
              <a:gd name="connsiteY37" fmla="*/ 0 h 10000"/>
              <a:gd name="connsiteX38" fmla="*/ 5858 w 10000"/>
              <a:gd name="connsiteY38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4093 w 10000"/>
              <a:gd name="connsiteY5" fmla="*/ 624 h 10000"/>
              <a:gd name="connsiteX6" fmla="*/ 1456 w 10000"/>
              <a:gd name="connsiteY6" fmla="*/ 7643 h 10000"/>
              <a:gd name="connsiteX7" fmla="*/ 0 w 10000"/>
              <a:gd name="connsiteY7" fmla="*/ 7643 h 10000"/>
              <a:gd name="connsiteX8" fmla="*/ 3586 w 10000"/>
              <a:gd name="connsiteY8" fmla="*/ 10000 h 10000"/>
              <a:gd name="connsiteX9" fmla="*/ 7644 w 10000"/>
              <a:gd name="connsiteY9" fmla="*/ 7643 h 10000"/>
              <a:gd name="connsiteX10" fmla="*/ 5999 w 10000"/>
              <a:gd name="connsiteY10" fmla="*/ 7643 h 10000"/>
              <a:gd name="connsiteX11" fmla="*/ 6055 w 10000"/>
              <a:gd name="connsiteY11" fmla="*/ 7232 h 10000"/>
              <a:gd name="connsiteX12" fmla="*/ 6125 w 10000"/>
              <a:gd name="connsiteY12" fmla="*/ 6753 h 10000"/>
              <a:gd name="connsiteX13" fmla="*/ 6210 w 10000"/>
              <a:gd name="connsiteY13" fmla="*/ 6233 h 10000"/>
              <a:gd name="connsiteX14" fmla="*/ 6294 w 10000"/>
              <a:gd name="connsiteY14" fmla="*/ 5713 h 10000"/>
              <a:gd name="connsiteX15" fmla="*/ 6406 w 10000"/>
              <a:gd name="connsiteY15" fmla="*/ 5260 h 10000"/>
              <a:gd name="connsiteX16" fmla="*/ 6491 w 10000"/>
              <a:gd name="connsiteY16" fmla="*/ 4844 h 10000"/>
              <a:gd name="connsiteX17" fmla="*/ 6688 w 10000"/>
              <a:gd name="connsiteY17" fmla="*/ 4136 h 10000"/>
              <a:gd name="connsiteX18" fmla="*/ 6885 w 10000"/>
              <a:gd name="connsiteY18" fmla="*/ 3528 h 10000"/>
              <a:gd name="connsiteX19" fmla="*/ 7053 w 10000"/>
              <a:gd name="connsiteY19" fmla="*/ 3091 h 10000"/>
              <a:gd name="connsiteX20" fmla="*/ 7194 w 10000"/>
              <a:gd name="connsiteY20" fmla="*/ 2737 h 10000"/>
              <a:gd name="connsiteX21" fmla="*/ 7363 w 10000"/>
              <a:gd name="connsiteY21" fmla="*/ 2383 h 10000"/>
              <a:gd name="connsiteX22" fmla="*/ 7504 w 10000"/>
              <a:gd name="connsiteY22" fmla="*/ 2118 h 10000"/>
              <a:gd name="connsiteX23" fmla="*/ 7672 w 10000"/>
              <a:gd name="connsiteY23" fmla="*/ 1826 h 10000"/>
              <a:gd name="connsiteX24" fmla="*/ 7813 w 10000"/>
              <a:gd name="connsiteY24" fmla="*/ 1597 h 10000"/>
              <a:gd name="connsiteX25" fmla="*/ 7968 w 10000"/>
              <a:gd name="connsiteY25" fmla="*/ 1379 h 10000"/>
              <a:gd name="connsiteX26" fmla="*/ 8122 w 10000"/>
              <a:gd name="connsiteY26" fmla="*/ 1181 h 10000"/>
              <a:gd name="connsiteX27" fmla="*/ 8312 w 10000"/>
              <a:gd name="connsiteY27" fmla="*/ 952 h 10000"/>
              <a:gd name="connsiteX28" fmla="*/ 8481 w 10000"/>
              <a:gd name="connsiteY28" fmla="*/ 786 h 10000"/>
              <a:gd name="connsiteX29" fmla="*/ 8678 w 10000"/>
              <a:gd name="connsiteY29" fmla="*/ 604 h 10000"/>
              <a:gd name="connsiteX30" fmla="*/ 8861 w 10000"/>
              <a:gd name="connsiteY30" fmla="*/ 458 h 10000"/>
              <a:gd name="connsiteX31" fmla="*/ 9030 w 10000"/>
              <a:gd name="connsiteY31" fmla="*/ 354 h 10000"/>
              <a:gd name="connsiteX32" fmla="*/ 9241 w 10000"/>
              <a:gd name="connsiteY32" fmla="*/ 229 h 10000"/>
              <a:gd name="connsiteX33" fmla="*/ 9437 w 10000"/>
              <a:gd name="connsiteY33" fmla="*/ 146 h 10000"/>
              <a:gd name="connsiteX34" fmla="*/ 9620 w 10000"/>
              <a:gd name="connsiteY34" fmla="*/ 83 h 10000"/>
              <a:gd name="connsiteX35" fmla="*/ 9775 w 10000"/>
              <a:gd name="connsiteY35" fmla="*/ 42 h 10000"/>
              <a:gd name="connsiteX36" fmla="*/ 10000 w 10000"/>
              <a:gd name="connsiteY36" fmla="*/ 0 h 10000"/>
              <a:gd name="connsiteX37" fmla="*/ 5858 w 10000"/>
              <a:gd name="connsiteY37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4430 w 10000"/>
              <a:gd name="connsiteY4" fmla="*/ 375 h 10000"/>
              <a:gd name="connsiteX5" fmla="*/ 1456 w 10000"/>
              <a:gd name="connsiteY5" fmla="*/ 7643 h 10000"/>
              <a:gd name="connsiteX6" fmla="*/ 0 w 10000"/>
              <a:gd name="connsiteY6" fmla="*/ 7643 h 10000"/>
              <a:gd name="connsiteX7" fmla="*/ 3586 w 10000"/>
              <a:gd name="connsiteY7" fmla="*/ 10000 h 10000"/>
              <a:gd name="connsiteX8" fmla="*/ 7644 w 10000"/>
              <a:gd name="connsiteY8" fmla="*/ 7643 h 10000"/>
              <a:gd name="connsiteX9" fmla="*/ 5999 w 10000"/>
              <a:gd name="connsiteY9" fmla="*/ 7643 h 10000"/>
              <a:gd name="connsiteX10" fmla="*/ 6055 w 10000"/>
              <a:gd name="connsiteY10" fmla="*/ 7232 h 10000"/>
              <a:gd name="connsiteX11" fmla="*/ 6125 w 10000"/>
              <a:gd name="connsiteY11" fmla="*/ 6753 h 10000"/>
              <a:gd name="connsiteX12" fmla="*/ 6210 w 10000"/>
              <a:gd name="connsiteY12" fmla="*/ 6233 h 10000"/>
              <a:gd name="connsiteX13" fmla="*/ 6294 w 10000"/>
              <a:gd name="connsiteY13" fmla="*/ 5713 h 10000"/>
              <a:gd name="connsiteX14" fmla="*/ 6406 w 10000"/>
              <a:gd name="connsiteY14" fmla="*/ 5260 h 10000"/>
              <a:gd name="connsiteX15" fmla="*/ 6491 w 10000"/>
              <a:gd name="connsiteY15" fmla="*/ 4844 h 10000"/>
              <a:gd name="connsiteX16" fmla="*/ 6688 w 10000"/>
              <a:gd name="connsiteY16" fmla="*/ 4136 h 10000"/>
              <a:gd name="connsiteX17" fmla="*/ 6885 w 10000"/>
              <a:gd name="connsiteY17" fmla="*/ 3528 h 10000"/>
              <a:gd name="connsiteX18" fmla="*/ 7053 w 10000"/>
              <a:gd name="connsiteY18" fmla="*/ 3091 h 10000"/>
              <a:gd name="connsiteX19" fmla="*/ 7194 w 10000"/>
              <a:gd name="connsiteY19" fmla="*/ 2737 h 10000"/>
              <a:gd name="connsiteX20" fmla="*/ 7363 w 10000"/>
              <a:gd name="connsiteY20" fmla="*/ 2383 h 10000"/>
              <a:gd name="connsiteX21" fmla="*/ 7504 w 10000"/>
              <a:gd name="connsiteY21" fmla="*/ 2118 h 10000"/>
              <a:gd name="connsiteX22" fmla="*/ 7672 w 10000"/>
              <a:gd name="connsiteY22" fmla="*/ 1826 h 10000"/>
              <a:gd name="connsiteX23" fmla="*/ 7813 w 10000"/>
              <a:gd name="connsiteY23" fmla="*/ 1597 h 10000"/>
              <a:gd name="connsiteX24" fmla="*/ 7968 w 10000"/>
              <a:gd name="connsiteY24" fmla="*/ 1379 h 10000"/>
              <a:gd name="connsiteX25" fmla="*/ 8122 w 10000"/>
              <a:gd name="connsiteY25" fmla="*/ 1181 h 10000"/>
              <a:gd name="connsiteX26" fmla="*/ 8312 w 10000"/>
              <a:gd name="connsiteY26" fmla="*/ 952 h 10000"/>
              <a:gd name="connsiteX27" fmla="*/ 8481 w 10000"/>
              <a:gd name="connsiteY27" fmla="*/ 786 h 10000"/>
              <a:gd name="connsiteX28" fmla="*/ 8678 w 10000"/>
              <a:gd name="connsiteY28" fmla="*/ 604 h 10000"/>
              <a:gd name="connsiteX29" fmla="*/ 8861 w 10000"/>
              <a:gd name="connsiteY29" fmla="*/ 458 h 10000"/>
              <a:gd name="connsiteX30" fmla="*/ 9030 w 10000"/>
              <a:gd name="connsiteY30" fmla="*/ 354 h 10000"/>
              <a:gd name="connsiteX31" fmla="*/ 9241 w 10000"/>
              <a:gd name="connsiteY31" fmla="*/ 229 h 10000"/>
              <a:gd name="connsiteX32" fmla="*/ 9437 w 10000"/>
              <a:gd name="connsiteY32" fmla="*/ 146 h 10000"/>
              <a:gd name="connsiteX33" fmla="*/ 9620 w 10000"/>
              <a:gd name="connsiteY33" fmla="*/ 83 h 10000"/>
              <a:gd name="connsiteX34" fmla="*/ 9775 w 10000"/>
              <a:gd name="connsiteY34" fmla="*/ 42 h 10000"/>
              <a:gd name="connsiteX35" fmla="*/ 10000 w 10000"/>
              <a:gd name="connsiteY35" fmla="*/ 0 h 10000"/>
              <a:gd name="connsiteX36" fmla="*/ 5858 w 10000"/>
              <a:gd name="connsiteY36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4768 w 10000"/>
              <a:gd name="connsiteY3" fmla="*/ 166 h 10000"/>
              <a:gd name="connsiteX4" fmla="*/ 1456 w 10000"/>
              <a:gd name="connsiteY4" fmla="*/ 7643 h 10000"/>
              <a:gd name="connsiteX5" fmla="*/ 0 w 10000"/>
              <a:gd name="connsiteY5" fmla="*/ 7643 h 10000"/>
              <a:gd name="connsiteX6" fmla="*/ 3586 w 10000"/>
              <a:gd name="connsiteY6" fmla="*/ 10000 h 10000"/>
              <a:gd name="connsiteX7" fmla="*/ 7644 w 10000"/>
              <a:gd name="connsiteY7" fmla="*/ 7643 h 10000"/>
              <a:gd name="connsiteX8" fmla="*/ 5999 w 10000"/>
              <a:gd name="connsiteY8" fmla="*/ 7643 h 10000"/>
              <a:gd name="connsiteX9" fmla="*/ 6055 w 10000"/>
              <a:gd name="connsiteY9" fmla="*/ 7232 h 10000"/>
              <a:gd name="connsiteX10" fmla="*/ 6125 w 10000"/>
              <a:gd name="connsiteY10" fmla="*/ 6753 h 10000"/>
              <a:gd name="connsiteX11" fmla="*/ 6210 w 10000"/>
              <a:gd name="connsiteY11" fmla="*/ 6233 h 10000"/>
              <a:gd name="connsiteX12" fmla="*/ 6294 w 10000"/>
              <a:gd name="connsiteY12" fmla="*/ 5713 h 10000"/>
              <a:gd name="connsiteX13" fmla="*/ 6406 w 10000"/>
              <a:gd name="connsiteY13" fmla="*/ 5260 h 10000"/>
              <a:gd name="connsiteX14" fmla="*/ 6491 w 10000"/>
              <a:gd name="connsiteY14" fmla="*/ 4844 h 10000"/>
              <a:gd name="connsiteX15" fmla="*/ 6688 w 10000"/>
              <a:gd name="connsiteY15" fmla="*/ 4136 h 10000"/>
              <a:gd name="connsiteX16" fmla="*/ 6885 w 10000"/>
              <a:gd name="connsiteY16" fmla="*/ 3528 h 10000"/>
              <a:gd name="connsiteX17" fmla="*/ 7053 w 10000"/>
              <a:gd name="connsiteY17" fmla="*/ 3091 h 10000"/>
              <a:gd name="connsiteX18" fmla="*/ 7194 w 10000"/>
              <a:gd name="connsiteY18" fmla="*/ 2737 h 10000"/>
              <a:gd name="connsiteX19" fmla="*/ 7363 w 10000"/>
              <a:gd name="connsiteY19" fmla="*/ 2383 h 10000"/>
              <a:gd name="connsiteX20" fmla="*/ 7504 w 10000"/>
              <a:gd name="connsiteY20" fmla="*/ 2118 h 10000"/>
              <a:gd name="connsiteX21" fmla="*/ 7672 w 10000"/>
              <a:gd name="connsiteY21" fmla="*/ 1826 h 10000"/>
              <a:gd name="connsiteX22" fmla="*/ 7813 w 10000"/>
              <a:gd name="connsiteY22" fmla="*/ 1597 h 10000"/>
              <a:gd name="connsiteX23" fmla="*/ 7968 w 10000"/>
              <a:gd name="connsiteY23" fmla="*/ 1379 h 10000"/>
              <a:gd name="connsiteX24" fmla="*/ 8122 w 10000"/>
              <a:gd name="connsiteY24" fmla="*/ 1181 h 10000"/>
              <a:gd name="connsiteX25" fmla="*/ 8312 w 10000"/>
              <a:gd name="connsiteY25" fmla="*/ 952 h 10000"/>
              <a:gd name="connsiteX26" fmla="*/ 8481 w 10000"/>
              <a:gd name="connsiteY26" fmla="*/ 786 h 10000"/>
              <a:gd name="connsiteX27" fmla="*/ 8678 w 10000"/>
              <a:gd name="connsiteY27" fmla="*/ 604 h 10000"/>
              <a:gd name="connsiteX28" fmla="*/ 8861 w 10000"/>
              <a:gd name="connsiteY28" fmla="*/ 458 h 10000"/>
              <a:gd name="connsiteX29" fmla="*/ 9030 w 10000"/>
              <a:gd name="connsiteY29" fmla="*/ 354 h 10000"/>
              <a:gd name="connsiteX30" fmla="*/ 9241 w 10000"/>
              <a:gd name="connsiteY30" fmla="*/ 229 h 10000"/>
              <a:gd name="connsiteX31" fmla="*/ 9437 w 10000"/>
              <a:gd name="connsiteY31" fmla="*/ 146 h 10000"/>
              <a:gd name="connsiteX32" fmla="*/ 9620 w 10000"/>
              <a:gd name="connsiteY32" fmla="*/ 83 h 10000"/>
              <a:gd name="connsiteX33" fmla="*/ 9775 w 10000"/>
              <a:gd name="connsiteY33" fmla="*/ 42 h 10000"/>
              <a:gd name="connsiteX34" fmla="*/ 10000 w 10000"/>
              <a:gd name="connsiteY34" fmla="*/ 0 h 10000"/>
              <a:gd name="connsiteX35" fmla="*/ 5858 w 10000"/>
              <a:gd name="connsiteY35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1456 w 10000"/>
              <a:gd name="connsiteY3" fmla="*/ 7643 h 10000"/>
              <a:gd name="connsiteX4" fmla="*/ 0 w 10000"/>
              <a:gd name="connsiteY4" fmla="*/ 7643 h 10000"/>
              <a:gd name="connsiteX5" fmla="*/ 3586 w 10000"/>
              <a:gd name="connsiteY5" fmla="*/ 10000 h 10000"/>
              <a:gd name="connsiteX6" fmla="*/ 7644 w 10000"/>
              <a:gd name="connsiteY6" fmla="*/ 7643 h 10000"/>
              <a:gd name="connsiteX7" fmla="*/ 5999 w 10000"/>
              <a:gd name="connsiteY7" fmla="*/ 7643 h 10000"/>
              <a:gd name="connsiteX8" fmla="*/ 6055 w 10000"/>
              <a:gd name="connsiteY8" fmla="*/ 7232 h 10000"/>
              <a:gd name="connsiteX9" fmla="*/ 6125 w 10000"/>
              <a:gd name="connsiteY9" fmla="*/ 6753 h 10000"/>
              <a:gd name="connsiteX10" fmla="*/ 6210 w 10000"/>
              <a:gd name="connsiteY10" fmla="*/ 6233 h 10000"/>
              <a:gd name="connsiteX11" fmla="*/ 6294 w 10000"/>
              <a:gd name="connsiteY11" fmla="*/ 5713 h 10000"/>
              <a:gd name="connsiteX12" fmla="*/ 6406 w 10000"/>
              <a:gd name="connsiteY12" fmla="*/ 5260 h 10000"/>
              <a:gd name="connsiteX13" fmla="*/ 6491 w 10000"/>
              <a:gd name="connsiteY13" fmla="*/ 4844 h 10000"/>
              <a:gd name="connsiteX14" fmla="*/ 6688 w 10000"/>
              <a:gd name="connsiteY14" fmla="*/ 4136 h 10000"/>
              <a:gd name="connsiteX15" fmla="*/ 6885 w 10000"/>
              <a:gd name="connsiteY15" fmla="*/ 3528 h 10000"/>
              <a:gd name="connsiteX16" fmla="*/ 7053 w 10000"/>
              <a:gd name="connsiteY16" fmla="*/ 3091 h 10000"/>
              <a:gd name="connsiteX17" fmla="*/ 7194 w 10000"/>
              <a:gd name="connsiteY17" fmla="*/ 2737 h 10000"/>
              <a:gd name="connsiteX18" fmla="*/ 7363 w 10000"/>
              <a:gd name="connsiteY18" fmla="*/ 2383 h 10000"/>
              <a:gd name="connsiteX19" fmla="*/ 7504 w 10000"/>
              <a:gd name="connsiteY19" fmla="*/ 2118 h 10000"/>
              <a:gd name="connsiteX20" fmla="*/ 7672 w 10000"/>
              <a:gd name="connsiteY20" fmla="*/ 1826 h 10000"/>
              <a:gd name="connsiteX21" fmla="*/ 7813 w 10000"/>
              <a:gd name="connsiteY21" fmla="*/ 1597 h 10000"/>
              <a:gd name="connsiteX22" fmla="*/ 7968 w 10000"/>
              <a:gd name="connsiteY22" fmla="*/ 1379 h 10000"/>
              <a:gd name="connsiteX23" fmla="*/ 8122 w 10000"/>
              <a:gd name="connsiteY23" fmla="*/ 1181 h 10000"/>
              <a:gd name="connsiteX24" fmla="*/ 8312 w 10000"/>
              <a:gd name="connsiteY24" fmla="*/ 952 h 10000"/>
              <a:gd name="connsiteX25" fmla="*/ 8481 w 10000"/>
              <a:gd name="connsiteY25" fmla="*/ 786 h 10000"/>
              <a:gd name="connsiteX26" fmla="*/ 8678 w 10000"/>
              <a:gd name="connsiteY26" fmla="*/ 604 h 10000"/>
              <a:gd name="connsiteX27" fmla="*/ 8861 w 10000"/>
              <a:gd name="connsiteY27" fmla="*/ 458 h 10000"/>
              <a:gd name="connsiteX28" fmla="*/ 9030 w 10000"/>
              <a:gd name="connsiteY28" fmla="*/ 354 h 10000"/>
              <a:gd name="connsiteX29" fmla="*/ 9241 w 10000"/>
              <a:gd name="connsiteY29" fmla="*/ 229 h 10000"/>
              <a:gd name="connsiteX30" fmla="*/ 9437 w 10000"/>
              <a:gd name="connsiteY30" fmla="*/ 146 h 10000"/>
              <a:gd name="connsiteX31" fmla="*/ 9620 w 10000"/>
              <a:gd name="connsiteY31" fmla="*/ 83 h 10000"/>
              <a:gd name="connsiteX32" fmla="*/ 9775 w 10000"/>
              <a:gd name="connsiteY32" fmla="*/ 42 h 10000"/>
              <a:gd name="connsiteX33" fmla="*/ 10000 w 10000"/>
              <a:gd name="connsiteY33" fmla="*/ 0 h 10000"/>
              <a:gd name="connsiteX34" fmla="*/ 5858 w 10000"/>
              <a:gd name="connsiteY34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1456 w 10000"/>
              <a:gd name="connsiteY3" fmla="*/ 7643 h 10000"/>
              <a:gd name="connsiteX4" fmla="*/ 0 w 10000"/>
              <a:gd name="connsiteY4" fmla="*/ 7643 h 10000"/>
              <a:gd name="connsiteX5" fmla="*/ 3586 w 10000"/>
              <a:gd name="connsiteY5" fmla="*/ 10000 h 10000"/>
              <a:gd name="connsiteX6" fmla="*/ 7644 w 10000"/>
              <a:gd name="connsiteY6" fmla="*/ 7643 h 10000"/>
              <a:gd name="connsiteX7" fmla="*/ 5999 w 10000"/>
              <a:gd name="connsiteY7" fmla="*/ 7643 h 10000"/>
              <a:gd name="connsiteX8" fmla="*/ 6055 w 10000"/>
              <a:gd name="connsiteY8" fmla="*/ 7232 h 10000"/>
              <a:gd name="connsiteX9" fmla="*/ 6125 w 10000"/>
              <a:gd name="connsiteY9" fmla="*/ 6753 h 10000"/>
              <a:gd name="connsiteX10" fmla="*/ 6210 w 10000"/>
              <a:gd name="connsiteY10" fmla="*/ 6233 h 10000"/>
              <a:gd name="connsiteX11" fmla="*/ 6294 w 10000"/>
              <a:gd name="connsiteY11" fmla="*/ 5713 h 10000"/>
              <a:gd name="connsiteX12" fmla="*/ 6406 w 10000"/>
              <a:gd name="connsiteY12" fmla="*/ 5260 h 10000"/>
              <a:gd name="connsiteX13" fmla="*/ 6491 w 10000"/>
              <a:gd name="connsiteY13" fmla="*/ 4844 h 10000"/>
              <a:gd name="connsiteX14" fmla="*/ 6688 w 10000"/>
              <a:gd name="connsiteY14" fmla="*/ 4136 h 10000"/>
              <a:gd name="connsiteX15" fmla="*/ 6885 w 10000"/>
              <a:gd name="connsiteY15" fmla="*/ 3528 h 10000"/>
              <a:gd name="connsiteX16" fmla="*/ 7053 w 10000"/>
              <a:gd name="connsiteY16" fmla="*/ 3091 h 10000"/>
              <a:gd name="connsiteX17" fmla="*/ 7194 w 10000"/>
              <a:gd name="connsiteY17" fmla="*/ 2737 h 10000"/>
              <a:gd name="connsiteX18" fmla="*/ 7363 w 10000"/>
              <a:gd name="connsiteY18" fmla="*/ 2383 h 10000"/>
              <a:gd name="connsiteX19" fmla="*/ 7504 w 10000"/>
              <a:gd name="connsiteY19" fmla="*/ 2118 h 10000"/>
              <a:gd name="connsiteX20" fmla="*/ 7672 w 10000"/>
              <a:gd name="connsiteY20" fmla="*/ 1826 h 10000"/>
              <a:gd name="connsiteX21" fmla="*/ 7813 w 10000"/>
              <a:gd name="connsiteY21" fmla="*/ 1597 h 10000"/>
              <a:gd name="connsiteX22" fmla="*/ 7968 w 10000"/>
              <a:gd name="connsiteY22" fmla="*/ 1379 h 10000"/>
              <a:gd name="connsiteX23" fmla="*/ 8122 w 10000"/>
              <a:gd name="connsiteY23" fmla="*/ 1181 h 10000"/>
              <a:gd name="connsiteX24" fmla="*/ 8312 w 10000"/>
              <a:gd name="connsiteY24" fmla="*/ 952 h 10000"/>
              <a:gd name="connsiteX25" fmla="*/ 8481 w 10000"/>
              <a:gd name="connsiteY25" fmla="*/ 786 h 10000"/>
              <a:gd name="connsiteX26" fmla="*/ 8678 w 10000"/>
              <a:gd name="connsiteY26" fmla="*/ 604 h 10000"/>
              <a:gd name="connsiteX27" fmla="*/ 8861 w 10000"/>
              <a:gd name="connsiteY27" fmla="*/ 458 h 10000"/>
              <a:gd name="connsiteX28" fmla="*/ 9030 w 10000"/>
              <a:gd name="connsiteY28" fmla="*/ 354 h 10000"/>
              <a:gd name="connsiteX29" fmla="*/ 9241 w 10000"/>
              <a:gd name="connsiteY29" fmla="*/ 229 h 10000"/>
              <a:gd name="connsiteX30" fmla="*/ 9437 w 10000"/>
              <a:gd name="connsiteY30" fmla="*/ 146 h 10000"/>
              <a:gd name="connsiteX31" fmla="*/ 9620 w 10000"/>
              <a:gd name="connsiteY31" fmla="*/ 83 h 10000"/>
              <a:gd name="connsiteX32" fmla="*/ 9775 w 10000"/>
              <a:gd name="connsiteY32" fmla="*/ 42 h 10000"/>
              <a:gd name="connsiteX33" fmla="*/ 10000 w 10000"/>
              <a:gd name="connsiteY33" fmla="*/ 0 h 10000"/>
              <a:gd name="connsiteX34" fmla="*/ 5858 w 10000"/>
              <a:gd name="connsiteY34" fmla="*/ 0 h 10000"/>
              <a:gd name="connsiteX0" fmla="*/ 5858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1456 w 10000"/>
              <a:gd name="connsiteY3" fmla="*/ 7643 h 10000"/>
              <a:gd name="connsiteX4" fmla="*/ 0 w 10000"/>
              <a:gd name="connsiteY4" fmla="*/ 7643 h 10000"/>
              <a:gd name="connsiteX5" fmla="*/ 3586 w 10000"/>
              <a:gd name="connsiteY5" fmla="*/ 10000 h 10000"/>
              <a:gd name="connsiteX6" fmla="*/ 7644 w 10000"/>
              <a:gd name="connsiteY6" fmla="*/ 7643 h 10000"/>
              <a:gd name="connsiteX7" fmla="*/ 5999 w 10000"/>
              <a:gd name="connsiteY7" fmla="*/ 7643 h 10000"/>
              <a:gd name="connsiteX8" fmla="*/ 6055 w 10000"/>
              <a:gd name="connsiteY8" fmla="*/ 7232 h 10000"/>
              <a:gd name="connsiteX9" fmla="*/ 6125 w 10000"/>
              <a:gd name="connsiteY9" fmla="*/ 6753 h 10000"/>
              <a:gd name="connsiteX10" fmla="*/ 6210 w 10000"/>
              <a:gd name="connsiteY10" fmla="*/ 6233 h 10000"/>
              <a:gd name="connsiteX11" fmla="*/ 6294 w 10000"/>
              <a:gd name="connsiteY11" fmla="*/ 5713 h 10000"/>
              <a:gd name="connsiteX12" fmla="*/ 6406 w 10000"/>
              <a:gd name="connsiteY12" fmla="*/ 5260 h 10000"/>
              <a:gd name="connsiteX13" fmla="*/ 6491 w 10000"/>
              <a:gd name="connsiteY13" fmla="*/ 4844 h 10000"/>
              <a:gd name="connsiteX14" fmla="*/ 6688 w 10000"/>
              <a:gd name="connsiteY14" fmla="*/ 4136 h 10000"/>
              <a:gd name="connsiteX15" fmla="*/ 6885 w 10000"/>
              <a:gd name="connsiteY15" fmla="*/ 3528 h 10000"/>
              <a:gd name="connsiteX16" fmla="*/ 7053 w 10000"/>
              <a:gd name="connsiteY16" fmla="*/ 3091 h 10000"/>
              <a:gd name="connsiteX17" fmla="*/ 7194 w 10000"/>
              <a:gd name="connsiteY17" fmla="*/ 2737 h 10000"/>
              <a:gd name="connsiteX18" fmla="*/ 7363 w 10000"/>
              <a:gd name="connsiteY18" fmla="*/ 2383 h 10000"/>
              <a:gd name="connsiteX19" fmla="*/ 7504 w 10000"/>
              <a:gd name="connsiteY19" fmla="*/ 2118 h 10000"/>
              <a:gd name="connsiteX20" fmla="*/ 7672 w 10000"/>
              <a:gd name="connsiteY20" fmla="*/ 1826 h 10000"/>
              <a:gd name="connsiteX21" fmla="*/ 7813 w 10000"/>
              <a:gd name="connsiteY21" fmla="*/ 1597 h 10000"/>
              <a:gd name="connsiteX22" fmla="*/ 7968 w 10000"/>
              <a:gd name="connsiteY22" fmla="*/ 1379 h 10000"/>
              <a:gd name="connsiteX23" fmla="*/ 8122 w 10000"/>
              <a:gd name="connsiteY23" fmla="*/ 1181 h 10000"/>
              <a:gd name="connsiteX24" fmla="*/ 8312 w 10000"/>
              <a:gd name="connsiteY24" fmla="*/ 952 h 10000"/>
              <a:gd name="connsiteX25" fmla="*/ 8481 w 10000"/>
              <a:gd name="connsiteY25" fmla="*/ 786 h 10000"/>
              <a:gd name="connsiteX26" fmla="*/ 8678 w 10000"/>
              <a:gd name="connsiteY26" fmla="*/ 604 h 10000"/>
              <a:gd name="connsiteX27" fmla="*/ 8861 w 10000"/>
              <a:gd name="connsiteY27" fmla="*/ 458 h 10000"/>
              <a:gd name="connsiteX28" fmla="*/ 9030 w 10000"/>
              <a:gd name="connsiteY28" fmla="*/ 354 h 10000"/>
              <a:gd name="connsiteX29" fmla="*/ 9241 w 10000"/>
              <a:gd name="connsiteY29" fmla="*/ 229 h 10000"/>
              <a:gd name="connsiteX30" fmla="*/ 9437 w 10000"/>
              <a:gd name="connsiteY30" fmla="*/ 146 h 10000"/>
              <a:gd name="connsiteX31" fmla="*/ 9620 w 10000"/>
              <a:gd name="connsiteY31" fmla="*/ 83 h 10000"/>
              <a:gd name="connsiteX32" fmla="*/ 9775 w 10000"/>
              <a:gd name="connsiteY32" fmla="*/ 42 h 10000"/>
              <a:gd name="connsiteX33" fmla="*/ 10000 w 10000"/>
              <a:gd name="connsiteY33" fmla="*/ 0 h 10000"/>
              <a:gd name="connsiteX34" fmla="*/ 5858 w 10000"/>
              <a:gd name="connsiteY34" fmla="*/ 0 h 10000"/>
              <a:gd name="connsiteX0" fmla="*/ 10000 w 10000"/>
              <a:gd name="connsiteY0" fmla="*/ 0 h 10000"/>
              <a:gd name="connsiteX1" fmla="*/ 5612 w 10000"/>
              <a:gd name="connsiteY1" fmla="*/ 0 h 10000"/>
              <a:gd name="connsiteX2" fmla="*/ 5218 w 10000"/>
              <a:gd name="connsiteY2" fmla="*/ 42 h 10000"/>
              <a:gd name="connsiteX3" fmla="*/ 1456 w 10000"/>
              <a:gd name="connsiteY3" fmla="*/ 7643 h 10000"/>
              <a:gd name="connsiteX4" fmla="*/ 0 w 10000"/>
              <a:gd name="connsiteY4" fmla="*/ 7643 h 10000"/>
              <a:gd name="connsiteX5" fmla="*/ 3586 w 10000"/>
              <a:gd name="connsiteY5" fmla="*/ 10000 h 10000"/>
              <a:gd name="connsiteX6" fmla="*/ 7644 w 10000"/>
              <a:gd name="connsiteY6" fmla="*/ 7643 h 10000"/>
              <a:gd name="connsiteX7" fmla="*/ 5999 w 10000"/>
              <a:gd name="connsiteY7" fmla="*/ 7643 h 10000"/>
              <a:gd name="connsiteX8" fmla="*/ 6055 w 10000"/>
              <a:gd name="connsiteY8" fmla="*/ 7232 h 10000"/>
              <a:gd name="connsiteX9" fmla="*/ 6125 w 10000"/>
              <a:gd name="connsiteY9" fmla="*/ 6753 h 10000"/>
              <a:gd name="connsiteX10" fmla="*/ 6210 w 10000"/>
              <a:gd name="connsiteY10" fmla="*/ 6233 h 10000"/>
              <a:gd name="connsiteX11" fmla="*/ 6294 w 10000"/>
              <a:gd name="connsiteY11" fmla="*/ 5713 h 10000"/>
              <a:gd name="connsiteX12" fmla="*/ 6406 w 10000"/>
              <a:gd name="connsiteY12" fmla="*/ 5260 h 10000"/>
              <a:gd name="connsiteX13" fmla="*/ 6491 w 10000"/>
              <a:gd name="connsiteY13" fmla="*/ 4844 h 10000"/>
              <a:gd name="connsiteX14" fmla="*/ 6688 w 10000"/>
              <a:gd name="connsiteY14" fmla="*/ 4136 h 10000"/>
              <a:gd name="connsiteX15" fmla="*/ 6885 w 10000"/>
              <a:gd name="connsiteY15" fmla="*/ 3528 h 10000"/>
              <a:gd name="connsiteX16" fmla="*/ 7053 w 10000"/>
              <a:gd name="connsiteY16" fmla="*/ 3091 h 10000"/>
              <a:gd name="connsiteX17" fmla="*/ 7194 w 10000"/>
              <a:gd name="connsiteY17" fmla="*/ 2737 h 10000"/>
              <a:gd name="connsiteX18" fmla="*/ 7363 w 10000"/>
              <a:gd name="connsiteY18" fmla="*/ 2383 h 10000"/>
              <a:gd name="connsiteX19" fmla="*/ 7504 w 10000"/>
              <a:gd name="connsiteY19" fmla="*/ 2118 h 10000"/>
              <a:gd name="connsiteX20" fmla="*/ 7672 w 10000"/>
              <a:gd name="connsiteY20" fmla="*/ 1826 h 10000"/>
              <a:gd name="connsiteX21" fmla="*/ 7813 w 10000"/>
              <a:gd name="connsiteY21" fmla="*/ 1597 h 10000"/>
              <a:gd name="connsiteX22" fmla="*/ 7968 w 10000"/>
              <a:gd name="connsiteY22" fmla="*/ 1379 h 10000"/>
              <a:gd name="connsiteX23" fmla="*/ 8122 w 10000"/>
              <a:gd name="connsiteY23" fmla="*/ 1181 h 10000"/>
              <a:gd name="connsiteX24" fmla="*/ 8312 w 10000"/>
              <a:gd name="connsiteY24" fmla="*/ 952 h 10000"/>
              <a:gd name="connsiteX25" fmla="*/ 8481 w 10000"/>
              <a:gd name="connsiteY25" fmla="*/ 786 h 10000"/>
              <a:gd name="connsiteX26" fmla="*/ 8678 w 10000"/>
              <a:gd name="connsiteY26" fmla="*/ 604 h 10000"/>
              <a:gd name="connsiteX27" fmla="*/ 8861 w 10000"/>
              <a:gd name="connsiteY27" fmla="*/ 458 h 10000"/>
              <a:gd name="connsiteX28" fmla="*/ 9030 w 10000"/>
              <a:gd name="connsiteY28" fmla="*/ 354 h 10000"/>
              <a:gd name="connsiteX29" fmla="*/ 9241 w 10000"/>
              <a:gd name="connsiteY29" fmla="*/ 229 h 10000"/>
              <a:gd name="connsiteX30" fmla="*/ 9437 w 10000"/>
              <a:gd name="connsiteY30" fmla="*/ 146 h 10000"/>
              <a:gd name="connsiteX31" fmla="*/ 9620 w 10000"/>
              <a:gd name="connsiteY31" fmla="*/ 83 h 10000"/>
              <a:gd name="connsiteX32" fmla="*/ 9775 w 10000"/>
              <a:gd name="connsiteY32" fmla="*/ 42 h 10000"/>
              <a:gd name="connsiteX33" fmla="*/ 10000 w 10000"/>
              <a:gd name="connsiteY3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5612" y="0"/>
                </a:lnTo>
                <a:lnTo>
                  <a:pt x="5218" y="42"/>
                </a:lnTo>
                <a:cubicBezTo>
                  <a:pt x="2001" y="1957"/>
                  <a:pt x="2094" y="4887"/>
                  <a:pt x="1456" y="7643"/>
                </a:cubicBezTo>
                <a:lnTo>
                  <a:pt x="0" y="7643"/>
                </a:lnTo>
                <a:lnTo>
                  <a:pt x="3586" y="10000"/>
                </a:lnTo>
                <a:lnTo>
                  <a:pt x="7644" y="7643"/>
                </a:lnTo>
                <a:lnTo>
                  <a:pt x="5999" y="7643"/>
                </a:lnTo>
                <a:cubicBezTo>
                  <a:pt x="6018" y="7506"/>
                  <a:pt x="6036" y="7369"/>
                  <a:pt x="6055" y="7232"/>
                </a:cubicBezTo>
                <a:cubicBezTo>
                  <a:pt x="6078" y="7072"/>
                  <a:pt x="6102" y="6913"/>
                  <a:pt x="6125" y="6753"/>
                </a:cubicBezTo>
                <a:cubicBezTo>
                  <a:pt x="6153" y="6580"/>
                  <a:pt x="6182" y="6406"/>
                  <a:pt x="6210" y="6233"/>
                </a:cubicBezTo>
                <a:cubicBezTo>
                  <a:pt x="6238" y="6060"/>
                  <a:pt x="6266" y="5886"/>
                  <a:pt x="6294" y="5713"/>
                </a:cubicBezTo>
                <a:cubicBezTo>
                  <a:pt x="6331" y="5562"/>
                  <a:pt x="6369" y="5411"/>
                  <a:pt x="6406" y="5260"/>
                </a:cubicBezTo>
                <a:cubicBezTo>
                  <a:pt x="6434" y="5121"/>
                  <a:pt x="6463" y="4983"/>
                  <a:pt x="6491" y="4844"/>
                </a:cubicBezTo>
                <a:cubicBezTo>
                  <a:pt x="6557" y="4608"/>
                  <a:pt x="6622" y="4372"/>
                  <a:pt x="6688" y="4136"/>
                </a:cubicBezTo>
                <a:cubicBezTo>
                  <a:pt x="6754" y="3933"/>
                  <a:pt x="6819" y="3731"/>
                  <a:pt x="6885" y="3528"/>
                </a:cubicBezTo>
                <a:lnTo>
                  <a:pt x="7053" y="3091"/>
                </a:lnTo>
                <a:lnTo>
                  <a:pt x="7194" y="2737"/>
                </a:lnTo>
                <a:cubicBezTo>
                  <a:pt x="7250" y="2619"/>
                  <a:pt x="7307" y="2501"/>
                  <a:pt x="7363" y="2383"/>
                </a:cubicBezTo>
                <a:lnTo>
                  <a:pt x="7504" y="2118"/>
                </a:lnTo>
                <a:lnTo>
                  <a:pt x="7672" y="1826"/>
                </a:lnTo>
                <a:lnTo>
                  <a:pt x="7813" y="1597"/>
                </a:lnTo>
                <a:lnTo>
                  <a:pt x="7968" y="1379"/>
                </a:lnTo>
                <a:lnTo>
                  <a:pt x="8122" y="1181"/>
                </a:lnTo>
                <a:lnTo>
                  <a:pt x="8312" y="952"/>
                </a:lnTo>
                <a:lnTo>
                  <a:pt x="8481" y="786"/>
                </a:lnTo>
                <a:lnTo>
                  <a:pt x="8678" y="604"/>
                </a:lnTo>
                <a:lnTo>
                  <a:pt x="8861" y="458"/>
                </a:lnTo>
                <a:lnTo>
                  <a:pt x="9030" y="354"/>
                </a:lnTo>
                <a:lnTo>
                  <a:pt x="9241" y="229"/>
                </a:lnTo>
                <a:lnTo>
                  <a:pt x="9437" y="146"/>
                </a:lnTo>
                <a:lnTo>
                  <a:pt x="9620" y="83"/>
                </a:lnTo>
                <a:lnTo>
                  <a:pt x="9775" y="42"/>
                </a:lnTo>
                <a:lnTo>
                  <a:pt x="10000" y="0"/>
                </a:lnTo>
                <a:close/>
              </a:path>
            </a:pathLst>
          </a:custGeom>
          <a:solidFill>
            <a:schemeClr val="accent2">
              <a:alpha val="56000"/>
            </a:schemeClr>
          </a:solidFill>
          <a:ln w="1905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 sz="2159" dirty="0"/>
          </a:p>
        </p:txBody>
      </p:sp>
      <p:sp>
        <p:nvSpPr>
          <p:cNvPr id="120" name="Freeform 7"/>
          <p:cNvSpPr>
            <a:spLocks/>
          </p:cNvSpPr>
          <p:nvPr/>
        </p:nvSpPr>
        <p:spPr bwMode="auto">
          <a:xfrm>
            <a:off x="3242610" y="3970631"/>
            <a:ext cx="1324623" cy="2100799"/>
          </a:xfrm>
          <a:custGeom>
            <a:avLst/>
            <a:gdLst>
              <a:gd name="T0" fmla="*/ 2147483647 w 1255"/>
              <a:gd name="T1" fmla="*/ 0 h 1870"/>
              <a:gd name="T2" fmla="*/ 2147483647 w 1255"/>
              <a:gd name="T3" fmla="*/ 2147483647 h 1870"/>
              <a:gd name="T4" fmla="*/ 0 w 1255"/>
              <a:gd name="T5" fmla="*/ 2147483647 h 1870"/>
              <a:gd name="T6" fmla="*/ 0 w 1255"/>
              <a:gd name="T7" fmla="*/ 2147483647 h 1870"/>
              <a:gd name="T8" fmla="*/ 0 w 1255"/>
              <a:gd name="T9" fmla="*/ 2147483647 h 1870"/>
              <a:gd name="T10" fmla="*/ 2147483647 w 1255"/>
              <a:gd name="T11" fmla="*/ 2147483647 h 1870"/>
              <a:gd name="T12" fmla="*/ 2147483647 w 1255"/>
              <a:gd name="T13" fmla="*/ 2147483647 h 1870"/>
              <a:gd name="T14" fmla="*/ 2147483647 w 1255"/>
              <a:gd name="T15" fmla="*/ 2147483647 h 1870"/>
              <a:gd name="T16" fmla="*/ 2147483647 w 1255"/>
              <a:gd name="T17" fmla="*/ 2147483647 h 1870"/>
              <a:gd name="T18" fmla="*/ 2147483647 w 1255"/>
              <a:gd name="T19" fmla="*/ 2147483647 h 1870"/>
              <a:gd name="T20" fmla="*/ 2147483647 w 1255"/>
              <a:gd name="T21" fmla="*/ 2147483647 h 1870"/>
              <a:gd name="T22" fmla="*/ 2147483647 w 1255"/>
              <a:gd name="T23" fmla="*/ 2147483647 h 1870"/>
              <a:gd name="T24" fmla="*/ 2147483647 w 1255"/>
              <a:gd name="T25" fmla="*/ 2147483647 h 1870"/>
              <a:gd name="T26" fmla="*/ 2147483647 w 1255"/>
              <a:gd name="T27" fmla="*/ 2147483647 h 1870"/>
              <a:gd name="T28" fmla="*/ 2147483647 w 1255"/>
              <a:gd name="T29" fmla="*/ 2147483647 h 1870"/>
              <a:gd name="T30" fmla="*/ 2147483647 w 1255"/>
              <a:gd name="T31" fmla="*/ 2147483647 h 1870"/>
              <a:gd name="T32" fmla="*/ 2147483647 w 1255"/>
              <a:gd name="T33" fmla="*/ 2147483647 h 1870"/>
              <a:gd name="T34" fmla="*/ 2147483647 w 1255"/>
              <a:gd name="T35" fmla="*/ 2147483647 h 1870"/>
              <a:gd name="T36" fmla="*/ 2147483647 w 1255"/>
              <a:gd name="T37" fmla="*/ 2147483647 h 1870"/>
              <a:gd name="T38" fmla="*/ 2147483647 w 1255"/>
              <a:gd name="T39" fmla="*/ 2147483647 h 1870"/>
              <a:gd name="T40" fmla="*/ 2147483647 w 1255"/>
              <a:gd name="T41" fmla="*/ 2147483647 h 1870"/>
              <a:gd name="T42" fmla="*/ 2147483647 w 1255"/>
              <a:gd name="T43" fmla="*/ 2147483647 h 1870"/>
              <a:gd name="T44" fmla="*/ 2147483647 w 1255"/>
              <a:gd name="T45" fmla="*/ 2147483647 h 1870"/>
              <a:gd name="T46" fmla="*/ 2147483647 w 1255"/>
              <a:gd name="T47" fmla="*/ 2147483647 h 1870"/>
              <a:gd name="T48" fmla="*/ 2147483647 w 1255"/>
              <a:gd name="T49" fmla="*/ 2147483647 h 1870"/>
              <a:gd name="T50" fmla="*/ 2147483647 w 1255"/>
              <a:gd name="T51" fmla="*/ 2147483647 h 1870"/>
              <a:gd name="T52" fmla="*/ 2147483647 w 1255"/>
              <a:gd name="T53" fmla="*/ 2147483647 h 1870"/>
              <a:gd name="T54" fmla="*/ 2147483647 w 1255"/>
              <a:gd name="T55" fmla="*/ 2147483647 h 1870"/>
              <a:gd name="T56" fmla="*/ 2147483647 w 1255"/>
              <a:gd name="T57" fmla="*/ 2147483647 h 1870"/>
              <a:gd name="T58" fmla="*/ 2147483647 w 1255"/>
              <a:gd name="T59" fmla="*/ 2147483647 h 1870"/>
              <a:gd name="T60" fmla="*/ 2147483647 w 1255"/>
              <a:gd name="T61" fmla="*/ 2147483647 h 1870"/>
              <a:gd name="T62" fmla="*/ 2147483647 w 1255"/>
              <a:gd name="T63" fmla="*/ 2147483647 h 1870"/>
              <a:gd name="T64" fmla="*/ 2147483647 w 1255"/>
              <a:gd name="T65" fmla="*/ 2147483647 h 1870"/>
              <a:gd name="T66" fmla="*/ 2147483647 w 1255"/>
              <a:gd name="T67" fmla="*/ 2147483647 h 1870"/>
              <a:gd name="T68" fmla="*/ 2147483647 w 1255"/>
              <a:gd name="T69" fmla="*/ 2147483647 h 1870"/>
              <a:gd name="T70" fmla="*/ 2147483647 w 1255"/>
              <a:gd name="T71" fmla="*/ 2147483647 h 1870"/>
              <a:gd name="T72" fmla="*/ 2147483647 w 1255"/>
              <a:gd name="T73" fmla="*/ 2147483647 h 1870"/>
              <a:gd name="T74" fmla="*/ 2147483647 w 1255"/>
              <a:gd name="T75" fmla="*/ 2147483647 h 1870"/>
              <a:gd name="T76" fmla="*/ 2147483647 w 1255"/>
              <a:gd name="T77" fmla="*/ 2147483647 h 1870"/>
              <a:gd name="T78" fmla="*/ 2147483647 w 1255"/>
              <a:gd name="T79" fmla="*/ 2147483647 h 1870"/>
              <a:gd name="T80" fmla="*/ 2147483647 w 1255"/>
              <a:gd name="T81" fmla="*/ 2147483647 h 1870"/>
              <a:gd name="T82" fmla="*/ 2147483647 w 1255"/>
              <a:gd name="T83" fmla="*/ 2147483647 h 1870"/>
              <a:gd name="T84" fmla="*/ 2147483647 w 1255"/>
              <a:gd name="T85" fmla="*/ 2147483647 h 1870"/>
              <a:gd name="T86" fmla="*/ 2147483647 w 1255"/>
              <a:gd name="T87" fmla="*/ 2147483647 h 1870"/>
              <a:gd name="T88" fmla="*/ 2147483647 w 1255"/>
              <a:gd name="T89" fmla="*/ 2147483647 h 1870"/>
              <a:gd name="T90" fmla="*/ 2147483647 w 1255"/>
              <a:gd name="T91" fmla="*/ 2147483647 h 1870"/>
              <a:gd name="T92" fmla="*/ 2147483647 w 1255"/>
              <a:gd name="T93" fmla="*/ 2147483647 h 1870"/>
              <a:gd name="T94" fmla="*/ 2147483647 w 1255"/>
              <a:gd name="T95" fmla="*/ 2147483647 h 1870"/>
              <a:gd name="T96" fmla="*/ 2147483647 w 1255"/>
              <a:gd name="T97" fmla="*/ 2147483647 h 1870"/>
              <a:gd name="T98" fmla="*/ 2147483647 w 1255"/>
              <a:gd name="T99" fmla="*/ 2147483647 h 1870"/>
              <a:gd name="T100" fmla="*/ 2147483647 w 1255"/>
              <a:gd name="T101" fmla="*/ 0 h 1870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255"/>
              <a:gd name="T154" fmla="*/ 0 h 1870"/>
              <a:gd name="T155" fmla="*/ 1255 w 1255"/>
              <a:gd name="T156" fmla="*/ 1870 h 1870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255" h="1870">
                <a:moveTo>
                  <a:pt x="650" y="0"/>
                </a:moveTo>
                <a:lnTo>
                  <a:pt x="311" y="267"/>
                </a:lnTo>
                <a:lnTo>
                  <a:pt x="0" y="16"/>
                </a:lnTo>
                <a:lnTo>
                  <a:pt x="0" y="128"/>
                </a:lnTo>
                <a:lnTo>
                  <a:pt x="4" y="287"/>
                </a:lnTo>
                <a:lnTo>
                  <a:pt x="16" y="429"/>
                </a:lnTo>
                <a:lnTo>
                  <a:pt x="28" y="584"/>
                </a:lnTo>
                <a:lnTo>
                  <a:pt x="48" y="744"/>
                </a:lnTo>
                <a:lnTo>
                  <a:pt x="72" y="899"/>
                </a:lnTo>
                <a:lnTo>
                  <a:pt x="92" y="995"/>
                </a:lnTo>
                <a:lnTo>
                  <a:pt x="120" y="1114"/>
                </a:lnTo>
                <a:lnTo>
                  <a:pt x="144" y="1220"/>
                </a:lnTo>
                <a:lnTo>
                  <a:pt x="172" y="1308"/>
                </a:lnTo>
                <a:lnTo>
                  <a:pt x="200" y="1388"/>
                </a:lnTo>
                <a:lnTo>
                  <a:pt x="232" y="1479"/>
                </a:lnTo>
                <a:lnTo>
                  <a:pt x="264" y="1547"/>
                </a:lnTo>
                <a:lnTo>
                  <a:pt x="299" y="1615"/>
                </a:lnTo>
                <a:lnTo>
                  <a:pt x="335" y="1675"/>
                </a:lnTo>
                <a:lnTo>
                  <a:pt x="363" y="1715"/>
                </a:lnTo>
                <a:lnTo>
                  <a:pt x="395" y="1750"/>
                </a:lnTo>
                <a:lnTo>
                  <a:pt x="425" y="1782"/>
                </a:lnTo>
                <a:lnTo>
                  <a:pt x="467" y="1818"/>
                </a:lnTo>
                <a:lnTo>
                  <a:pt x="503" y="1838"/>
                </a:lnTo>
                <a:lnTo>
                  <a:pt x="539" y="1854"/>
                </a:lnTo>
                <a:lnTo>
                  <a:pt x="571" y="1866"/>
                </a:lnTo>
                <a:lnTo>
                  <a:pt x="603" y="1870"/>
                </a:lnTo>
                <a:lnTo>
                  <a:pt x="634" y="1870"/>
                </a:lnTo>
                <a:lnTo>
                  <a:pt x="1255" y="1870"/>
                </a:lnTo>
                <a:lnTo>
                  <a:pt x="1211" y="1862"/>
                </a:lnTo>
                <a:lnTo>
                  <a:pt x="1171" y="1850"/>
                </a:lnTo>
                <a:lnTo>
                  <a:pt x="1131" y="1830"/>
                </a:lnTo>
                <a:lnTo>
                  <a:pt x="1091" y="1802"/>
                </a:lnTo>
                <a:lnTo>
                  <a:pt x="1053" y="1764"/>
                </a:lnTo>
                <a:lnTo>
                  <a:pt x="1015" y="1723"/>
                </a:lnTo>
                <a:lnTo>
                  <a:pt x="979" y="1671"/>
                </a:lnTo>
                <a:lnTo>
                  <a:pt x="940" y="1603"/>
                </a:lnTo>
                <a:lnTo>
                  <a:pt x="898" y="1517"/>
                </a:lnTo>
                <a:lnTo>
                  <a:pt x="876" y="1465"/>
                </a:lnTo>
                <a:lnTo>
                  <a:pt x="848" y="1396"/>
                </a:lnTo>
                <a:lnTo>
                  <a:pt x="826" y="1328"/>
                </a:lnTo>
                <a:lnTo>
                  <a:pt x="802" y="1248"/>
                </a:lnTo>
                <a:lnTo>
                  <a:pt x="784" y="1184"/>
                </a:lnTo>
                <a:lnTo>
                  <a:pt x="752" y="1055"/>
                </a:lnTo>
                <a:lnTo>
                  <a:pt x="728" y="943"/>
                </a:lnTo>
                <a:lnTo>
                  <a:pt x="708" y="811"/>
                </a:lnTo>
                <a:lnTo>
                  <a:pt x="684" y="656"/>
                </a:lnTo>
                <a:lnTo>
                  <a:pt x="666" y="500"/>
                </a:lnTo>
                <a:lnTo>
                  <a:pt x="658" y="383"/>
                </a:lnTo>
                <a:lnTo>
                  <a:pt x="650" y="243"/>
                </a:lnTo>
                <a:lnTo>
                  <a:pt x="646" y="92"/>
                </a:lnTo>
                <a:lnTo>
                  <a:pt x="650" y="0"/>
                </a:lnTo>
                <a:close/>
              </a:path>
            </a:pathLst>
          </a:custGeom>
          <a:solidFill>
            <a:schemeClr val="accent2">
              <a:alpha val="56000"/>
            </a:schemeClr>
          </a:solidFill>
          <a:ln w="1905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 sz="2159" dirty="0"/>
          </a:p>
        </p:txBody>
      </p:sp>
      <p:sp>
        <p:nvSpPr>
          <p:cNvPr id="20" name="Retângulo 19"/>
          <p:cNvSpPr/>
          <p:nvPr>
            <p:custDataLst>
              <p:tags r:id="rId10"/>
            </p:custDataLst>
          </p:nvPr>
        </p:nvSpPr>
        <p:spPr>
          <a:xfrm>
            <a:off x="6293965" y="2280293"/>
            <a:ext cx="3985901" cy="88591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 </a:t>
            </a:r>
            <a:endParaRPr lang="pt-BR" sz="1079" dirty="0"/>
          </a:p>
        </p:txBody>
      </p:sp>
      <p:sp>
        <p:nvSpPr>
          <p:cNvPr id="21" name="Retângulo 20"/>
          <p:cNvSpPr/>
          <p:nvPr>
            <p:custDataLst>
              <p:tags r:id="rId11"/>
            </p:custDataLst>
          </p:nvPr>
        </p:nvSpPr>
        <p:spPr>
          <a:xfrm>
            <a:off x="6293965" y="3544755"/>
            <a:ext cx="3985901" cy="885912"/>
          </a:xfrm>
          <a:prstGeom prst="rect">
            <a:avLst/>
          </a:prstGeom>
        </p:spPr>
        <p:txBody>
          <a:bodyPr wrap="square" lIns="0" tIns="0" rIns="0" bIns="0" numCol="2" anchor="ctr" anchorCtr="0">
            <a:noAutofit/>
          </a:bodyPr>
          <a:lstStyle/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 </a:t>
            </a:r>
            <a:endParaRPr lang="pt-BR" sz="1079" dirty="0"/>
          </a:p>
        </p:txBody>
      </p:sp>
      <p:sp>
        <p:nvSpPr>
          <p:cNvPr id="23" name="Retângulo 22"/>
          <p:cNvSpPr/>
          <p:nvPr>
            <p:custDataLst>
              <p:tags r:id="rId12"/>
            </p:custDataLst>
          </p:nvPr>
        </p:nvSpPr>
        <p:spPr>
          <a:xfrm>
            <a:off x="6293965" y="4809216"/>
            <a:ext cx="3985901" cy="88591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</a:t>
            </a:r>
            <a:endParaRPr lang="pt-BR" sz="1079" dirty="0"/>
          </a:p>
          <a:p>
            <a:pPr marL="190187" indent="-190187">
              <a:spcBef>
                <a:spcPts val="108"/>
              </a:spcBef>
              <a:buFont typeface="Arial" pitchFamily="34" charset="0"/>
              <a:buChar char="•"/>
            </a:pPr>
            <a:r>
              <a:rPr lang="pt-BR" sz="1079"/>
              <a:t>Xxxxx </a:t>
            </a:r>
            <a:endParaRPr lang="pt-BR" sz="1079" dirty="0"/>
          </a:p>
        </p:txBody>
      </p:sp>
      <p:sp>
        <p:nvSpPr>
          <p:cNvPr id="33" name="38 Rectángulo"/>
          <p:cNvSpPr/>
          <p:nvPr/>
        </p:nvSpPr>
        <p:spPr>
          <a:xfrm>
            <a:off x="6293964" y="1936205"/>
            <a:ext cx="3986625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>
            <a:spAutoFit/>
          </a:bodyPr>
          <a:lstStyle/>
          <a:p>
            <a:pPr>
              <a:defRPr/>
            </a:pPr>
            <a:r>
              <a:rPr lang="pt-BR" sz="1295" b="1">
                <a:solidFill>
                  <a:schemeClr val="accent2"/>
                </a:solidFill>
              </a:rPr>
              <a:t>Xxxxxxxxxxxx</a:t>
            </a:r>
            <a:endParaRPr lang="pt-BR" sz="1295" b="1" dirty="0">
              <a:solidFill>
                <a:schemeClr val="accent2"/>
              </a:solidFill>
            </a:endParaRPr>
          </a:p>
        </p:txBody>
      </p:sp>
      <p:cxnSp>
        <p:nvCxnSpPr>
          <p:cNvPr id="123" name="Conector reto 122"/>
          <p:cNvCxnSpPr/>
          <p:nvPr>
            <p:custDataLst>
              <p:tags r:id="rId13"/>
            </p:custDataLst>
          </p:nvPr>
        </p:nvCxnSpPr>
        <p:spPr>
          <a:xfrm>
            <a:off x="6123493" y="3355480"/>
            <a:ext cx="415637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ector reto 123"/>
          <p:cNvCxnSpPr/>
          <p:nvPr>
            <p:custDataLst>
              <p:tags r:id="rId14"/>
            </p:custDataLst>
          </p:nvPr>
        </p:nvCxnSpPr>
        <p:spPr>
          <a:xfrm>
            <a:off x="6123493" y="4619942"/>
            <a:ext cx="415637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12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 rot="16960530">
            <a:off x="3210549" y="2580976"/>
            <a:ext cx="1426195" cy="379049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spcFirstLastPara="1" lIns="0" tIns="0" rIns="0" bIns="0" numCol="1" anchor="ctr">
            <a:prstTxWarp prst="textArchUp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Aft>
                <a:spcPct val="5000"/>
              </a:spcAft>
              <a:defRPr/>
            </a:pPr>
            <a:r>
              <a:rPr lang="pt-BR" sz="1511" kern="0">
                <a:solidFill>
                  <a:schemeClr val="bg1"/>
                </a:solidFill>
              </a:rPr>
              <a:t>xxxxxxxxx</a:t>
            </a:r>
            <a:endParaRPr lang="pt-BR" sz="1511" kern="0" dirty="0">
              <a:solidFill>
                <a:schemeClr val="bg1"/>
              </a:solidFill>
            </a:endParaRPr>
          </a:p>
        </p:txBody>
      </p:sp>
      <p:sp>
        <p:nvSpPr>
          <p:cNvPr id="29" name="38 Rectángulo"/>
          <p:cNvSpPr/>
          <p:nvPr>
            <p:custDataLst>
              <p:tags r:id="rId16"/>
            </p:custDataLst>
          </p:nvPr>
        </p:nvSpPr>
        <p:spPr>
          <a:xfrm>
            <a:off x="414650" y="1936205"/>
            <a:ext cx="251008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>
            <a:spAutoFit/>
          </a:bodyPr>
          <a:lstStyle/>
          <a:p>
            <a:pPr>
              <a:defRPr/>
            </a:pPr>
            <a:r>
              <a:rPr lang="pt-BR" sz="1295" b="1">
                <a:solidFill>
                  <a:schemeClr val="accent2"/>
                </a:solidFill>
              </a:rPr>
              <a:t>Xxxxxxxxxxxx</a:t>
            </a:r>
            <a:endParaRPr lang="pt-BR" sz="1295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52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1" name="Espaço Reservado para Texto 5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0" name="CaixaDeTexto 29"/>
          <p:cNvSpPr txBox="1"/>
          <p:nvPr/>
        </p:nvSpPr>
        <p:spPr>
          <a:xfrm>
            <a:off x="409511" y="2972965"/>
            <a:ext cx="2743204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defTabSz="986912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CaixaDeTexto 30"/>
          <p:cNvSpPr txBox="1"/>
          <p:nvPr/>
        </p:nvSpPr>
        <p:spPr>
          <a:xfrm>
            <a:off x="409511" y="3474331"/>
            <a:ext cx="2743204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09511" y="3975696"/>
            <a:ext cx="2743204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409511" y="4477062"/>
            <a:ext cx="2743204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4" name="CaixaDeTexto 33"/>
          <p:cNvSpPr txBox="1"/>
          <p:nvPr>
            <p:custDataLst>
              <p:tags r:id="rId1"/>
            </p:custDataLst>
          </p:nvPr>
        </p:nvSpPr>
        <p:spPr>
          <a:xfrm>
            <a:off x="409511" y="4978427"/>
            <a:ext cx="2743204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5" name="Forma livre 34"/>
          <p:cNvSpPr/>
          <p:nvPr/>
        </p:nvSpPr>
        <p:spPr>
          <a:xfrm>
            <a:off x="409510" y="3045453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6" name="Forma livre 35"/>
          <p:cNvSpPr/>
          <p:nvPr/>
        </p:nvSpPr>
        <p:spPr>
          <a:xfrm>
            <a:off x="409510" y="3546819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7" name="Forma livre 36"/>
          <p:cNvSpPr/>
          <p:nvPr/>
        </p:nvSpPr>
        <p:spPr>
          <a:xfrm>
            <a:off x="409510" y="4048184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8" name="Forma livre 37"/>
          <p:cNvSpPr/>
          <p:nvPr/>
        </p:nvSpPr>
        <p:spPr>
          <a:xfrm>
            <a:off x="409510" y="4549550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39" name="Forma livre 38"/>
          <p:cNvSpPr/>
          <p:nvPr>
            <p:custDataLst>
              <p:tags r:id="rId2"/>
            </p:custDataLst>
          </p:nvPr>
        </p:nvSpPr>
        <p:spPr>
          <a:xfrm>
            <a:off x="409510" y="5050915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0" name="CaixaDeTexto 39"/>
          <p:cNvSpPr txBox="1"/>
          <p:nvPr>
            <p:custDataLst>
              <p:tags r:id="rId3"/>
            </p:custDataLst>
          </p:nvPr>
        </p:nvSpPr>
        <p:spPr>
          <a:xfrm flipH="1">
            <a:off x="7525377" y="2099115"/>
            <a:ext cx="2743217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1" name="CaixaDeTexto 40"/>
          <p:cNvSpPr txBox="1"/>
          <p:nvPr>
            <p:custDataLst>
              <p:tags r:id="rId4"/>
            </p:custDataLst>
          </p:nvPr>
        </p:nvSpPr>
        <p:spPr>
          <a:xfrm flipH="1">
            <a:off x="7525377" y="2600481"/>
            <a:ext cx="2743217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2" name="CaixaDeTexto 41"/>
          <p:cNvSpPr txBox="1"/>
          <p:nvPr>
            <p:custDataLst>
              <p:tags r:id="rId5"/>
            </p:custDataLst>
          </p:nvPr>
        </p:nvSpPr>
        <p:spPr>
          <a:xfrm flipH="1">
            <a:off x="7525377" y="3101846"/>
            <a:ext cx="2743217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3" name="CaixaDeTexto 42"/>
          <p:cNvSpPr txBox="1"/>
          <p:nvPr>
            <p:custDataLst>
              <p:tags r:id="rId6"/>
            </p:custDataLst>
          </p:nvPr>
        </p:nvSpPr>
        <p:spPr>
          <a:xfrm flipH="1">
            <a:off x="7525377" y="3603212"/>
            <a:ext cx="2743217" cy="405051"/>
          </a:xfrm>
          <a:prstGeom prst="rect">
            <a:avLst/>
          </a:prstGeom>
          <a:solidFill>
            <a:srgbClr val="E6EAEA"/>
          </a:solidFill>
          <a:ln>
            <a:solidFill>
              <a:srgbClr val="9FAAAF"/>
            </a:solidFill>
          </a:ln>
        </p:spPr>
        <p:txBody>
          <a:bodyPr wrap="square" lIns="77712" tIns="0" rIns="77712" bIns="0" rtlCol="0" anchor="ctr">
            <a:noAutofit/>
          </a:bodyPr>
          <a:lstStyle/>
          <a:p>
            <a:pPr lvl="0">
              <a:defRPr/>
            </a:pPr>
            <a:r>
              <a:rPr lang="pt-BR" sz="1295" kern="0">
                <a:solidFill>
                  <a:sysClr val="windowText" lastClr="000000"/>
                </a:solidFill>
              </a:rPr>
              <a:t>xxxxxxx</a:t>
            </a: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4" name="Forma livre 43"/>
          <p:cNvSpPr/>
          <p:nvPr>
            <p:custDataLst>
              <p:tags r:id="rId7"/>
            </p:custDataLst>
          </p:nvPr>
        </p:nvSpPr>
        <p:spPr>
          <a:xfrm flipH="1" flipV="1">
            <a:off x="6927403" y="2500582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5" name="Forma livre 44"/>
          <p:cNvSpPr/>
          <p:nvPr>
            <p:custDataLst>
              <p:tags r:id="rId8"/>
            </p:custDataLst>
          </p:nvPr>
        </p:nvSpPr>
        <p:spPr>
          <a:xfrm flipH="1" flipV="1">
            <a:off x="6927403" y="3001947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6" name="Forma livre 45"/>
          <p:cNvSpPr/>
          <p:nvPr>
            <p:custDataLst>
              <p:tags r:id="rId9"/>
            </p:custDataLst>
          </p:nvPr>
        </p:nvSpPr>
        <p:spPr>
          <a:xfrm flipH="1" flipV="1">
            <a:off x="6927403" y="3503313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7" name="Forma livre 46"/>
          <p:cNvSpPr/>
          <p:nvPr>
            <p:custDataLst>
              <p:tags r:id="rId10"/>
            </p:custDataLst>
          </p:nvPr>
        </p:nvSpPr>
        <p:spPr>
          <a:xfrm flipH="1" flipV="1">
            <a:off x="6927403" y="4004679"/>
            <a:ext cx="3341191" cy="332563"/>
          </a:xfrm>
          <a:custGeom>
            <a:avLst/>
            <a:gdLst>
              <a:gd name="connsiteX0" fmla="*/ 0 w 3095625"/>
              <a:gd name="connsiteY0" fmla="*/ 190500 h 190500"/>
              <a:gd name="connsiteX1" fmla="*/ 2543175 w 3095625"/>
              <a:gd name="connsiteY1" fmla="*/ 190500 h 190500"/>
              <a:gd name="connsiteX2" fmla="*/ 3095625 w 3095625"/>
              <a:gd name="connsiteY2" fmla="*/ 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5625" h="190500">
                <a:moveTo>
                  <a:pt x="0" y="190500"/>
                </a:moveTo>
                <a:lnTo>
                  <a:pt x="2543175" y="190500"/>
                </a:lnTo>
                <a:lnTo>
                  <a:pt x="3095625" y="0"/>
                </a:lnTo>
              </a:path>
            </a:pathLst>
          </a:custGeom>
          <a:noFill/>
          <a:ln w="19050" cap="flat" cmpd="sng" algn="ctr">
            <a:solidFill>
              <a:srgbClr val="718188"/>
            </a:solidFill>
            <a:prstDash val="solid"/>
            <a:tailEnd type="triangle"/>
          </a:ln>
          <a:effectLst/>
        </p:spPr>
        <p:txBody>
          <a:bodyPr rtlCol="0" anchor="ctr"/>
          <a:lstStyle/>
          <a:p>
            <a:pPr algn="ctr"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48" name="38 Rectángulo"/>
          <p:cNvSpPr/>
          <p:nvPr>
            <p:custDataLst>
              <p:tags r:id="rId11"/>
            </p:custDataLst>
          </p:nvPr>
        </p:nvSpPr>
        <p:spPr>
          <a:xfrm>
            <a:off x="409510" y="2640266"/>
            <a:ext cx="2755412" cy="332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 defTabSz="986912">
              <a:spcBef>
                <a:spcPct val="30000"/>
              </a:spcBef>
              <a:defRPr/>
            </a:pPr>
            <a:r>
              <a:rPr lang="pt-BR" sz="1511" b="1" kern="0" dirty="0">
                <a:solidFill>
                  <a:schemeClr val="accent1"/>
                </a:solidFill>
              </a:rPr>
              <a:t>Roles</a:t>
            </a:r>
          </a:p>
        </p:txBody>
      </p:sp>
      <p:sp>
        <p:nvSpPr>
          <p:cNvPr id="49" name="38 Rectángulo"/>
          <p:cNvSpPr/>
          <p:nvPr>
            <p:custDataLst>
              <p:tags r:id="rId12"/>
            </p:custDataLst>
          </p:nvPr>
        </p:nvSpPr>
        <p:spPr>
          <a:xfrm>
            <a:off x="7525177" y="1782926"/>
            <a:ext cx="2755412" cy="332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 defTabSz="986912">
              <a:spcBef>
                <a:spcPct val="30000"/>
              </a:spcBef>
              <a:defRPr/>
            </a:pPr>
            <a:r>
              <a:rPr lang="pt-BR" sz="1511" b="1" kern="0" dirty="0">
                <a:solidFill>
                  <a:schemeClr val="accent1"/>
                </a:solidFill>
              </a:rPr>
              <a:t>Roles</a:t>
            </a:r>
          </a:p>
        </p:txBody>
      </p:sp>
      <p:sp>
        <p:nvSpPr>
          <p:cNvPr id="27" name="12 Elipse"/>
          <p:cNvSpPr/>
          <p:nvPr>
            <p:custDataLst>
              <p:tags r:id="rId13"/>
            </p:custDataLst>
          </p:nvPr>
        </p:nvSpPr>
        <p:spPr>
          <a:xfrm>
            <a:off x="4210292" y="2598436"/>
            <a:ext cx="2257520" cy="2258680"/>
          </a:xfrm>
          <a:prstGeom prst="ellipse">
            <a:avLst/>
          </a:prstGeom>
          <a:solidFill>
            <a:schemeClr val="accent3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anchor="ctr"/>
          <a:lstStyle/>
          <a:p>
            <a:pPr defTabSz="986912">
              <a:defRPr/>
            </a:pPr>
            <a:endParaRPr lang="pt-BR" sz="1295" kern="0" dirty="0">
              <a:solidFill>
                <a:sysClr val="windowText" lastClr="000000"/>
              </a:solidFill>
            </a:endParaRPr>
          </a:p>
        </p:txBody>
      </p:sp>
      <p:sp>
        <p:nvSpPr>
          <p:cNvPr id="28" name="13 Elipse"/>
          <p:cNvSpPr/>
          <p:nvPr>
            <p:custDataLst>
              <p:tags r:id="rId14"/>
            </p:custDataLst>
          </p:nvPr>
        </p:nvSpPr>
        <p:spPr>
          <a:xfrm>
            <a:off x="4777586" y="3167193"/>
            <a:ext cx="1122932" cy="112116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anchor="ctr"/>
          <a:lstStyle/>
          <a:p>
            <a:pPr algn="ctr" defTabSz="986912">
              <a:defRPr/>
            </a:pPr>
            <a:r>
              <a:rPr lang="pt-BR" sz="1295" kern="0">
                <a:solidFill>
                  <a:schemeClr val="bg1"/>
                </a:solidFill>
              </a:rPr>
              <a:t>xxxxxxx</a:t>
            </a:r>
            <a:endParaRPr lang="pt-BR" sz="1295" kern="0" dirty="0">
              <a:solidFill>
                <a:schemeClr val="bg1"/>
              </a:solidFill>
            </a:endParaRPr>
          </a:p>
        </p:txBody>
      </p:sp>
      <p:sp>
        <p:nvSpPr>
          <p:cNvPr id="50" name="29 Rectángulo"/>
          <p:cNvSpPr/>
          <p:nvPr>
            <p:custDataLst>
              <p:tags r:id="rId15"/>
            </p:custDataLst>
          </p:nvPr>
        </p:nvSpPr>
        <p:spPr>
          <a:xfrm>
            <a:off x="4282944" y="2899479"/>
            <a:ext cx="2112218" cy="2987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spcFirstLastPara="1" lIns="0" tIns="50513" rIns="0" bIns="50513" numCol="1" anchor="b" anchorCtr="0">
            <a:prstTxWarp prst="textArchUp">
              <a:avLst>
                <a:gd name="adj" fmla="val 5631822"/>
              </a:avLst>
            </a:prstTxWarp>
          </a:bodyPr>
          <a:lstStyle/>
          <a:p>
            <a:pPr algn="ctr">
              <a:spcBef>
                <a:spcPct val="30000"/>
              </a:spcBef>
              <a:defRPr/>
            </a:pPr>
            <a:r>
              <a:rPr lang="pt-BR" sz="1295" dirty="0"/>
              <a:t> </a:t>
            </a:r>
            <a:r>
              <a:rPr lang="pt-BR" sz="1295">
                <a:solidFill>
                  <a:schemeClr val="accent6"/>
                </a:solidFill>
              </a:rPr>
              <a:t>.</a:t>
            </a:r>
            <a:r>
              <a:rPr lang="pt-BR" sz="1295"/>
              <a:t> xxxxxxxxxxxxxxxxx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77023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1929323" y="2020144"/>
            <a:ext cx="3310350" cy="3647895"/>
            <a:chOff x="1129" y="1074"/>
            <a:chExt cx="1932" cy="2129"/>
          </a:xfrm>
          <a:solidFill>
            <a:schemeClr val="accent1"/>
          </a:solidFill>
        </p:grpSpPr>
        <p:sp>
          <p:nvSpPr>
            <p:cNvPr id="703492" name="Freeform 4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1655" y="1074"/>
              <a:ext cx="1392" cy="1425"/>
            </a:xfrm>
            <a:custGeom>
              <a:avLst/>
              <a:gdLst/>
              <a:ahLst/>
              <a:cxnLst>
                <a:cxn ang="0">
                  <a:pos x="757" y="347"/>
                </a:cxn>
                <a:cxn ang="0">
                  <a:pos x="790" y="386"/>
                </a:cxn>
                <a:cxn ang="0">
                  <a:pos x="819" y="427"/>
                </a:cxn>
                <a:cxn ang="0">
                  <a:pos x="847" y="470"/>
                </a:cxn>
                <a:cxn ang="0">
                  <a:pos x="871" y="514"/>
                </a:cxn>
                <a:cxn ang="0">
                  <a:pos x="893" y="561"/>
                </a:cxn>
                <a:cxn ang="0">
                  <a:pos x="911" y="608"/>
                </a:cxn>
                <a:cxn ang="0">
                  <a:pos x="927" y="656"/>
                </a:cxn>
                <a:cxn ang="0">
                  <a:pos x="940" y="705"/>
                </a:cxn>
                <a:cxn ang="0">
                  <a:pos x="949" y="754"/>
                </a:cxn>
                <a:cxn ang="0">
                  <a:pos x="956" y="805"/>
                </a:cxn>
                <a:cxn ang="0">
                  <a:pos x="959" y="856"/>
                </a:cxn>
                <a:cxn ang="0">
                  <a:pos x="959" y="906"/>
                </a:cxn>
                <a:cxn ang="0">
                  <a:pos x="957" y="957"/>
                </a:cxn>
                <a:cxn ang="0">
                  <a:pos x="950" y="1007"/>
                </a:cxn>
                <a:cxn ang="0">
                  <a:pos x="941" y="1057"/>
                </a:cxn>
                <a:cxn ang="0">
                  <a:pos x="929" y="1107"/>
                </a:cxn>
                <a:cxn ang="0">
                  <a:pos x="914" y="1155"/>
                </a:cxn>
                <a:cxn ang="0">
                  <a:pos x="895" y="1202"/>
                </a:cxn>
                <a:cxn ang="0">
                  <a:pos x="874" y="1248"/>
                </a:cxn>
                <a:cxn ang="0">
                  <a:pos x="882" y="1206"/>
                </a:cxn>
                <a:cxn ang="0">
                  <a:pos x="888" y="1163"/>
                </a:cxn>
                <a:cxn ang="0">
                  <a:pos x="891" y="1120"/>
                </a:cxn>
                <a:cxn ang="0">
                  <a:pos x="889" y="1077"/>
                </a:cxn>
                <a:cxn ang="0">
                  <a:pos x="885" y="1034"/>
                </a:cxn>
                <a:cxn ang="0">
                  <a:pos x="877" y="991"/>
                </a:cxn>
                <a:cxn ang="0">
                  <a:pos x="867" y="949"/>
                </a:cxn>
                <a:cxn ang="0">
                  <a:pos x="853" y="909"/>
                </a:cxn>
                <a:cxn ang="0">
                  <a:pos x="836" y="869"/>
                </a:cxn>
                <a:cxn ang="0">
                  <a:pos x="815" y="831"/>
                </a:cxn>
                <a:cxn ang="0">
                  <a:pos x="793" y="794"/>
                </a:cxn>
                <a:cxn ang="0">
                  <a:pos x="767" y="760"/>
                </a:cxn>
                <a:cxn ang="0">
                  <a:pos x="739" y="726"/>
                </a:cxn>
                <a:cxn ang="0">
                  <a:pos x="708" y="696"/>
                </a:cxn>
                <a:cxn ang="0">
                  <a:pos x="675" y="668"/>
                </a:cxn>
                <a:cxn ang="0">
                  <a:pos x="640" y="642"/>
                </a:cxn>
                <a:cxn ang="0">
                  <a:pos x="609" y="628"/>
                </a:cxn>
                <a:cxn ang="0">
                  <a:pos x="576" y="616"/>
                </a:cxn>
                <a:cxn ang="0">
                  <a:pos x="542" y="607"/>
                </a:cxn>
                <a:cxn ang="0">
                  <a:pos x="507" y="600"/>
                </a:cxn>
                <a:cxn ang="0">
                  <a:pos x="472" y="596"/>
                </a:cxn>
                <a:cxn ang="0">
                  <a:pos x="438" y="595"/>
                </a:cxn>
                <a:cxn ang="0">
                  <a:pos x="402" y="597"/>
                </a:cxn>
                <a:cxn ang="0">
                  <a:pos x="367" y="602"/>
                </a:cxn>
                <a:cxn ang="0">
                  <a:pos x="333" y="609"/>
                </a:cxn>
                <a:cxn ang="0">
                  <a:pos x="299" y="619"/>
                </a:cxn>
                <a:cxn ang="0">
                  <a:pos x="302" y="779"/>
                </a:cxn>
                <a:cxn ang="0">
                  <a:pos x="0" y="367"/>
                </a:cxn>
                <a:cxn ang="0">
                  <a:pos x="294" y="0"/>
                </a:cxn>
                <a:cxn ang="0">
                  <a:pos x="294" y="150"/>
                </a:cxn>
                <a:cxn ang="0">
                  <a:pos x="340" y="153"/>
                </a:cxn>
                <a:cxn ang="0">
                  <a:pos x="386" y="159"/>
                </a:cxn>
                <a:cxn ang="0">
                  <a:pos x="433" y="168"/>
                </a:cxn>
                <a:cxn ang="0">
                  <a:pos x="478" y="180"/>
                </a:cxn>
                <a:cxn ang="0">
                  <a:pos x="522" y="196"/>
                </a:cxn>
                <a:cxn ang="0">
                  <a:pos x="565" y="214"/>
                </a:cxn>
                <a:cxn ang="0">
                  <a:pos x="607" y="235"/>
                </a:cxn>
                <a:cxn ang="0">
                  <a:pos x="647" y="259"/>
                </a:cxn>
                <a:cxn ang="0">
                  <a:pos x="686" y="286"/>
                </a:cxn>
                <a:cxn ang="0">
                  <a:pos x="723" y="315"/>
                </a:cxn>
                <a:cxn ang="0">
                  <a:pos x="757" y="347"/>
                </a:cxn>
              </a:cxnLst>
              <a:rect l="0" t="0" r="r" b="b"/>
              <a:pathLst>
                <a:path w="960" h="1249">
                  <a:moveTo>
                    <a:pt x="757" y="347"/>
                  </a:moveTo>
                  <a:lnTo>
                    <a:pt x="790" y="386"/>
                  </a:lnTo>
                  <a:lnTo>
                    <a:pt x="819" y="427"/>
                  </a:lnTo>
                  <a:lnTo>
                    <a:pt x="847" y="470"/>
                  </a:lnTo>
                  <a:lnTo>
                    <a:pt x="871" y="514"/>
                  </a:lnTo>
                  <a:lnTo>
                    <a:pt x="893" y="561"/>
                  </a:lnTo>
                  <a:lnTo>
                    <a:pt x="911" y="608"/>
                  </a:lnTo>
                  <a:lnTo>
                    <a:pt x="927" y="656"/>
                  </a:lnTo>
                  <a:lnTo>
                    <a:pt x="940" y="705"/>
                  </a:lnTo>
                  <a:lnTo>
                    <a:pt x="949" y="754"/>
                  </a:lnTo>
                  <a:lnTo>
                    <a:pt x="956" y="805"/>
                  </a:lnTo>
                  <a:lnTo>
                    <a:pt x="959" y="856"/>
                  </a:lnTo>
                  <a:lnTo>
                    <a:pt x="959" y="906"/>
                  </a:lnTo>
                  <a:lnTo>
                    <a:pt x="957" y="957"/>
                  </a:lnTo>
                  <a:lnTo>
                    <a:pt x="950" y="1007"/>
                  </a:lnTo>
                  <a:lnTo>
                    <a:pt x="941" y="1057"/>
                  </a:lnTo>
                  <a:lnTo>
                    <a:pt x="929" y="1107"/>
                  </a:lnTo>
                  <a:lnTo>
                    <a:pt x="914" y="1155"/>
                  </a:lnTo>
                  <a:lnTo>
                    <a:pt x="895" y="1202"/>
                  </a:lnTo>
                  <a:lnTo>
                    <a:pt x="874" y="1248"/>
                  </a:lnTo>
                  <a:lnTo>
                    <a:pt x="882" y="1206"/>
                  </a:lnTo>
                  <a:lnTo>
                    <a:pt x="888" y="1163"/>
                  </a:lnTo>
                  <a:lnTo>
                    <a:pt x="891" y="1120"/>
                  </a:lnTo>
                  <a:lnTo>
                    <a:pt x="889" y="1077"/>
                  </a:lnTo>
                  <a:lnTo>
                    <a:pt x="885" y="1034"/>
                  </a:lnTo>
                  <a:lnTo>
                    <a:pt x="877" y="991"/>
                  </a:lnTo>
                  <a:lnTo>
                    <a:pt x="867" y="949"/>
                  </a:lnTo>
                  <a:lnTo>
                    <a:pt x="853" y="909"/>
                  </a:lnTo>
                  <a:lnTo>
                    <a:pt x="836" y="869"/>
                  </a:lnTo>
                  <a:lnTo>
                    <a:pt x="815" y="831"/>
                  </a:lnTo>
                  <a:lnTo>
                    <a:pt x="793" y="794"/>
                  </a:lnTo>
                  <a:lnTo>
                    <a:pt x="767" y="760"/>
                  </a:lnTo>
                  <a:lnTo>
                    <a:pt x="739" y="726"/>
                  </a:lnTo>
                  <a:lnTo>
                    <a:pt x="708" y="696"/>
                  </a:lnTo>
                  <a:lnTo>
                    <a:pt x="675" y="668"/>
                  </a:lnTo>
                  <a:lnTo>
                    <a:pt x="640" y="642"/>
                  </a:lnTo>
                  <a:lnTo>
                    <a:pt x="609" y="628"/>
                  </a:lnTo>
                  <a:lnTo>
                    <a:pt x="576" y="616"/>
                  </a:lnTo>
                  <a:lnTo>
                    <a:pt x="542" y="607"/>
                  </a:lnTo>
                  <a:lnTo>
                    <a:pt x="507" y="600"/>
                  </a:lnTo>
                  <a:lnTo>
                    <a:pt x="472" y="596"/>
                  </a:lnTo>
                  <a:lnTo>
                    <a:pt x="438" y="595"/>
                  </a:lnTo>
                  <a:lnTo>
                    <a:pt x="402" y="597"/>
                  </a:lnTo>
                  <a:lnTo>
                    <a:pt x="367" y="602"/>
                  </a:lnTo>
                  <a:lnTo>
                    <a:pt x="333" y="609"/>
                  </a:lnTo>
                  <a:lnTo>
                    <a:pt x="299" y="619"/>
                  </a:lnTo>
                  <a:lnTo>
                    <a:pt x="302" y="779"/>
                  </a:lnTo>
                  <a:lnTo>
                    <a:pt x="0" y="367"/>
                  </a:lnTo>
                  <a:lnTo>
                    <a:pt x="294" y="0"/>
                  </a:lnTo>
                  <a:lnTo>
                    <a:pt x="294" y="150"/>
                  </a:lnTo>
                  <a:lnTo>
                    <a:pt x="340" y="153"/>
                  </a:lnTo>
                  <a:lnTo>
                    <a:pt x="386" y="159"/>
                  </a:lnTo>
                  <a:lnTo>
                    <a:pt x="433" y="168"/>
                  </a:lnTo>
                  <a:lnTo>
                    <a:pt x="478" y="180"/>
                  </a:lnTo>
                  <a:lnTo>
                    <a:pt x="522" y="196"/>
                  </a:lnTo>
                  <a:lnTo>
                    <a:pt x="565" y="214"/>
                  </a:lnTo>
                  <a:lnTo>
                    <a:pt x="607" y="235"/>
                  </a:lnTo>
                  <a:lnTo>
                    <a:pt x="647" y="259"/>
                  </a:lnTo>
                  <a:lnTo>
                    <a:pt x="686" y="286"/>
                  </a:lnTo>
                  <a:lnTo>
                    <a:pt x="723" y="315"/>
                  </a:lnTo>
                  <a:lnTo>
                    <a:pt x="757" y="347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/>
            </a:p>
          </p:txBody>
        </p:sp>
        <p:sp>
          <p:nvSpPr>
            <p:cNvPr id="703493" name="Freeform 5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1129" y="1922"/>
              <a:ext cx="1932" cy="1281"/>
            </a:xfrm>
            <a:custGeom>
              <a:avLst/>
              <a:gdLst/>
              <a:ahLst/>
              <a:cxnLst>
                <a:cxn ang="0">
                  <a:pos x="1321" y="54"/>
                </a:cxn>
                <a:cxn ang="0">
                  <a:pos x="1331" y="162"/>
                </a:cxn>
                <a:cxn ang="0">
                  <a:pos x="1329" y="272"/>
                </a:cxn>
                <a:cxn ang="0">
                  <a:pos x="1313" y="379"/>
                </a:cxn>
                <a:cxn ang="0">
                  <a:pos x="1286" y="484"/>
                </a:cxn>
                <a:cxn ang="0">
                  <a:pos x="1246" y="586"/>
                </a:cxn>
                <a:cxn ang="0">
                  <a:pos x="1194" y="682"/>
                </a:cxn>
                <a:cxn ang="0">
                  <a:pos x="1132" y="771"/>
                </a:cxn>
                <a:cxn ang="0">
                  <a:pos x="1059" y="852"/>
                </a:cxn>
                <a:cxn ang="0">
                  <a:pos x="977" y="924"/>
                </a:cxn>
                <a:cxn ang="0">
                  <a:pos x="887" y="987"/>
                </a:cxn>
                <a:cxn ang="0">
                  <a:pos x="791" y="1038"/>
                </a:cxn>
                <a:cxn ang="0">
                  <a:pos x="690" y="1077"/>
                </a:cxn>
                <a:cxn ang="0">
                  <a:pos x="584" y="1103"/>
                </a:cxn>
                <a:cxn ang="0">
                  <a:pos x="476" y="1118"/>
                </a:cxn>
                <a:cxn ang="0">
                  <a:pos x="367" y="1119"/>
                </a:cxn>
                <a:cxn ang="0">
                  <a:pos x="258" y="1107"/>
                </a:cxn>
                <a:cxn ang="0">
                  <a:pos x="152" y="1083"/>
                </a:cxn>
                <a:cxn ang="0">
                  <a:pos x="49" y="1047"/>
                </a:cxn>
                <a:cxn ang="0">
                  <a:pos x="0" y="602"/>
                </a:cxn>
                <a:cxn ang="0">
                  <a:pos x="87" y="658"/>
                </a:cxn>
                <a:cxn ang="0">
                  <a:pos x="180" y="703"/>
                </a:cxn>
                <a:cxn ang="0">
                  <a:pos x="278" y="735"/>
                </a:cxn>
                <a:cxn ang="0">
                  <a:pos x="379" y="756"/>
                </a:cxn>
                <a:cxn ang="0">
                  <a:pos x="482" y="764"/>
                </a:cxn>
                <a:cxn ang="0">
                  <a:pos x="585" y="758"/>
                </a:cxn>
                <a:cxn ang="0">
                  <a:pos x="687" y="739"/>
                </a:cxn>
                <a:cxn ang="0">
                  <a:pos x="786" y="709"/>
                </a:cxn>
                <a:cxn ang="0">
                  <a:pos x="879" y="666"/>
                </a:cxn>
                <a:cxn ang="0">
                  <a:pos x="967" y="611"/>
                </a:cxn>
                <a:cxn ang="0">
                  <a:pos x="1048" y="546"/>
                </a:cxn>
                <a:cxn ang="0">
                  <a:pos x="1119" y="471"/>
                </a:cxn>
                <a:cxn ang="0">
                  <a:pos x="1180" y="388"/>
                </a:cxn>
                <a:cxn ang="0">
                  <a:pos x="1231" y="298"/>
                </a:cxn>
                <a:cxn ang="0">
                  <a:pos x="1270" y="203"/>
                </a:cxn>
                <a:cxn ang="0">
                  <a:pos x="1297" y="102"/>
                </a:cxn>
                <a:cxn ang="0">
                  <a:pos x="1311" y="0"/>
                </a:cxn>
              </a:cxnLst>
              <a:rect l="0" t="0" r="r" b="b"/>
              <a:pathLst>
                <a:path w="1332" h="1121">
                  <a:moveTo>
                    <a:pt x="1311" y="0"/>
                  </a:moveTo>
                  <a:lnTo>
                    <a:pt x="1321" y="54"/>
                  </a:lnTo>
                  <a:lnTo>
                    <a:pt x="1327" y="107"/>
                  </a:lnTo>
                  <a:lnTo>
                    <a:pt x="1331" y="162"/>
                  </a:lnTo>
                  <a:lnTo>
                    <a:pt x="1331" y="217"/>
                  </a:lnTo>
                  <a:lnTo>
                    <a:pt x="1329" y="272"/>
                  </a:lnTo>
                  <a:lnTo>
                    <a:pt x="1323" y="325"/>
                  </a:lnTo>
                  <a:lnTo>
                    <a:pt x="1313" y="379"/>
                  </a:lnTo>
                  <a:lnTo>
                    <a:pt x="1302" y="432"/>
                  </a:lnTo>
                  <a:lnTo>
                    <a:pt x="1286" y="484"/>
                  </a:lnTo>
                  <a:lnTo>
                    <a:pt x="1268" y="536"/>
                  </a:lnTo>
                  <a:lnTo>
                    <a:pt x="1246" y="586"/>
                  </a:lnTo>
                  <a:lnTo>
                    <a:pt x="1221" y="635"/>
                  </a:lnTo>
                  <a:lnTo>
                    <a:pt x="1194" y="682"/>
                  </a:lnTo>
                  <a:lnTo>
                    <a:pt x="1164" y="728"/>
                  </a:lnTo>
                  <a:lnTo>
                    <a:pt x="1132" y="771"/>
                  </a:lnTo>
                  <a:lnTo>
                    <a:pt x="1096" y="813"/>
                  </a:lnTo>
                  <a:lnTo>
                    <a:pt x="1059" y="852"/>
                  </a:lnTo>
                  <a:lnTo>
                    <a:pt x="1019" y="890"/>
                  </a:lnTo>
                  <a:lnTo>
                    <a:pt x="977" y="924"/>
                  </a:lnTo>
                  <a:lnTo>
                    <a:pt x="933" y="957"/>
                  </a:lnTo>
                  <a:lnTo>
                    <a:pt x="887" y="987"/>
                  </a:lnTo>
                  <a:lnTo>
                    <a:pt x="840" y="1014"/>
                  </a:lnTo>
                  <a:lnTo>
                    <a:pt x="791" y="1038"/>
                  </a:lnTo>
                  <a:lnTo>
                    <a:pt x="741" y="1059"/>
                  </a:lnTo>
                  <a:lnTo>
                    <a:pt x="690" y="1077"/>
                  </a:lnTo>
                  <a:lnTo>
                    <a:pt x="637" y="1092"/>
                  </a:lnTo>
                  <a:lnTo>
                    <a:pt x="584" y="1103"/>
                  </a:lnTo>
                  <a:lnTo>
                    <a:pt x="530" y="1112"/>
                  </a:lnTo>
                  <a:lnTo>
                    <a:pt x="476" y="1118"/>
                  </a:lnTo>
                  <a:lnTo>
                    <a:pt x="421" y="1120"/>
                  </a:lnTo>
                  <a:lnTo>
                    <a:pt x="367" y="1119"/>
                  </a:lnTo>
                  <a:lnTo>
                    <a:pt x="312" y="1115"/>
                  </a:lnTo>
                  <a:lnTo>
                    <a:pt x="258" y="1107"/>
                  </a:lnTo>
                  <a:lnTo>
                    <a:pt x="205" y="1098"/>
                  </a:lnTo>
                  <a:lnTo>
                    <a:pt x="152" y="1083"/>
                  </a:lnTo>
                  <a:lnTo>
                    <a:pt x="100" y="1067"/>
                  </a:lnTo>
                  <a:lnTo>
                    <a:pt x="49" y="1047"/>
                  </a:lnTo>
                  <a:lnTo>
                    <a:pt x="0" y="1025"/>
                  </a:lnTo>
                  <a:lnTo>
                    <a:pt x="0" y="602"/>
                  </a:lnTo>
                  <a:lnTo>
                    <a:pt x="43" y="632"/>
                  </a:lnTo>
                  <a:lnTo>
                    <a:pt x="87" y="658"/>
                  </a:lnTo>
                  <a:lnTo>
                    <a:pt x="133" y="682"/>
                  </a:lnTo>
                  <a:lnTo>
                    <a:pt x="180" y="703"/>
                  </a:lnTo>
                  <a:lnTo>
                    <a:pt x="228" y="721"/>
                  </a:lnTo>
                  <a:lnTo>
                    <a:pt x="278" y="735"/>
                  </a:lnTo>
                  <a:lnTo>
                    <a:pt x="329" y="748"/>
                  </a:lnTo>
                  <a:lnTo>
                    <a:pt x="379" y="756"/>
                  </a:lnTo>
                  <a:lnTo>
                    <a:pt x="430" y="761"/>
                  </a:lnTo>
                  <a:lnTo>
                    <a:pt x="482" y="764"/>
                  </a:lnTo>
                  <a:lnTo>
                    <a:pt x="534" y="763"/>
                  </a:lnTo>
                  <a:lnTo>
                    <a:pt x="585" y="758"/>
                  </a:lnTo>
                  <a:lnTo>
                    <a:pt x="637" y="750"/>
                  </a:lnTo>
                  <a:lnTo>
                    <a:pt x="687" y="739"/>
                  </a:lnTo>
                  <a:lnTo>
                    <a:pt x="737" y="725"/>
                  </a:lnTo>
                  <a:lnTo>
                    <a:pt x="786" y="709"/>
                  </a:lnTo>
                  <a:lnTo>
                    <a:pt x="833" y="688"/>
                  </a:lnTo>
                  <a:lnTo>
                    <a:pt x="879" y="666"/>
                  </a:lnTo>
                  <a:lnTo>
                    <a:pt x="924" y="639"/>
                  </a:lnTo>
                  <a:lnTo>
                    <a:pt x="967" y="611"/>
                  </a:lnTo>
                  <a:lnTo>
                    <a:pt x="1009" y="580"/>
                  </a:lnTo>
                  <a:lnTo>
                    <a:pt x="1048" y="546"/>
                  </a:lnTo>
                  <a:lnTo>
                    <a:pt x="1084" y="509"/>
                  </a:lnTo>
                  <a:lnTo>
                    <a:pt x="1119" y="471"/>
                  </a:lnTo>
                  <a:lnTo>
                    <a:pt x="1151" y="430"/>
                  </a:lnTo>
                  <a:lnTo>
                    <a:pt x="1180" y="388"/>
                  </a:lnTo>
                  <a:lnTo>
                    <a:pt x="1207" y="344"/>
                  </a:lnTo>
                  <a:lnTo>
                    <a:pt x="1231" y="298"/>
                  </a:lnTo>
                  <a:lnTo>
                    <a:pt x="1252" y="251"/>
                  </a:lnTo>
                  <a:lnTo>
                    <a:pt x="1270" y="203"/>
                  </a:lnTo>
                  <a:lnTo>
                    <a:pt x="1284" y="153"/>
                  </a:lnTo>
                  <a:lnTo>
                    <a:pt x="1297" y="102"/>
                  </a:lnTo>
                  <a:lnTo>
                    <a:pt x="1305" y="51"/>
                  </a:lnTo>
                  <a:lnTo>
                    <a:pt x="1311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/>
            </a:p>
          </p:txBody>
        </p:sp>
      </p:grpSp>
      <p:sp>
        <p:nvSpPr>
          <p:cNvPr id="70349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054405" y="3838358"/>
            <a:ext cx="264725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5452139" y="2080113"/>
            <a:ext cx="3310350" cy="3647896"/>
            <a:chOff x="3185" y="1109"/>
            <a:chExt cx="1932" cy="2129"/>
          </a:xfrm>
          <a:solidFill>
            <a:schemeClr val="accent3"/>
          </a:solidFill>
        </p:grpSpPr>
        <p:sp>
          <p:nvSpPr>
            <p:cNvPr id="703497" name="Freeform 9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3198" y="1813"/>
              <a:ext cx="1393" cy="1425"/>
            </a:xfrm>
            <a:custGeom>
              <a:avLst/>
              <a:gdLst/>
              <a:ahLst/>
              <a:cxnLst>
                <a:cxn ang="0">
                  <a:pos x="203" y="901"/>
                </a:cxn>
                <a:cxn ang="0">
                  <a:pos x="170" y="862"/>
                </a:cxn>
                <a:cxn ang="0">
                  <a:pos x="141" y="821"/>
                </a:cxn>
                <a:cxn ang="0">
                  <a:pos x="113" y="778"/>
                </a:cxn>
                <a:cxn ang="0">
                  <a:pos x="88" y="734"/>
                </a:cxn>
                <a:cxn ang="0">
                  <a:pos x="67" y="687"/>
                </a:cxn>
                <a:cxn ang="0">
                  <a:pos x="49" y="641"/>
                </a:cxn>
                <a:cxn ang="0">
                  <a:pos x="33" y="592"/>
                </a:cxn>
                <a:cxn ang="0">
                  <a:pos x="20" y="543"/>
                </a:cxn>
                <a:cxn ang="0">
                  <a:pos x="11" y="494"/>
                </a:cxn>
                <a:cxn ang="0">
                  <a:pos x="4" y="443"/>
                </a:cxn>
                <a:cxn ang="0">
                  <a:pos x="1" y="392"/>
                </a:cxn>
                <a:cxn ang="0">
                  <a:pos x="0" y="342"/>
                </a:cxn>
                <a:cxn ang="0">
                  <a:pos x="3" y="291"/>
                </a:cxn>
                <a:cxn ang="0">
                  <a:pos x="9" y="241"/>
                </a:cxn>
                <a:cxn ang="0">
                  <a:pos x="19" y="191"/>
                </a:cxn>
                <a:cxn ang="0">
                  <a:pos x="31" y="141"/>
                </a:cxn>
                <a:cxn ang="0">
                  <a:pos x="46" y="93"/>
                </a:cxn>
                <a:cxn ang="0">
                  <a:pos x="64" y="46"/>
                </a:cxn>
                <a:cxn ang="0">
                  <a:pos x="86" y="0"/>
                </a:cxn>
                <a:cxn ang="0">
                  <a:pos x="77" y="42"/>
                </a:cxn>
                <a:cxn ang="0">
                  <a:pos x="72" y="85"/>
                </a:cxn>
                <a:cxn ang="0">
                  <a:pos x="69" y="128"/>
                </a:cxn>
                <a:cxn ang="0">
                  <a:pos x="70" y="171"/>
                </a:cxn>
                <a:cxn ang="0">
                  <a:pos x="75" y="214"/>
                </a:cxn>
                <a:cxn ang="0">
                  <a:pos x="83" y="257"/>
                </a:cxn>
                <a:cxn ang="0">
                  <a:pos x="93" y="299"/>
                </a:cxn>
                <a:cxn ang="0">
                  <a:pos x="107" y="339"/>
                </a:cxn>
                <a:cxn ang="0">
                  <a:pos x="124" y="379"/>
                </a:cxn>
                <a:cxn ang="0">
                  <a:pos x="144" y="417"/>
                </a:cxn>
                <a:cxn ang="0">
                  <a:pos x="167" y="455"/>
                </a:cxn>
                <a:cxn ang="0">
                  <a:pos x="193" y="489"/>
                </a:cxn>
                <a:cxn ang="0">
                  <a:pos x="221" y="522"/>
                </a:cxn>
                <a:cxn ang="0">
                  <a:pos x="252" y="552"/>
                </a:cxn>
                <a:cxn ang="0">
                  <a:pos x="284" y="580"/>
                </a:cxn>
                <a:cxn ang="0">
                  <a:pos x="319" y="606"/>
                </a:cxn>
                <a:cxn ang="0">
                  <a:pos x="351" y="620"/>
                </a:cxn>
                <a:cxn ang="0">
                  <a:pos x="384" y="632"/>
                </a:cxn>
                <a:cxn ang="0">
                  <a:pos x="418" y="641"/>
                </a:cxn>
                <a:cxn ang="0">
                  <a:pos x="453" y="648"/>
                </a:cxn>
                <a:cxn ang="0">
                  <a:pos x="488" y="652"/>
                </a:cxn>
                <a:cxn ang="0">
                  <a:pos x="522" y="653"/>
                </a:cxn>
                <a:cxn ang="0">
                  <a:pos x="558" y="651"/>
                </a:cxn>
                <a:cxn ang="0">
                  <a:pos x="593" y="646"/>
                </a:cxn>
                <a:cxn ang="0">
                  <a:pos x="627" y="639"/>
                </a:cxn>
                <a:cxn ang="0">
                  <a:pos x="661" y="629"/>
                </a:cxn>
                <a:cxn ang="0">
                  <a:pos x="658" y="469"/>
                </a:cxn>
                <a:cxn ang="0">
                  <a:pos x="960" y="881"/>
                </a:cxn>
                <a:cxn ang="0">
                  <a:pos x="666" y="1248"/>
                </a:cxn>
                <a:cxn ang="0">
                  <a:pos x="666" y="1098"/>
                </a:cxn>
                <a:cxn ang="0">
                  <a:pos x="620" y="1095"/>
                </a:cxn>
                <a:cxn ang="0">
                  <a:pos x="573" y="1089"/>
                </a:cxn>
                <a:cxn ang="0">
                  <a:pos x="527" y="1080"/>
                </a:cxn>
                <a:cxn ang="0">
                  <a:pos x="482" y="1068"/>
                </a:cxn>
                <a:cxn ang="0">
                  <a:pos x="438" y="1053"/>
                </a:cxn>
                <a:cxn ang="0">
                  <a:pos x="394" y="1034"/>
                </a:cxn>
                <a:cxn ang="0">
                  <a:pos x="353" y="1013"/>
                </a:cxn>
                <a:cxn ang="0">
                  <a:pos x="312" y="989"/>
                </a:cxn>
                <a:cxn ang="0">
                  <a:pos x="274" y="962"/>
                </a:cxn>
                <a:cxn ang="0">
                  <a:pos x="237" y="933"/>
                </a:cxn>
                <a:cxn ang="0">
                  <a:pos x="203" y="901"/>
                </a:cxn>
              </a:cxnLst>
              <a:rect l="0" t="0" r="r" b="b"/>
              <a:pathLst>
                <a:path w="961" h="1249">
                  <a:moveTo>
                    <a:pt x="203" y="901"/>
                  </a:moveTo>
                  <a:lnTo>
                    <a:pt x="170" y="862"/>
                  </a:lnTo>
                  <a:lnTo>
                    <a:pt x="141" y="821"/>
                  </a:lnTo>
                  <a:lnTo>
                    <a:pt x="113" y="778"/>
                  </a:lnTo>
                  <a:lnTo>
                    <a:pt x="88" y="734"/>
                  </a:lnTo>
                  <a:lnTo>
                    <a:pt x="67" y="687"/>
                  </a:lnTo>
                  <a:lnTo>
                    <a:pt x="49" y="641"/>
                  </a:lnTo>
                  <a:lnTo>
                    <a:pt x="33" y="592"/>
                  </a:lnTo>
                  <a:lnTo>
                    <a:pt x="20" y="543"/>
                  </a:lnTo>
                  <a:lnTo>
                    <a:pt x="11" y="494"/>
                  </a:lnTo>
                  <a:lnTo>
                    <a:pt x="4" y="443"/>
                  </a:lnTo>
                  <a:lnTo>
                    <a:pt x="1" y="392"/>
                  </a:lnTo>
                  <a:lnTo>
                    <a:pt x="0" y="342"/>
                  </a:lnTo>
                  <a:lnTo>
                    <a:pt x="3" y="291"/>
                  </a:lnTo>
                  <a:lnTo>
                    <a:pt x="9" y="241"/>
                  </a:lnTo>
                  <a:lnTo>
                    <a:pt x="19" y="191"/>
                  </a:lnTo>
                  <a:lnTo>
                    <a:pt x="31" y="141"/>
                  </a:lnTo>
                  <a:lnTo>
                    <a:pt x="46" y="93"/>
                  </a:lnTo>
                  <a:lnTo>
                    <a:pt x="64" y="46"/>
                  </a:lnTo>
                  <a:lnTo>
                    <a:pt x="86" y="0"/>
                  </a:lnTo>
                  <a:lnTo>
                    <a:pt x="77" y="42"/>
                  </a:lnTo>
                  <a:lnTo>
                    <a:pt x="72" y="85"/>
                  </a:lnTo>
                  <a:lnTo>
                    <a:pt x="69" y="128"/>
                  </a:lnTo>
                  <a:lnTo>
                    <a:pt x="70" y="171"/>
                  </a:lnTo>
                  <a:lnTo>
                    <a:pt x="75" y="214"/>
                  </a:lnTo>
                  <a:lnTo>
                    <a:pt x="83" y="257"/>
                  </a:lnTo>
                  <a:lnTo>
                    <a:pt x="93" y="299"/>
                  </a:lnTo>
                  <a:lnTo>
                    <a:pt x="107" y="339"/>
                  </a:lnTo>
                  <a:lnTo>
                    <a:pt x="124" y="379"/>
                  </a:lnTo>
                  <a:lnTo>
                    <a:pt x="144" y="417"/>
                  </a:lnTo>
                  <a:lnTo>
                    <a:pt x="167" y="455"/>
                  </a:lnTo>
                  <a:lnTo>
                    <a:pt x="193" y="489"/>
                  </a:lnTo>
                  <a:lnTo>
                    <a:pt x="221" y="522"/>
                  </a:lnTo>
                  <a:lnTo>
                    <a:pt x="252" y="552"/>
                  </a:lnTo>
                  <a:lnTo>
                    <a:pt x="284" y="580"/>
                  </a:lnTo>
                  <a:lnTo>
                    <a:pt x="319" y="606"/>
                  </a:lnTo>
                  <a:lnTo>
                    <a:pt x="351" y="620"/>
                  </a:lnTo>
                  <a:lnTo>
                    <a:pt x="384" y="632"/>
                  </a:lnTo>
                  <a:lnTo>
                    <a:pt x="418" y="641"/>
                  </a:lnTo>
                  <a:lnTo>
                    <a:pt x="453" y="648"/>
                  </a:lnTo>
                  <a:lnTo>
                    <a:pt x="488" y="652"/>
                  </a:lnTo>
                  <a:lnTo>
                    <a:pt x="522" y="653"/>
                  </a:lnTo>
                  <a:lnTo>
                    <a:pt x="558" y="651"/>
                  </a:lnTo>
                  <a:lnTo>
                    <a:pt x="593" y="646"/>
                  </a:lnTo>
                  <a:lnTo>
                    <a:pt x="627" y="639"/>
                  </a:lnTo>
                  <a:lnTo>
                    <a:pt x="661" y="629"/>
                  </a:lnTo>
                  <a:lnTo>
                    <a:pt x="658" y="469"/>
                  </a:lnTo>
                  <a:lnTo>
                    <a:pt x="960" y="881"/>
                  </a:lnTo>
                  <a:lnTo>
                    <a:pt x="666" y="1248"/>
                  </a:lnTo>
                  <a:lnTo>
                    <a:pt x="666" y="1098"/>
                  </a:lnTo>
                  <a:lnTo>
                    <a:pt x="620" y="1095"/>
                  </a:lnTo>
                  <a:lnTo>
                    <a:pt x="573" y="1089"/>
                  </a:lnTo>
                  <a:lnTo>
                    <a:pt x="527" y="1080"/>
                  </a:lnTo>
                  <a:lnTo>
                    <a:pt x="482" y="1068"/>
                  </a:lnTo>
                  <a:lnTo>
                    <a:pt x="438" y="1053"/>
                  </a:lnTo>
                  <a:lnTo>
                    <a:pt x="394" y="1034"/>
                  </a:lnTo>
                  <a:lnTo>
                    <a:pt x="353" y="1013"/>
                  </a:lnTo>
                  <a:lnTo>
                    <a:pt x="312" y="989"/>
                  </a:lnTo>
                  <a:lnTo>
                    <a:pt x="274" y="962"/>
                  </a:lnTo>
                  <a:lnTo>
                    <a:pt x="237" y="933"/>
                  </a:lnTo>
                  <a:lnTo>
                    <a:pt x="203" y="901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/>
            </a:p>
          </p:txBody>
        </p:sp>
        <p:sp>
          <p:nvSpPr>
            <p:cNvPr id="703498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3185" y="1109"/>
              <a:ext cx="1932" cy="1281"/>
            </a:xfrm>
            <a:custGeom>
              <a:avLst/>
              <a:gdLst/>
              <a:ahLst/>
              <a:cxnLst>
                <a:cxn ang="0">
                  <a:pos x="10" y="1066"/>
                </a:cxn>
                <a:cxn ang="0">
                  <a:pos x="0" y="958"/>
                </a:cxn>
                <a:cxn ang="0">
                  <a:pos x="2" y="848"/>
                </a:cxn>
                <a:cxn ang="0">
                  <a:pos x="17" y="741"/>
                </a:cxn>
                <a:cxn ang="0">
                  <a:pos x="45" y="636"/>
                </a:cxn>
                <a:cxn ang="0">
                  <a:pos x="85" y="534"/>
                </a:cxn>
                <a:cxn ang="0">
                  <a:pos x="136" y="439"/>
                </a:cxn>
                <a:cxn ang="0">
                  <a:pos x="199" y="349"/>
                </a:cxn>
                <a:cxn ang="0">
                  <a:pos x="272" y="268"/>
                </a:cxn>
                <a:cxn ang="0">
                  <a:pos x="354" y="196"/>
                </a:cxn>
                <a:cxn ang="0">
                  <a:pos x="444" y="133"/>
                </a:cxn>
                <a:cxn ang="0">
                  <a:pos x="539" y="83"/>
                </a:cxn>
                <a:cxn ang="0">
                  <a:pos x="641" y="43"/>
                </a:cxn>
                <a:cxn ang="0">
                  <a:pos x="747" y="17"/>
                </a:cxn>
                <a:cxn ang="0">
                  <a:pos x="855" y="3"/>
                </a:cxn>
                <a:cxn ang="0">
                  <a:pos x="964" y="1"/>
                </a:cxn>
                <a:cxn ang="0">
                  <a:pos x="1073" y="13"/>
                </a:cxn>
                <a:cxn ang="0">
                  <a:pos x="1179" y="37"/>
                </a:cxn>
                <a:cxn ang="0">
                  <a:pos x="1282" y="73"/>
                </a:cxn>
                <a:cxn ang="0">
                  <a:pos x="1331" y="518"/>
                </a:cxn>
                <a:cxn ang="0">
                  <a:pos x="1244" y="462"/>
                </a:cxn>
                <a:cxn ang="0">
                  <a:pos x="1151" y="417"/>
                </a:cxn>
                <a:cxn ang="0">
                  <a:pos x="1053" y="385"/>
                </a:cxn>
                <a:cxn ang="0">
                  <a:pos x="952" y="364"/>
                </a:cxn>
                <a:cxn ang="0">
                  <a:pos x="849" y="356"/>
                </a:cxn>
                <a:cxn ang="0">
                  <a:pos x="746" y="362"/>
                </a:cxn>
                <a:cxn ang="0">
                  <a:pos x="644" y="381"/>
                </a:cxn>
                <a:cxn ang="0">
                  <a:pos x="545" y="412"/>
                </a:cxn>
                <a:cxn ang="0">
                  <a:pos x="452" y="455"/>
                </a:cxn>
                <a:cxn ang="0">
                  <a:pos x="364" y="510"/>
                </a:cxn>
                <a:cxn ang="0">
                  <a:pos x="283" y="574"/>
                </a:cxn>
                <a:cxn ang="0">
                  <a:pos x="212" y="649"/>
                </a:cxn>
                <a:cxn ang="0">
                  <a:pos x="150" y="732"/>
                </a:cxn>
                <a:cxn ang="0">
                  <a:pos x="100" y="822"/>
                </a:cxn>
                <a:cxn ang="0">
                  <a:pos x="61" y="918"/>
                </a:cxn>
                <a:cxn ang="0">
                  <a:pos x="34" y="1018"/>
                </a:cxn>
                <a:cxn ang="0">
                  <a:pos x="20" y="1120"/>
                </a:cxn>
              </a:cxnLst>
              <a:rect l="0" t="0" r="r" b="b"/>
              <a:pathLst>
                <a:path w="1332" h="1121">
                  <a:moveTo>
                    <a:pt x="20" y="1120"/>
                  </a:moveTo>
                  <a:lnTo>
                    <a:pt x="10" y="1066"/>
                  </a:lnTo>
                  <a:lnTo>
                    <a:pt x="4" y="1013"/>
                  </a:lnTo>
                  <a:lnTo>
                    <a:pt x="0" y="958"/>
                  </a:lnTo>
                  <a:lnTo>
                    <a:pt x="0" y="903"/>
                  </a:lnTo>
                  <a:lnTo>
                    <a:pt x="2" y="848"/>
                  </a:lnTo>
                  <a:lnTo>
                    <a:pt x="8" y="795"/>
                  </a:lnTo>
                  <a:lnTo>
                    <a:pt x="17" y="741"/>
                  </a:lnTo>
                  <a:lnTo>
                    <a:pt x="29" y="688"/>
                  </a:lnTo>
                  <a:lnTo>
                    <a:pt x="45" y="636"/>
                  </a:lnTo>
                  <a:lnTo>
                    <a:pt x="63" y="584"/>
                  </a:lnTo>
                  <a:lnTo>
                    <a:pt x="85" y="534"/>
                  </a:lnTo>
                  <a:lnTo>
                    <a:pt x="110" y="486"/>
                  </a:lnTo>
                  <a:lnTo>
                    <a:pt x="136" y="439"/>
                  </a:lnTo>
                  <a:lnTo>
                    <a:pt x="167" y="393"/>
                  </a:lnTo>
                  <a:lnTo>
                    <a:pt x="199" y="349"/>
                  </a:lnTo>
                  <a:lnTo>
                    <a:pt x="234" y="307"/>
                  </a:lnTo>
                  <a:lnTo>
                    <a:pt x="272" y="268"/>
                  </a:lnTo>
                  <a:lnTo>
                    <a:pt x="312" y="230"/>
                  </a:lnTo>
                  <a:lnTo>
                    <a:pt x="354" y="196"/>
                  </a:lnTo>
                  <a:lnTo>
                    <a:pt x="398" y="163"/>
                  </a:lnTo>
                  <a:lnTo>
                    <a:pt x="444" y="133"/>
                  </a:lnTo>
                  <a:lnTo>
                    <a:pt x="491" y="107"/>
                  </a:lnTo>
                  <a:lnTo>
                    <a:pt x="539" y="83"/>
                  </a:lnTo>
                  <a:lnTo>
                    <a:pt x="590" y="61"/>
                  </a:lnTo>
                  <a:lnTo>
                    <a:pt x="641" y="43"/>
                  </a:lnTo>
                  <a:lnTo>
                    <a:pt x="694" y="28"/>
                  </a:lnTo>
                  <a:lnTo>
                    <a:pt x="747" y="17"/>
                  </a:lnTo>
                  <a:lnTo>
                    <a:pt x="801" y="8"/>
                  </a:lnTo>
                  <a:lnTo>
                    <a:pt x="855" y="3"/>
                  </a:lnTo>
                  <a:lnTo>
                    <a:pt x="910" y="0"/>
                  </a:lnTo>
                  <a:lnTo>
                    <a:pt x="964" y="1"/>
                  </a:lnTo>
                  <a:lnTo>
                    <a:pt x="1018" y="5"/>
                  </a:lnTo>
                  <a:lnTo>
                    <a:pt x="1073" y="13"/>
                  </a:lnTo>
                  <a:lnTo>
                    <a:pt x="1126" y="22"/>
                  </a:lnTo>
                  <a:lnTo>
                    <a:pt x="1179" y="37"/>
                  </a:lnTo>
                  <a:lnTo>
                    <a:pt x="1231" y="53"/>
                  </a:lnTo>
                  <a:lnTo>
                    <a:pt x="1282" y="73"/>
                  </a:lnTo>
                  <a:lnTo>
                    <a:pt x="1331" y="96"/>
                  </a:lnTo>
                  <a:lnTo>
                    <a:pt x="1331" y="518"/>
                  </a:lnTo>
                  <a:lnTo>
                    <a:pt x="1288" y="489"/>
                  </a:lnTo>
                  <a:lnTo>
                    <a:pt x="1244" y="462"/>
                  </a:lnTo>
                  <a:lnTo>
                    <a:pt x="1198" y="439"/>
                  </a:lnTo>
                  <a:lnTo>
                    <a:pt x="1151" y="417"/>
                  </a:lnTo>
                  <a:lnTo>
                    <a:pt x="1103" y="400"/>
                  </a:lnTo>
                  <a:lnTo>
                    <a:pt x="1053" y="385"/>
                  </a:lnTo>
                  <a:lnTo>
                    <a:pt x="1002" y="373"/>
                  </a:lnTo>
                  <a:lnTo>
                    <a:pt x="952" y="364"/>
                  </a:lnTo>
                  <a:lnTo>
                    <a:pt x="901" y="359"/>
                  </a:lnTo>
                  <a:lnTo>
                    <a:pt x="849" y="356"/>
                  </a:lnTo>
                  <a:lnTo>
                    <a:pt x="797" y="358"/>
                  </a:lnTo>
                  <a:lnTo>
                    <a:pt x="746" y="362"/>
                  </a:lnTo>
                  <a:lnTo>
                    <a:pt x="694" y="370"/>
                  </a:lnTo>
                  <a:lnTo>
                    <a:pt x="644" y="381"/>
                  </a:lnTo>
                  <a:lnTo>
                    <a:pt x="594" y="395"/>
                  </a:lnTo>
                  <a:lnTo>
                    <a:pt x="545" y="412"/>
                  </a:lnTo>
                  <a:lnTo>
                    <a:pt x="498" y="432"/>
                  </a:lnTo>
                  <a:lnTo>
                    <a:pt x="452" y="455"/>
                  </a:lnTo>
                  <a:lnTo>
                    <a:pt x="407" y="481"/>
                  </a:lnTo>
                  <a:lnTo>
                    <a:pt x="364" y="510"/>
                  </a:lnTo>
                  <a:lnTo>
                    <a:pt x="322" y="540"/>
                  </a:lnTo>
                  <a:lnTo>
                    <a:pt x="283" y="574"/>
                  </a:lnTo>
                  <a:lnTo>
                    <a:pt x="246" y="611"/>
                  </a:lnTo>
                  <a:lnTo>
                    <a:pt x="212" y="649"/>
                  </a:lnTo>
                  <a:lnTo>
                    <a:pt x="180" y="690"/>
                  </a:lnTo>
                  <a:lnTo>
                    <a:pt x="150" y="732"/>
                  </a:lnTo>
                  <a:lnTo>
                    <a:pt x="124" y="776"/>
                  </a:lnTo>
                  <a:lnTo>
                    <a:pt x="100" y="822"/>
                  </a:lnTo>
                  <a:lnTo>
                    <a:pt x="79" y="869"/>
                  </a:lnTo>
                  <a:lnTo>
                    <a:pt x="61" y="918"/>
                  </a:lnTo>
                  <a:lnTo>
                    <a:pt x="46" y="967"/>
                  </a:lnTo>
                  <a:lnTo>
                    <a:pt x="34" y="1018"/>
                  </a:lnTo>
                  <a:lnTo>
                    <a:pt x="26" y="1069"/>
                  </a:lnTo>
                  <a:lnTo>
                    <a:pt x="20" y="112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/>
            </a:p>
          </p:txBody>
        </p:sp>
      </p:grpSp>
      <p:sp>
        <p:nvSpPr>
          <p:cNvPr id="703499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86729" y="3838358"/>
            <a:ext cx="264725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03500" name="Rectangle 1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2</a:t>
            </a: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58366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3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05541" name="Freeform 5"/>
          <p:cNvSpPr>
            <a:spLocks/>
          </p:cNvSpPr>
          <p:nvPr/>
        </p:nvSpPr>
        <p:spPr bwMode="gray">
          <a:xfrm>
            <a:off x="5585787" y="1922477"/>
            <a:ext cx="2991651" cy="2818595"/>
          </a:xfrm>
          <a:custGeom>
            <a:avLst/>
            <a:gdLst/>
            <a:ahLst/>
            <a:cxnLst>
              <a:cxn ang="0">
                <a:pos x="806" y="191"/>
              </a:cxn>
              <a:cxn ang="0">
                <a:pos x="777" y="157"/>
              </a:cxn>
              <a:cxn ang="0">
                <a:pos x="746" y="126"/>
              </a:cxn>
              <a:cxn ang="0">
                <a:pos x="711" y="98"/>
              </a:cxn>
              <a:cxn ang="0">
                <a:pos x="674" y="74"/>
              </a:cxn>
              <a:cxn ang="0">
                <a:pos x="635" y="51"/>
              </a:cxn>
              <a:cxn ang="0">
                <a:pos x="594" y="33"/>
              </a:cxn>
              <a:cxn ang="0">
                <a:pos x="551" y="19"/>
              </a:cxn>
              <a:cxn ang="0">
                <a:pos x="508" y="9"/>
              </a:cxn>
              <a:cxn ang="0">
                <a:pos x="465" y="2"/>
              </a:cxn>
              <a:cxn ang="0">
                <a:pos x="419" y="0"/>
              </a:cxn>
              <a:cxn ang="0">
                <a:pos x="375" y="1"/>
              </a:cxn>
              <a:cxn ang="0">
                <a:pos x="331" y="6"/>
              </a:cxn>
              <a:cxn ang="0">
                <a:pos x="287" y="15"/>
              </a:cxn>
              <a:cxn ang="0">
                <a:pos x="245" y="28"/>
              </a:cxn>
              <a:cxn ang="0">
                <a:pos x="203" y="46"/>
              </a:cxn>
              <a:cxn ang="0">
                <a:pos x="163" y="66"/>
              </a:cxn>
              <a:cxn ang="0">
                <a:pos x="126" y="89"/>
              </a:cxn>
              <a:cxn ang="0">
                <a:pos x="91" y="116"/>
              </a:cxn>
              <a:cxn ang="0">
                <a:pos x="57" y="146"/>
              </a:cxn>
              <a:cxn ang="0">
                <a:pos x="27" y="179"/>
              </a:cxn>
              <a:cxn ang="0">
                <a:pos x="0" y="215"/>
              </a:cxn>
              <a:cxn ang="0">
                <a:pos x="45" y="224"/>
              </a:cxn>
              <a:cxn ang="0">
                <a:pos x="88" y="236"/>
              </a:cxn>
              <a:cxn ang="0">
                <a:pos x="132" y="253"/>
              </a:cxn>
              <a:cxn ang="0">
                <a:pos x="173" y="273"/>
              </a:cxn>
              <a:cxn ang="0">
                <a:pos x="212" y="296"/>
              </a:cxn>
              <a:cxn ang="0">
                <a:pos x="250" y="324"/>
              </a:cxn>
              <a:cxn ang="0">
                <a:pos x="284" y="353"/>
              </a:cxn>
              <a:cxn ang="0">
                <a:pos x="316" y="386"/>
              </a:cxn>
              <a:cxn ang="0">
                <a:pos x="346" y="421"/>
              </a:cxn>
              <a:cxn ang="0">
                <a:pos x="372" y="459"/>
              </a:cxn>
              <a:cxn ang="0">
                <a:pos x="395" y="499"/>
              </a:cxn>
              <a:cxn ang="0">
                <a:pos x="414" y="540"/>
              </a:cxn>
              <a:cxn ang="0">
                <a:pos x="452" y="643"/>
              </a:cxn>
              <a:cxn ang="0">
                <a:pos x="486" y="747"/>
              </a:cxn>
              <a:cxn ang="0">
                <a:pos x="516" y="853"/>
              </a:cxn>
              <a:cxn ang="0">
                <a:pos x="542" y="959"/>
              </a:cxn>
              <a:cxn ang="0">
                <a:pos x="565" y="1066"/>
              </a:cxn>
              <a:cxn ang="0">
                <a:pos x="583" y="1173"/>
              </a:cxn>
              <a:cxn ang="0">
                <a:pos x="599" y="1282"/>
              </a:cxn>
              <a:cxn ang="0">
                <a:pos x="419" y="1321"/>
              </a:cxn>
              <a:cxn ang="0">
                <a:pos x="977" y="1594"/>
              </a:cxn>
              <a:cxn ang="0">
                <a:pos x="1355" y="1164"/>
              </a:cxn>
              <a:cxn ang="0">
                <a:pos x="1175" y="1198"/>
              </a:cxn>
              <a:cxn ang="0">
                <a:pos x="1127" y="984"/>
              </a:cxn>
              <a:cxn ang="0">
                <a:pos x="1076" y="772"/>
              </a:cxn>
              <a:cxn ang="0">
                <a:pos x="1058" y="703"/>
              </a:cxn>
              <a:cxn ang="0">
                <a:pos x="1038" y="634"/>
              </a:cxn>
              <a:cxn ang="0">
                <a:pos x="1014" y="566"/>
              </a:cxn>
              <a:cxn ang="0">
                <a:pos x="988" y="499"/>
              </a:cxn>
              <a:cxn ang="0">
                <a:pos x="957" y="435"/>
              </a:cxn>
              <a:cxn ang="0">
                <a:pos x="924" y="371"/>
              </a:cxn>
              <a:cxn ang="0">
                <a:pos x="888" y="308"/>
              </a:cxn>
              <a:cxn ang="0">
                <a:pos x="849" y="249"/>
              </a:cxn>
              <a:cxn ang="0">
                <a:pos x="806" y="191"/>
              </a:cxn>
            </a:cxnLst>
            <a:rect l="0" t="0" r="r" b="b"/>
            <a:pathLst>
              <a:path w="1356" h="1595">
                <a:moveTo>
                  <a:pt x="806" y="191"/>
                </a:moveTo>
                <a:lnTo>
                  <a:pt x="777" y="157"/>
                </a:lnTo>
                <a:lnTo>
                  <a:pt x="746" y="126"/>
                </a:lnTo>
                <a:lnTo>
                  <a:pt x="711" y="98"/>
                </a:lnTo>
                <a:lnTo>
                  <a:pt x="674" y="74"/>
                </a:lnTo>
                <a:lnTo>
                  <a:pt x="635" y="51"/>
                </a:lnTo>
                <a:lnTo>
                  <a:pt x="594" y="33"/>
                </a:lnTo>
                <a:lnTo>
                  <a:pt x="551" y="19"/>
                </a:lnTo>
                <a:lnTo>
                  <a:pt x="508" y="9"/>
                </a:lnTo>
                <a:lnTo>
                  <a:pt x="465" y="2"/>
                </a:lnTo>
                <a:lnTo>
                  <a:pt x="419" y="0"/>
                </a:lnTo>
                <a:lnTo>
                  <a:pt x="375" y="1"/>
                </a:lnTo>
                <a:lnTo>
                  <a:pt x="331" y="6"/>
                </a:lnTo>
                <a:lnTo>
                  <a:pt x="287" y="15"/>
                </a:lnTo>
                <a:lnTo>
                  <a:pt x="245" y="28"/>
                </a:lnTo>
                <a:lnTo>
                  <a:pt x="203" y="46"/>
                </a:lnTo>
                <a:lnTo>
                  <a:pt x="163" y="66"/>
                </a:lnTo>
                <a:lnTo>
                  <a:pt x="126" y="89"/>
                </a:lnTo>
                <a:lnTo>
                  <a:pt x="91" y="116"/>
                </a:lnTo>
                <a:lnTo>
                  <a:pt x="57" y="146"/>
                </a:lnTo>
                <a:lnTo>
                  <a:pt x="27" y="179"/>
                </a:lnTo>
                <a:lnTo>
                  <a:pt x="0" y="215"/>
                </a:lnTo>
                <a:lnTo>
                  <a:pt x="45" y="224"/>
                </a:lnTo>
                <a:lnTo>
                  <a:pt x="88" y="236"/>
                </a:lnTo>
                <a:lnTo>
                  <a:pt x="132" y="253"/>
                </a:lnTo>
                <a:lnTo>
                  <a:pt x="173" y="273"/>
                </a:lnTo>
                <a:lnTo>
                  <a:pt x="212" y="296"/>
                </a:lnTo>
                <a:lnTo>
                  <a:pt x="250" y="324"/>
                </a:lnTo>
                <a:lnTo>
                  <a:pt x="284" y="353"/>
                </a:lnTo>
                <a:lnTo>
                  <a:pt x="316" y="386"/>
                </a:lnTo>
                <a:lnTo>
                  <a:pt x="346" y="421"/>
                </a:lnTo>
                <a:lnTo>
                  <a:pt x="372" y="459"/>
                </a:lnTo>
                <a:lnTo>
                  <a:pt x="395" y="499"/>
                </a:lnTo>
                <a:lnTo>
                  <a:pt x="414" y="540"/>
                </a:lnTo>
                <a:lnTo>
                  <a:pt x="452" y="643"/>
                </a:lnTo>
                <a:lnTo>
                  <a:pt x="486" y="747"/>
                </a:lnTo>
                <a:lnTo>
                  <a:pt x="516" y="853"/>
                </a:lnTo>
                <a:lnTo>
                  <a:pt x="542" y="959"/>
                </a:lnTo>
                <a:lnTo>
                  <a:pt x="565" y="1066"/>
                </a:lnTo>
                <a:lnTo>
                  <a:pt x="583" y="1173"/>
                </a:lnTo>
                <a:lnTo>
                  <a:pt x="599" y="1282"/>
                </a:lnTo>
                <a:lnTo>
                  <a:pt x="419" y="1321"/>
                </a:lnTo>
                <a:lnTo>
                  <a:pt x="977" y="1594"/>
                </a:lnTo>
                <a:lnTo>
                  <a:pt x="1355" y="1164"/>
                </a:lnTo>
                <a:lnTo>
                  <a:pt x="1175" y="1198"/>
                </a:lnTo>
                <a:lnTo>
                  <a:pt x="1127" y="984"/>
                </a:lnTo>
                <a:lnTo>
                  <a:pt x="1076" y="772"/>
                </a:lnTo>
                <a:lnTo>
                  <a:pt x="1058" y="703"/>
                </a:lnTo>
                <a:lnTo>
                  <a:pt x="1038" y="634"/>
                </a:lnTo>
                <a:lnTo>
                  <a:pt x="1014" y="566"/>
                </a:lnTo>
                <a:lnTo>
                  <a:pt x="988" y="499"/>
                </a:lnTo>
                <a:lnTo>
                  <a:pt x="957" y="435"/>
                </a:lnTo>
                <a:lnTo>
                  <a:pt x="924" y="371"/>
                </a:lnTo>
                <a:lnTo>
                  <a:pt x="888" y="308"/>
                </a:lnTo>
                <a:lnTo>
                  <a:pt x="849" y="249"/>
                </a:lnTo>
                <a:lnTo>
                  <a:pt x="806" y="191"/>
                </a:lnTo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05542" name="Freeform 6"/>
          <p:cNvSpPr>
            <a:spLocks/>
          </p:cNvSpPr>
          <p:nvPr/>
        </p:nvSpPr>
        <p:spPr bwMode="gray">
          <a:xfrm>
            <a:off x="4348689" y="1919051"/>
            <a:ext cx="2424506" cy="2655819"/>
          </a:xfrm>
          <a:custGeom>
            <a:avLst/>
            <a:gdLst/>
            <a:ahLst/>
            <a:cxnLst>
              <a:cxn ang="0">
                <a:pos x="1054" y="9"/>
              </a:cxn>
              <a:cxn ang="0">
                <a:pos x="964" y="0"/>
              </a:cxn>
              <a:cxn ang="0">
                <a:pos x="865" y="4"/>
              </a:cxn>
              <a:cxn ang="0">
                <a:pos x="761" y="20"/>
              </a:cxn>
              <a:cxn ang="0">
                <a:pos x="660" y="48"/>
              </a:cxn>
              <a:cxn ang="0">
                <a:pos x="562" y="89"/>
              </a:cxn>
              <a:cxn ang="0">
                <a:pos x="469" y="141"/>
              </a:cxn>
              <a:cxn ang="0">
                <a:pos x="375" y="217"/>
              </a:cxn>
              <a:cxn ang="0">
                <a:pos x="290" y="303"/>
              </a:cxn>
              <a:cxn ang="0">
                <a:pos x="214" y="398"/>
              </a:cxn>
              <a:cxn ang="0">
                <a:pos x="149" y="501"/>
              </a:cxn>
              <a:cxn ang="0">
                <a:pos x="93" y="638"/>
              </a:cxn>
              <a:cxn ang="0">
                <a:pos x="48" y="807"/>
              </a:cxn>
              <a:cxn ang="0">
                <a:pos x="17" y="979"/>
              </a:cxn>
              <a:cxn ang="0">
                <a:pos x="2" y="1153"/>
              </a:cxn>
              <a:cxn ang="0">
                <a:pos x="2" y="1328"/>
              </a:cxn>
              <a:cxn ang="0">
                <a:pos x="17" y="1502"/>
              </a:cxn>
              <a:cxn ang="0">
                <a:pos x="242" y="1391"/>
              </a:cxn>
              <a:cxn ang="0">
                <a:pos x="462" y="1269"/>
              </a:cxn>
              <a:cxn ang="0">
                <a:pos x="554" y="1140"/>
              </a:cxn>
              <a:cxn ang="0">
                <a:pos x="532" y="1011"/>
              </a:cxn>
              <a:cxn ang="0">
                <a:pos x="523" y="880"/>
              </a:cxn>
              <a:cxn ang="0">
                <a:pos x="530" y="749"/>
              </a:cxn>
              <a:cxn ang="0">
                <a:pos x="552" y="620"/>
              </a:cxn>
              <a:cxn ang="0">
                <a:pos x="588" y="494"/>
              </a:cxn>
              <a:cxn ang="0">
                <a:pos x="637" y="372"/>
              </a:cxn>
              <a:cxn ang="0">
                <a:pos x="690" y="287"/>
              </a:cxn>
              <a:cxn ang="0">
                <a:pos x="753" y="211"/>
              </a:cxn>
              <a:cxn ang="0">
                <a:pos x="828" y="144"/>
              </a:cxn>
              <a:cxn ang="0">
                <a:pos x="912" y="89"/>
              </a:cxn>
              <a:cxn ang="0">
                <a:pos x="1002" y="46"/>
              </a:cxn>
              <a:cxn ang="0">
                <a:pos x="1098" y="18"/>
              </a:cxn>
            </a:cxnLst>
            <a:rect l="0" t="0" r="r" b="b"/>
            <a:pathLst>
              <a:path w="1099" h="1503">
                <a:moveTo>
                  <a:pt x="1098" y="18"/>
                </a:moveTo>
                <a:lnTo>
                  <a:pt x="1054" y="9"/>
                </a:lnTo>
                <a:lnTo>
                  <a:pt x="1008" y="3"/>
                </a:lnTo>
                <a:lnTo>
                  <a:pt x="964" y="0"/>
                </a:lnTo>
                <a:lnTo>
                  <a:pt x="919" y="1"/>
                </a:lnTo>
                <a:lnTo>
                  <a:pt x="865" y="4"/>
                </a:lnTo>
                <a:lnTo>
                  <a:pt x="813" y="11"/>
                </a:lnTo>
                <a:lnTo>
                  <a:pt x="761" y="20"/>
                </a:lnTo>
                <a:lnTo>
                  <a:pt x="710" y="33"/>
                </a:lnTo>
                <a:lnTo>
                  <a:pt x="660" y="48"/>
                </a:lnTo>
                <a:lnTo>
                  <a:pt x="610" y="68"/>
                </a:lnTo>
                <a:lnTo>
                  <a:pt x="562" y="89"/>
                </a:lnTo>
                <a:lnTo>
                  <a:pt x="514" y="114"/>
                </a:lnTo>
                <a:lnTo>
                  <a:pt x="469" y="141"/>
                </a:lnTo>
                <a:lnTo>
                  <a:pt x="422" y="178"/>
                </a:lnTo>
                <a:lnTo>
                  <a:pt x="375" y="217"/>
                </a:lnTo>
                <a:lnTo>
                  <a:pt x="331" y="259"/>
                </a:lnTo>
                <a:lnTo>
                  <a:pt x="290" y="303"/>
                </a:lnTo>
                <a:lnTo>
                  <a:pt x="250" y="350"/>
                </a:lnTo>
                <a:lnTo>
                  <a:pt x="214" y="398"/>
                </a:lnTo>
                <a:lnTo>
                  <a:pt x="181" y="449"/>
                </a:lnTo>
                <a:lnTo>
                  <a:pt x="149" y="501"/>
                </a:lnTo>
                <a:lnTo>
                  <a:pt x="121" y="556"/>
                </a:lnTo>
                <a:lnTo>
                  <a:pt x="93" y="638"/>
                </a:lnTo>
                <a:lnTo>
                  <a:pt x="69" y="722"/>
                </a:lnTo>
                <a:lnTo>
                  <a:pt x="48" y="807"/>
                </a:lnTo>
                <a:lnTo>
                  <a:pt x="31" y="892"/>
                </a:lnTo>
                <a:lnTo>
                  <a:pt x="17" y="979"/>
                </a:lnTo>
                <a:lnTo>
                  <a:pt x="7" y="1066"/>
                </a:lnTo>
                <a:lnTo>
                  <a:pt x="2" y="1153"/>
                </a:lnTo>
                <a:lnTo>
                  <a:pt x="0" y="1240"/>
                </a:lnTo>
                <a:lnTo>
                  <a:pt x="2" y="1328"/>
                </a:lnTo>
                <a:lnTo>
                  <a:pt x="7" y="1414"/>
                </a:lnTo>
                <a:lnTo>
                  <a:pt x="17" y="1502"/>
                </a:lnTo>
                <a:lnTo>
                  <a:pt x="130" y="1447"/>
                </a:lnTo>
                <a:lnTo>
                  <a:pt x="242" y="1391"/>
                </a:lnTo>
                <a:lnTo>
                  <a:pt x="353" y="1331"/>
                </a:lnTo>
                <a:lnTo>
                  <a:pt x="462" y="1269"/>
                </a:lnTo>
                <a:lnTo>
                  <a:pt x="570" y="1204"/>
                </a:lnTo>
                <a:lnTo>
                  <a:pt x="554" y="1140"/>
                </a:lnTo>
                <a:lnTo>
                  <a:pt x="541" y="1077"/>
                </a:lnTo>
                <a:lnTo>
                  <a:pt x="532" y="1011"/>
                </a:lnTo>
                <a:lnTo>
                  <a:pt x="525" y="946"/>
                </a:lnTo>
                <a:lnTo>
                  <a:pt x="523" y="880"/>
                </a:lnTo>
                <a:lnTo>
                  <a:pt x="525" y="815"/>
                </a:lnTo>
                <a:lnTo>
                  <a:pt x="530" y="749"/>
                </a:lnTo>
                <a:lnTo>
                  <a:pt x="540" y="685"/>
                </a:lnTo>
                <a:lnTo>
                  <a:pt x="552" y="620"/>
                </a:lnTo>
                <a:lnTo>
                  <a:pt x="568" y="556"/>
                </a:lnTo>
                <a:lnTo>
                  <a:pt x="588" y="494"/>
                </a:lnTo>
                <a:lnTo>
                  <a:pt x="611" y="432"/>
                </a:lnTo>
                <a:lnTo>
                  <a:pt x="637" y="372"/>
                </a:lnTo>
                <a:lnTo>
                  <a:pt x="662" y="329"/>
                </a:lnTo>
                <a:lnTo>
                  <a:pt x="690" y="287"/>
                </a:lnTo>
                <a:lnTo>
                  <a:pt x="720" y="248"/>
                </a:lnTo>
                <a:lnTo>
                  <a:pt x="753" y="211"/>
                </a:lnTo>
                <a:lnTo>
                  <a:pt x="790" y="175"/>
                </a:lnTo>
                <a:lnTo>
                  <a:pt x="828" y="144"/>
                </a:lnTo>
                <a:lnTo>
                  <a:pt x="869" y="115"/>
                </a:lnTo>
                <a:lnTo>
                  <a:pt x="912" y="89"/>
                </a:lnTo>
                <a:lnTo>
                  <a:pt x="956" y="67"/>
                </a:lnTo>
                <a:lnTo>
                  <a:pt x="1002" y="46"/>
                </a:lnTo>
                <a:lnTo>
                  <a:pt x="1050" y="30"/>
                </a:lnTo>
                <a:lnTo>
                  <a:pt x="1098" y="18"/>
                </a:lnTo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05543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43918" y="4847305"/>
            <a:ext cx="140844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05545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14374" y="4020244"/>
            <a:ext cx="141186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05547" name="Freeform 11"/>
          <p:cNvSpPr>
            <a:spLocks/>
          </p:cNvSpPr>
          <p:nvPr/>
        </p:nvSpPr>
        <p:spPr bwMode="gray">
          <a:xfrm>
            <a:off x="4023137" y="2676387"/>
            <a:ext cx="2008142" cy="3060189"/>
          </a:xfrm>
          <a:custGeom>
            <a:avLst/>
            <a:gdLst/>
            <a:ahLst/>
            <a:cxnLst>
              <a:cxn ang="0">
                <a:pos x="844" y="1336"/>
              </a:cxn>
              <a:cxn ang="0">
                <a:pos x="832" y="1378"/>
              </a:cxn>
              <a:cxn ang="0">
                <a:pos x="817" y="1421"/>
              </a:cxn>
              <a:cxn ang="0">
                <a:pos x="799" y="1461"/>
              </a:cxn>
              <a:cxn ang="0">
                <a:pos x="775" y="1499"/>
              </a:cxn>
              <a:cxn ang="0">
                <a:pos x="750" y="1536"/>
              </a:cxn>
              <a:cxn ang="0">
                <a:pos x="721" y="1570"/>
              </a:cxn>
              <a:cxn ang="0">
                <a:pos x="690" y="1601"/>
              </a:cxn>
              <a:cxn ang="0">
                <a:pos x="655" y="1629"/>
              </a:cxn>
              <a:cxn ang="0">
                <a:pos x="618" y="1655"/>
              </a:cxn>
              <a:cxn ang="0">
                <a:pos x="580" y="1677"/>
              </a:cxn>
              <a:cxn ang="0">
                <a:pos x="538" y="1695"/>
              </a:cxn>
              <a:cxn ang="0">
                <a:pos x="497" y="1710"/>
              </a:cxn>
              <a:cxn ang="0">
                <a:pos x="454" y="1721"/>
              </a:cxn>
              <a:cxn ang="0">
                <a:pos x="409" y="1728"/>
              </a:cxn>
              <a:cxn ang="0">
                <a:pos x="365" y="1731"/>
              </a:cxn>
              <a:cxn ang="0">
                <a:pos x="321" y="1730"/>
              </a:cxn>
              <a:cxn ang="0">
                <a:pos x="276" y="1725"/>
              </a:cxn>
              <a:cxn ang="0">
                <a:pos x="232" y="1717"/>
              </a:cxn>
              <a:cxn ang="0">
                <a:pos x="190" y="1704"/>
              </a:cxn>
              <a:cxn ang="0">
                <a:pos x="148" y="1688"/>
              </a:cxn>
              <a:cxn ang="0">
                <a:pos x="108" y="1668"/>
              </a:cxn>
              <a:cxn ang="0">
                <a:pos x="144" y="1640"/>
              </a:cxn>
              <a:cxn ang="0">
                <a:pos x="179" y="1609"/>
              </a:cxn>
              <a:cxn ang="0">
                <a:pos x="210" y="1576"/>
              </a:cxn>
              <a:cxn ang="0">
                <a:pos x="238" y="1540"/>
              </a:cxn>
              <a:cxn ang="0">
                <a:pos x="263" y="1501"/>
              </a:cxn>
              <a:cxn ang="0">
                <a:pos x="285" y="1461"/>
              </a:cxn>
              <a:cxn ang="0">
                <a:pos x="303" y="1419"/>
              </a:cxn>
              <a:cxn ang="0">
                <a:pos x="318" y="1375"/>
              </a:cxn>
              <a:cxn ang="0">
                <a:pos x="329" y="1330"/>
              </a:cxn>
              <a:cxn ang="0">
                <a:pos x="336" y="1285"/>
              </a:cxn>
              <a:cxn ang="0">
                <a:pos x="339" y="1239"/>
              </a:cxn>
              <a:cxn ang="0">
                <a:pos x="338" y="1193"/>
              </a:cxn>
              <a:cxn ang="0">
                <a:pos x="327" y="1084"/>
              </a:cxn>
              <a:cxn ang="0">
                <a:pos x="311" y="976"/>
              </a:cxn>
              <a:cxn ang="0">
                <a:pos x="292" y="868"/>
              </a:cxn>
              <a:cxn ang="0">
                <a:pos x="269" y="761"/>
              </a:cxn>
              <a:cxn ang="0">
                <a:pos x="243" y="655"/>
              </a:cxn>
              <a:cxn ang="0">
                <a:pos x="213" y="550"/>
              </a:cxn>
              <a:cxn ang="0">
                <a:pos x="179" y="446"/>
              </a:cxn>
              <a:cxn ang="0">
                <a:pos x="0" y="490"/>
              </a:cxn>
              <a:cxn ang="0">
                <a:pos x="381" y="0"/>
              </a:cxn>
              <a:cxn ang="0">
                <a:pos x="909" y="220"/>
              </a:cxn>
              <a:cxn ang="0">
                <a:pos x="734" y="270"/>
              </a:cxn>
              <a:cxn ang="0">
                <a:pos x="776" y="444"/>
              </a:cxn>
              <a:cxn ang="0">
                <a:pos x="817" y="618"/>
              </a:cxn>
              <a:cxn ang="0">
                <a:pos x="854" y="794"/>
              </a:cxn>
              <a:cxn ang="0">
                <a:pos x="864" y="861"/>
              </a:cxn>
              <a:cxn ang="0">
                <a:pos x="870" y="929"/>
              </a:cxn>
              <a:cxn ang="0">
                <a:pos x="874" y="997"/>
              </a:cxn>
              <a:cxn ang="0">
                <a:pos x="874" y="1065"/>
              </a:cxn>
              <a:cxn ang="0">
                <a:pos x="871" y="1134"/>
              </a:cxn>
              <a:cxn ang="0">
                <a:pos x="865" y="1201"/>
              </a:cxn>
              <a:cxn ang="0">
                <a:pos x="856" y="1269"/>
              </a:cxn>
              <a:cxn ang="0">
                <a:pos x="844" y="1336"/>
              </a:cxn>
            </a:cxnLst>
            <a:rect l="0" t="0" r="r" b="b"/>
            <a:pathLst>
              <a:path w="910" h="1732">
                <a:moveTo>
                  <a:pt x="844" y="1336"/>
                </a:moveTo>
                <a:lnTo>
                  <a:pt x="832" y="1378"/>
                </a:lnTo>
                <a:lnTo>
                  <a:pt x="817" y="1421"/>
                </a:lnTo>
                <a:lnTo>
                  <a:pt x="799" y="1461"/>
                </a:lnTo>
                <a:lnTo>
                  <a:pt x="775" y="1499"/>
                </a:lnTo>
                <a:lnTo>
                  <a:pt x="750" y="1536"/>
                </a:lnTo>
                <a:lnTo>
                  <a:pt x="721" y="1570"/>
                </a:lnTo>
                <a:lnTo>
                  <a:pt x="690" y="1601"/>
                </a:lnTo>
                <a:lnTo>
                  <a:pt x="655" y="1629"/>
                </a:lnTo>
                <a:lnTo>
                  <a:pt x="618" y="1655"/>
                </a:lnTo>
                <a:lnTo>
                  <a:pt x="580" y="1677"/>
                </a:lnTo>
                <a:lnTo>
                  <a:pt x="538" y="1695"/>
                </a:lnTo>
                <a:lnTo>
                  <a:pt x="497" y="1710"/>
                </a:lnTo>
                <a:lnTo>
                  <a:pt x="454" y="1721"/>
                </a:lnTo>
                <a:lnTo>
                  <a:pt x="409" y="1728"/>
                </a:lnTo>
                <a:lnTo>
                  <a:pt x="365" y="1731"/>
                </a:lnTo>
                <a:lnTo>
                  <a:pt x="321" y="1730"/>
                </a:lnTo>
                <a:lnTo>
                  <a:pt x="276" y="1725"/>
                </a:lnTo>
                <a:lnTo>
                  <a:pt x="232" y="1717"/>
                </a:lnTo>
                <a:lnTo>
                  <a:pt x="190" y="1704"/>
                </a:lnTo>
                <a:lnTo>
                  <a:pt x="148" y="1688"/>
                </a:lnTo>
                <a:lnTo>
                  <a:pt x="108" y="1668"/>
                </a:lnTo>
                <a:lnTo>
                  <a:pt x="144" y="1640"/>
                </a:lnTo>
                <a:lnTo>
                  <a:pt x="179" y="1609"/>
                </a:lnTo>
                <a:lnTo>
                  <a:pt x="210" y="1576"/>
                </a:lnTo>
                <a:lnTo>
                  <a:pt x="238" y="1540"/>
                </a:lnTo>
                <a:lnTo>
                  <a:pt x="263" y="1501"/>
                </a:lnTo>
                <a:lnTo>
                  <a:pt x="285" y="1461"/>
                </a:lnTo>
                <a:lnTo>
                  <a:pt x="303" y="1419"/>
                </a:lnTo>
                <a:lnTo>
                  <a:pt x="318" y="1375"/>
                </a:lnTo>
                <a:lnTo>
                  <a:pt x="329" y="1330"/>
                </a:lnTo>
                <a:lnTo>
                  <a:pt x="336" y="1285"/>
                </a:lnTo>
                <a:lnTo>
                  <a:pt x="339" y="1239"/>
                </a:lnTo>
                <a:lnTo>
                  <a:pt x="338" y="1193"/>
                </a:lnTo>
                <a:lnTo>
                  <a:pt x="327" y="1084"/>
                </a:lnTo>
                <a:lnTo>
                  <a:pt x="311" y="976"/>
                </a:lnTo>
                <a:lnTo>
                  <a:pt x="292" y="868"/>
                </a:lnTo>
                <a:lnTo>
                  <a:pt x="269" y="761"/>
                </a:lnTo>
                <a:lnTo>
                  <a:pt x="243" y="655"/>
                </a:lnTo>
                <a:lnTo>
                  <a:pt x="213" y="550"/>
                </a:lnTo>
                <a:lnTo>
                  <a:pt x="179" y="446"/>
                </a:lnTo>
                <a:lnTo>
                  <a:pt x="0" y="490"/>
                </a:lnTo>
                <a:lnTo>
                  <a:pt x="381" y="0"/>
                </a:lnTo>
                <a:lnTo>
                  <a:pt x="909" y="220"/>
                </a:lnTo>
                <a:lnTo>
                  <a:pt x="734" y="270"/>
                </a:lnTo>
                <a:lnTo>
                  <a:pt x="776" y="444"/>
                </a:lnTo>
                <a:lnTo>
                  <a:pt x="817" y="618"/>
                </a:lnTo>
                <a:lnTo>
                  <a:pt x="854" y="794"/>
                </a:lnTo>
                <a:lnTo>
                  <a:pt x="864" y="861"/>
                </a:lnTo>
                <a:lnTo>
                  <a:pt x="870" y="929"/>
                </a:lnTo>
                <a:lnTo>
                  <a:pt x="874" y="997"/>
                </a:lnTo>
                <a:lnTo>
                  <a:pt x="874" y="1065"/>
                </a:lnTo>
                <a:lnTo>
                  <a:pt x="871" y="1134"/>
                </a:lnTo>
                <a:lnTo>
                  <a:pt x="865" y="1201"/>
                </a:lnTo>
                <a:lnTo>
                  <a:pt x="856" y="1269"/>
                </a:lnTo>
                <a:lnTo>
                  <a:pt x="844" y="1336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05548" name="Freeform 12"/>
          <p:cNvSpPr>
            <a:spLocks/>
          </p:cNvSpPr>
          <p:nvPr/>
        </p:nvSpPr>
        <p:spPr bwMode="gray">
          <a:xfrm>
            <a:off x="2381670" y="4470350"/>
            <a:ext cx="3139006" cy="1358752"/>
          </a:xfrm>
          <a:custGeom>
            <a:avLst/>
            <a:gdLst/>
            <a:ahLst/>
            <a:cxnLst>
              <a:cxn ang="0">
                <a:pos x="1422" y="596"/>
              </a:cxn>
              <a:cxn ang="0">
                <a:pos x="1386" y="624"/>
              </a:cxn>
              <a:cxn ang="0">
                <a:pos x="1348" y="649"/>
              </a:cxn>
              <a:cxn ang="0">
                <a:pos x="1309" y="671"/>
              </a:cxn>
              <a:cxn ang="0">
                <a:pos x="1267" y="690"/>
              </a:cxn>
              <a:cxn ang="0">
                <a:pos x="1219" y="710"/>
              </a:cxn>
              <a:cxn ang="0">
                <a:pos x="1168" y="727"/>
              </a:cxn>
              <a:cxn ang="0">
                <a:pos x="1118" y="741"/>
              </a:cxn>
              <a:cxn ang="0">
                <a:pos x="1067" y="753"/>
              </a:cxn>
              <a:cxn ang="0">
                <a:pos x="1014" y="761"/>
              </a:cxn>
              <a:cxn ang="0">
                <a:pos x="962" y="766"/>
              </a:cxn>
              <a:cxn ang="0">
                <a:pos x="908" y="768"/>
              </a:cxn>
              <a:cxn ang="0">
                <a:pos x="856" y="766"/>
              </a:cxn>
              <a:cxn ang="0">
                <a:pos x="804" y="762"/>
              </a:cxn>
              <a:cxn ang="0">
                <a:pos x="740" y="748"/>
              </a:cxn>
              <a:cxn ang="0">
                <a:pos x="677" y="733"/>
              </a:cxn>
              <a:cxn ang="0">
                <a:pos x="616" y="713"/>
              </a:cxn>
              <a:cxn ang="0">
                <a:pos x="556" y="690"/>
              </a:cxn>
              <a:cxn ang="0">
                <a:pos x="497" y="664"/>
              </a:cxn>
              <a:cxn ang="0">
                <a:pos x="441" y="634"/>
              </a:cxn>
              <a:cxn ang="0">
                <a:pos x="385" y="600"/>
              </a:cxn>
              <a:cxn ang="0">
                <a:pos x="332" y="564"/>
              </a:cxn>
              <a:cxn ang="0">
                <a:pos x="281" y="525"/>
              </a:cxn>
              <a:cxn ang="0">
                <a:pos x="233" y="482"/>
              </a:cxn>
              <a:cxn ang="0">
                <a:pos x="187" y="437"/>
              </a:cxn>
              <a:cxn ang="0">
                <a:pos x="143" y="390"/>
              </a:cxn>
              <a:cxn ang="0">
                <a:pos x="103" y="339"/>
              </a:cxn>
              <a:cxn ang="0">
                <a:pos x="66" y="287"/>
              </a:cxn>
              <a:cxn ang="0">
                <a:pos x="31" y="232"/>
              </a:cxn>
              <a:cxn ang="0">
                <a:pos x="0" y="176"/>
              </a:cxn>
              <a:cxn ang="0">
                <a:pos x="124" y="127"/>
              </a:cxn>
              <a:cxn ang="0">
                <a:pos x="248" y="81"/>
              </a:cxn>
              <a:cxn ang="0">
                <a:pos x="374" y="39"/>
              </a:cxn>
              <a:cxn ang="0">
                <a:pos x="501" y="0"/>
              </a:cxn>
              <a:cxn ang="0">
                <a:pos x="518" y="53"/>
              </a:cxn>
              <a:cxn ang="0">
                <a:pos x="539" y="104"/>
              </a:cxn>
              <a:cxn ang="0">
                <a:pos x="563" y="154"/>
              </a:cxn>
              <a:cxn ang="0">
                <a:pos x="590" y="202"/>
              </a:cxn>
              <a:cxn ang="0">
                <a:pos x="619" y="249"/>
              </a:cxn>
              <a:cxn ang="0">
                <a:pos x="652" y="293"/>
              </a:cxn>
              <a:cxn ang="0">
                <a:pos x="688" y="335"/>
              </a:cxn>
              <a:cxn ang="0">
                <a:pos x="725" y="375"/>
              </a:cxn>
              <a:cxn ang="0">
                <a:pos x="765" y="413"/>
              </a:cxn>
              <a:cxn ang="0">
                <a:pos x="808" y="447"/>
              </a:cxn>
              <a:cxn ang="0">
                <a:pos x="852" y="479"/>
              </a:cxn>
              <a:cxn ang="0">
                <a:pos x="893" y="508"/>
              </a:cxn>
              <a:cxn ang="0">
                <a:pos x="937" y="533"/>
              </a:cxn>
              <a:cxn ang="0">
                <a:pos x="982" y="555"/>
              </a:cxn>
              <a:cxn ang="0">
                <a:pos x="1028" y="574"/>
              </a:cxn>
              <a:cxn ang="0">
                <a:pos x="1076" y="589"/>
              </a:cxn>
              <a:cxn ang="0">
                <a:pos x="1124" y="601"/>
              </a:cxn>
              <a:cxn ang="0">
                <a:pos x="1174" y="609"/>
              </a:cxn>
              <a:cxn ang="0">
                <a:pos x="1223" y="614"/>
              </a:cxn>
              <a:cxn ang="0">
                <a:pos x="1273" y="614"/>
              </a:cxn>
              <a:cxn ang="0">
                <a:pos x="1323" y="612"/>
              </a:cxn>
              <a:cxn ang="0">
                <a:pos x="1373" y="606"/>
              </a:cxn>
              <a:cxn ang="0">
                <a:pos x="1422" y="596"/>
              </a:cxn>
            </a:cxnLst>
            <a:rect l="0" t="0" r="r" b="b"/>
            <a:pathLst>
              <a:path w="1423" h="769">
                <a:moveTo>
                  <a:pt x="1422" y="596"/>
                </a:moveTo>
                <a:lnTo>
                  <a:pt x="1386" y="624"/>
                </a:lnTo>
                <a:lnTo>
                  <a:pt x="1348" y="649"/>
                </a:lnTo>
                <a:lnTo>
                  <a:pt x="1309" y="671"/>
                </a:lnTo>
                <a:lnTo>
                  <a:pt x="1267" y="690"/>
                </a:lnTo>
                <a:lnTo>
                  <a:pt x="1219" y="710"/>
                </a:lnTo>
                <a:lnTo>
                  <a:pt x="1168" y="727"/>
                </a:lnTo>
                <a:lnTo>
                  <a:pt x="1118" y="741"/>
                </a:lnTo>
                <a:lnTo>
                  <a:pt x="1067" y="753"/>
                </a:lnTo>
                <a:lnTo>
                  <a:pt x="1014" y="761"/>
                </a:lnTo>
                <a:lnTo>
                  <a:pt x="962" y="766"/>
                </a:lnTo>
                <a:lnTo>
                  <a:pt x="908" y="768"/>
                </a:lnTo>
                <a:lnTo>
                  <a:pt x="856" y="766"/>
                </a:lnTo>
                <a:lnTo>
                  <a:pt x="804" y="762"/>
                </a:lnTo>
                <a:lnTo>
                  <a:pt x="740" y="748"/>
                </a:lnTo>
                <a:lnTo>
                  <a:pt x="677" y="733"/>
                </a:lnTo>
                <a:lnTo>
                  <a:pt x="616" y="713"/>
                </a:lnTo>
                <a:lnTo>
                  <a:pt x="556" y="690"/>
                </a:lnTo>
                <a:lnTo>
                  <a:pt x="497" y="664"/>
                </a:lnTo>
                <a:lnTo>
                  <a:pt x="441" y="634"/>
                </a:lnTo>
                <a:lnTo>
                  <a:pt x="385" y="600"/>
                </a:lnTo>
                <a:lnTo>
                  <a:pt x="332" y="564"/>
                </a:lnTo>
                <a:lnTo>
                  <a:pt x="281" y="525"/>
                </a:lnTo>
                <a:lnTo>
                  <a:pt x="233" y="482"/>
                </a:lnTo>
                <a:lnTo>
                  <a:pt x="187" y="437"/>
                </a:lnTo>
                <a:lnTo>
                  <a:pt x="143" y="390"/>
                </a:lnTo>
                <a:lnTo>
                  <a:pt x="103" y="339"/>
                </a:lnTo>
                <a:lnTo>
                  <a:pt x="66" y="287"/>
                </a:lnTo>
                <a:lnTo>
                  <a:pt x="31" y="232"/>
                </a:lnTo>
                <a:lnTo>
                  <a:pt x="0" y="176"/>
                </a:lnTo>
                <a:lnTo>
                  <a:pt x="124" y="127"/>
                </a:lnTo>
                <a:lnTo>
                  <a:pt x="248" y="81"/>
                </a:lnTo>
                <a:lnTo>
                  <a:pt x="374" y="39"/>
                </a:lnTo>
                <a:lnTo>
                  <a:pt x="501" y="0"/>
                </a:lnTo>
                <a:lnTo>
                  <a:pt x="518" y="53"/>
                </a:lnTo>
                <a:lnTo>
                  <a:pt x="539" y="104"/>
                </a:lnTo>
                <a:lnTo>
                  <a:pt x="563" y="154"/>
                </a:lnTo>
                <a:lnTo>
                  <a:pt x="590" y="202"/>
                </a:lnTo>
                <a:lnTo>
                  <a:pt x="619" y="249"/>
                </a:lnTo>
                <a:lnTo>
                  <a:pt x="652" y="293"/>
                </a:lnTo>
                <a:lnTo>
                  <a:pt x="688" y="335"/>
                </a:lnTo>
                <a:lnTo>
                  <a:pt x="725" y="375"/>
                </a:lnTo>
                <a:lnTo>
                  <a:pt x="765" y="413"/>
                </a:lnTo>
                <a:lnTo>
                  <a:pt x="808" y="447"/>
                </a:lnTo>
                <a:lnTo>
                  <a:pt x="852" y="479"/>
                </a:lnTo>
                <a:lnTo>
                  <a:pt x="893" y="508"/>
                </a:lnTo>
                <a:lnTo>
                  <a:pt x="937" y="533"/>
                </a:lnTo>
                <a:lnTo>
                  <a:pt x="982" y="555"/>
                </a:lnTo>
                <a:lnTo>
                  <a:pt x="1028" y="574"/>
                </a:lnTo>
                <a:lnTo>
                  <a:pt x="1076" y="589"/>
                </a:lnTo>
                <a:lnTo>
                  <a:pt x="1124" y="601"/>
                </a:lnTo>
                <a:lnTo>
                  <a:pt x="1174" y="609"/>
                </a:lnTo>
                <a:lnTo>
                  <a:pt x="1223" y="614"/>
                </a:lnTo>
                <a:lnTo>
                  <a:pt x="1273" y="614"/>
                </a:lnTo>
                <a:lnTo>
                  <a:pt x="1323" y="612"/>
                </a:lnTo>
                <a:lnTo>
                  <a:pt x="1373" y="606"/>
                </a:lnTo>
                <a:lnTo>
                  <a:pt x="1422" y="596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9777013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587" name="Freeform 3"/>
          <p:cNvSpPr>
            <a:spLocks/>
          </p:cNvSpPr>
          <p:nvPr/>
        </p:nvSpPr>
        <p:spPr bwMode="gray">
          <a:xfrm>
            <a:off x="6418515" y="1610633"/>
            <a:ext cx="1341617" cy="332270"/>
          </a:xfrm>
          <a:custGeom>
            <a:avLst/>
            <a:gdLst/>
            <a:ahLst/>
            <a:cxnLst>
              <a:cxn ang="0">
                <a:pos x="0" y="224"/>
              </a:cxn>
              <a:cxn ang="0">
                <a:pos x="247" y="88"/>
              </a:cxn>
              <a:cxn ang="0">
                <a:pos x="223" y="0"/>
              </a:cxn>
              <a:cxn ang="0">
                <a:pos x="431" y="120"/>
              </a:cxn>
              <a:cxn ang="0">
                <a:pos x="399" y="351"/>
              </a:cxn>
              <a:cxn ang="0">
                <a:pos x="351" y="264"/>
              </a:cxn>
              <a:cxn ang="0">
                <a:pos x="0" y="439"/>
              </a:cxn>
            </a:cxnLst>
            <a:rect l="0" t="0" r="r" b="b"/>
            <a:pathLst>
              <a:path w="432" h="440">
                <a:moveTo>
                  <a:pt x="0" y="224"/>
                </a:moveTo>
                <a:lnTo>
                  <a:pt x="247" y="88"/>
                </a:lnTo>
                <a:lnTo>
                  <a:pt x="223" y="0"/>
                </a:lnTo>
                <a:lnTo>
                  <a:pt x="431" y="120"/>
                </a:lnTo>
                <a:lnTo>
                  <a:pt x="399" y="351"/>
                </a:lnTo>
                <a:lnTo>
                  <a:pt x="351" y="264"/>
                </a:lnTo>
                <a:lnTo>
                  <a:pt x="0" y="439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0758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89111" y="1882806"/>
            <a:ext cx="201328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07589" name="Freeform 5"/>
          <p:cNvSpPr>
            <a:spLocks/>
          </p:cNvSpPr>
          <p:nvPr/>
        </p:nvSpPr>
        <p:spPr bwMode="gray">
          <a:xfrm>
            <a:off x="3723287" y="1429009"/>
            <a:ext cx="2700368" cy="332270"/>
          </a:xfrm>
          <a:custGeom>
            <a:avLst/>
            <a:gdLst/>
            <a:ahLst/>
            <a:cxnLst>
              <a:cxn ang="0">
                <a:pos x="0" y="468"/>
              </a:cxn>
              <a:cxn ang="0">
                <a:pos x="1576" y="0"/>
              </a:cxn>
              <a:cxn ang="0">
                <a:pos x="1576" y="2853"/>
              </a:cxn>
              <a:cxn ang="0">
                <a:pos x="0" y="2436"/>
              </a:cxn>
              <a:cxn ang="0">
                <a:pos x="0" y="468"/>
              </a:cxn>
            </a:cxnLst>
            <a:rect l="0" t="0" r="r" b="b"/>
            <a:pathLst>
              <a:path w="1576" h="2853">
                <a:moveTo>
                  <a:pt x="0" y="468"/>
                </a:moveTo>
                <a:lnTo>
                  <a:pt x="1576" y="0"/>
                </a:lnTo>
                <a:lnTo>
                  <a:pt x="1576" y="2853"/>
                </a:lnTo>
                <a:lnTo>
                  <a:pt x="0" y="2436"/>
                </a:lnTo>
                <a:lnTo>
                  <a:pt x="0" y="46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07591" name="Freeform 7"/>
          <p:cNvSpPr>
            <a:spLocks/>
          </p:cNvSpPr>
          <p:nvPr/>
        </p:nvSpPr>
        <p:spPr bwMode="gray">
          <a:xfrm>
            <a:off x="2929968" y="3282942"/>
            <a:ext cx="2260017" cy="332270"/>
          </a:xfrm>
          <a:custGeom>
            <a:avLst/>
            <a:gdLst/>
            <a:ahLst/>
            <a:cxnLst>
              <a:cxn ang="0">
                <a:pos x="0" y="384"/>
              </a:cxn>
              <a:cxn ang="0">
                <a:pos x="727" y="0"/>
              </a:cxn>
              <a:cxn ang="0">
                <a:pos x="727" y="224"/>
              </a:cxn>
              <a:cxn ang="0">
                <a:pos x="96" y="551"/>
              </a:cxn>
              <a:cxn ang="0">
                <a:pos x="0" y="384"/>
              </a:cxn>
            </a:cxnLst>
            <a:rect l="0" t="0" r="r" b="b"/>
            <a:pathLst>
              <a:path w="728" h="552">
                <a:moveTo>
                  <a:pt x="0" y="384"/>
                </a:moveTo>
                <a:lnTo>
                  <a:pt x="727" y="0"/>
                </a:lnTo>
                <a:lnTo>
                  <a:pt x="727" y="224"/>
                </a:lnTo>
                <a:lnTo>
                  <a:pt x="96" y="551"/>
                </a:lnTo>
                <a:lnTo>
                  <a:pt x="0" y="384"/>
                </a:lnTo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0759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9420" y="4978977"/>
            <a:ext cx="201328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07593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4</a:t>
            </a:r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31427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827" name="Freeform 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788179" y="1812818"/>
            <a:ext cx="5191697" cy="4125943"/>
          </a:xfrm>
          <a:custGeom>
            <a:avLst/>
            <a:gdLst/>
            <a:ahLst/>
            <a:cxnLst>
              <a:cxn ang="0">
                <a:pos x="2602" y="2408"/>
              </a:cxn>
              <a:cxn ang="0">
                <a:pos x="0" y="2408"/>
              </a:cxn>
              <a:cxn ang="0">
                <a:pos x="0" y="0"/>
              </a:cxn>
              <a:cxn ang="0">
                <a:pos x="2602" y="1"/>
              </a:cxn>
              <a:cxn ang="0">
                <a:pos x="2602" y="524"/>
              </a:cxn>
              <a:cxn ang="0">
                <a:pos x="2875" y="524"/>
              </a:cxn>
              <a:cxn ang="0">
                <a:pos x="2875" y="410"/>
              </a:cxn>
              <a:cxn ang="0">
                <a:pos x="3030" y="703"/>
              </a:cxn>
              <a:cxn ang="0">
                <a:pos x="2874" y="998"/>
              </a:cxn>
              <a:cxn ang="0">
                <a:pos x="2874" y="876"/>
              </a:cxn>
              <a:cxn ang="0">
                <a:pos x="2602" y="876"/>
              </a:cxn>
              <a:cxn ang="0">
                <a:pos x="2602" y="1491"/>
              </a:cxn>
              <a:cxn ang="0">
                <a:pos x="2478" y="1491"/>
              </a:cxn>
              <a:cxn ang="0">
                <a:pos x="2478" y="1360"/>
              </a:cxn>
              <a:cxn ang="0">
                <a:pos x="2443" y="1358"/>
              </a:cxn>
              <a:cxn ang="0">
                <a:pos x="2251" y="1705"/>
              </a:cxn>
              <a:cxn ang="0">
                <a:pos x="2439" y="2049"/>
              </a:cxn>
              <a:cxn ang="0">
                <a:pos x="2482" y="2048"/>
              </a:cxn>
              <a:cxn ang="0">
                <a:pos x="2482" y="1916"/>
              </a:cxn>
              <a:cxn ang="0">
                <a:pos x="2602" y="1916"/>
              </a:cxn>
              <a:cxn ang="0">
                <a:pos x="2602" y="2408"/>
              </a:cxn>
            </a:cxnLst>
            <a:rect l="0" t="0" r="r" b="b"/>
            <a:pathLst>
              <a:path w="3030" h="2408">
                <a:moveTo>
                  <a:pt x="2602" y="2408"/>
                </a:moveTo>
                <a:lnTo>
                  <a:pt x="0" y="2408"/>
                </a:lnTo>
                <a:lnTo>
                  <a:pt x="0" y="0"/>
                </a:lnTo>
                <a:lnTo>
                  <a:pt x="2602" y="1"/>
                </a:lnTo>
                <a:lnTo>
                  <a:pt x="2602" y="524"/>
                </a:lnTo>
                <a:lnTo>
                  <a:pt x="2875" y="524"/>
                </a:lnTo>
                <a:lnTo>
                  <a:pt x="2875" y="410"/>
                </a:lnTo>
                <a:lnTo>
                  <a:pt x="3030" y="703"/>
                </a:lnTo>
                <a:lnTo>
                  <a:pt x="2874" y="998"/>
                </a:lnTo>
                <a:lnTo>
                  <a:pt x="2874" y="876"/>
                </a:lnTo>
                <a:lnTo>
                  <a:pt x="2602" y="876"/>
                </a:lnTo>
                <a:lnTo>
                  <a:pt x="2602" y="1491"/>
                </a:lnTo>
                <a:lnTo>
                  <a:pt x="2478" y="1491"/>
                </a:lnTo>
                <a:lnTo>
                  <a:pt x="2478" y="1360"/>
                </a:lnTo>
                <a:lnTo>
                  <a:pt x="2443" y="1358"/>
                </a:lnTo>
                <a:lnTo>
                  <a:pt x="2251" y="1705"/>
                </a:lnTo>
                <a:lnTo>
                  <a:pt x="2439" y="2049"/>
                </a:lnTo>
                <a:lnTo>
                  <a:pt x="2482" y="2048"/>
                </a:lnTo>
                <a:lnTo>
                  <a:pt x="2482" y="1916"/>
                </a:lnTo>
                <a:lnTo>
                  <a:pt x="2602" y="1916"/>
                </a:lnTo>
                <a:lnTo>
                  <a:pt x="2602" y="2408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17828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37247" y="1946465"/>
            <a:ext cx="4125943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>
                <a:solidFill>
                  <a:schemeClr val="accent1"/>
                </a:solidFill>
              </a:rPr>
              <a:t>Texto</a:t>
            </a:r>
            <a:endParaRPr lang="pt-BR" sz="1511" b="1" dirty="0">
              <a:solidFill>
                <a:schemeClr val="accent1"/>
              </a:solidFill>
            </a:endParaRPr>
          </a:p>
        </p:txBody>
      </p:sp>
      <p:sp>
        <p:nvSpPr>
          <p:cNvPr id="717830" name="Freeform 6"/>
          <p:cNvSpPr>
            <a:spLocks/>
          </p:cNvSpPr>
          <p:nvPr>
            <p:custDataLst>
              <p:tags r:id="rId3"/>
            </p:custDataLst>
          </p:nvPr>
        </p:nvSpPr>
        <p:spPr bwMode="gray">
          <a:xfrm rot="10800000">
            <a:off x="4711937" y="1809391"/>
            <a:ext cx="5191697" cy="4129370"/>
          </a:xfrm>
          <a:custGeom>
            <a:avLst/>
            <a:gdLst/>
            <a:ahLst/>
            <a:cxnLst>
              <a:cxn ang="0">
                <a:pos x="1950" y="2061"/>
              </a:cxn>
              <a:cxn ang="0">
                <a:pos x="0" y="2061"/>
              </a:cxn>
              <a:cxn ang="0">
                <a:pos x="0" y="2"/>
              </a:cxn>
              <a:cxn ang="0">
                <a:pos x="1950" y="0"/>
              </a:cxn>
              <a:cxn ang="0">
                <a:pos x="1950" y="450"/>
              </a:cxn>
              <a:cxn ang="0">
                <a:pos x="2155" y="450"/>
              </a:cxn>
              <a:cxn ang="0">
                <a:pos x="2155" y="352"/>
              </a:cxn>
              <a:cxn ang="0">
                <a:pos x="2271" y="603"/>
              </a:cxn>
              <a:cxn ang="0">
                <a:pos x="2154" y="855"/>
              </a:cxn>
              <a:cxn ang="0">
                <a:pos x="2154" y="751"/>
              </a:cxn>
              <a:cxn ang="0">
                <a:pos x="1950" y="751"/>
              </a:cxn>
              <a:cxn ang="0">
                <a:pos x="1950" y="1277"/>
              </a:cxn>
              <a:cxn ang="0">
                <a:pos x="1857" y="1277"/>
              </a:cxn>
              <a:cxn ang="0">
                <a:pos x="1857" y="1165"/>
              </a:cxn>
              <a:cxn ang="0">
                <a:pos x="1831" y="1163"/>
              </a:cxn>
              <a:cxn ang="0">
                <a:pos x="1687" y="1460"/>
              </a:cxn>
              <a:cxn ang="0">
                <a:pos x="1828" y="1754"/>
              </a:cxn>
              <a:cxn ang="0">
                <a:pos x="1860" y="1753"/>
              </a:cxn>
              <a:cxn ang="0">
                <a:pos x="1860" y="1640"/>
              </a:cxn>
              <a:cxn ang="0">
                <a:pos x="1950" y="1640"/>
              </a:cxn>
              <a:cxn ang="0">
                <a:pos x="1950" y="2061"/>
              </a:cxn>
            </a:cxnLst>
            <a:rect l="0" t="0" r="r" b="b"/>
            <a:pathLst>
              <a:path w="2271" h="2061">
                <a:moveTo>
                  <a:pt x="1950" y="2061"/>
                </a:moveTo>
                <a:lnTo>
                  <a:pt x="0" y="2061"/>
                </a:lnTo>
                <a:lnTo>
                  <a:pt x="0" y="2"/>
                </a:lnTo>
                <a:lnTo>
                  <a:pt x="1950" y="0"/>
                </a:lnTo>
                <a:lnTo>
                  <a:pt x="1950" y="450"/>
                </a:lnTo>
                <a:lnTo>
                  <a:pt x="2155" y="450"/>
                </a:lnTo>
                <a:lnTo>
                  <a:pt x="2155" y="352"/>
                </a:lnTo>
                <a:lnTo>
                  <a:pt x="2271" y="603"/>
                </a:lnTo>
                <a:lnTo>
                  <a:pt x="2154" y="855"/>
                </a:lnTo>
                <a:lnTo>
                  <a:pt x="2154" y="751"/>
                </a:lnTo>
                <a:lnTo>
                  <a:pt x="1950" y="751"/>
                </a:lnTo>
                <a:lnTo>
                  <a:pt x="1950" y="1277"/>
                </a:lnTo>
                <a:lnTo>
                  <a:pt x="1857" y="1277"/>
                </a:lnTo>
                <a:lnTo>
                  <a:pt x="1857" y="1165"/>
                </a:lnTo>
                <a:lnTo>
                  <a:pt x="1831" y="1163"/>
                </a:lnTo>
                <a:lnTo>
                  <a:pt x="1687" y="1460"/>
                </a:lnTo>
                <a:lnTo>
                  <a:pt x="1828" y="1754"/>
                </a:lnTo>
                <a:lnTo>
                  <a:pt x="1860" y="1753"/>
                </a:lnTo>
                <a:lnTo>
                  <a:pt x="1860" y="1640"/>
                </a:lnTo>
                <a:lnTo>
                  <a:pt x="1950" y="1640"/>
                </a:lnTo>
                <a:lnTo>
                  <a:pt x="1950" y="2061"/>
                </a:lnTo>
                <a:close/>
              </a:path>
            </a:pathLst>
          </a:custGeom>
          <a:solidFill>
            <a:srgbClr val="C9D1D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17831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267048" y="1946465"/>
            <a:ext cx="347552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>
                <a:solidFill>
                  <a:schemeClr val="accent1"/>
                </a:solidFill>
              </a:rPr>
              <a:t>Texto</a:t>
            </a:r>
            <a:endParaRPr lang="pt-BR" sz="1511" b="1" dirty="0">
              <a:solidFill>
                <a:schemeClr val="accent1"/>
              </a:solidFill>
            </a:endParaRPr>
          </a:p>
        </p:txBody>
      </p:sp>
      <p:sp>
        <p:nvSpPr>
          <p:cNvPr id="717832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9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37247" y="2222808"/>
            <a:ext cx="412594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040" indent="-197040" defTabSz="1158251">
              <a:spcBef>
                <a:spcPct val="2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11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67048" y="2222808"/>
            <a:ext cx="347552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040" indent="-197040" defTabSz="1158251">
              <a:spcBef>
                <a:spcPct val="2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3660713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875" name="Freeform 3"/>
          <p:cNvSpPr>
            <a:spLocks/>
          </p:cNvSpPr>
          <p:nvPr>
            <p:custDataLst>
              <p:tags r:id="rId1"/>
            </p:custDataLst>
          </p:nvPr>
        </p:nvSpPr>
        <p:spPr bwMode="gray">
          <a:xfrm flipH="1" flipV="1">
            <a:off x="574000" y="1752849"/>
            <a:ext cx="9548953" cy="2695227"/>
          </a:xfrm>
          <a:custGeom>
            <a:avLst/>
            <a:gdLst/>
            <a:ahLst/>
            <a:cxnLst>
              <a:cxn ang="0">
                <a:pos x="4196" y="392"/>
              </a:cxn>
              <a:cxn ang="0">
                <a:pos x="4196" y="1647"/>
              </a:cxn>
              <a:cxn ang="0">
                <a:pos x="4" y="1647"/>
              </a:cxn>
              <a:cxn ang="0">
                <a:pos x="0" y="392"/>
              </a:cxn>
              <a:cxn ang="0">
                <a:pos x="1129" y="391"/>
              </a:cxn>
              <a:cxn ang="0">
                <a:pos x="1129" y="142"/>
              </a:cxn>
              <a:cxn ang="0">
                <a:pos x="1018" y="142"/>
              </a:cxn>
              <a:cxn ang="0">
                <a:pos x="1304" y="0"/>
              </a:cxn>
              <a:cxn ang="0">
                <a:pos x="1585" y="141"/>
              </a:cxn>
              <a:cxn ang="0">
                <a:pos x="1480" y="141"/>
              </a:cxn>
              <a:cxn ang="0">
                <a:pos x="1480" y="393"/>
              </a:cxn>
              <a:cxn ang="0">
                <a:pos x="2687" y="391"/>
              </a:cxn>
              <a:cxn ang="0">
                <a:pos x="2687" y="531"/>
              </a:cxn>
              <a:cxn ang="0">
                <a:pos x="2566" y="532"/>
              </a:cxn>
              <a:cxn ang="0">
                <a:pos x="2566" y="577"/>
              </a:cxn>
              <a:cxn ang="0">
                <a:pos x="2894" y="747"/>
              </a:cxn>
              <a:cxn ang="0">
                <a:pos x="3233" y="573"/>
              </a:cxn>
              <a:cxn ang="0">
                <a:pos x="3233" y="531"/>
              </a:cxn>
              <a:cxn ang="0">
                <a:pos x="3101" y="531"/>
              </a:cxn>
              <a:cxn ang="0">
                <a:pos x="3101" y="391"/>
              </a:cxn>
              <a:cxn ang="0">
                <a:pos x="4196" y="392"/>
              </a:cxn>
            </a:cxnLst>
            <a:rect l="0" t="0" r="r" b="b"/>
            <a:pathLst>
              <a:path w="4196" h="1647">
                <a:moveTo>
                  <a:pt x="4196" y="392"/>
                </a:moveTo>
                <a:lnTo>
                  <a:pt x="4196" y="1647"/>
                </a:lnTo>
                <a:lnTo>
                  <a:pt x="4" y="1647"/>
                </a:lnTo>
                <a:lnTo>
                  <a:pt x="0" y="392"/>
                </a:lnTo>
                <a:lnTo>
                  <a:pt x="1129" y="391"/>
                </a:lnTo>
                <a:lnTo>
                  <a:pt x="1129" y="142"/>
                </a:lnTo>
                <a:lnTo>
                  <a:pt x="1018" y="142"/>
                </a:lnTo>
                <a:lnTo>
                  <a:pt x="1304" y="0"/>
                </a:lnTo>
                <a:lnTo>
                  <a:pt x="1585" y="141"/>
                </a:lnTo>
                <a:lnTo>
                  <a:pt x="1480" y="141"/>
                </a:lnTo>
                <a:lnTo>
                  <a:pt x="1480" y="393"/>
                </a:lnTo>
                <a:lnTo>
                  <a:pt x="2687" y="391"/>
                </a:lnTo>
                <a:lnTo>
                  <a:pt x="2687" y="531"/>
                </a:lnTo>
                <a:lnTo>
                  <a:pt x="2566" y="532"/>
                </a:lnTo>
                <a:lnTo>
                  <a:pt x="2566" y="577"/>
                </a:lnTo>
                <a:lnTo>
                  <a:pt x="2894" y="747"/>
                </a:lnTo>
                <a:lnTo>
                  <a:pt x="3233" y="573"/>
                </a:lnTo>
                <a:lnTo>
                  <a:pt x="3233" y="531"/>
                </a:lnTo>
                <a:lnTo>
                  <a:pt x="3101" y="531"/>
                </a:lnTo>
                <a:lnTo>
                  <a:pt x="3101" y="391"/>
                </a:lnTo>
                <a:lnTo>
                  <a:pt x="4196" y="392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19878" name="Freeform 6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68859" y="3300076"/>
            <a:ext cx="9548954" cy="2695228"/>
          </a:xfrm>
          <a:custGeom>
            <a:avLst/>
            <a:gdLst/>
            <a:ahLst/>
            <a:cxnLst>
              <a:cxn ang="0">
                <a:pos x="4196" y="392"/>
              </a:cxn>
              <a:cxn ang="0">
                <a:pos x="4196" y="1647"/>
              </a:cxn>
              <a:cxn ang="0">
                <a:pos x="4" y="1647"/>
              </a:cxn>
              <a:cxn ang="0">
                <a:pos x="0" y="392"/>
              </a:cxn>
              <a:cxn ang="0">
                <a:pos x="1129" y="391"/>
              </a:cxn>
              <a:cxn ang="0">
                <a:pos x="1129" y="142"/>
              </a:cxn>
              <a:cxn ang="0">
                <a:pos x="1018" y="142"/>
              </a:cxn>
              <a:cxn ang="0">
                <a:pos x="1304" y="0"/>
              </a:cxn>
              <a:cxn ang="0">
                <a:pos x="1585" y="141"/>
              </a:cxn>
              <a:cxn ang="0">
                <a:pos x="1480" y="141"/>
              </a:cxn>
              <a:cxn ang="0">
                <a:pos x="1480" y="393"/>
              </a:cxn>
              <a:cxn ang="0">
                <a:pos x="2687" y="391"/>
              </a:cxn>
              <a:cxn ang="0">
                <a:pos x="2687" y="531"/>
              </a:cxn>
              <a:cxn ang="0">
                <a:pos x="2566" y="532"/>
              </a:cxn>
              <a:cxn ang="0">
                <a:pos x="2566" y="577"/>
              </a:cxn>
              <a:cxn ang="0">
                <a:pos x="2894" y="747"/>
              </a:cxn>
              <a:cxn ang="0">
                <a:pos x="3233" y="573"/>
              </a:cxn>
              <a:cxn ang="0">
                <a:pos x="3233" y="531"/>
              </a:cxn>
              <a:cxn ang="0">
                <a:pos x="3101" y="531"/>
              </a:cxn>
              <a:cxn ang="0">
                <a:pos x="3101" y="391"/>
              </a:cxn>
              <a:cxn ang="0">
                <a:pos x="4196" y="392"/>
              </a:cxn>
            </a:cxnLst>
            <a:rect l="0" t="0" r="r" b="b"/>
            <a:pathLst>
              <a:path w="4196" h="1647">
                <a:moveTo>
                  <a:pt x="4196" y="392"/>
                </a:moveTo>
                <a:lnTo>
                  <a:pt x="4196" y="1647"/>
                </a:lnTo>
                <a:lnTo>
                  <a:pt x="4" y="1647"/>
                </a:lnTo>
                <a:lnTo>
                  <a:pt x="0" y="392"/>
                </a:lnTo>
                <a:lnTo>
                  <a:pt x="1129" y="391"/>
                </a:lnTo>
                <a:lnTo>
                  <a:pt x="1129" y="142"/>
                </a:lnTo>
                <a:lnTo>
                  <a:pt x="1018" y="142"/>
                </a:lnTo>
                <a:lnTo>
                  <a:pt x="1304" y="0"/>
                </a:lnTo>
                <a:lnTo>
                  <a:pt x="1585" y="141"/>
                </a:lnTo>
                <a:lnTo>
                  <a:pt x="1480" y="141"/>
                </a:lnTo>
                <a:lnTo>
                  <a:pt x="1480" y="393"/>
                </a:lnTo>
                <a:lnTo>
                  <a:pt x="2687" y="391"/>
                </a:lnTo>
                <a:lnTo>
                  <a:pt x="2687" y="531"/>
                </a:lnTo>
                <a:lnTo>
                  <a:pt x="2566" y="532"/>
                </a:lnTo>
                <a:lnTo>
                  <a:pt x="2566" y="577"/>
                </a:lnTo>
                <a:lnTo>
                  <a:pt x="2894" y="747"/>
                </a:lnTo>
                <a:lnTo>
                  <a:pt x="3233" y="573"/>
                </a:lnTo>
                <a:lnTo>
                  <a:pt x="3233" y="531"/>
                </a:lnTo>
                <a:lnTo>
                  <a:pt x="3101" y="531"/>
                </a:lnTo>
                <a:lnTo>
                  <a:pt x="3101" y="391"/>
                </a:lnTo>
                <a:lnTo>
                  <a:pt x="4196" y="392"/>
                </a:lnTo>
                <a:close/>
              </a:path>
            </a:pathLst>
          </a:custGeom>
          <a:solidFill>
            <a:srgbClr val="C9D1D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19880" name="Rectangle 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0</a:t>
            </a:r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12" name="Grupo 11"/>
          <p:cNvGrpSpPr/>
          <p:nvPr/>
        </p:nvGrpSpPr>
        <p:grpSpPr>
          <a:xfrm>
            <a:off x="778790" y="1946466"/>
            <a:ext cx="9139374" cy="475627"/>
            <a:chOff x="868363" y="1730375"/>
            <a:chExt cx="3822700" cy="440670"/>
          </a:xfrm>
        </p:grpSpPr>
        <p:sp>
          <p:nvSpPr>
            <p:cNvPr id="10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1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778790" y="4137465"/>
            <a:ext cx="9139374" cy="475627"/>
            <a:chOff x="868363" y="1730375"/>
            <a:chExt cx="3822700" cy="440670"/>
          </a:xfrm>
        </p:grpSpPr>
        <p:sp>
          <p:nvSpPr>
            <p:cNvPr id="14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37452981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9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1</a:t>
            </a:r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21924" name="Freeform 4"/>
          <p:cNvSpPr>
            <a:spLocks/>
          </p:cNvSpPr>
          <p:nvPr/>
        </p:nvSpPr>
        <p:spPr bwMode="gray">
          <a:xfrm>
            <a:off x="414651" y="1884919"/>
            <a:ext cx="3604995" cy="413526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893"/>
              </a:cxn>
              <a:cxn ang="0">
                <a:pos x="1730" y="2895"/>
              </a:cxn>
              <a:cxn ang="0">
                <a:pos x="1730" y="2264"/>
              </a:cxn>
              <a:cxn ang="0">
                <a:pos x="1730" y="1842"/>
              </a:cxn>
              <a:cxn ang="0">
                <a:pos x="1730" y="1099"/>
              </a:cxn>
              <a:cxn ang="0">
                <a:pos x="1650" y="1099"/>
              </a:cxn>
              <a:cxn ang="0">
                <a:pos x="1650" y="1258"/>
              </a:cxn>
              <a:cxn ang="0">
                <a:pos x="1627" y="1262"/>
              </a:cxn>
              <a:cxn ang="0">
                <a:pos x="1498" y="844"/>
              </a:cxn>
              <a:cxn ang="0">
                <a:pos x="1623" y="431"/>
              </a:cxn>
              <a:cxn ang="0">
                <a:pos x="1652" y="431"/>
              </a:cxn>
              <a:cxn ang="0">
                <a:pos x="1652" y="589"/>
              </a:cxn>
              <a:cxn ang="0">
                <a:pos x="1730" y="589"/>
              </a:cxn>
              <a:cxn ang="0">
                <a:pos x="1730" y="0"/>
              </a:cxn>
              <a:cxn ang="0">
                <a:pos x="0" y="0"/>
              </a:cxn>
            </a:cxnLst>
            <a:rect l="0" t="0" r="r" b="b"/>
            <a:pathLst>
              <a:path w="1730" h="2895">
                <a:moveTo>
                  <a:pt x="0" y="0"/>
                </a:moveTo>
                <a:lnTo>
                  <a:pt x="0" y="2893"/>
                </a:lnTo>
                <a:lnTo>
                  <a:pt x="1730" y="2895"/>
                </a:lnTo>
                <a:lnTo>
                  <a:pt x="1730" y="2264"/>
                </a:lnTo>
                <a:lnTo>
                  <a:pt x="1730" y="1842"/>
                </a:lnTo>
                <a:lnTo>
                  <a:pt x="1730" y="1099"/>
                </a:lnTo>
                <a:lnTo>
                  <a:pt x="1650" y="1099"/>
                </a:lnTo>
                <a:lnTo>
                  <a:pt x="1650" y="1258"/>
                </a:lnTo>
                <a:lnTo>
                  <a:pt x="1627" y="1262"/>
                </a:lnTo>
                <a:lnTo>
                  <a:pt x="1498" y="844"/>
                </a:lnTo>
                <a:lnTo>
                  <a:pt x="1623" y="431"/>
                </a:lnTo>
                <a:lnTo>
                  <a:pt x="1652" y="431"/>
                </a:lnTo>
                <a:lnTo>
                  <a:pt x="1652" y="589"/>
                </a:lnTo>
                <a:lnTo>
                  <a:pt x="1730" y="589"/>
                </a:lnTo>
                <a:lnTo>
                  <a:pt x="173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21927" name="Freeform 7"/>
          <p:cNvSpPr>
            <a:spLocks/>
          </p:cNvSpPr>
          <p:nvPr/>
        </p:nvSpPr>
        <p:spPr bwMode="gray">
          <a:xfrm>
            <a:off x="6672168" y="1884919"/>
            <a:ext cx="3604995" cy="4135264"/>
          </a:xfrm>
          <a:custGeom>
            <a:avLst/>
            <a:gdLst/>
            <a:ahLst/>
            <a:cxnLst>
              <a:cxn ang="0">
                <a:pos x="1730" y="0"/>
              </a:cxn>
              <a:cxn ang="0">
                <a:pos x="1730" y="2893"/>
              </a:cxn>
              <a:cxn ang="0">
                <a:pos x="0" y="2895"/>
              </a:cxn>
              <a:cxn ang="0">
                <a:pos x="0" y="2264"/>
              </a:cxn>
              <a:cxn ang="0">
                <a:pos x="0" y="1842"/>
              </a:cxn>
              <a:cxn ang="0">
                <a:pos x="0" y="1099"/>
              </a:cxn>
              <a:cxn ang="0">
                <a:pos x="80" y="1099"/>
              </a:cxn>
              <a:cxn ang="0">
                <a:pos x="80" y="1258"/>
              </a:cxn>
              <a:cxn ang="0">
                <a:pos x="103" y="1262"/>
              </a:cxn>
              <a:cxn ang="0">
                <a:pos x="232" y="844"/>
              </a:cxn>
              <a:cxn ang="0">
                <a:pos x="107" y="431"/>
              </a:cxn>
              <a:cxn ang="0">
                <a:pos x="78" y="431"/>
              </a:cxn>
              <a:cxn ang="0">
                <a:pos x="78" y="589"/>
              </a:cxn>
              <a:cxn ang="0">
                <a:pos x="0" y="589"/>
              </a:cxn>
              <a:cxn ang="0">
                <a:pos x="0" y="0"/>
              </a:cxn>
              <a:cxn ang="0">
                <a:pos x="1730" y="0"/>
              </a:cxn>
            </a:cxnLst>
            <a:rect l="0" t="0" r="r" b="b"/>
            <a:pathLst>
              <a:path w="1730" h="2895">
                <a:moveTo>
                  <a:pt x="1730" y="0"/>
                </a:moveTo>
                <a:lnTo>
                  <a:pt x="1730" y="2893"/>
                </a:lnTo>
                <a:lnTo>
                  <a:pt x="0" y="2895"/>
                </a:lnTo>
                <a:lnTo>
                  <a:pt x="0" y="2264"/>
                </a:lnTo>
                <a:lnTo>
                  <a:pt x="0" y="1842"/>
                </a:lnTo>
                <a:lnTo>
                  <a:pt x="0" y="1099"/>
                </a:lnTo>
                <a:lnTo>
                  <a:pt x="80" y="1099"/>
                </a:lnTo>
                <a:lnTo>
                  <a:pt x="80" y="1258"/>
                </a:lnTo>
                <a:lnTo>
                  <a:pt x="103" y="1262"/>
                </a:lnTo>
                <a:lnTo>
                  <a:pt x="232" y="844"/>
                </a:lnTo>
                <a:lnTo>
                  <a:pt x="107" y="431"/>
                </a:lnTo>
                <a:lnTo>
                  <a:pt x="78" y="431"/>
                </a:lnTo>
                <a:lnTo>
                  <a:pt x="78" y="589"/>
                </a:lnTo>
                <a:lnTo>
                  <a:pt x="0" y="589"/>
                </a:lnTo>
                <a:lnTo>
                  <a:pt x="0" y="0"/>
                </a:lnTo>
                <a:lnTo>
                  <a:pt x="1730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21930" name="Freeform 10"/>
          <p:cNvSpPr>
            <a:spLocks/>
          </p:cNvSpPr>
          <p:nvPr/>
        </p:nvSpPr>
        <p:spPr bwMode="gray">
          <a:xfrm>
            <a:off x="3596940" y="1884919"/>
            <a:ext cx="3501626" cy="4135264"/>
          </a:xfrm>
          <a:custGeom>
            <a:avLst/>
            <a:gdLst/>
            <a:ahLst/>
            <a:cxnLst>
              <a:cxn ang="0">
                <a:pos x="284" y="0"/>
              </a:cxn>
              <a:cxn ang="0">
                <a:pos x="787" y="0"/>
              </a:cxn>
              <a:cxn ang="0">
                <a:pos x="1088" y="0"/>
              </a:cxn>
              <a:cxn ang="0">
                <a:pos x="1407" y="0"/>
              </a:cxn>
              <a:cxn ang="0">
                <a:pos x="1407" y="174"/>
              </a:cxn>
              <a:cxn ang="0">
                <a:pos x="1407" y="337"/>
              </a:cxn>
              <a:cxn ang="0">
                <a:pos x="1407" y="489"/>
              </a:cxn>
              <a:cxn ang="0">
                <a:pos x="1407" y="631"/>
              </a:cxn>
              <a:cxn ang="0">
                <a:pos x="1577" y="493"/>
              </a:cxn>
              <a:cxn ang="0">
                <a:pos x="1577" y="1201"/>
              </a:cxn>
              <a:cxn ang="0">
                <a:pos x="1407" y="1053"/>
              </a:cxn>
              <a:cxn ang="0">
                <a:pos x="1407" y="1343"/>
              </a:cxn>
              <a:cxn ang="0">
                <a:pos x="1407" y="1579"/>
              </a:cxn>
              <a:cxn ang="0">
                <a:pos x="1407" y="1779"/>
              </a:cxn>
              <a:cxn ang="0">
                <a:pos x="1407" y="1963"/>
              </a:cxn>
              <a:cxn ang="0">
                <a:pos x="1407" y="2147"/>
              </a:cxn>
              <a:cxn ang="0">
                <a:pos x="1407" y="2352"/>
              </a:cxn>
              <a:cxn ang="0">
                <a:pos x="1407" y="2594"/>
              </a:cxn>
              <a:cxn ang="0">
                <a:pos x="1407" y="2895"/>
              </a:cxn>
              <a:cxn ang="0">
                <a:pos x="1098" y="2895"/>
              </a:cxn>
              <a:cxn ang="0">
                <a:pos x="787" y="2895"/>
              </a:cxn>
              <a:cxn ang="0">
                <a:pos x="284" y="2895"/>
              </a:cxn>
              <a:cxn ang="0">
                <a:pos x="274" y="2738"/>
              </a:cxn>
              <a:cxn ang="0">
                <a:pos x="274" y="2466"/>
              </a:cxn>
              <a:cxn ang="0">
                <a:pos x="274" y="2245"/>
              </a:cxn>
              <a:cxn ang="0">
                <a:pos x="274" y="2055"/>
              </a:cxn>
              <a:cxn ang="0">
                <a:pos x="274" y="1873"/>
              </a:cxn>
              <a:cxn ang="0">
                <a:pos x="274" y="1683"/>
              </a:cxn>
              <a:cxn ang="0">
                <a:pos x="274" y="1468"/>
              </a:cxn>
              <a:cxn ang="0">
                <a:pos x="274" y="1207"/>
              </a:cxn>
              <a:cxn ang="0">
                <a:pos x="104" y="1053"/>
              </a:cxn>
              <a:cxn ang="0">
                <a:pos x="0" y="846"/>
              </a:cxn>
              <a:cxn ang="0">
                <a:pos x="102" y="631"/>
              </a:cxn>
              <a:cxn ang="0">
                <a:pos x="274" y="562"/>
              </a:cxn>
              <a:cxn ang="0">
                <a:pos x="274" y="414"/>
              </a:cxn>
              <a:cxn ang="0">
                <a:pos x="274" y="257"/>
              </a:cxn>
              <a:cxn ang="0">
                <a:pos x="274" y="88"/>
              </a:cxn>
            </a:cxnLst>
            <a:rect l="0" t="0" r="r" b="b"/>
            <a:pathLst>
              <a:path w="1681" h="2895">
                <a:moveTo>
                  <a:pt x="274" y="0"/>
                </a:moveTo>
                <a:lnTo>
                  <a:pt x="284" y="0"/>
                </a:lnTo>
                <a:lnTo>
                  <a:pt x="593" y="0"/>
                </a:lnTo>
                <a:lnTo>
                  <a:pt x="787" y="0"/>
                </a:lnTo>
                <a:lnTo>
                  <a:pt x="787" y="0"/>
                </a:lnTo>
                <a:lnTo>
                  <a:pt x="1088" y="0"/>
                </a:lnTo>
                <a:lnTo>
                  <a:pt x="1395" y="0"/>
                </a:lnTo>
                <a:lnTo>
                  <a:pt x="1407" y="0"/>
                </a:lnTo>
                <a:lnTo>
                  <a:pt x="1407" y="88"/>
                </a:lnTo>
                <a:lnTo>
                  <a:pt x="1407" y="174"/>
                </a:lnTo>
                <a:lnTo>
                  <a:pt x="1407" y="257"/>
                </a:lnTo>
                <a:lnTo>
                  <a:pt x="1407" y="337"/>
                </a:lnTo>
                <a:lnTo>
                  <a:pt x="1407" y="414"/>
                </a:lnTo>
                <a:lnTo>
                  <a:pt x="1407" y="489"/>
                </a:lnTo>
                <a:lnTo>
                  <a:pt x="1407" y="562"/>
                </a:lnTo>
                <a:lnTo>
                  <a:pt x="1407" y="631"/>
                </a:lnTo>
                <a:lnTo>
                  <a:pt x="1577" y="631"/>
                </a:lnTo>
                <a:lnTo>
                  <a:pt x="1577" y="493"/>
                </a:lnTo>
                <a:lnTo>
                  <a:pt x="1681" y="846"/>
                </a:lnTo>
                <a:lnTo>
                  <a:pt x="1577" y="1201"/>
                </a:lnTo>
                <a:lnTo>
                  <a:pt x="1577" y="1053"/>
                </a:lnTo>
                <a:lnTo>
                  <a:pt x="1407" y="1053"/>
                </a:lnTo>
                <a:lnTo>
                  <a:pt x="1407" y="1207"/>
                </a:lnTo>
                <a:lnTo>
                  <a:pt x="1407" y="1343"/>
                </a:lnTo>
                <a:lnTo>
                  <a:pt x="1407" y="1468"/>
                </a:lnTo>
                <a:lnTo>
                  <a:pt x="1407" y="1579"/>
                </a:lnTo>
                <a:lnTo>
                  <a:pt x="1407" y="1683"/>
                </a:lnTo>
                <a:lnTo>
                  <a:pt x="1407" y="1779"/>
                </a:lnTo>
                <a:lnTo>
                  <a:pt x="1407" y="1873"/>
                </a:lnTo>
                <a:lnTo>
                  <a:pt x="1407" y="1963"/>
                </a:lnTo>
                <a:lnTo>
                  <a:pt x="1407" y="2055"/>
                </a:lnTo>
                <a:lnTo>
                  <a:pt x="1407" y="2147"/>
                </a:lnTo>
                <a:lnTo>
                  <a:pt x="1407" y="2245"/>
                </a:lnTo>
                <a:lnTo>
                  <a:pt x="1407" y="2352"/>
                </a:lnTo>
                <a:lnTo>
                  <a:pt x="1407" y="2466"/>
                </a:lnTo>
                <a:lnTo>
                  <a:pt x="1407" y="2594"/>
                </a:lnTo>
                <a:lnTo>
                  <a:pt x="1407" y="2738"/>
                </a:lnTo>
                <a:lnTo>
                  <a:pt x="1407" y="2895"/>
                </a:lnTo>
                <a:lnTo>
                  <a:pt x="1395" y="2895"/>
                </a:lnTo>
                <a:lnTo>
                  <a:pt x="1098" y="2895"/>
                </a:lnTo>
                <a:lnTo>
                  <a:pt x="787" y="2895"/>
                </a:lnTo>
                <a:lnTo>
                  <a:pt x="787" y="2895"/>
                </a:lnTo>
                <a:lnTo>
                  <a:pt x="581" y="2895"/>
                </a:lnTo>
                <a:lnTo>
                  <a:pt x="284" y="2895"/>
                </a:lnTo>
                <a:lnTo>
                  <a:pt x="274" y="2895"/>
                </a:lnTo>
                <a:lnTo>
                  <a:pt x="274" y="2738"/>
                </a:lnTo>
                <a:lnTo>
                  <a:pt x="274" y="2594"/>
                </a:lnTo>
                <a:lnTo>
                  <a:pt x="274" y="2466"/>
                </a:lnTo>
                <a:lnTo>
                  <a:pt x="274" y="2352"/>
                </a:lnTo>
                <a:lnTo>
                  <a:pt x="274" y="2245"/>
                </a:lnTo>
                <a:lnTo>
                  <a:pt x="274" y="2147"/>
                </a:lnTo>
                <a:lnTo>
                  <a:pt x="274" y="2055"/>
                </a:lnTo>
                <a:lnTo>
                  <a:pt x="274" y="1963"/>
                </a:lnTo>
                <a:lnTo>
                  <a:pt x="274" y="1873"/>
                </a:lnTo>
                <a:lnTo>
                  <a:pt x="274" y="1779"/>
                </a:lnTo>
                <a:lnTo>
                  <a:pt x="274" y="1683"/>
                </a:lnTo>
                <a:lnTo>
                  <a:pt x="274" y="1579"/>
                </a:lnTo>
                <a:lnTo>
                  <a:pt x="274" y="1468"/>
                </a:lnTo>
                <a:lnTo>
                  <a:pt x="274" y="1343"/>
                </a:lnTo>
                <a:lnTo>
                  <a:pt x="274" y="1207"/>
                </a:lnTo>
                <a:lnTo>
                  <a:pt x="274" y="1053"/>
                </a:lnTo>
                <a:lnTo>
                  <a:pt x="104" y="1053"/>
                </a:lnTo>
                <a:lnTo>
                  <a:pt x="104" y="1201"/>
                </a:lnTo>
                <a:lnTo>
                  <a:pt x="0" y="846"/>
                </a:lnTo>
                <a:lnTo>
                  <a:pt x="102" y="493"/>
                </a:lnTo>
                <a:lnTo>
                  <a:pt x="102" y="631"/>
                </a:lnTo>
                <a:lnTo>
                  <a:pt x="274" y="631"/>
                </a:lnTo>
                <a:lnTo>
                  <a:pt x="274" y="562"/>
                </a:lnTo>
                <a:lnTo>
                  <a:pt x="274" y="489"/>
                </a:lnTo>
                <a:lnTo>
                  <a:pt x="274" y="414"/>
                </a:lnTo>
                <a:lnTo>
                  <a:pt x="274" y="337"/>
                </a:lnTo>
                <a:lnTo>
                  <a:pt x="274" y="257"/>
                </a:lnTo>
                <a:lnTo>
                  <a:pt x="274" y="174"/>
                </a:lnTo>
                <a:lnTo>
                  <a:pt x="274" y="88"/>
                </a:lnTo>
                <a:lnTo>
                  <a:pt x="274" y="0"/>
                </a:lnTo>
                <a:close/>
              </a:path>
            </a:pathLst>
          </a:custGeom>
          <a:solidFill>
            <a:srgbClr val="C9D1D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grpSp>
        <p:nvGrpSpPr>
          <p:cNvPr id="14" name="Grupo 13"/>
          <p:cNvGrpSpPr/>
          <p:nvPr/>
        </p:nvGrpSpPr>
        <p:grpSpPr>
          <a:xfrm>
            <a:off x="561664" y="2094506"/>
            <a:ext cx="2863006" cy="475627"/>
            <a:chOff x="868363" y="1730375"/>
            <a:chExt cx="3822700" cy="440670"/>
          </a:xfrm>
        </p:grpSpPr>
        <p:sp>
          <p:nvSpPr>
            <p:cNvPr id="15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6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17" name="Grupo 16"/>
          <p:cNvGrpSpPr/>
          <p:nvPr/>
        </p:nvGrpSpPr>
        <p:grpSpPr>
          <a:xfrm>
            <a:off x="7243224" y="2094506"/>
            <a:ext cx="2863006" cy="475627"/>
            <a:chOff x="868363" y="1730375"/>
            <a:chExt cx="3822700" cy="440670"/>
          </a:xfrm>
        </p:grpSpPr>
        <p:sp>
          <p:nvSpPr>
            <p:cNvPr id="18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20" name="Grupo 19"/>
          <p:cNvGrpSpPr/>
          <p:nvPr/>
        </p:nvGrpSpPr>
        <p:grpSpPr>
          <a:xfrm>
            <a:off x="4276482" y="2094506"/>
            <a:ext cx="2142543" cy="475627"/>
            <a:chOff x="868363" y="1730375"/>
            <a:chExt cx="3822700" cy="440670"/>
          </a:xfrm>
        </p:grpSpPr>
        <p:sp>
          <p:nvSpPr>
            <p:cNvPr id="21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2800105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971" name="Freeform 3"/>
          <p:cNvSpPr>
            <a:spLocks/>
          </p:cNvSpPr>
          <p:nvPr/>
        </p:nvSpPr>
        <p:spPr bwMode="gray">
          <a:xfrm>
            <a:off x="414650" y="1884919"/>
            <a:ext cx="3803084" cy="41342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73"/>
              </a:cxn>
              <a:cxn ang="0">
                <a:pos x="2198" y="1873"/>
              </a:cxn>
              <a:cxn ang="0">
                <a:pos x="2198" y="1248"/>
              </a:cxn>
              <a:cxn ang="0">
                <a:pos x="2095" y="1248"/>
              </a:cxn>
              <a:cxn ang="0">
                <a:pos x="2095" y="1426"/>
              </a:cxn>
              <a:cxn ang="0">
                <a:pos x="2066" y="1432"/>
              </a:cxn>
              <a:cxn ang="0">
                <a:pos x="1903" y="956"/>
              </a:cxn>
              <a:cxn ang="0">
                <a:pos x="2062" y="487"/>
              </a:cxn>
              <a:cxn ang="0">
                <a:pos x="2098" y="487"/>
              </a:cxn>
              <a:cxn ang="0">
                <a:pos x="2098" y="668"/>
              </a:cxn>
              <a:cxn ang="0">
                <a:pos x="2198" y="668"/>
              </a:cxn>
              <a:cxn ang="0">
                <a:pos x="2198" y="0"/>
              </a:cxn>
              <a:cxn ang="0">
                <a:pos x="0" y="0"/>
              </a:cxn>
            </a:cxnLst>
            <a:rect l="0" t="0" r="r" b="b"/>
            <a:pathLst>
              <a:path w="2198" h="1873">
                <a:moveTo>
                  <a:pt x="0" y="0"/>
                </a:moveTo>
                <a:lnTo>
                  <a:pt x="0" y="1873"/>
                </a:lnTo>
                <a:lnTo>
                  <a:pt x="2198" y="1873"/>
                </a:lnTo>
                <a:lnTo>
                  <a:pt x="2198" y="1248"/>
                </a:lnTo>
                <a:lnTo>
                  <a:pt x="2095" y="1248"/>
                </a:lnTo>
                <a:lnTo>
                  <a:pt x="2095" y="1426"/>
                </a:lnTo>
                <a:lnTo>
                  <a:pt x="2066" y="1432"/>
                </a:lnTo>
                <a:lnTo>
                  <a:pt x="1903" y="956"/>
                </a:lnTo>
                <a:lnTo>
                  <a:pt x="2062" y="487"/>
                </a:lnTo>
                <a:lnTo>
                  <a:pt x="2098" y="487"/>
                </a:lnTo>
                <a:lnTo>
                  <a:pt x="2098" y="668"/>
                </a:lnTo>
                <a:lnTo>
                  <a:pt x="2198" y="668"/>
                </a:lnTo>
                <a:lnTo>
                  <a:pt x="219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23974" name="Freeform 6"/>
          <p:cNvSpPr>
            <a:spLocks/>
          </p:cNvSpPr>
          <p:nvPr/>
        </p:nvSpPr>
        <p:spPr bwMode="gray">
          <a:xfrm>
            <a:off x="6474078" y="1884919"/>
            <a:ext cx="3803084" cy="4134254"/>
          </a:xfrm>
          <a:custGeom>
            <a:avLst/>
            <a:gdLst/>
            <a:ahLst/>
            <a:cxnLst>
              <a:cxn ang="0">
                <a:pos x="2198" y="0"/>
              </a:cxn>
              <a:cxn ang="0">
                <a:pos x="2198" y="1873"/>
              </a:cxn>
              <a:cxn ang="0">
                <a:pos x="0" y="1873"/>
              </a:cxn>
              <a:cxn ang="0">
                <a:pos x="0" y="1248"/>
              </a:cxn>
              <a:cxn ang="0">
                <a:pos x="103" y="1248"/>
              </a:cxn>
              <a:cxn ang="0">
                <a:pos x="103" y="1426"/>
              </a:cxn>
              <a:cxn ang="0">
                <a:pos x="132" y="1432"/>
              </a:cxn>
              <a:cxn ang="0">
                <a:pos x="295" y="956"/>
              </a:cxn>
              <a:cxn ang="0">
                <a:pos x="136" y="487"/>
              </a:cxn>
              <a:cxn ang="0">
                <a:pos x="100" y="487"/>
              </a:cxn>
              <a:cxn ang="0">
                <a:pos x="100" y="668"/>
              </a:cxn>
              <a:cxn ang="0">
                <a:pos x="0" y="668"/>
              </a:cxn>
              <a:cxn ang="0">
                <a:pos x="0" y="0"/>
              </a:cxn>
              <a:cxn ang="0">
                <a:pos x="2198" y="0"/>
              </a:cxn>
            </a:cxnLst>
            <a:rect l="0" t="0" r="r" b="b"/>
            <a:pathLst>
              <a:path w="2198" h="1873">
                <a:moveTo>
                  <a:pt x="2198" y="0"/>
                </a:moveTo>
                <a:lnTo>
                  <a:pt x="2198" y="1873"/>
                </a:lnTo>
                <a:lnTo>
                  <a:pt x="0" y="1873"/>
                </a:lnTo>
                <a:lnTo>
                  <a:pt x="0" y="1248"/>
                </a:lnTo>
                <a:lnTo>
                  <a:pt x="103" y="1248"/>
                </a:lnTo>
                <a:lnTo>
                  <a:pt x="103" y="1426"/>
                </a:lnTo>
                <a:lnTo>
                  <a:pt x="132" y="1432"/>
                </a:lnTo>
                <a:lnTo>
                  <a:pt x="295" y="956"/>
                </a:lnTo>
                <a:lnTo>
                  <a:pt x="136" y="487"/>
                </a:lnTo>
                <a:lnTo>
                  <a:pt x="100" y="487"/>
                </a:lnTo>
                <a:lnTo>
                  <a:pt x="100" y="668"/>
                </a:lnTo>
                <a:lnTo>
                  <a:pt x="0" y="668"/>
                </a:lnTo>
                <a:lnTo>
                  <a:pt x="0" y="0"/>
                </a:lnTo>
                <a:lnTo>
                  <a:pt x="2198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23977" name="Freeform 9"/>
          <p:cNvSpPr>
            <a:spLocks/>
          </p:cNvSpPr>
          <p:nvPr/>
        </p:nvSpPr>
        <p:spPr bwMode="gray">
          <a:xfrm>
            <a:off x="3769736" y="1884919"/>
            <a:ext cx="3160516" cy="4134254"/>
          </a:xfrm>
          <a:custGeom>
            <a:avLst/>
            <a:gdLst/>
            <a:ahLst/>
            <a:cxnLst>
              <a:cxn ang="0">
                <a:pos x="347" y="0"/>
              </a:cxn>
              <a:cxn ang="0">
                <a:pos x="361" y="0"/>
              </a:cxn>
              <a:cxn ang="0">
                <a:pos x="908" y="0"/>
              </a:cxn>
              <a:cxn ang="0">
                <a:pos x="919" y="0"/>
              </a:cxn>
              <a:cxn ang="0">
                <a:pos x="1462" y="0"/>
              </a:cxn>
              <a:cxn ang="0">
                <a:pos x="1479" y="0"/>
              </a:cxn>
              <a:cxn ang="0">
                <a:pos x="1479" y="99"/>
              </a:cxn>
              <a:cxn ang="0">
                <a:pos x="1479" y="197"/>
              </a:cxn>
              <a:cxn ang="0">
                <a:pos x="1479" y="291"/>
              </a:cxn>
              <a:cxn ang="0">
                <a:pos x="1479" y="382"/>
              </a:cxn>
              <a:cxn ang="0">
                <a:pos x="1479" y="468"/>
              </a:cxn>
              <a:cxn ang="0">
                <a:pos x="1479" y="554"/>
              </a:cxn>
              <a:cxn ang="0">
                <a:pos x="1479" y="637"/>
              </a:cxn>
              <a:cxn ang="0">
                <a:pos x="1479" y="714"/>
              </a:cxn>
              <a:cxn ang="0">
                <a:pos x="1694" y="714"/>
              </a:cxn>
              <a:cxn ang="0">
                <a:pos x="1694" y="558"/>
              </a:cxn>
              <a:cxn ang="0">
                <a:pos x="1827" y="960"/>
              </a:cxn>
              <a:cxn ang="0">
                <a:pos x="1694" y="1363"/>
              </a:cxn>
              <a:cxn ang="0">
                <a:pos x="1694" y="1194"/>
              </a:cxn>
              <a:cxn ang="0">
                <a:pos x="1479" y="1194"/>
              </a:cxn>
              <a:cxn ang="0">
                <a:pos x="1479" y="1368"/>
              </a:cxn>
              <a:cxn ang="0">
                <a:pos x="1479" y="1524"/>
              </a:cxn>
              <a:cxn ang="0">
                <a:pos x="1479" y="1666"/>
              </a:cxn>
              <a:cxn ang="0">
                <a:pos x="1479" y="1791"/>
              </a:cxn>
              <a:cxn ang="0">
                <a:pos x="1479" y="1873"/>
              </a:cxn>
              <a:cxn ang="0">
                <a:pos x="919" y="1873"/>
              </a:cxn>
              <a:cxn ang="0">
                <a:pos x="908" y="1873"/>
              </a:cxn>
              <a:cxn ang="0">
                <a:pos x="347" y="1873"/>
              </a:cxn>
              <a:cxn ang="0">
                <a:pos x="347" y="1791"/>
              </a:cxn>
              <a:cxn ang="0">
                <a:pos x="347" y="1666"/>
              </a:cxn>
              <a:cxn ang="0">
                <a:pos x="347" y="1524"/>
              </a:cxn>
              <a:cxn ang="0">
                <a:pos x="347" y="1368"/>
              </a:cxn>
              <a:cxn ang="0">
                <a:pos x="347" y="1194"/>
              </a:cxn>
              <a:cxn ang="0">
                <a:pos x="131" y="1194"/>
              </a:cxn>
              <a:cxn ang="0">
                <a:pos x="131" y="1363"/>
              </a:cxn>
              <a:cxn ang="0">
                <a:pos x="0" y="960"/>
              </a:cxn>
              <a:cxn ang="0">
                <a:pos x="129" y="558"/>
              </a:cxn>
              <a:cxn ang="0">
                <a:pos x="129" y="714"/>
              </a:cxn>
              <a:cxn ang="0">
                <a:pos x="347" y="714"/>
              </a:cxn>
              <a:cxn ang="0">
                <a:pos x="347" y="637"/>
              </a:cxn>
              <a:cxn ang="0">
                <a:pos x="347" y="554"/>
              </a:cxn>
              <a:cxn ang="0">
                <a:pos x="347" y="468"/>
              </a:cxn>
              <a:cxn ang="0">
                <a:pos x="347" y="382"/>
              </a:cxn>
              <a:cxn ang="0">
                <a:pos x="347" y="291"/>
              </a:cxn>
              <a:cxn ang="0">
                <a:pos x="347" y="197"/>
              </a:cxn>
              <a:cxn ang="0">
                <a:pos x="347" y="99"/>
              </a:cxn>
              <a:cxn ang="0">
                <a:pos x="347" y="0"/>
              </a:cxn>
            </a:cxnLst>
            <a:rect l="0" t="0" r="r" b="b"/>
            <a:pathLst>
              <a:path w="1827" h="1873">
                <a:moveTo>
                  <a:pt x="347" y="0"/>
                </a:moveTo>
                <a:lnTo>
                  <a:pt x="361" y="0"/>
                </a:lnTo>
                <a:lnTo>
                  <a:pt x="908" y="0"/>
                </a:lnTo>
                <a:lnTo>
                  <a:pt x="919" y="0"/>
                </a:lnTo>
                <a:lnTo>
                  <a:pt x="1462" y="0"/>
                </a:lnTo>
                <a:lnTo>
                  <a:pt x="1479" y="0"/>
                </a:lnTo>
                <a:lnTo>
                  <a:pt x="1479" y="99"/>
                </a:lnTo>
                <a:lnTo>
                  <a:pt x="1479" y="197"/>
                </a:lnTo>
                <a:lnTo>
                  <a:pt x="1479" y="291"/>
                </a:lnTo>
                <a:lnTo>
                  <a:pt x="1479" y="382"/>
                </a:lnTo>
                <a:lnTo>
                  <a:pt x="1479" y="468"/>
                </a:lnTo>
                <a:lnTo>
                  <a:pt x="1479" y="554"/>
                </a:lnTo>
                <a:lnTo>
                  <a:pt x="1479" y="637"/>
                </a:lnTo>
                <a:lnTo>
                  <a:pt x="1479" y="714"/>
                </a:lnTo>
                <a:lnTo>
                  <a:pt x="1694" y="714"/>
                </a:lnTo>
                <a:lnTo>
                  <a:pt x="1694" y="558"/>
                </a:lnTo>
                <a:lnTo>
                  <a:pt x="1827" y="960"/>
                </a:lnTo>
                <a:lnTo>
                  <a:pt x="1694" y="1363"/>
                </a:lnTo>
                <a:lnTo>
                  <a:pt x="1694" y="1194"/>
                </a:lnTo>
                <a:lnTo>
                  <a:pt x="1479" y="1194"/>
                </a:lnTo>
                <a:lnTo>
                  <a:pt x="1479" y="1368"/>
                </a:lnTo>
                <a:lnTo>
                  <a:pt x="1479" y="1524"/>
                </a:lnTo>
                <a:lnTo>
                  <a:pt x="1479" y="1666"/>
                </a:lnTo>
                <a:lnTo>
                  <a:pt x="1479" y="1791"/>
                </a:lnTo>
                <a:lnTo>
                  <a:pt x="1479" y="1873"/>
                </a:lnTo>
                <a:lnTo>
                  <a:pt x="919" y="1873"/>
                </a:lnTo>
                <a:lnTo>
                  <a:pt x="908" y="1873"/>
                </a:lnTo>
                <a:lnTo>
                  <a:pt x="347" y="1873"/>
                </a:lnTo>
                <a:lnTo>
                  <a:pt x="347" y="1791"/>
                </a:lnTo>
                <a:lnTo>
                  <a:pt x="347" y="1666"/>
                </a:lnTo>
                <a:lnTo>
                  <a:pt x="347" y="1524"/>
                </a:lnTo>
                <a:lnTo>
                  <a:pt x="347" y="1368"/>
                </a:lnTo>
                <a:lnTo>
                  <a:pt x="347" y="1194"/>
                </a:lnTo>
                <a:lnTo>
                  <a:pt x="131" y="1194"/>
                </a:lnTo>
                <a:lnTo>
                  <a:pt x="131" y="1363"/>
                </a:lnTo>
                <a:lnTo>
                  <a:pt x="0" y="960"/>
                </a:lnTo>
                <a:lnTo>
                  <a:pt x="129" y="558"/>
                </a:lnTo>
                <a:lnTo>
                  <a:pt x="129" y="714"/>
                </a:lnTo>
                <a:lnTo>
                  <a:pt x="347" y="714"/>
                </a:lnTo>
                <a:lnTo>
                  <a:pt x="347" y="637"/>
                </a:lnTo>
                <a:lnTo>
                  <a:pt x="347" y="554"/>
                </a:lnTo>
                <a:lnTo>
                  <a:pt x="347" y="468"/>
                </a:lnTo>
                <a:lnTo>
                  <a:pt x="347" y="382"/>
                </a:lnTo>
                <a:lnTo>
                  <a:pt x="347" y="291"/>
                </a:lnTo>
                <a:lnTo>
                  <a:pt x="347" y="197"/>
                </a:lnTo>
                <a:lnTo>
                  <a:pt x="347" y="99"/>
                </a:lnTo>
                <a:lnTo>
                  <a:pt x="347" y="0"/>
                </a:lnTo>
                <a:close/>
              </a:path>
            </a:pathLst>
          </a:custGeom>
          <a:solidFill>
            <a:srgbClr val="C9D1D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23979" name="Rectangle 1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2</a:t>
            </a:r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4" name="Grupo 23"/>
          <p:cNvGrpSpPr/>
          <p:nvPr/>
        </p:nvGrpSpPr>
        <p:grpSpPr>
          <a:xfrm>
            <a:off x="561664" y="2094506"/>
            <a:ext cx="2863006" cy="475627"/>
            <a:chOff x="868363" y="1730375"/>
            <a:chExt cx="3822700" cy="440670"/>
          </a:xfrm>
        </p:grpSpPr>
        <p:sp>
          <p:nvSpPr>
            <p:cNvPr id="25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6" name="Rectangle 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7243224" y="2094506"/>
            <a:ext cx="2863006" cy="475627"/>
            <a:chOff x="868363" y="1730375"/>
            <a:chExt cx="3822700" cy="440670"/>
          </a:xfrm>
        </p:grpSpPr>
        <p:sp>
          <p:nvSpPr>
            <p:cNvPr id="28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30" name="Grupo 29"/>
          <p:cNvGrpSpPr/>
          <p:nvPr/>
        </p:nvGrpSpPr>
        <p:grpSpPr>
          <a:xfrm>
            <a:off x="4460954" y="2094506"/>
            <a:ext cx="1773600" cy="475627"/>
            <a:chOff x="868363" y="1730375"/>
            <a:chExt cx="3822700" cy="440670"/>
          </a:xfrm>
        </p:grpSpPr>
        <p:sp>
          <p:nvSpPr>
            <p:cNvPr id="31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868363" y="1730375"/>
              <a:ext cx="38227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>
                  <a:solidFill>
                    <a:schemeClr val="accent1"/>
                  </a:solidFill>
                </a:rPr>
                <a:t>Texto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2" name="Rectangl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868363" y="1986407"/>
              <a:ext cx="382270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197040" indent="-197040" defTabSz="1158251"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1276189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0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3</a:t>
            </a:r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26020" name="AutoShape 4"/>
          <p:cNvSpPr>
            <a:spLocks noChangeArrowheads="1"/>
          </p:cNvSpPr>
          <p:nvPr/>
        </p:nvSpPr>
        <p:spPr bwMode="gray">
          <a:xfrm>
            <a:off x="2668875" y="3937298"/>
            <a:ext cx="3225597" cy="2411688"/>
          </a:xfrm>
          <a:prstGeom prst="rightArrowCallout">
            <a:avLst>
              <a:gd name="adj1" fmla="val 35213"/>
              <a:gd name="adj2" fmla="val 25000"/>
              <a:gd name="adj3" fmla="val 14106"/>
              <a:gd name="adj4" fmla="val 80926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endParaRPr lang="pt-BR" sz="2159" b="1" dirty="0"/>
          </a:p>
        </p:txBody>
      </p:sp>
      <p:sp>
        <p:nvSpPr>
          <p:cNvPr id="726021" name="Rectangle 5"/>
          <p:cNvSpPr>
            <a:spLocks noChangeArrowheads="1"/>
          </p:cNvSpPr>
          <p:nvPr/>
        </p:nvSpPr>
        <p:spPr bwMode="gray">
          <a:xfrm>
            <a:off x="2769004" y="4419350"/>
            <a:ext cx="2381649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6023" name="AutoShape 7"/>
          <p:cNvSpPr>
            <a:spLocks noChangeArrowheads="1"/>
          </p:cNvSpPr>
          <p:nvPr/>
        </p:nvSpPr>
        <p:spPr bwMode="gray">
          <a:xfrm rot="5400000">
            <a:off x="2490072" y="1581397"/>
            <a:ext cx="2986717" cy="2627681"/>
          </a:xfrm>
          <a:prstGeom prst="rightArrowCallout">
            <a:avLst>
              <a:gd name="adj1" fmla="val 35213"/>
              <a:gd name="adj2" fmla="val 25000"/>
              <a:gd name="adj3" fmla="val 11987"/>
              <a:gd name="adj4" fmla="val 80926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endParaRPr lang="pt-BR" sz="2159" b="1" dirty="0"/>
          </a:p>
        </p:txBody>
      </p:sp>
      <p:sp>
        <p:nvSpPr>
          <p:cNvPr id="726024" name="Rectangle 8"/>
          <p:cNvSpPr>
            <a:spLocks noChangeArrowheads="1"/>
          </p:cNvSpPr>
          <p:nvPr/>
        </p:nvSpPr>
        <p:spPr bwMode="gray">
          <a:xfrm>
            <a:off x="2763283" y="1524179"/>
            <a:ext cx="2234316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  <a:flatTx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6026" name="AutoShape 10"/>
          <p:cNvSpPr>
            <a:spLocks noChangeArrowheads="1"/>
          </p:cNvSpPr>
          <p:nvPr/>
        </p:nvSpPr>
        <p:spPr bwMode="gray">
          <a:xfrm rot="10800000">
            <a:off x="4791619" y="1402593"/>
            <a:ext cx="3231318" cy="2417410"/>
          </a:xfrm>
          <a:prstGeom prst="rightArrowCallout">
            <a:avLst>
              <a:gd name="adj1" fmla="val 35213"/>
              <a:gd name="adj2" fmla="val 25000"/>
              <a:gd name="adj3" fmla="val 14097"/>
              <a:gd name="adj4" fmla="val 80926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endParaRPr lang="pt-BR" sz="2159" b="1" dirty="0"/>
          </a:p>
        </p:txBody>
      </p:sp>
      <p:sp>
        <p:nvSpPr>
          <p:cNvPr id="726027" name="Rectangle 11"/>
          <p:cNvSpPr>
            <a:spLocks noChangeArrowheads="1"/>
          </p:cNvSpPr>
          <p:nvPr/>
        </p:nvSpPr>
        <p:spPr bwMode="gray">
          <a:xfrm>
            <a:off x="5511120" y="1532762"/>
            <a:ext cx="2384509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6029" name="AutoShape 13"/>
          <p:cNvSpPr>
            <a:spLocks noChangeArrowheads="1"/>
          </p:cNvSpPr>
          <p:nvPr/>
        </p:nvSpPr>
        <p:spPr bwMode="gray">
          <a:xfrm rot="16200000">
            <a:off x="5215022" y="3542501"/>
            <a:ext cx="2988148" cy="2626251"/>
          </a:xfrm>
          <a:prstGeom prst="rightArrowCallout">
            <a:avLst>
              <a:gd name="adj1" fmla="val 35213"/>
              <a:gd name="adj2" fmla="val 25000"/>
              <a:gd name="adj3" fmla="val 12000"/>
              <a:gd name="adj4" fmla="val 80926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endParaRPr lang="pt-BR" sz="2159" b="1" dirty="0"/>
          </a:p>
        </p:txBody>
      </p:sp>
      <p:sp>
        <p:nvSpPr>
          <p:cNvPr id="726030" name="Rectangle 14"/>
          <p:cNvSpPr>
            <a:spLocks noChangeArrowheads="1"/>
          </p:cNvSpPr>
          <p:nvPr/>
        </p:nvSpPr>
        <p:spPr bwMode="gray">
          <a:xfrm>
            <a:off x="5953119" y="4410766"/>
            <a:ext cx="1942510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grpSp>
        <p:nvGrpSpPr>
          <p:cNvPr id="18" name="Grupo 17"/>
          <p:cNvGrpSpPr/>
          <p:nvPr/>
        </p:nvGrpSpPr>
        <p:grpSpPr>
          <a:xfrm>
            <a:off x="5249353" y="4546657"/>
            <a:ext cx="645119" cy="1190109"/>
            <a:chOff x="4846638" y="4262438"/>
            <a:chExt cx="715962" cy="1320800"/>
          </a:xfrm>
        </p:grpSpPr>
        <p:sp>
          <p:nvSpPr>
            <p:cNvPr id="726031" name="AutoShape 15"/>
            <p:cNvSpPr>
              <a:spLocks noChangeArrowheads="1"/>
            </p:cNvSpPr>
            <p:nvPr/>
          </p:nvSpPr>
          <p:spPr bwMode="gray">
            <a:xfrm>
              <a:off x="4881563" y="4262438"/>
              <a:ext cx="681037" cy="1320800"/>
            </a:xfrm>
            <a:prstGeom prst="rightArrow">
              <a:avLst>
                <a:gd name="adj1" fmla="val 71611"/>
                <a:gd name="adj2" fmla="val 55616"/>
              </a:avLst>
            </a:prstGeom>
            <a:solidFill>
              <a:schemeClr val="bg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 b="1"/>
            </a:p>
          </p:txBody>
        </p:sp>
        <p:sp>
          <p:nvSpPr>
            <p:cNvPr id="726032" name="Rectangle 16"/>
            <p:cNvSpPr>
              <a:spLocks noChangeArrowheads="1"/>
            </p:cNvSpPr>
            <p:nvPr/>
          </p:nvSpPr>
          <p:spPr bwMode="gray">
            <a:xfrm>
              <a:off x="4846638" y="4456113"/>
              <a:ext cx="65087" cy="933450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 b="1"/>
            </a:p>
          </p:txBody>
        </p:sp>
      </p:grpSp>
    </p:spTree>
    <p:extLst>
      <p:ext uri="{BB962C8B-B14F-4D97-AF65-F5344CB8AC3E}">
        <p14:creationId xmlns:p14="http://schemas.microsoft.com/office/powerpoint/2010/main" val="29343438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4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talhamento de um tema em 3 pilares</a:t>
            </a:r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sp>
        <p:nvSpPr>
          <p:cNvPr id="2" name="36 Rectángulo"/>
          <p:cNvSpPr>
            <a:spLocks noChangeArrowheads="1"/>
          </p:cNvSpPr>
          <p:nvPr/>
        </p:nvSpPr>
        <p:spPr bwMode="auto">
          <a:xfrm>
            <a:off x="2662672" y="2050251"/>
            <a:ext cx="1555796" cy="129921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pt-BR" sz="1295">
                <a:latin typeface="Arial" pitchFamily="34" charset="0"/>
                <a:cs typeface="Arial" pitchFamily="34" charset="0"/>
              </a:rPr>
              <a:t>xxx</a:t>
            </a:r>
            <a:endParaRPr lang="pt-BR" sz="1295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4359" name="Oval 7"/>
          <p:cNvSpPr>
            <a:spLocks noChangeArrowheads="1"/>
          </p:cNvSpPr>
          <p:nvPr/>
        </p:nvSpPr>
        <p:spPr bwMode="auto">
          <a:xfrm>
            <a:off x="332404" y="3360001"/>
            <a:ext cx="1982440" cy="1276112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bg1"/>
            </a:solidFill>
            <a:round/>
            <a:headEnd/>
            <a:tailEnd/>
          </a:ln>
          <a:effectLst/>
        </p:spPr>
        <p:txBody>
          <a:bodyPr lIns="38856" rIns="38856" anchor="ctr"/>
          <a:lstStyle/>
          <a:p>
            <a:pPr algn="ctr"/>
            <a:r>
              <a:rPr lang="pt-BR" sz="1511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xxxx</a:t>
            </a:r>
            <a:endParaRPr lang="pt-BR" sz="1511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36 Rectángulo"/>
          <p:cNvSpPr>
            <a:spLocks noChangeArrowheads="1"/>
          </p:cNvSpPr>
          <p:nvPr/>
        </p:nvSpPr>
        <p:spPr bwMode="auto">
          <a:xfrm>
            <a:off x="2662672" y="4937275"/>
            <a:ext cx="1555796" cy="129921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pt-BR" sz="1295">
                <a:latin typeface="Arial" pitchFamily="34" charset="0"/>
                <a:cs typeface="Arial" pitchFamily="34" charset="0"/>
              </a:rPr>
              <a:t>xxxx</a:t>
            </a:r>
            <a:endParaRPr lang="pt-BR" sz="1295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36 Rectángulo"/>
          <p:cNvSpPr>
            <a:spLocks noChangeArrowheads="1"/>
          </p:cNvSpPr>
          <p:nvPr/>
        </p:nvSpPr>
        <p:spPr bwMode="auto">
          <a:xfrm>
            <a:off x="4780472" y="4937275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sp>
        <p:nvSpPr>
          <p:cNvPr id="6" name="36 Rectángulo"/>
          <p:cNvSpPr>
            <a:spLocks noChangeArrowheads="1"/>
          </p:cNvSpPr>
          <p:nvPr/>
        </p:nvSpPr>
        <p:spPr bwMode="auto">
          <a:xfrm>
            <a:off x="7753276" y="4937275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sp>
        <p:nvSpPr>
          <p:cNvPr id="484367" name="Text Box 4"/>
          <p:cNvSpPr txBox="1">
            <a:spLocks noChangeArrowheads="1"/>
          </p:cNvSpPr>
          <p:nvPr/>
        </p:nvSpPr>
        <p:spPr bwMode="auto">
          <a:xfrm>
            <a:off x="7753276" y="1785066"/>
            <a:ext cx="2541167" cy="19928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95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scrição 2</a:t>
            </a:r>
          </a:p>
        </p:txBody>
      </p:sp>
      <p:sp>
        <p:nvSpPr>
          <p:cNvPr id="484368" name="Freeform 16"/>
          <p:cNvSpPr>
            <a:spLocks/>
          </p:cNvSpPr>
          <p:nvPr/>
        </p:nvSpPr>
        <p:spPr bwMode="auto">
          <a:xfrm rot="5400000" flipH="1">
            <a:off x="1460898" y="2462684"/>
            <a:ext cx="846034" cy="848148"/>
          </a:xfrm>
          <a:custGeom>
            <a:avLst/>
            <a:gdLst/>
            <a:ahLst/>
            <a:cxnLst>
              <a:cxn ang="0">
                <a:pos x="599" y="207"/>
              </a:cxn>
              <a:cxn ang="0">
                <a:pos x="599" y="275"/>
              </a:cxn>
              <a:cxn ang="0">
                <a:pos x="584" y="363"/>
              </a:cxn>
              <a:cxn ang="0">
                <a:pos x="564" y="449"/>
              </a:cxn>
              <a:cxn ang="0">
                <a:pos x="535" y="531"/>
              </a:cxn>
              <a:cxn ang="0">
                <a:pos x="500" y="609"/>
              </a:cxn>
              <a:cxn ang="0">
                <a:pos x="461" y="684"/>
              </a:cxn>
              <a:cxn ang="0">
                <a:pos x="412" y="752"/>
              </a:cxn>
              <a:cxn ang="0">
                <a:pos x="361" y="812"/>
              </a:cxn>
              <a:cxn ang="0">
                <a:pos x="304" y="864"/>
              </a:cxn>
              <a:cxn ang="0">
                <a:pos x="242" y="907"/>
              </a:cxn>
              <a:cxn ang="0">
                <a:pos x="178" y="943"/>
              </a:cxn>
              <a:cxn ang="0">
                <a:pos x="109" y="967"/>
              </a:cxn>
              <a:cxn ang="0">
                <a:pos x="0" y="989"/>
              </a:cxn>
              <a:cxn ang="0">
                <a:pos x="28" y="989"/>
              </a:cxn>
              <a:cxn ang="0">
                <a:pos x="172" y="971"/>
              </a:cxn>
              <a:cxn ang="0">
                <a:pos x="265" y="948"/>
              </a:cxn>
              <a:cxn ang="0">
                <a:pos x="356" y="918"/>
              </a:cxn>
              <a:cxn ang="0">
                <a:pos x="443" y="880"/>
              </a:cxn>
              <a:cxn ang="0">
                <a:pos x="522" y="837"/>
              </a:cxn>
              <a:cxn ang="0">
                <a:pos x="599" y="784"/>
              </a:cxn>
              <a:cxn ang="0">
                <a:pos x="669" y="728"/>
              </a:cxn>
              <a:cxn ang="0">
                <a:pos x="732" y="666"/>
              </a:cxn>
              <a:cxn ang="0">
                <a:pos x="784" y="598"/>
              </a:cxn>
              <a:cxn ang="0">
                <a:pos x="832" y="521"/>
              </a:cxn>
              <a:cxn ang="0">
                <a:pos x="870" y="446"/>
              </a:cxn>
              <a:cxn ang="0">
                <a:pos x="896" y="366"/>
              </a:cxn>
              <a:cxn ang="0">
                <a:pos x="914" y="289"/>
              </a:cxn>
              <a:cxn ang="0">
                <a:pos x="925" y="207"/>
              </a:cxn>
              <a:cxn ang="0">
                <a:pos x="1077" y="204"/>
              </a:cxn>
              <a:cxn ang="0">
                <a:pos x="760" y="0"/>
              </a:cxn>
              <a:cxn ang="0">
                <a:pos x="443" y="204"/>
              </a:cxn>
              <a:cxn ang="0">
                <a:pos x="599" y="207"/>
              </a:cxn>
            </a:cxnLst>
            <a:rect l="0" t="0" r="r" b="b"/>
            <a:pathLst>
              <a:path w="1077" h="989">
                <a:moveTo>
                  <a:pt x="599" y="207"/>
                </a:moveTo>
                <a:lnTo>
                  <a:pt x="599" y="275"/>
                </a:lnTo>
                <a:lnTo>
                  <a:pt x="584" y="363"/>
                </a:lnTo>
                <a:lnTo>
                  <a:pt x="564" y="449"/>
                </a:lnTo>
                <a:lnTo>
                  <a:pt x="535" y="531"/>
                </a:lnTo>
                <a:lnTo>
                  <a:pt x="500" y="609"/>
                </a:lnTo>
                <a:lnTo>
                  <a:pt x="461" y="684"/>
                </a:lnTo>
                <a:lnTo>
                  <a:pt x="412" y="752"/>
                </a:lnTo>
                <a:lnTo>
                  <a:pt x="361" y="812"/>
                </a:lnTo>
                <a:lnTo>
                  <a:pt x="304" y="864"/>
                </a:lnTo>
                <a:lnTo>
                  <a:pt x="242" y="907"/>
                </a:lnTo>
                <a:lnTo>
                  <a:pt x="178" y="943"/>
                </a:lnTo>
                <a:lnTo>
                  <a:pt x="109" y="967"/>
                </a:lnTo>
                <a:lnTo>
                  <a:pt x="0" y="989"/>
                </a:lnTo>
                <a:lnTo>
                  <a:pt x="28" y="989"/>
                </a:lnTo>
                <a:lnTo>
                  <a:pt x="172" y="971"/>
                </a:lnTo>
                <a:lnTo>
                  <a:pt x="265" y="948"/>
                </a:lnTo>
                <a:lnTo>
                  <a:pt x="356" y="918"/>
                </a:lnTo>
                <a:lnTo>
                  <a:pt x="443" y="880"/>
                </a:lnTo>
                <a:lnTo>
                  <a:pt x="522" y="837"/>
                </a:lnTo>
                <a:lnTo>
                  <a:pt x="599" y="784"/>
                </a:lnTo>
                <a:lnTo>
                  <a:pt x="669" y="728"/>
                </a:lnTo>
                <a:lnTo>
                  <a:pt x="732" y="666"/>
                </a:lnTo>
                <a:lnTo>
                  <a:pt x="784" y="598"/>
                </a:lnTo>
                <a:lnTo>
                  <a:pt x="832" y="521"/>
                </a:lnTo>
                <a:lnTo>
                  <a:pt x="870" y="446"/>
                </a:lnTo>
                <a:lnTo>
                  <a:pt x="896" y="366"/>
                </a:lnTo>
                <a:lnTo>
                  <a:pt x="914" y="289"/>
                </a:lnTo>
                <a:lnTo>
                  <a:pt x="925" y="207"/>
                </a:lnTo>
                <a:lnTo>
                  <a:pt x="1077" y="204"/>
                </a:lnTo>
                <a:lnTo>
                  <a:pt x="760" y="0"/>
                </a:lnTo>
                <a:lnTo>
                  <a:pt x="443" y="204"/>
                </a:lnTo>
                <a:lnTo>
                  <a:pt x="599" y="207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484369" name="Freeform 17"/>
          <p:cNvSpPr>
            <a:spLocks/>
          </p:cNvSpPr>
          <p:nvPr/>
        </p:nvSpPr>
        <p:spPr bwMode="auto">
          <a:xfrm rot="16200000" flipH="1" flipV="1">
            <a:off x="1460898" y="4679006"/>
            <a:ext cx="846034" cy="848148"/>
          </a:xfrm>
          <a:custGeom>
            <a:avLst/>
            <a:gdLst/>
            <a:ahLst/>
            <a:cxnLst>
              <a:cxn ang="0">
                <a:pos x="599" y="207"/>
              </a:cxn>
              <a:cxn ang="0">
                <a:pos x="599" y="275"/>
              </a:cxn>
              <a:cxn ang="0">
                <a:pos x="584" y="363"/>
              </a:cxn>
              <a:cxn ang="0">
                <a:pos x="564" y="449"/>
              </a:cxn>
              <a:cxn ang="0">
                <a:pos x="535" y="531"/>
              </a:cxn>
              <a:cxn ang="0">
                <a:pos x="500" y="609"/>
              </a:cxn>
              <a:cxn ang="0">
                <a:pos x="461" y="684"/>
              </a:cxn>
              <a:cxn ang="0">
                <a:pos x="412" y="752"/>
              </a:cxn>
              <a:cxn ang="0">
                <a:pos x="361" y="812"/>
              </a:cxn>
              <a:cxn ang="0">
                <a:pos x="304" y="864"/>
              </a:cxn>
              <a:cxn ang="0">
                <a:pos x="242" y="907"/>
              </a:cxn>
              <a:cxn ang="0">
                <a:pos x="178" y="943"/>
              </a:cxn>
              <a:cxn ang="0">
                <a:pos x="109" y="967"/>
              </a:cxn>
              <a:cxn ang="0">
                <a:pos x="0" y="989"/>
              </a:cxn>
              <a:cxn ang="0">
                <a:pos x="28" y="989"/>
              </a:cxn>
              <a:cxn ang="0">
                <a:pos x="172" y="971"/>
              </a:cxn>
              <a:cxn ang="0">
                <a:pos x="265" y="948"/>
              </a:cxn>
              <a:cxn ang="0">
                <a:pos x="356" y="918"/>
              </a:cxn>
              <a:cxn ang="0">
                <a:pos x="443" y="880"/>
              </a:cxn>
              <a:cxn ang="0">
                <a:pos x="522" y="837"/>
              </a:cxn>
              <a:cxn ang="0">
                <a:pos x="599" y="784"/>
              </a:cxn>
              <a:cxn ang="0">
                <a:pos x="669" y="728"/>
              </a:cxn>
              <a:cxn ang="0">
                <a:pos x="732" y="666"/>
              </a:cxn>
              <a:cxn ang="0">
                <a:pos x="784" y="598"/>
              </a:cxn>
              <a:cxn ang="0">
                <a:pos x="832" y="521"/>
              </a:cxn>
              <a:cxn ang="0">
                <a:pos x="870" y="446"/>
              </a:cxn>
              <a:cxn ang="0">
                <a:pos x="896" y="366"/>
              </a:cxn>
              <a:cxn ang="0">
                <a:pos x="914" y="289"/>
              </a:cxn>
              <a:cxn ang="0">
                <a:pos x="925" y="207"/>
              </a:cxn>
              <a:cxn ang="0">
                <a:pos x="1077" y="204"/>
              </a:cxn>
              <a:cxn ang="0">
                <a:pos x="760" y="0"/>
              </a:cxn>
              <a:cxn ang="0">
                <a:pos x="443" y="204"/>
              </a:cxn>
              <a:cxn ang="0">
                <a:pos x="599" y="207"/>
              </a:cxn>
            </a:cxnLst>
            <a:rect l="0" t="0" r="r" b="b"/>
            <a:pathLst>
              <a:path w="1077" h="989">
                <a:moveTo>
                  <a:pt x="599" y="207"/>
                </a:moveTo>
                <a:lnTo>
                  <a:pt x="599" y="275"/>
                </a:lnTo>
                <a:lnTo>
                  <a:pt x="584" y="363"/>
                </a:lnTo>
                <a:lnTo>
                  <a:pt x="564" y="449"/>
                </a:lnTo>
                <a:lnTo>
                  <a:pt x="535" y="531"/>
                </a:lnTo>
                <a:lnTo>
                  <a:pt x="500" y="609"/>
                </a:lnTo>
                <a:lnTo>
                  <a:pt x="461" y="684"/>
                </a:lnTo>
                <a:lnTo>
                  <a:pt x="412" y="752"/>
                </a:lnTo>
                <a:lnTo>
                  <a:pt x="361" y="812"/>
                </a:lnTo>
                <a:lnTo>
                  <a:pt x="304" y="864"/>
                </a:lnTo>
                <a:lnTo>
                  <a:pt x="242" y="907"/>
                </a:lnTo>
                <a:lnTo>
                  <a:pt x="178" y="943"/>
                </a:lnTo>
                <a:lnTo>
                  <a:pt x="109" y="967"/>
                </a:lnTo>
                <a:lnTo>
                  <a:pt x="0" y="989"/>
                </a:lnTo>
                <a:lnTo>
                  <a:pt x="28" y="989"/>
                </a:lnTo>
                <a:lnTo>
                  <a:pt x="172" y="971"/>
                </a:lnTo>
                <a:lnTo>
                  <a:pt x="265" y="948"/>
                </a:lnTo>
                <a:lnTo>
                  <a:pt x="356" y="918"/>
                </a:lnTo>
                <a:lnTo>
                  <a:pt x="443" y="880"/>
                </a:lnTo>
                <a:lnTo>
                  <a:pt x="522" y="837"/>
                </a:lnTo>
                <a:lnTo>
                  <a:pt x="599" y="784"/>
                </a:lnTo>
                <a:lnTo>
                  <a:pt x="669" y="728"/>
                </a:lnTo>
                <a:lnTo>
                  <a:pt x="732" y="666"/>
                </a:lnTo>
                <a:lnTo>
                  <a:pt x="784" y="598"/>
                </a:lnTo>
                <a:lnTo>
                  <a:pt x="832" y="521"/>
                </a:lnTo>
                <a:lnTo>
                  <a:pt x="870" y="446"/>
                </a:lnTo>
                <a:lnTo>
                  <a:pt x="896" y="366"/>
                </a:lnTo>
                <a:lnTo>
                  <a:pt x="914" y="289"/>
                </a:lnTo>
                <a:lnTo>
                  <a:pt x="925" y="207"/>
                </a:lnTo>
                <a:lnTo>
                  <a:pt x="1077" y="204"/>
                </a:lnTo>
                <a:lnTo>
                  <a:pt x="760" y="0"/>
                </a:lnTo>
                <a:lnTo>
                  <a:pt x="443" y="204"/>
                </a:lnTo>
                <a:lnTo>
                  <a:pt x="599" y="207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484371" name="Text Box 4"/>
          <p:cNvSpPr txBox="1">
            <a:spLocks noChangeArrowheads="1"/>
          </p:cNvSpPr>
          <p:nvPr/>
        </p:nvSpPr>
        <p:spPr bwMode="auto">
          <a:xfrm>
            <a:off x="4780472" y="1785066"/>
            <a:ext cx="2541167" cy="19928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t" anchorCtr="0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95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scrição 1</a:t>
            </a:r>
          </a:p>
        </p:txBody>
      </p:sp>
      <p:sp>
        <p:nvSpPr>
          <p:cNvPr id="27" name="36 Rectángulo"/>
          <p:cNvSpPr>
            <a:spLocks noChangeArrowheads="1"/>
          </p:cNvSpPr>
          <p:nvPr/>
        </p:nvSpPr>
        <p:spPr bwMode="auto">
          <a:xfrm>
            <a:off x="2662672" y="3493763"/>
            <a:ext cx="1555796" cy="1299212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/>
            <a:r>
              <a:rPr lang="pt-BR" sz="1295" dirty="0" err="1">
                <a:latin typeface="Arial" pitchFamily="34" charset="0"/>
                <a:cs typeface="Arial" pitchFamily="34" charset="0"/>
              </a:rPr>
              <a:t>xxxx</a:t>
            </a:r>
            <a:endParaRPr lang="pt-BR" sz="1295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84364" name="AutoShape 28"/>
          <p:cNvSpPr>
            <a:spLocks noChangeArrowheads="1"/>
          </p:cNvSpPr>
          <p:nvPr/>
        </p:nvSpPr>
        <p:spPr bwMode="auto">
          <a:xfrm>
            <a:off x="4427507" y="2308235"/>
            <a:ext cx="143924" cy="783247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endParaRPr lang="pt-BR" sz="1079" dirty="0">
              <a:solidFill>
                <a:srgbClr val="0000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4365" name="AutoShape 28"/>
          <p:cNvSpPr>
            <a:spLocks noChangeArrowheads="1"/>
          </p:cNvSpPr>
          <p:nvPr/>
        </p:nvSpPr>
        <p:spPr bwMode="auto">
          <a:xfrm>
            <a:off x="4427508" y="5195258"/>
            <a:ext cx="143924" cy="783248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endParaRPr lang="pt-BR" sz="1079" dirty="0">
              <a:solidFill>
                <a:srgbClr val="0000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AutoShape 28"/>
          <p:cNvSpPr>
            <a:spLocks noChangeArrowheads="1"/>
          </p:cNvSpPr>
          <p:nvPr/>
        </p:nvSpPr>
        <p:spPr bwMode="auto">
          <a:xfrm>
            <a:off x="4427507" y="3754334"/>
            <a:ext cx="143924" cy="783248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endParaRPr lang="pt-BR" sz="1079" dirty="0">
              <a:solidFill>
                <a:srgbClr val="0000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ight Arrow 30"/>
          <p:cNvSpPr/>
          <p:nvPr/>
        </p:nvSpPr>
        <p:spPr bwMode="auto">
          <a:xfrm>
            <a:off x="2328550" y="3863845"/>
            <a:ext cx="308418" cy="310788"/>
          </a:xfrm>
          <a:prstGeom prst="rightArrow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lIns="58284" tIns="58284" rIns="58284" bIns="58284" rtlCol="0" anchor="ctr"/>
          <a:lstStyle/>
          <a:p>
            <a:pPr algn="ctr"/>
            <a:endParaRPr lang="pt-BR" sz="2159" dirty="0">
              <a:solidFill>
                <a:prstClr val="black"/>
              </a:solidFill>
            </a:endParaRPr>
          </a:p>
        </p:txBody>
      </p:sp>
      <p:cxnSp>
        <p:nvCxnSpPr>
          <p:cNvPr id="55" name="Conector reto 54"/>
          <p:cNvCxnSpPr/>
          <p:nvPr/>
        </p:nvCxnSpPr>
        <p:spPr>
          <a:xfrm>
            <a:off x="4401737" y="3421614"/>
            <a:ext cx="5890847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to 55"/>
          <p:cNvCxnSpPr/>
          <p:nvPr/>
        </p:nvCxnSpPr>
        <p:spPr>
          <a:xfrm>
            <a:off x="4401737" y="4865125"/>
            <a:ext cx="5890847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36 Rectángulo"/>
          <p:cNvSpPr>
            <a:spLocks noChangeArrowheads="1"/>
          </p:cNvSpPr>
          <p:nvPr/>
        </p:nvSpPr>
        <p:spPr bwMode="auto">
          <a:xfrm>
            <a:off x="4780472" y="3493763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sp>
        <p:nvSpPr>
          <p:cNvPr id="35" name="36 Rectángulo"/>
          <p:cNvSpPr>
            <a:spLocks noChangeArrowheads="1"/>
          </p:cNvSpPr>
          <p:nvPr/>
        </p:nvSpPr>
        <p:spPr bwMode="auto">
          <a:xfrm>
            <a:off x="7753276" y="3493763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sp>
        <p:nvSpPr>
          <p:cNvPr id="36" name="36 Rectángulo"/>
          <p:cNvSpPr>
            <a:spLocks noChangeArrowheads="1"/>
          </p:cNvSpPr>
          <p:nvPr/>
        </p:nvSpPr>
        <p:spPr bwMode="auto">
          <a:xfrm>
            <a:off x="4780472" y="2050251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sp>
        <p:nvSpPr>
          <p:cNvPr id="38" name="36 Rectángulo"/>
          <p:cNvSpPr>
            <a:spLocks noChangeArrowheads="1"/>
          </p:cNvSpPr>
          <p:nvPr/>
        </p:nvSpPr>
        <p:spPr bwMode="auto">
          <a:xfrm>
            <a:off x="7753276" y="2050251"/>
            <a:ext cx="2541167" cy="12992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marL="188473" indent="-188473" defTabSz="738471">
              <a:buSzPct val="100000"/>
              <a:buFont typeface="Arial" pitchFamily="34" charset="0"/>
              <a:buChar char="•"/>
            </a:pPr>
            <a:r>
              <a:rPr lang="pt-BR" sz="1187" dirty="0" err="1"/>
              <a:t>Xxxx</a:t>
            </a:r>
            <a:endParaRPr lang="pt-BR" sz="1187" dirty="0"/>
          </a:p>
        </p:txBody>
      </p:sp>
      <p:grpSp>
        <p:nvGrpSpPr>
          <p:cNvPr id="28" name="25 Grupo"/>
          <p:cNvGrpSpPr/>
          <p:nvPr>
            <p:custDataLst>
              <p:tags r:id="rId1"/>
            </p:custDataLst>
          </p:nvPr>
        </p:nvGrpSpPr>
        <p:grpSpPr>
          <a:xfrm>
            <a:off x="403268" y="1281346"/>
            <a:ext cx="9885278" cy="322326"/>
            <a:chOff x="559574" y="1151056"/>
            <a:chExt cx="8857922" cy="261720"/>
          </a:xfrm>
        </p:grpSpPr>
        <p:sp>
          <p:nvSpPr>
            <p:cNvPr id="29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3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482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066" name="Rectangle 2"/>
          <p:cNvSpPr>
            <a:spLocks noChangeArrowheads="1"/>
          </p:cNvSpPr>
          <p:nvPr/>
        </p:nvSpPr>
        <p:spPr bwMode="gray">
          <a:xfrm>
            <a:off x="3202404" y="2765486"/>
            <a:ext cx="4283579" cy="220004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lIns="77712" tIns="77712" rIns="77712" bIns="77712" anchor="ctr"/>
          <a:lstStyle/>
          <a:p>
            <a:pPr algn="ctr" defTabSz="1031460">
              <a:spcBef>
                <a:spcPct val="50000"/>
              </a:spcBef>
            </a:pPr>
            <a:r>
              <a:rPr lang="pt-BR" sz="1511" b="1">
                <a:solidFill>
                  <a:schemeClr val="bg1"/>
                </a:solidFill>
              </a:rPr>
              <a:t>Texto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728068" name="AutoShape 4"/>
          <p:cNvSpPr>
            <a:spLocks noChangeArrowheads="1"/>
          </p:cNvSpPr>
          <p:nvPr/>
        </p:nvSpPr>
        <p:spPr bwMode="gray">
          <a:xfrm rot="5400000" flipH="1" flipV="1">
            <a:off x="705935" y="2791188"/>
            <a:ext cx="2254876" cy="2203473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79765" tIns="89882" rIns="179765" bIns="89882" anchor="ctr">
            <a:noAutofit/>
          </a:bodyPr>
          <a:lstStyle/>
          <a:p>
            <a:endParaRPr lang="pt-BR" sz="2159" dirty="0"/>
          </a:p>
        </p:txBody>
      </p:sp>
      <p:sp>
        <p:nvSpPr>
          <p:cNvPr id="72806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94413" y="3762703"/>
            <a:ext cx="1675736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8071" name="AutoShape 7"/>
          <p:cNvSpPr>
            <a:spLocks noChangeArrowheads="1"/>
          </p:cNvSpPr>
          <p:nvPr/>
        </p:nvSpPr>
        <p:spPr bwMode="gray">
          <a:xfrm rot="16200000" flipV="1">
            <a:off x="7731004" y="2791188"/>
            <a:ext cx="2254876" cy="2203473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79765" tIns="89882" rIns="179765" bIns="89882" anchor="ctr">
            <a:noAutofit/>
          </a:bodyPr>
          <a:lstStyle/>
          <a:p>
            <a:endParaRPr lang="pt-BR" sz="2159" dirty="0"/>
          </a:p>
        </p:txBody>
      </p:sp>
      <p:sp>
        <p:nvSpPr>
          <p:cNvPr id="728072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171356" y="3762703"/>
            <a:ext cx="1675736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8074" name="AutoShape 10"/>
          <p:cNvSpPr>
            <a:spLocks noChangeArrowheads="1"/>
          </p:cNvSpPr>
          <p:nvPr/>
        </p:nvSpPr>
        <p:spPr bwMode="gray">
          <a:xfrm flipV="1">
            <a:off x="3851794" y="5130022"/>
            <a:ext cx="2984798" cy="1723712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vert="eaVert" wrap="none" lIns="179765" tIns="89882" rIns="179765" bIns="89882" anchor="ctr">
            <a:noAutofit/>
          </a:bodyPr>
          <a:lstStyle/>
          <a:p>
            <a:endParaRPr lang="pt-BR" sz="2159" dirty="0"/>
          </a:p>
        </p:txBody>
      </p:sp>
      <p:sp>
        <p:nvSpPr>
          <p:cNvPr id="728075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04612" y="5537818"/>
            <a:ext cx="1677450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8077" name="AutoShape 13"/>
          <p:cNvSpPr>
            <a:spLocks noChangeArrowheads="1"/>
          </p:cNvSpPr>
          <p:nvPr/>
        </p:nvSpPr>
        <p:spPr bwMode="gray">
          <a:xfrm>
            <a:off x="3851794" y="894419"/>
            <a:ext cx="2984798" cy="1723712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vert="eaVert" wrap="none" lIns="179765" tIns="89882" rIns="179765" bIns="89882" anchor="ctr">
            <a:noAutofit/>
          </a:bodyPr>
          <a:lstStyle/>
          <a:p>
            <a:endParaRPr lang="pt-BR" sz="2159" dirty="0"/>
          </a:p>
        </p:txBody>
      </p:sp>
      <p:sp>
        <p:nvSpPr>
          <p:cNvPr id="728078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04612" y="1084610"/>
            <a:ext cx="1677450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28079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4</a:t>
            </a:r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372744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1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5</a:t>
            </a:r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30115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47640" y="3762842"/>
            <a:ext cx="280491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30117" name="Freeform 5"/>
          <p:cNvSpPr>
            <a:spLocks/>
          </p:cNvSpPr>
          <p:nvPr/>
        </p:nvSpPr>
        <p:spPr bwMode="gray">
          <a:xfrm>
            <a:off x="414651" y="4063637"/>
            <a:ext cx="3335036" cy="2340234"/>
          </a:xfrm>
          <a:custGeom>
            <a:avLst/>
            <a:gdLst/>
            <a:ahLst/>
            <a:cxnLst>
              <a:cxn ang="0">
                <a:pos x="1621" y="152"/>
              </a:cxn>
              <a:cxn ang="0">
                <a:pos x="1688" y="86"/>
              </a:cxn>
              <a:cxn ang="0">
                <a:pos x="1600" y="0"/>
              </a:cxn>
              <a:cxn ang="0">
                <a:pos x="1988" y="0"/>
              </a:cxn>
              <a:cxn ang="0">
                <a:pos x="1988" y="386"/>
              </a:cxn>
              <a:cxn ang="0">
                <a:pos x="1901" y="299"/>
              </a:cxn>
              <a:cxn ang="0">
                <a:pos x="1836" y="363"/>
              </a:cxn>
              <a:cxn ang="0">
                <a:pos x="1836" y="1395"/>
              </a:cxn>
              <a:cxn ang="0">
                <a:pos x="0" y="1395"/>
              </a:cxn>
              <a:cxn ang="0">
                <a:pos x="0" y="152"/>
              </a:cxn>
              <a:cxn ang="0">
                <a:pos x="1621" y="152"/>
              </a:cxn>
            </a:cxnLst>
            <a:rect l="0" t="0" r="r" b="b"/>
            <a:pathLst>
              <a:path w="1988" h="1395">
                <a:moveTo>
                  <a:pt x="1621" y="152"/>
                </a:moveTo>
                <a:lnTo>
                  <a:pt x="1688" y="86"/>
                </a:lnTo>
                <a:lnTo>
                  <a:pt x="1600" y="0"/>
                </a:lnTo>
                <a:lnTo>
                  <a:pt x="1988" y="0"/>
                </a:lnTo>
                <a:lnTo>
                  <a:pt x="1988" y="386"/>
                </a:lnTo>
                <a:lnTo>
                  <a:pt x="1901" y="299"/>
                </a:lnTo>
                <a:lnTo>
                  <a:pt x="1836" y="363"/>
                </a:lnTo>
                <a:lnTo>
                  <a:pt x="1836" y="1395"/>
                </a:lnTo>
                <a:lnTo>
                  <a:pt x="0" y="1395"/>
                </a:lnTo>
                <a:lnTo>
                  <a:pt x="0" y="152"/>
                </a:lnTo>
                <a:lnTo>
                  <a:pt x="1621" y="152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20" name="Freeform 8"/>
          <p:cNvSpPr>
            <a:spLocks/>
          </p:cNvSpPr>
          <p:nvPr/>
        </p:nvSpPr>
        <p:spPr bwMode="gray">
          <a:xfrm>
            <a:off x="6938772" y="4063637"/>
            <a:ext cx="3338391" cy="2340234"/>
          </a:xfrm>
          <a:custGeom>
            <a:avLst/>
            <a:gdLst/>
            <a:ahLst/>
            <a:cxnLst>
              <a:cxn ang="0">
                <a:pos x="154" y="365"/>
              </a:cxn>
              <a:cxn ang="0">
                <a:pos x="154" y="1395"/>
              </a:cxn>
              <a:cxn ang="0">
                <a:pos x="1990" y="1395"/>
              </a:cxn>
              <a:cxn ang="0">
                <a:pos x="1990" y="152"/>
              </a:cxn>
              <a:cxn ang="0">
                <a:pos x="367" y="152"/>
              </a:cxn>
              <a:cxn ang="0">
                <a:pos x="300" y="86"/>
              </a:cxn>
              <a:cxn ang="0">
                <a:pos x="388" y="0"/>
              </a:cxn>
              <a:cxn ang="0">
                <a:pos x="0" y="0"/>
              </a:cxn>
              <a:cxn ang="0">
                <a:pos x="0" y="386"/>
              </a:cxn>
              <a:cxn ang="0">
                <a:pos x="87" y="299"/>
              </a:cxn>
              <a:cxn ang="0">
                <a:pos x="154" y="365"/>
              </a:cxn>
            </a:cxnLst>
            <a:rect l="0" t="0" r="r" b="b"/>
            <a:pathLst>
              <a:path w="1990" h="1395">
                <a:moveTo>
                  <a:pt x="154" y="365"/>
                </a:moveTo>
                <a:lnTo>
                  <a:pt x="154" y="1395"/>
                </a:lnTo>
                <a:lnTo>
                  <a:pt x="1990" y="1395"/>
                </a:lnTo>
                <a:lnTo>
                  <a:pt x="1990" y="152"/>
                </a:lnTo>
                <a:lnTo>
                  <a:pt x="367" y="152"/>
                </a:lnTo>
                <a:lnTo>
                  <a:pt x="300" y="86"/>
                </a:lnTo>
                <a:lnTo>
                  <a:pt x="388" y="0"/>
                </a:lnTo>
                <a:lnTo>
                  <a:pt x="0" y="0"/>
                </a:lnTo>
                <a:lnTo>
                  <a:pt x="0" y="386"/>
                </a:lnTo>
                <a:lnTo>
                  <a:pt x="87" y="299"/>
                </a:lnTo>
                <a:lnTo>
                  <a:pt x="154" y="365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23" name="Freeform 11"/>
          <p:cNvSpPr>
            <a:spLocks/>
          </p:cNvSpPr>
          <p:nvPr/>
        </p:nvSpPr>
        <p:spPr bwMode="gray">
          <a:xfrm>
            <a:off x="3803369" y="4137449"/>
            <a:ext cx="3081719" cy="2680785"/>
          </a:xfrm>
          <a:custGeom>
            <a:avLst/>
            <a:gdLst/>
            <a:ahLst/>
            <a:cxnLst>
              <a:cxn ang="0">
                <a:pos x="1069" y="355"/>
              </a:cxn>
              <a:cxn ang="0">
                <a:pos x="1069" y="273"/>
              </a:cxn>
              <a:cxn ang="0">
                <a:pos x="1192" y="273"/>
              </a:cxn>
              <a:cxn ang="0">
                <a:pos x="920" y="0"/>
              </a:cxn>
              <a:cxn ang="0">
                <a:pos x="645" y="273"/>
              </a:cxn>
              <a:cxn ang="0">
                <a:pos x="768" y="273"/>
              </a:cxn>
              <a:cxn ang="0">
                <a:pos x="768" y="355"/>
              </a:cxn>
              <a:cxn ang="0">
                <a:pos x="0" y="355"/>
              </a:cxn>
              <a:cxn ang="0">
                <a:pos x="0" y="1598"/>
              </a:cxn>
              <a:cxn ang="0">
                <a:pos x="1837" y="1598"/>
              </a:cxn>
              <a:cxn ang="0">
                <a:pos x="1837" y="355"/>
              </a:cxn>
              <a:cxn ang="0">
                <a:pos x="1069" y="355"/>
              </a:cxn>
            </a:cxnLst>
            <a:rect l="0" t="0" r="r" b="b"/>
            <a:pathLst>
              <a:path w="1837" h="1598">
                <a:moveTo>
                  <a:pt x="1069" y="355"/>
                </a:moveTo>
                <a:lnTo>
                  <a:pt x="1069" y="273"/>
                </a:lnTo>
                <a:lnTo>
                  <a:pt x="1192" y="273"/>
                </a:lnTo>
                <a:lnTo>
                  <a:pt x="920" y="0"/>
                </a:lnTo>
                <a:lnTo>
                  <a:pt x="645" y="273"/>
                </a:lnTo>
                <a:lnTo>
                  <a:pt x="768" y="273"/>
                </a:lnTo>
                <a:lnTo>
                  <a:pt x="768" y="355"/>
                </a:lnTo>
                <a:lnTo>
                  <a:pt x="0" y="355"/>
                </a:lnTo>
                <a:lnTo>
                  <a:pt x="0" y="1598"/>
                </a:lnTo>
                <a:lnTo>
                  <a:pt x="1837" y="1598"/>
                </a:lnTo>
                <a:lnTo>
                  <a:pt x="1837" y="355"/>
                </a:lnTo>
                <a:lnTo>
                  <a:pt x="1069" y="355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26" name="Freeform 14"/>
          <p:cNvSpPr>
            <a:spLocks/>
          </p:cNvSpPr>
          <p:nvPr/>
        </p:nvSpPr>
        <p:spPr bwMode="gray">
          <a:xfrm>
            <a:off x="3803369" y="928226"/>
            <a:ext cx="3081719" cy="269420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43"/>
              </a:cxn>
              <a:cxn ang="0">
                <a:pos x="768" y="1243"/>
              </a:cxn>
              <a:cxn ang="0">
                <a:pos x="768" y="1331"/>
              </a:cxn>
              <a:cxn ang="0">
                <a:pos x="645" y="1331"/>
              </a:cxn>
              <a:cxn ang="0">
                <a:pos x="920" y="1606"/>
              </a:cxn>
              <a:cxn ang="0">
                <a:pos x="1192" y="1331"/>
              </a:cxn>
              <a:cxn ang="0">
                <a:pos x="1069" y="1331"/>
              </a:cxn>
              <a:cxn ang="0">
                <a:pos x="1069" y="1243"/>
              </a:cxn>
              <a:cxn ang="0">
                <a:pos x="1837" y="1243"/>
              </a:cxn>
              <a:cxn ang="0">
                <a:pos x="1837" y="0"/>
              </a:cxn>
              <a:cxn ang="0">
                <a:pos x="0" y="0"/>
              </a:cxn>
            </a:cxnLst>
            <a:rect l="0" t="0" r="r" b="b"/>
            <a:pathLst>
              <a:path w="1837" h="1606">
                <a:moveTo>
                  <a:pt x="0" y="0"/>
                </a:moveTo>
                <a:lnTo>
                  <a:pt x="0" y="1243"/>
                </a:lnTo>
                <a:lnTo>
                  <a:pt x="768" y="1243"/>
                </a:lnTo>
                <a:lnTo>
                  <a:pt x="768" y="1331"/>
                </a:lnTo>
                <a:lnTo>
                  <a:pt x="645" y="1331"/>
                </a:lnTo>
                <a:lnTo>
                  <a:pt x="920" y="1606"/>
                </a:lnTo>
                <a:lnTo>
                  <a:pt x="1192" y="1331"/>
                </a:lnTo>
                <a:lnTo>
                  <a:pt x="1069" y="1331"/>
                </a:lnTo>
                <a:lnTo>
                  <a:pt x="1069" y="1243"/>
                </a:lnTo>
                <a:lnTo>
                  <a:pt x="1837" y="1243"/>
                </a:lnTo>
                <a:lnTo>
                  <a:pt x="183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29" name="Freeform 17"/>
          <p:cNvSpPr>
            <a:spLocks/>
          </p:cNvSpPr>
          <p:nvPr/>
        </p:nvSpPr>
        <p:spPr bwMode="gray">
          <a:xfrm>
            <a:off x="414651" y="1329170"/>
            <a:ext cx="3335036" cy="234023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44"/>
              </a:cxn>
              <a:cxn ang="0">
                <a:pos x="1623" y="1244"/>
              </a:cxn>
              <a:cxn ang="0">
                <a:pos x="1688" y="1307"/>
              </a:cxn>
              <a:cxn ang="0">
                <a:pos x="1600" y="1395"/>
              </a:cxn>
              <a:cxn ang="0">
                <a:pos x="1988" y="1395"/>
              </a:cxn>
              <a:cxn ang="0">
                <a:pos x="1988" y="1008"/>
              </a:cxn>
              <a:cxn ang="0">
                <a:pos x="1901" y="1094"/>
              </a:cxn>
              <a:cxn ang="0">
                <a:pos x="1836" y="1031"/>
              </a:cxn>
              <a:cxn ang="0">
                <a:pos x="1836" y="0"/>
              </a:cxn>
              <a:cxn ang="0">
                <a:pos x="0" y="0"/>
              </a:cxn>
            </a:cxnLst>
            <a:rect l="0" t="0" r="r" b="b"/>
            <a:pathLst>
              <a:path w="1988" h="1395">
                <a:moveTo>
                  <a:pt x="0" y="0"/>
                </a:moveTo>
                <a:lnTo>
                  <a:pt x="0" y="1244"/>
                </a:lnTo>
                <a:lnTo>
                  <a:pt x="1623" y="1244"/>
                </a:lnTo>
                <a:lnTo>
                  <a:pt x="1688" y="1307"/>
                </a:lnTo>
                <a:lnTo>
                  <a:pt x="1600" y="1395"/>
                </a:lnTo>
                <a:lnTo>
                  <a:pt x="1988" y="1395"/>
                </a:lnTo>
                <a:lnTo>
                  <a:pt x="1988" y="1008"/>
                </a:lnTo>
                <a:lnTo>
                  <a:pt x="1901" y="1094"/>
                </a:lnTo>
                <a:lnTo>
                  <a:pt x="1836" y="1031"/>
                </a:lnTo>
                <a:lnTo>
                  <a:pt x="18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32" name="Freeform 20"/>
          <p:cNvSpPr>
            <a:spLocks/>
          </p:cNvSpPr>
          <p:nvPr/>
        </p:nvSpPr>
        <p:spPr bwMode="gray">
          <a:xfrm>
            <a:off x="6938772" y="1329170"/>
            <a:ext cx="3338391" cy="2340234"/>
          </a:xfrm>
          <a:custGeom>
            <a:avLst/>
            <a:gdLst/>
            <a:ahLst/>
            <a:cxnLst>
              <a:cxn ang="0">
                <a:pos x="154" y="0"/>
              </a:cxn>
              <a:cxn ang="0">
                <a:pos x="154" y="1029"/>
              </a:cxn>
              <a:cxn ang="0">
                <a:pos x="87" y="1094"/>
              </a:cxn>
              <a:cxn ang="0">
                <a:pos x="0" y="1008"/>
              </a:cxn>
              <a:cxn ang="0">
                <a:pos x="0" y="1395"/>
              </a:cxn>
              <a:cxn ang="0">
                <a:pos x="388" y="1395"/>
              </a:cxn>
              <a:cxn ang="0">
                <a:pos x="300" y="1307"/>
              </a:cxn>
              <a:cxn ang="0">
                <a:pos x="365" y="1244"/>
              </a:cxn>
              <a:cxn ang="0">
                <a:pos x="1990" y="1244"/>
              </a:cxn>
              <a:cxn ang="0">
                <a:pos x="1990" y="0"/>
              </a:cxn>
              <a:cxn ang="0">
                <a:pos x="154" y="0"/>
              </a:cxn>
            </a:cxnLst>
            <a:rect l="0" t="0" r="r" b="b"/>
            <a:pathLst>
              <a:path w="1990" h="1395">
                <a:moveTo>
                  <a:pt x="154" y="0"/>
                </a:moveTo>
                <a:lnTo>
                  <a:pt x="154" y="1029"/>
                </a:lnTo>
                <a:lnTo>
                  <a:pt x="87" y="1094"/>
                </a:lnTo>
                <a:lnTo>
                  <a:pt x="0" y="1008"/>
                </a:lnTo>
                <a:lnTo>
                  <a:pt x="0" y="1395"/>
                </a:lnTo>
                <a:lnTo>
                  <a:pt x="388" y="1395"/>
                </a:lnTo>
                <a:lnTo>
                  <a:pt x="300" y="1307"/>
                </a:lnTo>
                <a:lnTo>
                  <a:pt x="365" y="1244"/>
                </a:lnTo>
                <a:lnTo>
                  <a:pt x="1990" y="1244"/>
                </a:lnTo>
                <a:lnTo>
                  <a:pt x="1990" y="0"/>
                </a:lnTo>
                <a:lnTo>
                  <a:pt x="154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/>
            <a:tailEnd/>
          </a:ln>
          <a:effectLst/>
        </p:spPr>
        <p:txBody>
          <a:bodyPr wrap="none" lIns="179765" tIns="89882" rIns="179765" bIns="89882" anchor="ctr"/>
          <a:lstStyle/>
          <a:p>
            <a:endParaRPr lang="pt-BR" sz="2159" dirty="0"/>
          </a:p>
        </p:txBody>
      </p:sp>
      <p:sp>
        <p:nvSpPr>
          <p:cNvPr id="730133" name="Rectangle 2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378299" y="1490218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4" name="Rectangle 2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378299" y="4569460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5" name="Rectangle 2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68437" y="1490218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6" name="Rectangle 21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8437" y="4569460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7" name="Rectangle 2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982870" y="1115182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8" name="Rectangle 2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982870" y="4934627"/>
            <a:ext cx="272271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lvl="1" indent="1714" defTabSz="1158251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27224307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21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 smtClean="0"/>
              <a:t>Força 16</a:t>
            </a:r>
            <a:endParaRPr lang="pt-BR" dirty="0"/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32163" name="Rectangle 3"/>
          <p:cNvSpPr>
            <a:spLocks noChangeArrowheads="1"/>
          </p:cNvSpPr>
          <p:nvPr/>
        </p:nvSpPr>
        <p:spPr bwMode="gray">
          <a:xfrm>
            <a:off x="3707866" y="2397099"/>
            <a:ext cx="3265800" cy="2948815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lIns="77712" tIns="77712" rIns="77712" bIns="77712" anchor="ctr"/>
          <a:lstStyle/>
          <a:p>
            <a:pPr algn="ctr" defTabSz="1031460">
              <a:spcBef>
                <a:spcPct val="5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32165" name="AutoShape 5"/>
          <p:cNvSpPr>
            <a:spLocks noChangeArrowheads="1"/>
          </p:cNvSpPr>
          <p:nvPr/>
        </p:nvSpPr>
        <p:spPr bwMode="gray">
          <a:xfrm flipV="1">
            <a:off x="3728427" y="4992947"/>
            <a:ext cx="3245239" cy="1764834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732166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437787" y="5869961"/>
            <a:ext cx="1824805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2168" name="AutoShape 8"/>
          <p:cNvSpPr>
            <a:spLocks noChangeArrowheads="1"/>
          </p:cNvSpPr>
          <p:nvPr/>
        </p:nvSpPr>
        <p:spPr bwMode="gray">
          <a:xfrm rot="16200000" flipV="1">
            <a:off x="6091250" y="2893994"/>
            <a:ext cx="2948815" cy="1955025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73216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908556" y="3772720"/>
            <a:ext cx="1552369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2171" name="AutoShape 11"/>
          <p:cNvSpPr>
            <a:spLocks noChangeArrowheads="1"/>
          </p:cNvSpPr>
          <p:nvPr/>
        </p:nvSpPr>
        <p:spPr bwMode="gray">
          <a:xfrm rot="5400000" flipH="1" flipV="1">
            <a:off x="1651749" y="2893993"/>
            <a:ext cx="2948815" cy="1955026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732172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49736" y="3772720"/>
            <a:ext cx="1548942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2174" name="AutoShape 14"/>
          <p:cNvSpPr>
            <a:spLocks noChangeArrowheads="1"/>
          </p:cNvSpPr>
          <p:nvPr/>
        </p:nvSpPr>
        <p:spPr bwMode="gray">
          <a:xfrm>
            <a:off x="3728427" y="990371"/>
            <a:ext cx="3245239" cy="1764834"/>
          </a:xfrm>
          <a:prstGeom prst="downArrow">
            <a:avLst>
              <a:gd name="adj1" fmla="val 66361"/>
              <a:gd name="adj2" fmla="val 20477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732175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37787" y="1625790"/>
            <a:ext cx="1824805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4264655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2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7</a:t>
            </a:r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34211" name="Rectangle 3"/>
          <p:cNvSpPr>
            <a:spLocks noChangeArrowheads="1"/>
          </p:cNvSpPr>
          <p:nvPr/>
        </p:nvSpPr>
        <p:spPr bwMode="gray">
          <a:xfrm>
            <a:off x="3467985" y="1757988"/>
            <a:ext cx="3755842" cy="39546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77712" rIns="77712" bIns="77712" anchor="ctr">
            <a:noAutofit/>
          </a:bodyPr>
          <a:lstStyle/>
          <a:p>
            <a:pPr algn="ctr" defTabSz="1031460">
              <a:spcBef>
                <a:spcPct val="50000"/>
              </a:spcBef>
            </a:pPr>
            <a:r>
              <a:rPr lang="pt-BR" sz="1511" b="1">
                <a:solidFill>
                  <a:schemeClr val="bg1"/>
                </a:solidFill>
              </a:rPr>
              <a:t>Texto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734213" name="Freeform 5"/>
          <p:cNvSpPr>
            <a:spLocks/>
          </p:cNvSpPr>
          <p:nvPr/>
        </p:nvSpPr>
        <p:spPr bwMode="gray">
          <a:xfrm>
            <a:off x="3656463" y="1019500"/>
            <a:ext cx="3377174" cy="1571216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391" y="0"/>
              </a:cxn>
              <a:cxn ang="0">
                <a:pos x="688" y="695"/>
              </a:cxn>
              <a:cxn ang="0">
                <a:pos x="0" y="0"/>
              </a:cxn>
              <a:cxn ang="0">
                <a:pos x="16" y="0"/>
              </a:cxn>
            </a:cxnLst>
            <a:rect l="0" t="0" r="r" b="b"/>
            <a:pathLst>
              <a:path w="1392" h="696">
                <a:moveTo>
                  <a:pt x="16" y="0"/>
                </a:moveTo>
                <a:lnTo>
                  <a:pt x="1391" y="0"/>
                </a:lnTo>
                <a:lnTo>
                  <a:pt x="688" y="695"/>
                </a:lnTo>
                <a:lnTo>
                  <a:pt x="0" y="0"/>
                </a:lnTo>
                <a:lnTo>
                  <a:pt x="16" y="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34214" name="Rectangle 6"/>
          <p:cNvSpPr>
            <a:spLocks noChangeArrowheads="1"/>
          </p:cNvSpPr>
          <p:nvPr/>
        </p:nvSpPr>
        <p:spPr bwMode="gray">
          <a:xfrm>
            <a:off x="4655394" y="1451021"/>
            <a:ext cx="135361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4216" name="Freeform 8"/>
          <p:cNvSpPr>
            <a:spLocks/>
          </p:cNvSpPr>
          <p:nvPr/>
        </p:nvSpPr>
        <p:spPr bwMode="gray">
          <a:xfrm>
            <a:off x="3666744" y="5174571"/>
            <a:ext cx="3356613" cy="1552369"/>
          </a:xfrm>
          <a:custGeom>
            <a:avLst/>
            <a:gdLst/>
            <a:ahLst/>
            <a:cxnLst>
              <a:cxn ang="0">
                <a:pos x="16" y="687"/>
              </a:cxn>
              <a:cxn ang="0">
                <a:pos x="1383" y="687"/>
              </a:cxn>
              <a:cxn ang="0">
                <a:pos x="688" y="0"/>
              </a:cxn>
              <a:cxn ang="0">
                <a:pos x="0" y="687"/>
              </a:cxn>
              <a:cxn ang="0">
                <a:pos x="16" y="687"/>
              </a:cxn>
            </a:cxnLst>
            <a:rect l="0" t="0" r="r" b="b"/>
            <a:pathLst>
              <a:path w="1384" h="688">
                <a:moveTo>
                  <a:pt x="16" y="687"/>
                </a:moveTo>
                <a:lnTo>
                  <a:pt x="1383" y="687"/>
                </a:lnTo>
                <a:lnTo>
                  <a:pt x="688" y="0"/>
                </a:lnTo>
                <a:lnTo>
                  <a:pt x="0" y="687"/>
                </a:lnTo>
                <a:lnTo>
                  <a:pt x="16" y="687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34217" name="Rectangle 9"/>
          <p:cNvSpPr>
            <a:spLocks noChangeArrowheads="1"/>
          </p:cNvSpPr>
          <p:nvPr/>
        </p:nvSpPr>
        <p:spPr bwMode="gray">
          <a:xfrm>
            <a:off x="4663960" y="6101274"/>
            <a:ext cx="1351898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4219" name="Freeform 11"/>
          <p:cNvSpPr>
            <a:spLocks/>
          </p:cNvSpPr>
          <p:nvPr/>
        </p:nvSpPr>
        <p:spPr bwMode="gray">
          <a:xfrm>
            <a:off x="2352542" y="1910484"/>
            <a:ext cx="1961879" cy="3659890"/>
          </a:xfrm>
          <a:custGeom>
            <a:avLst/>
            <a:gdLst/>
            <a:ahLst/>
            <a:cxnLst>
              <a:cxn ang="0">
                <a:pos x="0" y="1598"/>
              </a:cxn>
              <a:cxn ang="0">
                <a:pos x="0" y="0"/>
              </a:cxn>
              <a:cxn ang="0">
                <a:pos x="808" y="815"/>
              </a:cxn>
              <a:cxn ang="0">
                <a:pos x="0" y="1622"/>
              </a:cxn>
              <a:cxn ang="0">
                <a:pos x="0" y="1598"/>
              </a:cxn>
            </a:cxnLst>
            <a:rect l="0" t="0" r="r" b="b"/>
            <a:pathLst>
              <a:path w="809" h="1623">
                <a:moveTo>
                  <a:pt x="0" y="1598"/>
                </a:moveTo>
                <a:lnTo>
                  <a:pt x="0" y="0"/>
                </a:lnTo>
                <a:lnTo>
                  <a:pt x="808" y="815"/>
                </a:lnTo>
                <a:lnTo>
                  <a:pt x="0" y="1622"/>
                </a:lnTo>
                <a:lnTo>
                  <a:pt x="0" y="159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34220" name="Rectangle 12"/>
          <p:cNvSpPr>
            <a:spLocks noChangeArrowheads="1"/>
          </p:cNvSpPr>
          <p:nvPr/>
        </p:nvSpPr>
        <p:spPr bwMode="gray">
          <a:xfrm>
            <a:off x="2522171" y="3651068"/>
            <a:ext cx="135361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734222" name="Freeform 14"/>
          <p:cNvSpPr>
            <a:spLocks/>
          </p:cNvSpPr>
          <p:nvPr/>
        </p:nvSpPr>
        <p:spPr bwMode="gray">
          <a:xfrm flipH="1">
            <a:off x="6375679" y="1910484"/>
            <a:ext cx="1961879" cy="3659890"/>
          </a:xfrm>
          <a:custGeom>
            <a:avLst/>
            <a:gdLst/>
            <a:ahLst/>
            <a:cxnLst>
              <a:cxn ang="0">
                <a:pos x="0" y="1598"/>
              </a:cxn>
              <a:cxn ang="0">
                <a:pos x="0" y="0"/>
              </a:cxn>
              <a:cxn ang="0">
                <a:pos x="808" y="815"/>
              </a:cxn>
              <a:cxn ang="0">
                <a:pos x="0" y="1622"/>
              </a:cxn>
              <a:cxn ang="0">
                <a:pos x="0" y="1598"/>
              </a:cxn>
            </a:cxnLst>
            <a:rect l="0" t="0" r="r" b="b"/>
            <a:pathLst>
              <a:path w="809" h="1623">
                <a:moveTo>
                  <a:pt x="0" y="1598"/>
                </a:moveTo>
                <a:lnTo>
                  <a:pt x="0" y="0"/>
                </a:lnTo>
                <a:lnTo>
                  <a:pt x="808" y="815"/>
                </a:lnTo>
                <a:lnTo>
                  <a:pt x="0" y="1622"/>
                </a:lnTo>
                <a:lnTo>
                  <a:pt x="0" y="159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34223" name="Rectangle 15"/>
          <p:cNvSpPr>
            <a:spLocks noChangeArrowheads="1"/>
          </p:cNvSpPr>
          <p:nvPr/>
        </p:nvSpPr>
        <p:spPr bwMode="gray">
          <a:xfrm>
            <a:off x="6617273" y="3651068"/>
            <a:ext cx="135361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3165112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8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243527" y="1734000"/>
            <a:ext cx="4204761" cy="4211615"/>
            <a:chOff x="1893" y="966"/>
            <a:chExt cx="2454" cy="2458"/>
          </a:xfrm>
          <a:solidFill>
            <a:schemeClr val="accent6"/>
          </a:solidFill>
        </p:grpSpPr>
        <p:sp>
          <p:nvSpPr>
            <p:cNvPr id="736260" name="Freeform 4"/>
            <p:cNvSpPr>
              <a:spLocks/>
            </p:cNvSpPr>
            <p:nvPr/>
          </p:nvSpPr>
          <p:spPr bwMode="gray">
            <a:xfrm>
              <a:off x="1893" y="966"/>
              <a:ext cx="2454" cy="2458"/>
            </a:xfrm>
            <a:custGeom>
              <a:avLst/>
              <a:gdLst/>
              <a:ahLst/>
              <a:cxnLst>
                <a:cxn ang="0">
                  <a:pos x="265" y="717"/>
                </a:cxn>
                <a:cxn ang="0">
                  <a:pos x="265" y="844"/>
                </a:cxn>
                <a:cxn ang="0">
                  <a:pos x="360" y="844"/>
                </a:cxn>
                <a:cxn ang="0">
                  <a:pos x="360" y="362"/>
                </a:cxn>
                <a:cxn ang="0">
                  <a:pos x="837" y="362"/>
                </a:cxn>
                <a:cxn ang="0">
                  <a:pos x="837" y="264"/>
                </a:cxn>
                <a:cxn ang="0">
                  <a:pos x="710" y="264"/>
                </a:cxn>
                <a:cxn ang="0">
                  <a:pos x="986" y="0"/>
                </a:cxn>
                <a:cxn ang="0">
                  <a:pos x="1265" y="264"/>
                </a:cxn>
                <a:cxn ang="0">
                  <a:pos x="1138" y="264"/>
                </a:cxn>
                <a:cxn ang="0">
                  <a:pos x="1138" y="362"/>
                </a:cxn>
                <a:cxn ang="0">
                  <a:pos x="1626" y="362"/>
                </a:cxn>
                <a:cxn ang="0">
                  <a:pos x="1626" y="844"/>
                </a:cxn>
                <a:cxn ang="0">
                  <a:pos x="1721" y="844"/>
                </a:cxn>
                <a:cxn ang="0">
                  <a:pos x="1721" y="717"/>
                </a:cxn>
                <a:cxn ang="0">
                  <a:pos x="1986" y="995"/>
                </a:cxn>
                <a:cxn ang="0">
                  <a:pos x="1721" y="1272"/>
                </a:cxn>
                <a:cxn ang="0">
                  <a:pos x="1721" y="1145"/>
                </a:cxn>
                <a:cxn ang="0">
                  <a:pos x="1626" y="1145"/>
                </a:cxn>
                <a:cxn ang="0">
                  <a:pos x="1626" y="1629"/>
                </a:cxn>
                <a:cxn ang="0">
                  <a:pos x="1144" y="1629"/>
                </a:cxn>
                <a:cxn ang="0">
                  <a:pos x="1144" y="1725"/>
                </a:cxn>
                <a:cxn ang="0">
                  <a:pos x="1270" y="1725"/>
                </a:cxn>
                <a:cxn ang="0">
                  <a:pos x="992" y="1989"/>
                </a:cxn>
                <a:cxn ang="0">
                  <a:pos x="716" y="1725"/>
                </a:cxn>
                <a:cxn ang="0">
                  <a:pos x="842" y="1725"/>
                </a:cxn>
                <a:cxn ang="0">
                  <a:pos x="842" y="1629"/>
                </a:cxn>
                <a:cxn ang="0">
                  <a:pos x="360" y="1629"/>
                </a:cxn>
                <a:cxn ang="0">
                  <a:pos x="360" y="1145"/>
                </a:cxn>
                <a:cxn ang="0">
                  <a:pos x="265" y="1145"/>
                </a:cxn>
                <a:cxn ang="0">
                  <a:pos x="265" y="1272"/>
                </a:cxn>
                <a:cxn ang="0">
                  <a:pos x="0" y="995"/>
                </a:cxn>
                <a:cxn ang="0">
                  <a:pos x="265" y="717"/>
                </a:cxn>
              </a:cxnLst>
              <a:rect l="0" t="0" r="r" b="b"/>
              <a:pathLst>
                <a:path w="1986" h="1989">
                  <a:moveTo>
                    <a:pt x="265" y="717"/>
                  </a:moveTo>
                  <a:lnTo>
                    <a:pt x="265" y="844"/>
                  </a:lnTo>
                  <a:lnTo>
                    <a:pt x="360" y="844"/>
                  </a:lnTo>
                  <a:lnTo>
                    <a:pt x="360" y="362"/>
                  </a:lnTo>
                  <a:lnTo>
                    <a:pt x="837" y="362"/>
                  </a:lnTo>
                  <a:lnTo>
                    <a:pt x="837" y="264"/>
                  </a:lnTo>
                  <a:lnTo>
                    <a:pt x="710" y="264"/>
                  </a:lnTo>
                  <a:lnTo>
                    <a:pt x="986" y="0"/>
                  </a:lnTo>
                  <a:lnTo>
                    <a:pt x="1265" y="264"/>
                  </a:lnTo>
                  <a:lnTo>
                    <a:pt x="1138" y="264"/>
                  </a:lnTo>
                  <a:lnTo>
                    <a:pt x="1138" y="362"/>
                  </a:lnTo>
                  <a:lnTo>
                    <a:pt x="1626" y="362"/>
                  </a:lnTo>
                  <a:lnTo>
                    <a:pt x="1626" y="844"/>
                  </a:lnTo>
                  <a:lnTo>
                    <a:pt x="1721" y="844"/>
                  </a:lnTo>
                  <a:lnTo>
                    <a:pt x="1721" y="717"/>
                  </a:lnTo>
                  <a:lnTo>
                    <a:pt x="1986" y="995"/>
                  </a:lnTo>
                  <a:lnTo>
                    <a:pt x="1721" y="1272"/>
                  </a:lnTo>
                  <a:lnTo>
                    <a:pt x="1721" y="1145"/>
                  </a:lnTo>
                  <a:lnTo>
                    <a:pt x="1626" y="1145"/>
                  </a:lnTo>
                  <a:lnTo>
                    <a:pt x="1626" y="1629"/>
                  </a:lnTo>
                  <a:lnTo>
                    <a:pt x="1144" y="1629"/>
                  </a:lnTo>
                  <a:lnTo>
                    <a:pt x="1144" y="1725"/>
                  </a:lnTo>
                  <a:lnTo>
                    <a:pt x="1270" y="1725"/>
                  </a:lnTo>
                  <a:lnTo>
                    <a:pt x="992" y="1989"/>
                  </a:lnTo>
                  <a:lnTo>
                    <a:pt x="716" y="1725"/>
                  </a:lnTo>
                  <a:lnTo>
                    <a:pt x="842" y="1725"/>
                  </a:lnTo>
                  <a:lnTo>
                    <a:pt x="842" y="1629"/>
                  </a:lnTo>
                  <a:lnTo>
                    <a:pt x="360" y="1629"/>
                  </a:lnTo>
                  <a:lnTo>
                    <a:pt x="360" y="1145"/>
                  </a:lnTo>
                  <a:lnTo>
                    <a:pt x="265" y="1145"/>
                  </a:lnTo>
                  <a:lnTo>
                    <a:pt x="265" y="1272"/>
                  </a:lnTo>
                  <a:lnTo>
                    <a:pt x="0" y="995"/>
                  </a:lnTo>
                  <a:lnTo>
                    <a:pt x="265" y="717"/>
                  </a:lnTo>
                  <a:close/>
                </a:path>
              </a:pathLst>
            </a:custGeom>
            <a:grpFill/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>
              <a:noAutofit/>
            </a:bodyPr>
            <a:lstStyle/>
            <a:p>
              <a:endParaRPr lang="pt-BR" sz="2159"/>
            </a:p>
          </p:txBody>
        </p:sp>
        <p:sp>
          <p:nvSpPr>
            <p:cNvPr id="736261" name="Rectangle 5"/>
            <p:cNvSpPr>
              <a:spLocks noChangeArrowheads="1"/>
            </p:cNvSpPr>
            <p:nvPr/>
          </p:nvSpPr>
          <p:spPr bwMode="gray">
            <a:xfrm>
              <a:off x="2632" y="2127"/>
              <a:ext cx="976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1158251">
                <a:spcBef>
                  <a:spcPct val="20000"/>
                </a:spcBef>
              </a:pPr>
              <a:r>
                <a:rPr lang="pt-BR" sz="1511" b="1"/>
                <a:t>Texto</a:t>
              </a:r>
              <a:endParaRPr lang="pt-BR" sz="1511" b="1" dirty="0"/>
            </a:p>
          </p:txBody>
        </p:sp>
      </p:grpSp>
      <p:sp>
        <p:nvSpPr>
          <p:cNvPr id="736262" name="Rectangle 6"/>
          <p:cNvSpPr>
            <a:spLocks noChangeArrowheads="1"/>
          </p:cNvSpPr>
          <p:nvPr/>
        </p:nvSpPr>
        <p:spPr bwMode="gray">
          <a:xfrm>
            <a:off x="406083" y="3723558"/>
            <a:ext cx="268494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36263" name="Rectangle 7"/>
          <p:cNvSpPr>
            <a:spLocks noChangeArrowheads="1"/>
          </p:cNvSpPr>
          <p:nvPr/>
        </p:nvSpPr>
        <p:spPr bwMode="gray">
          <a:xfrm>
            <a:off x="7600782" y="3723558"/>
            <a:ext cx="268494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36264" name="Rectangle 8"/>
          <p:cNvSpPr>
            <a:spLocks noChangeArrowheads="1"/>
          </p:cNvSpPr>
          <p:nvPr/>
        </p:nvSpPr>
        <p:spPr bwMode="gray">
          <a:xfrm>
            <a:off x="4004290" y="6134092"/>
            <a:ext cx="268323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36265" name="Rectangle 9"/>
          <p:cNvSpPr>
            <a:spLocks noChangeArrowheads="1"/>
          </p:cNvSpPr>
          <p:nvPr/>
        </p:nvSpPr>
        <p:spPr bwMode="gray">
          <a:xfrm>
            <a:off x="4004290" y="1381560"/>
            <a:ext cx="268323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</p:spTree>
    <p:extLst>
      <p:ext uri="{BB962C8B-B14F-4D97-AF65-F5344CB8AC3E}">
        <p14:creationId xmlns:p14="http://schemas.microsoft.com/office/powerpoint/2010/main" val="19936988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3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19</a:t>
            </a: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38308" name="Freeform 4"/>
          <p:cNvSpPr>
            <a:spLocks/>
          </p:cNvSpPr>
          <p:nvPr/>
        </p:nvSpPr>
        <p:spPr bwMode="gray">
          <a:xfrm>
            <a:off x="2266870" y="1644901"/>
            <a:ext cx="6127231" cy="4920975"/>
          </a:xfrm>
          <a:custGeom>
            <a:avLst/>
            <a:gdLst/>
            <a:ahLst/>
            <a:cxnLst>
              <a:cxn ang="0">
                <a:pos x="1043" y="0"/>
              </a:cxn>
              <a:cxn ang="0">
                <a:pos x="1895" y="1359"/>
              </a:cxn>
              <a:cxn ang="0">
                <a:pos x="1521" y="1142"/>
              </a:cxn>
              <a:cxn ang="0">
                <a:pos x="1558" y="1079"/>
              </a:cxn>
              <a:cxn ang="0">
                <a:pos x="1251" y="1098"/>
              </a:cxn>
              <a:cxn ang="0">
                <a:pos x="1387" y="1373"/>
              </a:cxn>
              <a:cxn ang="0">
                <a:pos x="1425" y="1307"/>
              </a:cxn>
              <a:cxn ang="0">
                <a:pos x="1801" y="1524"/>
              </a:cxn>
              <a:cxn ang="0">
                <a:pos x="107" y="1524"/>
              </a:cxn>
              <a:cxn ang="0">
                <a:pos x="464" y="1317"/>
              </a:cxn>
              <a:cxn ang="0">
                <a:pos x="500" y="1380"/>
              </a:cxn>
              <a:cxn ang="0">
                <a:pos x="637" y="1106"/>
              </a:cxn>
              <a:cxn ang="0">
                <a:pos x="332" y="1087"/>
              </a:cxn>
              <a:cxn ang="0">
                <a:pos x="370" y="1152"/>
              </a:cxn>
              <a:cxn ang="0">
                <a:pos x="0" y="1367"/>
              </a:cxn>
              <a:cxn ang="0">
                <a:pos x="853" y="4"/>
              </a:cxn>
              <a:cxn ang="0">
                <a:pos x="853" y="395"/>
              </a:cxn>
              <a:cxn ang="0">
                <a:pos x="781" y="395"/>
              </a:cxn>
              <a:cxn ang="0">
                <a:pos x="949" y="651"/>
              </a:cxn>
              <a:cxn ang="0">
                <a:pos x="1120" y="395"/>
              </a:cxn>
              <a:cxn ang="0">
                <a:pos x="1043" y="395"/>
              </a:cxn>
              <a:cxn ang="0">
                <a:pos x="1043" y="0"/>
              </a:cxn>
            </a:cxnLst>
            <a:rect l="0" t="0" r="r" b="b"/>
            <a:pathLst>
              <a:path w="1895" h="1524">
                <a:moveTo>
                  <a:pt x="1043" y="0"/>
                </a:moveTo>
                <a:lnTo>
                  <a:pt x="1895" y="1359"/>
                </a:lnTo>
                <a:lnTo>
                  <a:pt x="1521" y="1142"/>
                </a:lnTo>
                <a:lnTo>
                  <a:pt x="1558" y="1079"/>
                </a:lnTo>
                <a:lnTo>
                  <a:pt x="1251" y="1098"/>
                </a:lnTo>
                <a:lnTo>
                  <a:pt x="1387" y="1373"/>
                </a:lnTo>
                <a:lnTo>
                  <a:pt x="1425" y="1307"/>
                </a:lnTo>
                <a:lnTo>
                  <a:pt x="1801" y="1524"/>
                </a:lnTo>
                <a:lnTo>
                  <a:pt x="107" y="1524"/>
                </a:lnTo>
                <a:lnTo>
                  <a:pt x="464" y="1317"/>
                </a:lnTo>
                <a:lnTo>
                  <a:pt x="500" y="1380"/>
                </a:lnTo>
                <a:lnTo>
                  <a:pt x="637" y="1106"/>
                </a:lnTo>
                <a:lnTo>
                  <a:pt x="332" y="1087"/>
                </a:lnTo>
                <a:lnTo>
                  <a:pt x="370" y="1152"/>
                </a:lnTo>
                <a:lnTo>
                  <a:pt x="0" y="1367"/>
                </a:lnTo>
                <a:lnTo>
                  <a:pt x="853" y="4"/>
                </a:lnTo>
                <a:lnTo>
                  <a:pt x="853" y="395"/>
                </a:lnTo>
                <a:lnTo>
                  <a:pt x="781" y="395"/>
                </a:lnTo>
                <a:lnTo>
                  <a:pt x="949" y="651"/>
                </a:lnTo>
                <a:lnTo>
                  <a:pt x="1120" y="395"/>
                </a:lnTo>
                <a:lnTo>
                  <a:pt x="1043" y="395"/>
                </a:lnTo>
                <a:lnTo>
                  <a:pt x="1043" y="0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>
            <a:noAutofit/>
          </a:bodyPr>
          <a:lstStyle/>
          <a:p>
            <a:endParaRPr lang="pt-BR" sz="2159" dirty="0"/>
          </a:p>
        </p:txBody>
      </p:sp>
      <p:sp>
        <p:nvSpPr>
          <p:cNvPr id="738309" name="Freeform 5"/>
          <p:cNvSpPr>
            <a:spLocks/>
          </p:cNvSpPr>
          <p:nvPr/>
        </p:nvSpPr>
        <p:spPr bwMode="gray">
          <a:xfrm>
            <a:off x="4033419" y="3988876"/>
            <a:ext cx="2592422" cy="2242882"/>
          </a:xfrm>
          <a:custGeom>
            <a:avLst/>
            <a:gdLst/>
            <a:ahLst/>
            <a:cxnLst>
              <a:cxn ang="0">
                <a:pos x="753" y="1315"/>
              </a:cxn>
              <a:cxn ang="0">
                <a:pos x="1519" y="2"/>
              </a:cxn>
              <a:cxn ang="0">
                <a:pos x="0" y="0"/>
              </a:cxn>
              <a:cxn ang="0">
                <a:pos x="753" y="1315"/>
              </a:cxn>
            </a:cxnLst>
            <a:rect l="0" t="0" r="r" b="b"/>
            <a:pathLst>
              <a:path w="1519" h="1315">
                <a:moveTo>
                  <a:pt x="753" y="1315"/>
                </a:moveTo>
                <a:lnTo>
                  <a:pt x="1519" y="2"/>
                </a:lnTo>
                <a:lnTo>
                  <a:pt x="0" y="0"/>
                </a:lnTo>
                <a:lnTo>
                  <a:pt x="753" y="1315"/>
                </a:ln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>
            <a:noAutofit/>
          </a:bodyPr>
          <a:lstStyle/>
          <a:p>
            <a:endParaRPr lang="pt-BR" sz="2159" dirty="0"/>
          </a:p>
        </p:txBody>
      </p:sp>
      <p:sp>
        <p:nvSpPr>
          <p:cNvPr id="738310" name="Rectangle 6"/>
          <p:cNvSpPr>
            <a:spLocks noChangeArrowheads="1"/>
          </p:cNvSpPr>
          <p:nvPr/>
        </p:nvSpPr>
        <p:spPr bwMode="gray">
          <a:xfrm>
            <a:off x="4717077" y="4717348"/>
            <a:ext cx="122681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 b="1">
                <a:solidFill>
                  <a:schemeClr val="bg1"/>
                </a:solidFill>
              </a:rPr>
              <a:t>Texto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738311" name="Rectangle 7"/>
          <p:cNvSpPr>
            <a:spLocks noChangeArrowheads="1"/>
          </p:cNvSpPr>
          <p:nvPr/>
        </p:nvSpPr>
        <p:spPr bwMode="gray">
          <a:xfrm>
            <a:off x="4717077" y="1178255"/>
            <a:ext cx="122681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38312" name="Rectangle 8"/>
          <p:cNvSpPr>
            <a:spLocks noChangeArrowheads="1"/>
          </p:cNvSpPr>
          <p:nvPr/>
        </p:nvSpPr>
        <p:spPr bwMode="gray">
          <a:xfrm>
            <a:off x="8421516" y="6276571"/>
            <a:ext cx="122681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38313" name="Rectangle 9"/>
          <p:cNvSpPr>
            <a:spLocks noChangeArrowheads="1"/>
          </p:cNvSpPr>
          <p:nvPr/>
        </p:nvSpPr>
        <p:spPr bwMode="gray">
          <a:xfrm>
            <a:off x="1043480" y="6276571"/>
            <a:ext cx="1226817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</p:spTree>
    <p:extLst>
      <p:ext uri="{BB962C8B-B14F-4D97-AF65-F5344CB8AC3E}">
        <p14:creationId xmlns:p14="http://schemas.microsoft.com/office/powerpoint/2010/main" val="3374644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3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20</a:t>
            </a:r>
          </a:p>
        </p:txBody>
      </p:sp>
      <p:sp>
        <p:nvSpPr>
          <p:cNvPr id="48" name="Espaço Reservado para Texto 4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913260" y="4658828"/>
            <a:ext cx="1052047" cy="1667169"/>
            <a:chOff x="515" y="2666"/>
            <a:chExt cx="614" cy="973"/>
          </a:xfrm>
          <a:solidFill>
            <a:schemeClr val="accent1"/>
          </a:solidFill>
        </p:grpSpPr>
        <p:sp>
          <p:nvSpPr>
            <p:cNvPr id="740357" name="Freeform 5"/>
            <p:cNvSpPr>
              <a:spLocks/>
            </p:cNvSpPr>
            <p:nvPr/>
          </p:nvSpPr>
          <p:spPr bwMode="gray">
            <a:xfrm>
              <a:off x="515" y="2666"/>
              <a:ext cx="614" cy="194"/>
            </a:xfrm>
            <a:custGeom>
              <a:avLst/>
              <a:gdLst/>
              <a:ahLst/>
              <a:cxnLst>
                <a:cxn ang="0">
                  <a:pos x="552" y="971"/>
                </a:cxn>
                <a:cxn ang="0">
                  <a:pos x="432" y="960"/>
                </a:cxn>
                <a:cxn ang="0">
                  <a:pos x="322" y="937"/>
                </a:cxn>
                <a:cxn ang="0">
                  <a:pos x="222" y="902"/>
                </a:cxn>
                <a:cxn ang="0">
                  <a:pos x="159" y="872"/>
                </a:cxn>
                <a:cxn ang="0">
                  <a:pos x="121" y="847"/>
                </a:cxn>
                <a:cxn ang="0">
                  <a:pos x="88" y="822"/>
                </a:cxn>
                <a:cxn ang="0">
                  <a:pos x="59" y="795"/>
                </a:cxn>
                <a:cxn ang="0">
                  <a:pos x="36" y="768"/>
                </a:cxn>
                <a:cxn ang="0">
                  <a:pos x="17" y="737"/>
                </a:cxn>
                <a:cxn ang="0">
                  <a:pos x="5" y="707"/>
                </a:cxn>
                <a:cxn ang="0">
                  <a:pos x="0" y="674"/>
                </a:cxn>
                <a:cxn ang="0">
                  <a:pos x="0" y="396"/>
                </a:cxn>
                <a:cxn ang="0">
                  <a:pos x="5" y="348"/>
                </a:cxn>
                <a:cxn ang="0">
                  <a:pos x="28" y="302"/>
                </a:cxn>
                <a:cxn ang="0">
                  <a:pos x="63" y="256"/>
                </a:cxn>
                <a:cxn ang="0">
                  <a:pos x="109" y="217"/>
                </a:cxn>
                <a:cxn ang="0">
                  <a:pos x="169" y="179"/>
                </a:cxn>
                <a:cxn ang="0">
                  <a:pos x="236" y="148"/>
                </a:cxn>
                <a:cxn ang="0">
                  <a:pos x="314" y="121"/>
                </a:cxn>
                <a:cxn ang="0">
                  <a:pos x="401" y="100"/>
                </a:cxn>
                <a:cxn ang="0">
                  <a:pos x="614" y="212"/>
                </a:cxn>
                <a:cxn ang="0">
                  <a:pos x="401" y="363"/>
                </a:cxn>
                <a:cxn ang="0">
                  <a:pos x="291" y="390"/>
                </a:cxn>
                <a:cxn ang="0">
                  <a:pos x="218" y="417"/>
                </a:cxn>
                <a:cxn ang="0">
                  <a:pos x="174" y="438"/>
                </a:cxn>
                <a:cxn ang="0">
                  <a:pos x="134" y="461"/>
                </a:cxn>
                <a:cxn ang="0">
                  <a:pos x="99" y="486"/>
                </a:cxn>
                <a:cxn ang="0">
                  <a:pos x="67" y="513"/>
                </a:cxn>
                <a:cxn ang="0">
                  <a:pos x="74" y="549"/>
                </a:cxn>
                <a:cxn ang="0">
                  <a:pos x="122" y="586"/>
                </a:cxn>
                <a:cxn ang="0">
                  <a:pos x="180" y="620"/>
                </a:cxn>
                <a:cxn ang="0">
                  <a:pos x="245" y="649"/>
                </a:cxn>
                <a:cxn ang="0">
                  <a:pos x="318" y="674"/>
                </a:cxn>
                <a:cxn ang="0">
                  <a:pos x="397" y="693"/>
                </a:cxn>
                <a:cxn ang="0">
                  <a:pos x="481" y="705"/>
                </a:cxn>
                <a:cxn ang="0">
                  <a:pos x="570" y="710"/>
                </a:cxn>
                <a:cxn ang="0">
                  <a:pos x="614" y="973"/>
                </a:cxn>
              </a:cxnLst>
              <a:rect l="0" t="0" r="r" b="b"/>
              <a:pathLst>
                <a:path w="614" h="973">
                  <a:moveTo>
                    <a:pt x="614" y="973"/>
                  </a:moveTo>
                  <a:lnTo>
                    <a:pt x="552" y="971"/>
                  </a:lnTo>
                  <a:lnTo>
                    <a:pt x="491" y="968"/>
                  </a:lnTo>
                  <a:lnTo>
                    <a:pt x="432" y="960"/>
                  </a:lnTo>
                  <a:lnTo>
                    <a:pt x="374" y="948"/>
                  </a:lnTo>
                  <a:lnTo>
                    <a:pt x="322" y="937"/>
                  </a:lnTo>
                  <a:lnTo>
                    <a:pt x="270" y="920"/>
                  </a:lnTo>
                  <a:lnTo>
                    <a:pt x="222" y="902"/>
                  </a:lnTo>
                  <a:lnTo>
                    <a:pt x="180" y="883"/>
                  </a:lnTo>
                  <a:lnTo>
                    <a:pt x="159" y="872"/>
                  </a:lnTo>
                  <a:lnTo>
                    <a:pt x="140" y="860"/>
                  </a:lnTo>
                  <a:lnTo>
                    <a:pt x="121" y="847"/>
                  </a:lnTo>
                  <a:lnTo>
                    <a:pt x="103" y="835"/>
                  </a:lnTo>
                  <a:lnTo>
                    <a:pt x="88" y="822"/>
                  </a:lnTo>
                  <a:lnTo>
                    <a:pt x="73" y="810"/>
                  </a:lnTo>
                  <a:lnTo>
                    <a:pt x="59" y="795"/>
                  </a:lnTo>
                  <a:lnTo>
                    <a:pt x="46" y="781"/>
                  </a:lnTo>
                  <a:lnTo>
                    <a:pt x="36" y="768"/>
                  </a:lnTo>
                  <a:lnTo>
                    <a:pt x="26" y="753"/>
                  </a:lnTo>
                  <a:lnTo>
                    <a:pt x="17" y="737"/>
                  </a:lnTo>
                  <a:lnTo>
                    <a:pt x="11" y="722"/>
                  </a:lnTo>
                  <a:lnTo>
                    <a:pt x="5" y="707"/>
                  </a:lnTo>
                  <a:lnTo>
                    <a:pt x="2" y="691"/>
                  </a:lnTo>
                  <a:lnTo>
                    <a:pt x="0" y="674"/>
                  </a:lnTo>
                  <a:lnTo>
                    <a:pt x="0" y="659"/>
                  </a:lnTo>
                  <a:lnTo>
                    <a:pt x="0" y="396"/>
                  </a:lnTo>
                  <a:lnTo>
                    <a:pt x="2" y="371"/>
                  </a:lnTo>
                  <a:lnTo>
                    <a:pt x="5" y="348"/>
                  </a:lnTo>
                  <a:lnTo>
                    <a:pt x="15" y="325"/>
                  </a:lnTo>
                  <a:lnTo>
                    <a:pt x="28" y="302"/>
                  </a:lnTo>
                  <a:lnTo>
                    <a:pt x="44" y="279"/>
                  </a:lnTo>
                  <a:lnTo>
                    <a:pt x="63" y="256"/>
                  </a:lnTo>
                  <a:lnTo>
                    <a:pt x="84" y="236"/>
                  </a:lnTo>
                  <a:lnTo>
                    <a:pt x="109" y="217"/>
                  </a:lnTo>
                  <a:lnTo>
                    <a:pt x="138" y="198"/>
                  </a:lnTo>
                  <a:lnTo>
                    <a:pt x="169" y="179"/>
                  </a:lnTo>
                  <a:lnTo>
                    <a:pt x="201" y="162"/>
                  </a:lnTo>
                  <a:lnTo>
                    <a:pt x="236" y="148"/>
                  </a:lnTo>
                  <a:lnTo>
                    <a:pt x="274" y="133"/>
                  </a:lnTo>
                  <a:lnTo>
                    <a:pt x="314" y="121"/>
                  </a:lnTo>
                  <a:lnTo>
                    <a:pt x="357" y="110"/>
                  </a:lnTo>
                  <a:lnTo>
                    <a:pt x="401" y="100"/>
                  </a:lnTo>
                  <a:lnTo>
                    <a:pt x="401" y="0"/>
                  </a:lnTo>
                  <a:lnTo>
                    <a:pt x="614" y="212"/>
                  </a:lnTo>
                  <a:lnTo>
                    <a:pt x="401" y="463"/>
                  </a:lnTo>
                  <a:lnTo>
                    <a:pt x="401" y="363"/>
                  </a:lnTo>
                  <a:lnTo>
                    <a:pt x="345" y="375"/>
                  </a:lnTo>
                  <a:lnTo>
                    <a:pt x="291" y="390"/>
                  </a:lnTo>
                  <a:lnTo>
                    <a:pt x="241" y="407"/>
                  </a:lnTo>
                  <a:lnTo>
                    <a:pt x="218" y="417"/>
                  </a:lnTo>
                  <a:lnTo>
                    <a:pt x="195" y="428"/>
                  </a:lnTo>
                  <a:lnTo>
                    <a:pt x="174" y="438"/>
                  </a:lnTo>
                  <a:lnTo>
                    <a:pt x="153" y="449"/>
                  </a:lnTo>
                  <a:lnTo>
                    <a:pt x="134" y="461"/>
                  </a:lnTo>
                  <a:lnTo>
                    <a:pt x="115" y="473"/>
                  </a:lnTo>
                  <a:lnTo>
                    <a:pt x="99" y="486"/>
                  </a:lnTo>
                  <a:lnTo>
                    <a:pt x="82" y="499"/>
                  </a:lnTo>
                  <a:lnTo>
                    <a:pt x="67" y="513"/>
                  </a:lnTo>
                  <a:lnTo>
                    <a:pt x="55" y="528"/>
                  </a:lnTo>
                  <a:lnTo>
                    <a:pt x="74" y="549"/>
                  </a:lnTo>
                  <a:lnTo>
                    <a:pt x="98" y="567"/>
                  </a:lnTo>
                  <a:lnTo>
                    <a:pt x="122" y="586"/>
                  </a:lnTo>
                  <a:lnTo>
                    <a:pt x="151" y="605"/>
                  </a:lnTo>
                  <a:lnTo>
                    <a:pt x="180" y="620"/>
                  </a:lnTo>
                  <a:lnTo>
                    <a:pt x="213" y="636"/>
                  </a:lnTo>
                  <a:lnTo>
                    <a:pt x="245" y="649"/>
                  </a:lnTo>
                  <a:lnTo>
                    <a:pt x="282" y="663"/>
                  </a:lnTo>
                  <a:lnTo>
                    <a:pt x="318" y="674"/>
                  </a:lnTo>
                  <a:lnTo>
                    <a:pt x="357" y="684"/>
                  </a:lnTo>
                  <a:lnTo>
                    <a:pt x="397" y="693"/>
                  </a:lnTo>
                  <a:lnTo>
                    <a:pt x="439" y="699"/>
                  </a:lnTo>
                  <a:lnTo>
                    <a:pt x="481" y="705"/>
                  </a:lnTo>
                  <a:lnTo>
                    <a:pt x="526" y="709"/>
                  </a:lnTo>
                  <a:lnTo>
                    <a:pt x="570" y="710"/>
                  </a:lnTo>
                  <a:lnTo>
                    <a:pt x="614" y="712"/>
                  </a:lnTo>
                  <a:lnTo>
                    <a:pt x="614" y="97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40358" name="Freeform 6"/>
            <p:cNvSpPr>
              <a:spLocks/>
            </p:cNvSpPr>
            <p:nvPr/>
          </p:nvSpPr>
          <p:spPr bwMode="gray">
            <a:xfrm>
              <a:off x="515" y="3194"/>
              <a:ext cx="614" cy="445"/>
            </a:xfrm>
            <a:custGeom>
              <a:avLst/>
              <a:gdLst/>
              <a:ahLst/>
              <a:cxnLst>
                <a:cxn ang="0">
                  <a:pos x="614" y="445"/>
                </a:cxn>
                <a:cxn ang="0">
                  <a:pos x="552" y="443"/>
                </a:cxn>
                <a:cxn ang="0">
                  <a:pos x="491" y="440"/>
                </a:cxn>
                <a:cxn ang="0">
                  <a:pos x="432" y="432"/>
                </a:cxn>
                <a:cxn ang="0">
                  <a:pos x="374" y="420"/>
                </a:cxn>
                <a:cxn ang="0">
                  <a:pos x="322" y="409"/>
                </a:cxn>
                <a:cxn ang="0">
                  <a:pos x="270" y="392"/>
                </a:cxn>
                <a:cxn ang="0">
                  <a:pos x="222" y="374"/>
                </a:cxn>
                <a:cxn ang="0">
                  <a:pos x="180" y="355"/>
                </a:cxn>
                <a:cxn ang="0">
                  <a:pos x="159" y="344"/>
                </a:cxn>
                <a:cxn ang="0">
                  <a:pos x="140" y="332"/>
                </a:cxn>
                <a:cxn ang="0">
                  <a:pos x="121" y="319"/>
                </a:cxn>
                <a:cxn ang="0">
                  <a:pos x="103" y="307"/>
                </a:cxn>
                <a:cxn ang="0">
                  <a:pos x="88" y="294"/>
                </a:cxn>
                <a:cxn ang="0">
                  <a:pos x="73" y="282"/>
                </a:cxn>
                <a:cxn ang="0">
                  <a:pos x="59" y="267"/>
                </a:cxn>
                <a:cxn ang="0">
                  <a:pos x="46" y="253"/>
                </a:cxn>
                <a:cxn ang="0">
                  <a:pos x="36" y="240"/>
                </a:cxn>
                <a:cxn ang="0">
                  <a:pos x="26" y="225"/>
                </a:cxn>
                <a:cxn ang="0">
                  <a:pos x="17" y="209"/>
                </a:cxn>
                <a:cxn ang="0">
                  <a:pos x="11" y="194"/>
                </a:cxn>
                <a:cxn ang="0">
                  <a:pos x="5" y="179"/>
                </a:cxn>
                <a:cxn ang="0">
                  <a:pos x="2" y="163"/>
                </a:cxn>
                <a:cxn ang="0">
                  <a:pos x="0" y="146"/>
                </a:cxn>
                <a:cxn ang="0">
                  <a:pos x="0" y="131"/>
                </a:cxn>
                <a:cxn ang="0">
                  <a:pos x="0" y="113"/>
                </a:cxn>
                <a:cxn ang="0">
                  <a:pos x="3" y="96"/>
                </a:cxn>
                <a:cxn ang="0">
                  <a:pos x="7" y="81"/>
                </a:cxn>
                <a:cxn ang="0">
                  <a:pos x="13" y="63"/>
                </a:cxn>
                <a:cxn ang="0">
                  <a:pos x="21" y="48"/>
                </a:cxn>
                <a:cxn ang="0">
                  <a:pos x="30" y="31"/>
                </a:cxn>
                <a:cxn ang="0">
                  <a:pos x="42" y="16"/>
                </a:cxn>
                <a:cxn ang="0">
                  <a:pos x="55" y="0"/>
                </a:cxn>
                <a:cxn ang="0">
                  <a:pos x="74" y="21"/>
                </a:cxn>
                <a:cxn ang="0">
                  <a:pos x="98" y="39"/>
                </a:cxn>
                <a:cxn ang="0">
                  <a:pos x="122" y="58"/>
                </a:cxn>
                <a:cxn ang="0">
                  <a:pos x="151" y="77"/>
                </a:cxn>
                <a:cxn ang="0">
                  <a:pos x="180" y="92"/>
                </a:cxn>
                <a:cxn ang="0">
                  <a:pos x="213" y="108"/>
                </a:cxn>
                <a:cxn ang="0">
                  <a:pos x="245" y="121"/>
                </a:cxn>
                <a:cxn ang="0">
                  <a:pos x="282" y="135"/>
                </a:cxn>
                <a:cxn ang="0">
                  <a:pos x="318" y="146"/>
                </a:cxn>
                <a:cxn ang="0">
                  <a:pos x="357" y="156"/>
                </a:cxn>
                <a:cxn ang="0">
                  <a:pos x="397" y="165"/>
                </a:cxn>
                <a:cxn ang="0">
                  <a:pos x="439" y="171"/>
                </a:cxn>
                <a:cxn ang="0">
                  <a:pos x="481" y="177"/>
                </a:cxn>
                <a:cxn ang="0">
                  <a:pos x="526" y="181"/>
                </a:cxn>
                <a:cxn ang="0">
                  <a:pos x="570" y="182"/>
                </a:cxn>
                <a:cxn ang="0">
                  <a:pos x="614" y="184"/>
                </a:cxn>
                <a:cxn ang="0">
                  <a:pos x="614" y="445"/>
                </a:cxn>
              </a:cxnLst>
              <a:rect l="0" t="0" r="r" b="b"/>
              <a:pathLst>
                <a:path w="614" h="445">
                  <a:moveTo>
                    <a:pt x="614" y="445"/>
                  </a:moveTo>
                  <a:lnTo>
                    <a:pt x="552" y="443"/>
                  </a:lnTo>
                  <a:lnTo>
                    <a:pt x="491" y="440"/>
                  </a:lnTo>
                  <a:lnTo>
                    <a:pt x="432" y="432"/>
                  </a:lnTo>
                  <a:lnTo>
                    <a:pt x="374" y="420"/>
                  </a:lnTo>
                  <a:lnTo>
                    <a:pt x="322" y="409"/>
                  </a:lnTo>
                  <a:lnTo>
                    <a:pt x="270" y="392"/>
                  </a:lnTo>
                  <a:lnTo>
                    <a:pt x="222" y="374"/>
                  </a:lnTo>
                  <a:lnTo>
                    <a:pt x="180" y="355"/>
                  </a:lnTo>
                  <a:lnTo>
                    <a:pt x="159" y="344"/>
                  </a:lnTo>
                  <a:lnTo>
                    <a:pt x="140" y="332"/>
                  </a:lnTo>
                  <a:lnTo>
                    <a:pt x="121" y="319"/>
                  </a:lnTo>
                  <a:lnTo>
                    <a:pt x="103" y="307"/>
                  </a:lnTo>
                  <a:lnTo>
                    <a:pt x="88" y="294"/>
                  </a:lnTo>
                  <a:lnTo>
                    <a:pt x="73" y="282"/>
                  </a:lnTo>
                  <a:lnTo>
                    <a:pt x="59" y="267"/>
                  </a:lnTo>
                  <a:lnTo>
                    <a:pt x="46" y="253"/>
                  </a:lnTo>
                  <a:lnTo>
                    <a:pt x="36" y="240"/>
                  </a:lnTo>
                  <a:lnTo>
                    <a:pt x="26" y="225"/>
                  </a:lnTo>
                  <a:lnTo>
                    <a:pt x="17" y="209"/>
                  </a:lnTo>
                  <a:lnTo>
                    <a:pt x="11" y="194"/>
                  </a:lnTo>
                  <a:lnTo>
                    <a:pt x="5" y="179"/>
                  </a:lnTo>
                  <a:lnTo>
                    <a:pt x="2" y="163"/>
                  </a:lnTo>
                  <a:lnTo>
                    <a:pt x="0" y="146"/>
                  </a:lnTo>
                  <a:lnTo>
                    <a:pt x="0" y="131"/>
                  </a:lnTo>
                  <a:lnTo>
                    <a:pt x="0" y="113"/>
                  </a:lnTo>
                  <a:lnTo>
                    <a:pt x="3" y="96"/>
                  </a:lnTo>
                  <a:lnTo>
                    <a:pt x="7" y="81"/>
                  </a:lnTo>
                  <a:lnTo>
                    <a:pt x="13" y="63"/>
                  </a:lnTo>
                  <a:lnTo>
                    <a:pt x="21" y="48"/>
                  </a:lnTo>
                  <a:lnTo>
                    <a:pt x="30" y="31"/>
                  </a:lnTo>
                  <a:lnTo>
                    <a:pt x="42" y="16"/>
                  </a:lnTo>
                  <a:lnTo>
                    <a:pt x="55" y="0"/>
                  </a:lnTo>
                  <a:lnTo>
                    <a:pt x="74" y="21"/>
                  </a:lnTo>
                  <a:lnTo>
                    <a:pt x="98" y="39"/>
                  </a:lnTo>
                  <a:lnTo>
                    <a:pt x="122" y="58"/>
                  </a:lnTo>
                  <a:lnTo>
                    <a:pt x="151" y="77"/>
                  </a:lnTo>
                  <a:lnTo>
                    <a:pt x="180" y="92"/>
                  </a:lnTo>
                  <a:lnTo>
                    <a:pt x="213" y="108"/>
                  </a:lnTo>
                  <a:lnTo>
                    <a:pt x="245" y="121"/>
                  </a:lnTo>
                  <a:lnTo>
                    <a:pt x="282" y="135"/>
                  </a:lnTo>
                  <a:lnTo>
                    <a:pt x="318" y="146"/>
                  </a:lnTo>
                  <a:lnTo>
                    <a:pt x="357" y="156"/>
                  </a:lnTo>
                  <a:lnTo>
                    <a:pt x="397" y="165"/>
                  </a:lnTo>
                  <a:lnTo>
                    <a:pt x="439" y="171"/>
                  </a:lnTo>
                  <a:lnTo>
                    <a:pt x="481" y="177"/>
                  </a:lnTo>
                  <a:lnTo>
                    <a:pt x="526" y="181"/>
                  </a:lnTo>
                  <a:lnTo>
                    <a:pt x="570" y="182"/>
                  </a:lnTo>
                  <a:lnTo>
                    <a:pt x="614" y="184"/>
                  </a:lnTo>
                  <a:lnTo>
                    <a:pt x="614" y="445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sz="2159"/>
            </a:p>
          </p:txBody>
        </p:sp>
      </p:grpSp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2037271" y="3587933"/>
            <a:ext cx="1052047" cy="1670596"/>
            <a:chOff x="1171" y="2041"/>
            <a:chExt cx="614" cy="975"/>
          </a:xfrm>
          <a:solidFill>
            <a:schemeClr val="accent1"/>
          </a:solidFill>
        </p:grpSpPr>
        <p:sp>
          <p:nvSpPr>
            <p:cNvPr id="740360" name="Freeform 8"/>
            <p:cNvSpPr>
              <a:spLocks/>
            </p:cNvSpPr>
            <p:nvPr/>
          </p:nvSpPr>
          <p:spPr bwMode="gray">
            <a:xfrm>
              <a:off x="1171" y="2041"/>
              <a:ext cx="614" cy="194"/>
            </a:xfrm>
            <a:custGeom>
              <a:avLst/>
              <a:gdLst/>
              <a:ahLst/>
              <a:cxnLst>
                <a:cxn ang="0">
                  <a:pos x="62" y="973"/>
                </a:cxn>
                <a:cxn ang="0">
                  <a:pos x="182" y="961"/>
                </a:cxn>
                <a:cxn ang="0">
                  <a:pos x="294" y="936"/>
                </a:cxn>
                <a:cxn ang="0">
                  <a:pos x="392" y="902"/>
                </a:cxn>
                <a:cxn ang="0">
                  <a:pos x="455" y="871"/>
                </a:cxn>
                <a:cxn ang="0">
                  <a:pos x="493" y="848"/>
                </a:cxn>
                <a:cxn ang="0">
                  <a:pos x="526" y="823"/>
                </a:cxn>
                <a:cxn ang="0">
                  <a:pos x="555" y="796"/>
                </a:cxn>
                <a:cxn ang="0">
                  <a:pos x="578" y="767"/>
                </a:cxn>
                <a:cxn ang="0">
                  <a:pos x="597" y="737"/>
                </a:cxn>
                <a:cxn ang="0">
                  <a:pos x="609" y="706"/>
                </a:cxn>
                <a:cxn ang="0">
                  <a:pos x="614" y="675"/>
                </a:cxn>
                <a:cxn ang="0">
                  <a:pos x="614" y="397"/>
                </a:cxn>
                <a:cxn ang="0">
                  <a:pos x="609" y="347"/>
                </a:cxn>
                <a:cxn ang="0">
                  <a:pos x="586" y="301"/>
                </a:cxn>
                <a:cxn ang="0">
                  <a:pos x="551" y="257"/>
                </a:cxn>
                <a:cxn ang="0">
                  <a:pos x="505" y="217"/>
                </a:cxn>
                <a:cxn ang="0">
                  <a:pos x="445" y="180"/>
                </a:cxn>
                <a:cxn ang="0">
                  <a:pos x="378" y="148"/>
                </a:cxn>
                <a:cxn ang="0">
                  <a:pos x="300" y="121"/>
                </a:cxn>
                <a:cxn ang="0">
                  <a:pos x="213" y="101"/>
                </a:cxn>
                <a:cxn ang="0">
                  <a:pos x="0" y="213"/>
                </a:cxn>
                <a:cxn ang="0">
                  <a:pos x="213" y="362"/>
                </a:cxn>
                <a:cxn ang="0">
                  <a:pos x="323" y="389"/>
                </a:cxn>
                <a:cxn ang="0">
                  <a:pos x="396" y="418"/>
                </a:cxn>
                <a:cxn ang="0">
                  <a:pos x="440" y="439"/>
                </a:cxn>
                <a:cxn ang="0">
                  <a:pos x="480" y="462"/>
                </a:cxn>
                <a:cxn ang="0">
                  <a:pos x="515" y="487"/>
                </a:cxn>
                <a:cxn ang="0">
                  <a:pos x="547" y="514"/>
                </a:cxn>
                <a:cxn ang="0">
                  <a:pos x="540" y="549"/>
                </a:cxn>
                <a:cxn ang="0">
                  <a:pos x="492" y="587"/>
                </a:cxn>
                <a:cxn ang="0">
                  <a:pos x="434" y="620"/>
                </a:cxn>
                <a:cxn ang="0">
                  <a:pos x="369" y="650"/>
                </a:cxn>
                <a:cxn ang="0">
                  <a:pos x="296" y="673"/>
                </a:cxn>
                <a:cxn ang="0">
                  <a:pos x="217" y="693"/>
                </a:cxn>
                <a:cxn ang="0">
                  <a:pos x="133" y="706"/>
                </a:cxn>
                <a:cxn ang="0">
                  <a:pos x="44" y="712"/>
                </a:cxn>
                <a:cxn ang="0">
                  <a:pos x="0" y="975"/>
                </a:cxn>
              </a:cxnLst>
              <a:rect l="0" t="0" r="r" b="b"/>
              <a:pathLst>
                <a:path w="614" h="975">
                  <a:moveTo>
                    <a:pt x="0" y="975"/>
                  </a:moveTo>
                  <a:lnTo>
                    <a:pt x="62" y="973"/>
                  </a:lnTo>
                  <a:lnTo>
                    <a:pt x="123" y="969"/>
                  </a:lnTo>
                  <a:lnTo>
                    <a:pt x="182" y="961"/>
                  </a:lnTo>
                  <a:lnTo>
                    <a:pt x="240" y="950"/>
                  </a:lnTo>
                  <a:lnTo>
                    <a:pt x="294" y="936"/>
                  </a:lnTo>
                  <a:lnTo>
                    <a:pt x="344" y="921"/>
                  </a:lnTo>
                  <a:lnTo>
                    <a:pt x="392" y="902"/>
                  </a:lnTo>
                  <a:lnTo>
                    <a:pt x="436" y="883"/>
                  </a:lnTo>
                  <a:lnTo>
                    <a:pt x="455" y="871"/>
                  </a:lnTo>
                  <a:lnTo>
                    <a:pt x="474" y="860"/>
                  </a:lnTo>
                  <a:lnTo>
                    <a:pt x="493" y="848"/>
                  </a:lnTo>
                  <a:lnTo>
                    <a:pt x="511" y="835"/>
                  </a:lnTo>
                  <a:lnTo>
                    <a:pt x="526" y="823"/>
                  </a:lnTo>
                  <a:lnTo>
                    <a:pt x="541" y="810"/>
                  </a:lnTo>
                  <a:lnTo>
                    <a:pt x="555" y="796"/>
                  </a:lnTo>
                  <a:lnTo>
                    <a:pt x="566" y="781"/>
                  </a:lnTo>
                  <a:lnTo>
                    <a:pt x="578" y="767"/>
                  </a:lnTo>
                  <a:lnTo>
                    <a:pt x="588" y="752"/>
                  </a:lnTo>
                  <a:lnTo>
                    <a:pt x="597" y="737"/>
                  </a:lnTo>
                  <a:lnTo>
                    <a:pt x="603" y="723"/>
                  </a:lnTo>
                  <a:lnTo>
                    <a:pt x="609" y="706"/>
                  </a:lnTo>
                  <a:lnTo>
                    <a:pt x="612" y="691"/>
                  </a:lnTo>
                  <a:lnTo>
                    <a:pt x="614" y="675"/>
                  </a:lnTo>
                  <a:lnTo>
                    <a:pt x="614" y="658"/>
                  </a:lnTo>
                  <a:lnTo>
                    <a:pt x="614" y="397"/>
                  </a:lnTo>
                  <a:lnTo>
                    <a:pt x="612" y="372"/>
                  </a:lnTo>
                  <a:lnTo>
                    <a:pt x="609" y="347"/>
                  </a:lnTo>
                  <a:lnTo>
                    <a:pt x="599" y="324"/>
                  </a:lnTo>
                  <a:lnTo>
                    <a:pt x="586" y="301"/>
                  </a:lnTo>
                  <a:lnTo>
                    <a:pt x="570" y="278"/>
                  </a:lnTo>
                  <a:lnTo>
                    <a:pt x="551" y="257"/>
                  </a:lnTo>
                  <a:lnTo>
                    <a:pt x="530" y="236"/>
                  </a:lnTo>
                  <a:lnTo>
                    <a:pt x="505" y="217"/>
                  </a:lnTo>
                  <a:lnTo>
                    <a:pt x="476" y="197"/>
                  </a:lnTo>
                  <a:lnTo>
                    <a:pt x="445" y="180"/>
                  </a:lnTo>
                  <a:lnTo>
                    <a:pt x="413" y="163"/>
                  </a:lnTo>
                  <a:lnTo>
                    <a:pt x="378" y="148"/>
                  </a:lnTo>
                  <a:lnTo>
                    <a:pt x="340" y="134"/>
                  </a:lnTo>
                  <a:lnTo>
                    <a:pt x="300" y="121"/>
                  </a:lnTo>
                  <a:lnTo>
                    <a:pt x="257" y="109"/>
                  </a:lnTo>
                  <a:lnTo>
                    <a:pt x="213" y="101"/>
                  </a:lnTo>
                  <a:lnTo>
                    <a:pt x="213" y="0"/>
                  </a:lnTo>
                  <a:lnTo>
                    <a:pt x="0" y="213"/>
                  </a:lnTo>
                  <a:lnTo>
                    <a:pt x="213" y="462"/>
                  </a:lnTo>
                  <a:lnTo>
                    <a:pt x="213" y="362"/>
                  </a:lnTo>
                  <a:lnTo>
                    <a:pt x="269" y="374"/>
                  </a:lnTo>
                  <a:lnTo>
                    <a:pt x="323" y="389"/>
                  </a:lnTo>
                  <a:lnTo>
                    <a:pt x="373" y="407"/>
                  </a:lnTo>
                  <a:lnTo>
                    <a:pt x="396" y="418"/>
                  </a:lnTo>
                  <a:lnTo>
                    <a:pt x="419" y="428"/>
                  </a:lnTo>
                  <a:lnTo>
                    <a:pt x="440" y="439"/>
                  </a:lnTo>
                  <a:lnTo>
                    <a:pt x="461" y="449"/>
                  </a:lnTo>
                  <a:lnTo>
                    <a:pt x="480" y="462"/>
                  </a:lnTo>
                  <a:lnTo>
                    <a:pt x="499" y="474"/>
                  </a:lnTo>
                  <a:lnTo>
                    <a:pt x="515" y="487"/>
                  </a:lnTo>
                  <a:lnTo>
                    <a:pt x="532" y="499"/>
                  </a:lnTo>
                  <a:lnTo>
                    <a:pt x="547" y="514"/>
                  </a:lnTo>
                  <a:lnTo>
                    <a:pt x="559" y="528"/>
                  </a:lnTo>
                  <a:lnTo>
                    <a:pt x="540" y="549"/>
                  </a:lnTo>
                  <a:lnTo>
                    <a:pt x="517" y="568"/>
                  </a:lnTo>
                  <a:lnTo>
                    <a:pt x="492" y="587"/>
                  </a:lnTo>
                  <a:lnTo>
                    <a:pt x="463" y="604"/>
                  </a:lnTo>
                  <a:lnTo>
                    <a:pt x="434" y="620"/>
                  </a:lnTo>
                  <a:lnTo>
                    <a:pt x="401" y="635"/>
                  </a:lnTo>
                  <a:lnTo>
                    <a:pt x="369" y="650"/>
                  </a:lnTo>
                  <a:lnTo>
                    <a:pt x="332" y="662"/>
                  </a:lnTo>
                  <a:lnTo>
                    <a:pt x="296" y="673"/>
                  </a:lnTo>
                  <a:lnTo>
                    <a:pt x="257" y="683"/>
                  </a:lnTo>
                  <a:lnTo>
                    <a:pt x="217" y="693"/>
                  </a:lnTo>
                  <a:lnTo>
                    <a:pt x="175" y="700"/>
                  </a:lnTo>
                  <a:lnTo>
                    <a:pt x="133" y="706"/>
                  </a:lnTo>
                  <a:lnTo>
                    <a:pt x="88" y="710"/>
                  </a:lnTo>
                  <a:lnTo>
                    <a:pt x="44" y="712"/>
                  </a:lnTo>
                  <a:lnTo>
                    <a:pt x="0" y="712"/>
                  </a:lnTo>
                  <a:lnTo>
                    <a:pt x="0" y="97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40361" name="Freeform 9"/>
            <p:cNvSpPr>
              <a:spLocks/>
            </p:cNvSpPr>
            <p:nvPr/>
          </p:nvSpPr>
          <p:spPr bwMode="gray">
            <a:xfrm>
              <a:off x="1171" y="2569"/>
              <a:ext cx="614" cy="447"/>
            </a:xfrm>
            <a:custGeom>
              <a:avLst/>
              <a:gdLst/>
              <a:ahLst/>
              <a:cxnLst>
                <a:cxn ang="0">
                  <a:pos x="0" y="447"/>
                </a:cxn>
                <a:cxn ang="0">
                  <a:pos x="62" y="445"/>
                </a:cxn>
                <a:cxn ang="0">
                  <a:pos x="123" y="441"/>
                </a:cxn>
                <a:cxn ang="0">
                  <a:pos x="182" y="433"/>
                </a:cxn>
                <a:cxn ang="0">
                  <a:pos x="240" y="422"/>
                </a:cxn>
                <a:cxn ang="0">
                  <a:pos x="294" y="408"/>
                </a:cxn>
                <a:cxn ang="0">
                  <a:pos x="344" y="393"/>
                </a:cxn>
                <a:cxn ang="0">
                  <a:pos x="392" y="374"/>
                </a:cxn>
                <a:cxn ang="0">
                  <a:pos x="436" y="355"/>
                </a:cxn>
                <a:cxn ang="0">
                  <a:pos x="455" y="343"/>
                </a:cxn>
                <a:cxn ang="0">
                  <a:pos x="474" y="332"/>
                </a:cxn>
                <a:cxn ang="0">
                  <a:pos x="493" y="320"/>
                </a:cxn>
                <a:cxn ang="0">
                  <a:pos x="511" y="307"/>
                </a:cxn>
                <a:cxn ang="0">
                  <a:pos x="526" y="295"/>
                </a:cxn>
                <a:cxn ang="0">
                  <a:pos x="541" y="282"/>
                </a:cxn>
                <a:cxn ang="0">
                  <a:pos x="555" y="268"/>
                </a:cxn>
                <a:cxn ang="0">
                  <a:pos x="566" y="253"/>
                </a:cxn>
                <a:cxn ang="0">
                  <a:pos x="578" y="239"/>
                </a:cxn>
                <a:cxn ang="0">
                  <a:pos x="588" y="224"/>
                </a:cxn>
                <a:cxn ang="0">
                  <a:pos x="597" y="209"/>
                </a:cxn>
                <a:cxn ang="0">
                  <a:pos x="603" y="195"/>
                </a:cxn>
                <a:cxn ang="0">
                  <a:pos x="609" y="178"/>
                </a:cxn>
                <a:cxn ang="0">
                  <a:pos x="612" y="163"/>
                </a:cxn>
                <a:cxn ang="0">
                  <a:pos x="614" y="147"/>
                </a:cxn>
                <a:cxn ang="0">
                  <a:pos x="614" y="130"/>
                </a:cxn>
                <a:cxn ang="0">
                  <a:pos x="614" y="113"/>
                </a:cxn>
                <a:cxn ang="0">
                  <a:pos x="611" y="97"/>
                </a:cxn>
                <a:cxn ang="0">
                  <a:pos x="607" y="80"/>
                </a:cxn>
                <a:cxn ang="0">
                  <a:pos x="601" y="63"/>
                </a:cxn>
                <a:cxn ang="0">
                  <a:pos x="593" y="47"/>
                </a:cxn>
                <a:cxn ang="0">
                  <a:pos x="584" y="30"/>
                </a:cxn>
                <a:cxn ang="0">
                  <a:pos x="572" y="15"/>
                </a:cxn>
                <a:cxn ang="0">
                  <a:pos x="559" y="0"/>
                </a:cxn>
                <a:cxn ang="0">
                  <a:pos x="540" y="21"/>
                </a:cxn>
                <a:cxn ang="0">
                  <a:pos x="517" y="40"/>
                </a:cxn>
                <a:cxn ang="0">
                  <a:pos x="492" y="59"/>
                </a:cxn>
                <a:cxn ang="0">
                  <a:pos x="463" y="76"/>
                </a:cxn>
                <a:cxn ang="0">
                  <a:pos x="434" y="92"/>
                </a:cxn>
                <a:cxn ang="0">
                  <a:pos x="401" y="107"/>
                </a:cxn>
                <a:cxn ang="0">
                  <a:pos x="369" y="122"/>
                </a:cxn>
                <a:cxn ang="0">
                  <a:pos x="332" y="134"/>
                </a:cxn>
                <a:cxn ang="0">
                  <a:pos x="296" y="145"/>
                </a:cxn>
                <a:cxn ang="0">
                  <a:pos x="257" y="155"/>
                </a:cxn>
                <a:cxn ang="0">
                  <a:pos x="217" y="165"/>
                </a:cxn>
                <a:cxn ang="0">
                  <a:pos x="175" y="172"/>
                </a:cxn>
                <a:cxn ang="0">
                  <a:pos x="133" y="178"/>
                </a:cxn>
                <a:cxn ang="0">
                  <a:pos x="88" y="182"/>
                </a:cxn>
                <a:cxn ang="0">
                  <a:pos x="44" y="184"/>
                </a:cxn>
                <a:cxn ang="0">
                  <a:pos x="0" y="184"/>
                </a:cxn>
                <a:cxn ang="0">
                  <a:pos x="0" y="447"/>
                </a:cxn>
              </a:cxnLst>
              <a:rect l="0" t="0" r="r" b="b"/>
              <a:pathLst>
                <a:path w="614" h="447">
                  <a:moveTo>
                    <a:pt x="0" y="447"/>
                  </a:moveTo>
                  <a:lnTo>
                    <a:pt x="62" y="445"/>
                  </a:lnTo>
                  <a:lnTo>
                    <a:pt x="123" y="441"/>
                  </a:lnTo>
                  <a:lnTo>
                    <a:pt x="182" y="433"/>
                  </a:lnTo>
                  <a:lnTo>
                    <a:pt x="240" y="422"/>
                  </a:lnTo>
                  <a:lnTo>
                    <a:pt x="294" y="408"/>
                  </a:lnTo>
                  <a:lnTo>
                    <a:pt x="344" y="393"/>
                  </a:lnTo>
                  <a:lnTo>
                    <a:pt x="392" y="374"/>
                  </a:lnTo>
                  <a:lnTo>
                    <a:pt x="436" y="355"/>
                  </a:lnTo>
                  <a:lnTo>
                    <a:pt x="455" y="343"/>
                  </a:lnTo>
                  <a:lnTo>
                    <a:pt x="474" y="332"/>
                  </a:lnTo>
                  <a:lnTo>
                    <a:pt x="493" y="320"/>
                  </a:lnTo>
                  <a:lnTo>
                    <a:pt x="511" y="307"/>
                  </a:lnTo>
                  <a:lnTo>
                    <a:pt x="526" y="295"/>
                  </a:lnTo>
                  <a:lnTo>
                    <a:pt x="541" y="282"/>
                  </a:lnTo>
                  <a:lnTo>
                    <a:pt x="555" y="268"/>
                  </a:lnTo>
                  <a:lnTo>
                    <a:pt x="566" y="253"/>
                  </a:lnTo>
                  <a:lnTo>
                    <a:pt x="578" y="239"/>
                  </a:lnTo>
                  <a:lnTo>
                    <a:pt x="588" y="224"/>
                  </a:lnTo>
                  <a:lnTo>
                    <a:pt x="597" y="209"/>
                  </a:lnTo>
                  <a:lnTo>
                    <a:pt x="603" y="195"/>
                  </a:lnTo>
                  <a:lnTo>
                    <a:pt x="609" y="178"/>
                  </a:lnTo>
                  <a:lnTo>
                    <a:pt x="612" y="163"/>
                  </a:lnTo>
                  <a:lnTo>
                    <a:pt x="614" y="147"/>
                  </a:lnTo>
                  <a:lnTo>
                    <a:pt x="614" y="130"/>
                  </a:lnTo>
                  <a:lnTo>
                    <a:pt x="614" y="113"/>
                  </a:lnTo>
                  <a:lnTo>
                    <a:pt x="611" y="97"/>
                  </a:lnTo>
                  <a:lnTo>
                    <a:pt x="607" y="80"/>
                  </a:lnTo>
                  <a:lnTo>
                    <a:pt x="601" y="63"/>
                  </a:lnTo>
                  <a:lnTo>
                    <a:pt x="593" y="47"/>
                  </a:lnTo>
                  <a:lnTo>
                    <a:pt x="584" y="30"/>
                  </a:lnTo>
                  <a:lnTo>
                    <a:pt x="572" y="15"/>
                  </a:lnTo>
                  <a:lnTo>
                    <a:pt x="559" y="0"/>
                  </a:lnTo>
                  <a:lnTo>
                    <a:pt x="540" y="21"/>
                  </a:lnTo>
                  <a:lnTo>
                    <a:pt x="517" y="40"/>
                  </a:lnTo>
                  <a:lnTo>
                    <a:pt x="492" y="59"/>
                  </a:lnTo>
                  <a:lnTo>
                    <a:pt x="463" y="76"/>
                  </a:lnTo>
                  <a:lnTo>
                    <a:pt x="434" y="92"/>
                  </a:lnTo>
                  <a:lnTo>
                    <a:pt x="401" y="107"/>
                  </a:lnTo>
                  <a:lnTo>
                    <a:pt x="369" y="122"/>
                  </a:lnTo>
                  <a:lnTo>
                    <a:pt x="332" y="134"/>
                  </a:lnTo>
                  <a:lnTo>
                    <a:pt x="296" y="145"/>
                  </a:lnTo>
                  <a:lnTo>
                    <a:pt x="257" y="155"/>
                  </a:lnTo>
                  <a:lnTo>
                    <a:pt x="217" y="165"/>
                  </a:lnTo>
                  <a:lnTo>
                    <a:pt x="175" y="172"/>
                  </a:lnTo>
                  <a:lnTo>
                    <a:pt x="133" y="178"/>
                  </a:lnTo>
                  <a:lnTo>
                    <a:pt x="88" y="182"/>
                  </a:lnTo>
                  <a:lnTo>
                    <a:pt x="44" y="184"/>
                  </a:lnTo>
                  <a:lnTo>
                    <a:pt x="0" y="184"/>
                  </a:lnTo>
                  <a:lnTo>
                    <a:pt x="0" y="447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sz="2159"/>
            </a:p>
          </p:txBody>
        </p:sp>
      </p:grpSp>
      <p:grpSp>
        <p:nvGrpSpPr>
          <p:cNvPr id="5" name="Group 10"/>
          <p:cNvGrpSpPr>
            <a:grpSpLocks/>
          </p:cNvGrpSpPr>
          <p:nvPr/>
        </p:nvGrpSpPr>
        <p:grpSpPr bwMode="auto">
          <a:xfrm>
            <a:off x="913260" y="2465636"/>
            <a:ext cx="1052047" cy="1670596"/>
            <a:chOff x="515" y="1386"/>
            <a:chExt cx="614" cy="975"/>
          </a:xfrm>
          <a:solidFill>
            <a:schemeClr val="accent1"/>
          </a:solidFill>
        </p:grpSpPr>
        <p:sp>
          <p:nvSpPr>
            <p:cNvPr id="740363" name="Freeform 11"/>
            <p:cNvSpPr>
              <a:spLocks/>
            </p:cNvSpPr>
            <p:nvPr/>
          </p:nvSpPr>
          <p:spPr bwMode="gray">
            <a:xfrm>
              <a:off x="515" y="1386"/>
              <a:ext cx="614" cy="194"/>
            </a:xfrm>
            <a:custGeom>
              <a:avLst/>
              <a:gdLst/>
              <a:ahLst/>
              <a:cxnLst>
                <a:cxn ang="0">
                  <a:pos x="552" y="973"/>
                </a:cxn>
                <a:cxn ang="0">
                  <a:pos x="432" y="960"/>
                </a:cxn>
                <a:cxn ang="0">
                  <a:pos x="322" y="937"/>
                </a:cxn>
                <a:cxn ang="0">
                  <a:pos x="222" y="902"/>
                </a:cxn>
                <a:cxn ang="0">
                  <a:pos x="159" y="872"/>
                </a:cxn>
                <a:cxn ang="0">
                  <a:pos x="121" y="847"/>
                </a:cxn>
                <a:cxn ang="0">
                  <a:pos x="88" y="822"/>
                </a:cxn>
                <a:cxn ang="0">
                  <a:pos x="59" y="795"/>
                </a:cxn>
                <a:cxn ang="0">
                  <a:pos x="36" y="768"/>
                </a:cxn>
                <a:cxn ang="0">
                  <a:pos x="17" y="737"/>
                </a:cxn>
                <a:cxn ang="0">
                  <a:pos x="5" y="707"/>
                </a:cxn>
                <a:cxn ang="0">
                  <a:pos x="0" y="674"/>
                </a:cxn>
                <a:cxn ang="0">
                  <a:pos x="0" y="396"/>
                </a:cxn>
                <a:cxn ang="0">
                  <a:pos x="5" y="348"/>
                </a:cxn>
                <a:cxn ang="0">
                  <a:pos x="28" y="302"/>
                </a:cxn>
                <a:cxn ang="0">
                  <a:pos x="63" y="257"/>
                </a:cxn>
                <a:cxn ang="0">
                  <a:pos x="109" y="217"/>
                </a:cxn>
                <a:cxn ang="0">
                  <a:pos x="169" y="179"/>
                </a:cxn>
                <a:cxn ang="0">
                  <a:pos x="236" y="148"/>
                </a:cxn>
                <a:cxn ang="0">
                  <a:pos x="314" y="121"/>
                </a:cxn>
                <a:cxn ang="0">
                  <a:pos x="401" y="100"/>
                </a:cxn>
                <a:cxn ang="0">
                  <a:pos x="614" y="213"/>
                </a:cxn>
                <a:cxn ang="0">
                  <a:pos x="401" y="363"/>
                </a:cxn>
                <a:cxn ang="0">
                  <a:pos x="291" y="390"/>
                </a:cxn>
                <a:cxn ang="0">
                  <a:pos x="218" y="417"/>
                </a:cxn>
                <a:cxn ang="0">
                  <a:pos x="174" y="438"/>
                </a:cxn>
                <a:cxn ang="0">
                  <a:pos x="134" y="461"/>
                </a:cxn>
                <a:cxn ang="0">
                  <a:pos x="99" y="486"/>
                </a:cxn>
                <a:cxn ang="0">
                  <a:pos x="67" y="513"/>
                </a:cxn>
                <a:cxn ang="0">
                  <a:pos x="74" y="549"/>
                </a:cxn>
                <a:cxn ang="0">
                  <a:pos x="122" y="586"/>
                </a:cxn>
                <a:cxn ang="0">
                  <a:pos x="180" y="620"/>
                </a:cxn>
                <a:cxn ang="0">
                  <a:pos x="245" y="649"/>
                </a:cxn>
                <a:cxn ang="0">
                  <a:pos x="318" y="674"/>
                </a:cxn>
                <a:cxn ang="0">
                  <a:pos x="397" y="693"/>
                </a:cxn>
                <a:cxn ang="0">
                  <a:pos x="481" y="705"/>
                </a:cxn>
                <a:cxn ang="0">
                  <a:pos x="570" y="712"/>
                </a:cxn>
                <a:cxn ang="0">
                  <a:pos x="614" y="975"/>
                </a:cxn>
              </a:cxnLst>
              <a:rect l="0" t="0" r="r" b="b"/>
              <a:pathLst>
                <a:path w="614" h="975">
                  <a:moveTo>
                    <a:pt x="614" y="975"/>
                  </a:moveTo>
                  <a:lnTo>
                    <a:pt x="552" y="973"/>
                  </a:lnTo>
                  <a:lnTo>
                    <a:pt x="491" y="968"/>
                  </a:lnTo>
                  <a:lnTo>
                    <a:pt x="432" y="960"/>
                  </a:lnTo>
                  <a:lnTo>
                    <a:pt x="374" y="950"/>
                  </a:lnTo>
                  <a:lnTo>
                    <a:pt x="322" y="937"/>
                  </a:lnTo>
                  <a:lnTo>
                    <a:pt x="270" y="920"/>
                  </a:lnTo>
                  <a:lnTo>
                    <a:pt x="222" y="902"/>
                  </a:lnTo>
                  <a:lnTo>
                    <a:pt x="180" y="883"/>
                  </a:lnTo>
                  <a:lnTo>
                    <a:pt x="159" y="872"/>
                  </a:lnTo>
                  <a:lnTo>
                    <a:pt x="140" y="860"/>
                  </a:lnTo>
                  <a:lnTo>
                    <a:pt x="121" y="847"/>
                  </a:lnTo>
                  <a:lnTo>
                    <a:pt x="103" y="835"/>
                  </a:lnTo>
                  <a:lnTo>
                    <a:pt x="88" y="822"/>
                  </a:lnTo>
                  <a:lnTo>
                    <a:pt x="73" y="810"/>
                  </a:lnTo>
                  <a:lnTo>
                    <a:pt x="59" y="795"/>
                  </a:lnTo>
                  <a:lnTo>
                    <a:pt x="46" y="781"/>
                  </a:lnTo>
                  <a:lnTo>
                    <a:pt x="36" y="768"/>
                  </a:lnTo>
                  <a:lnTo>
                    <a:pt x="26" y="753"/>
                  </a:lnTo>
                  <a:lnTo>
                    <a:pt x="17" y="737"/>
                  </a:lnTo>
                  <a:lnTo>
                    <a:pt x="11" y="722"/>
                  </a:lnTo>
                  <a:lnTo>
                    <a:pt x="5" y="707"/>
                  </a:lnTo>
                  <a:lnTo>
                    <a:pt x="2" y="691"/>
                  </a:lnTo>
                  <a:lnTo>
                    <a:pt x="0" y="674"/>
                  </a:lnTo>
                  <a:lnTo>
                    <a:pt x="0" y="659"/>
                  </a:lnTo>
                  <a:lnTo>
                    <a:pt x="0" y="396"/>
                  </a:lnTo>
                  <a:lnTo>
                    <a:pt x="2" y="371"/>
                  </a:lnTo>
                  <a:lnTo>
                    <a:pt x="5" y="348"/>
                  </a:lnTo>
                  <a:lnTo>
                    <a:pt x="15" y="325"/>
                  </a:lnTo>
                  <a:lnTo>
                    <a:pt x="28" y="302"/>
                  </a:lnTo>
                  <a:lnTo>
                    <a:pt x="44" y="279"/>
                  </a:lnTo>
                  <a:lnTo>
                    <a:pt x="63" y="257"/>
                  </a:lnTo>
                  <a:lnTo>
                    <a:pt x="84" y="236"/>
                  </a:lnTo>
                  <a:lnTo>
                    <a:pt x="109" y="217"/>
                  </a:lnTo>
                  <a:lnTo>
                    <a:pt x="138" y="198"/>
                  </a:lnTo>
                  <a:lnTo>
                    <a:pt x="169" y="179"/>
                  </a:lnTo>
                  <a:lnTo>
                    <a:pt x="201" y="163"/>
                  </a:lnTo>
                  <a:lnTo>
                    <a:pt x="236" y="148"/>
                  </a:lnTo>
                  <a:lnTo>
                    <a:pt x="274" y="133"/>
                  </a:lnTo>
                  <a:lnTo>
                    <a:pt x="314" y="121"/>
                  </a:lnTo>
                  <a:lnTo>
                    <a:pt x="357" y="110"/>
                  </a:lnTo>
                  <a:lnTo>
                    <a:pt x="401" y="100"/>
                  </a:lnTo>
                  <a:lnTo>
                    <a:pt x="401" y="0"/>
                  </a:lnTo>
                  <a:lnTo>
                    <a:pt x="614" y="213"/>
                  </a:lnTo>
                  <a:lnTo>
                    <a:pt x="401" y="463"/>
                  </a:lnTo>
                  <a:lnTo>
                    <a:pt x="401" y="363"/>
                  </a:lnTo>
                  <a:lnTo>
                    <a:pt x="345" y="375"/>
                  </a:lnTo>
                  <a:lnTo>
                    <a:pt x="291" y="390"/>
                  </a:lnTo>
                  <a:lnTo>
                    <a:pt x="241" y="407"/>
                  </a:lnTo>
                  <a:lnTo>
                    <a:pt x="218" y="417"/>
                  </a:lnTo>
                  <a:lnTo>
                    <a:pt x="195" y="428"/>
                  </a:lnTo>
                  <a:lnTo>
                    <a:pt x="174" y="438"/>
                  </a:lnTo>
                  <a:lnTo>
                    <a:pt x="153" y="449"/>
                  </a:lnTo>
                  <a:lnTo>
                    <a:pt x="134" y="461"/>
                  </a:lnTo>
                  <a:lnTo>
                    <a:pt x="115" y="474"/>
                  </a:lnTo>
                  <a:lnTo>
                    <a:pt x="99" y="486"/>
                  </a:lnTo>
                  <a:lnTo>
                    <a:pt x="82" y="499"/>
                  </a:lnTo>
                  <a:lnTo>
                    <a:pt x="67" y="513"/>
                  </a:lnTo>
                  <a:lnTo>
                    <a:pt x="55" y="528"/>
                  </a:lnTo>
                  <a:lnTo>
                    <a:pt x="74" y="549"/>
                  </a:lnTo>
                  <a:lnTo>
                    <a:pt x="98" y="568"/>
                  </a:lnTo>
                  <a:lnTo>
                    <a:pt x="122" y="586"/>
                  </a:lnTo>
                  <a:lnTo>
                    <a:pt x="151" y="605"/>
                  </a:lnTo>
                  <a:lnTo>
                    <a:pt x="180" y="620"/>
                  </a:lnTo>
                  <a:lnTo>
                    <a:pt x="213" y="636"/>
                  </a:lnTo>
                  <a:lnTo>
                    <a:pt x="245" y="649"/>
                  </a:lnTo>
                  <a:lnTo>
                    <a:pt x="282" y="662"/>
                  </a:lnTo>
                  <a:lnTo>
                    <a:pt x="318" y="674"/>
                  </a:lnTo>
                  <a:lnTo>
                    <a:pt x="357" y="684"/>
                  </a:lnTo>
                  <a:lnTo>
                    <a:pt x="397" y="693"/>
                  </a:lnTo>
                  <a:lnTo>
                    <a:pt x="439" y="699"/>
                  </a:lnTo>
                  <a:lnTo>
                    <a:pt x="481" y="705"/>
                  </a:lnTo>
                  <a:lnTo>
                    <a:pt x="526" y="710"/>
                  </a:lnTo>
                  <a:lnTo>
                    <a:pt x="570" y="712"/>
                  </a:lnTo>
                  <a:lnTo>
                    <a:pt x="614" y="712"/>
                  </a:lnTo>
                  <a:lnTo>
                    <a:pt x="614" y="97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40364" name="Freeform 12"/>
            <p:cNvSpPr>
              <a:spLocks/>
            </p:cNvSpPr>
            <p:nvPr/>
          </p:nvSpPr>
          <p:spPr bwMode="gray">
            <a:xfrm>
              <a:off x="515" y="1914"/>
              <a:ext cx="614" cy="447"/>
            </a:xfrm>
            <a:custGeom>
              <a:avLst/>
              <a:gdLst/>
              <a:ahLst/>
              <a:cxnLst>
                <a:cxn ang="0">
                  <a:pos x="614" y="447"/>
                </a:cxn>
                <a:cxn ang="0">
                  <a:pos x="552" y="445"/>
                </a:cxn>
                <a:cxn ang="0">
                  <a:pos x="491" y="440"/>
                </a:cxn>
                <a:cxn ang="0">
                  <a:pos x="432" y="432"/>
                </a:cxn>
                <a:cxn ang="0">
                  <a:pos x="374" y="422"/>
                </a:cxn>
                <a:cxn ang="0">
                  <a:pos x="322" y="409"/>
                </a:cxn>
                <a:cxn ang="0">
                  <a:pos x="270" y="392"/>
                </a:cxn>
                <a:cxn ang="0">
                  <a:pos x="222" y="374"/>
                </a:cxn>
                <a:cxn ang="0">
                  <a:pos x="180" y="355"/>
                </a:cxn>
                <a:cxn ang="0">
                  <a:pos x="159" y="344"/>
                </a:cxn>
                <a:cxn ang="0">
                  <a:pos x="140" y="332"/>
                </a:cxn>
                <a:cxn ang="0">
                  <a:pos x="121" y="319"/>
                </a:cxn>
                <a:cxn ang="0">
                  <a:pos x="103" y="307"/>
                </a:cxn>
                <a:cxn ang="0">
                  <a:pos x="88" y="294"/>
                </a:cxn>
                <a:cxn ang="0">
                  <a:pos x="73" y="282"/>
                </a:cxn>
                <a:cxn ang="0">
                  <a:pos x="59" y="267"/>
                </a:cxn>
                <a:cxn ang="0">
                  <a:pos x="46" y="253"/>
                </a:cxn>
                <a:cxn ang="0">
                  <a:pos x="36" y="240"/>
                </a:cxn>
                <a:cxn ang="0">
                  <a:pos x="26" y="225"/>
                </a:cxn>
                <a:cxn ang="0">
                  <a:pos x="17" y="209"/>
                </a:cxn>
                <a:cxn ang="0">
                  <a:pos x="11" y="194"/>
                </a:cxn>
                <a:cxn ang="0">
                  <a:pos x="5" y="179"/>
                </a:cxn>
                <a:cxn ang="0">
                  <a:pos x="2" y="163"/>
                </a:cxn>
                <a:cxn ang="0">
                  <a:pos x="0" y="146"/>
                </a:cxn>
                <a:cxn ang="0">
                  <a:pos x="0" y="131"/>
                </a:cxn>
                <a:cxn ang="0">
                  <a:pos x="0" y="113"/>
                </a:cxn>
                <a:cxn ang="0">
                  <a:pos x="3" y="96"/>
                </a:cxn>
                <a:cxn ang="0">
                  <a:pos x="7" y="81"/>
                </a:cxn>
                <a:cxn ang="0">
                  <a:pos x="13" y="63"/>
                </a:cxn>
                <a:cxn ang="0">
                  <a:pos x="21" y="48"/>
                </a:cxn>
                <a:cxn ang="0">
                  <a:pos x="30" y="31"/>
                </a:cxn>
                <a:cxn ang="0">
                  <a:pos x="42" y="15"/>
                </a:cxn>
                <a:cxn ang="0">
                  <a:pos x="55" y="0"/>
                </a:cxn>
                <a:cxn ang="0">
                  <a:pos x="74" y="21"/>
                </a:cxn>
                <a:cxn ang="0">
                  <a:pos x="98" y="40"/>
                </a:cxn>
                <a:cxn ang="0">
                  <a:pos x="122" y="58"/>
                </a:cxn>
                <a:cxn ang="0">
                  <a:pos x="151" y="77"/>
                </a:cxn>
                <a:cxn ang="0">
                  <a:pos x="180" y="92"/>
                </a:cxn>
                <a:cxn ang="0">
                  <a:pos x="213" y="108"/>
                </a:cxn>
                <a:cxn ang="0">
                  <a:pos x="245" y="121"/>
                </a:cxn>
                <a:cxn ang="0">
                  <a:pos x="282" y="134"/>
                </a:cxn>
                <a:cxn ang="0">
                  <a:pos x="318" y="146"/>
                </a:cxn>
                <a:cxn ang="0">
                  <a:pos x="357" y="156"/>
                </a:cxn>
                <a:cxn ang="0">
                  <a:pos x="397" y="165"/>
                </a:cxn>
                <a:cxn ang="0">
                  <a:pos x="439" y="171"/>
                </a:cxn>
                <a:cxn ang="0">
                  <a:pos x="481" y="177"/>
                </a:cxn>
                <a:cxn ang="0">
                  <a:pos x="526" y="182"/>
                </a:cxn>
                <a:cxn ang="0">
                  <a:pos x="570" y="184"/>
                </a:cxn>
                <a:cxn ang="0">
                  <a:pos x="614" y="184"/>
                </a:cxn>
                <a:cxn ang="0">
                  <a:pos x="614" y="447"/>
                </a:cxn>
              </a:cxnLst>
              <a:rect l="0" t="0" r="r" b="b"/>
              <a:pathLst>
                <a:path w="614" h="447">
                  <a:moveTo>
                    <a:pt x="614" y="447"/>
                  </a:moveTo>
                  <a:lnTo>
                    <a:pt x="552" y="445"/>
                  </a:lnTo>
                  <a:lnTo>
                    <a:pt x="491" y="440"/>
                  </a:lnTo>
                  <a:lnTo>
                    <a:pt x="432" y="432"/>
                  </a:lnTo>
                  <a:lnTo>
                    <a:pt x="374" y="422"/>
                  </a:lnTo>
                  <a:lnTo>
                    <a:pt x="322" y="409"/>
                  </a:lnTo>
                  <a:lnTo>
                    <a:pt x="270" y="392"/>
                  </a:lnTo>
                  <a:lnTo>
                    <a:pt x="222" y="374"/>
                  </a:lnTo>
                  <a:lnTo>
                    <a:pt x="180" y="355"/>
                  </a:lnTo>
                  <a:lnTo>
                    <a:pt x="159" y="344"/>
                  </a:lnTo>
                  <a:lnTo>
                    <a:pt x="140" y="332"/>
                  </a:lnTo>
                  <a:lnTo>
                    <a:pt x="121" y="319"/>
                  </a:lnTo>
                  <a:lnTo>
                    <a:pt x="103" y="307"/>
                  </a:lnTo>
                  <a:lnTo>
                    <a:pt x="88" y="294"/>
                  </a:lnTo>
                  <a:lnTo>
                    <a:pt x="73" y="282"/>
                  </a:lnTo>
                  <a:lnTo>
                    <a:pt x="59" y="267"/>
                  </a:lnTo>
                  <a:lnTo>
                    <a:pt x="46" y="253"/>
                  </a:lnTo>
                  <a:lnTo>
                    <a:pt x="36" y="240"/>
                  </a:lnTo>
                  <a:lnTo>
                    <a:pt x="26" y="225"/>
                  </a:lnTo>
                  <a:lnTo>
                    <a:pt x="17" y="209"/>
                  </a:lnTo>
                  <a:lnTo>
                    <a:pt x="11" y="194"/>
                  </a:lnTo>
                  <a:lnTo>
                    <a:pt x="5" y="179"/>
                  </a:lnTo>
                  <a:lnTo>
                    <a:pt x="2" y="163"/>
                  </a:lnTo>
                  <a:lnTo>
                    <a:pt x="0" y="146"/>
                  </a:lnTo>
                  <a:lnTo>
                    <a:pt x="0" y="131"/>
                  </a:lnTo>
                  <a:lnTo>
                    <a:pt x="0" y="113"/>
                  </a:lnTo>
                  <a:lnTo>
                    <a:pt x="3" y="96"/>
                  </a:lnTo>
                  <a:lnTo>
                    <a:pt x="7" y="81"/>
                  </a:lnTo>
                  <a:lnTo>
                    <a:pt x="13" y="63"/>
                  </a:lnTo>
                  <a:lnTo>
                    <a:pt x="21" y="48"/>
                  </a:lnTo>
                  <a:lnTo>
                    <a:pt x="30" y="31"/>
                  </a:lnTo>
                  <a:lnTo>
                    <a:pt x="42" y="15"/>
                  </a:lnTo>
                  <a:lnTo>
                    <a:pt x="55" y="0"/>
                  </a:lnTo>
                  <a:lnTo>
                    <a:pt x="74" y="21"/>
                  </a:lnTo>
                  <a:lnTo>
                    <a:pt x="98" y="40"/>
                  </a:lnTo>
                  <a:lnTo>
                    <a:pt x="122" y="58"/>
                  </a:lnTo>
                  <a:lnTo>
                    <a:pt x="151" y="77"/>
                  </a:lnTo>
                  <a:lnTo>
                    <a:pt x="180" y="92"/>
                  </a:lnTo>
                  <a:lnTo>
                    <a:pt x="213" y="108"/>
                  </a:lnTo>
                  <a:lnTo>
                    <a:pt x="245" y="121"/>
                  </a:lnTo>
                  <a:lnTo>
                    <a:pt x="282" y="134"/>
                  </a:lnTo>
                  <a:lnTo>
                    <a:pt x="318" y="146"/>
                  </a:lnTo>
                  <a:lnTo>
                    <a:pt x="357" y="156"/>
                  </a:lnTo>
                  <a:lnTo>
                    <a:pt x="397" y="165"/>
                  </a:lnTo>
                  <a:lnTo>
                    <a:pt x="439" y="171"/>
                  </a:lnTo>
                  <a:lnTo>
                    <a:pt x="481" y="177"/>
                  </a:lnTo>
                  <a:lnTo>
                    <a:pt x="526" y="182"/>
                  </a:lnTo>
                  <a:lnTo>
                    <a:pt x="570" y="184"/>
                  </a:lnTo>
                  <a:lnTo>
                    <a:pt x="614" y="184"/>
                  </a:lnTo>
                  <a:lnTo>
                    <a:pt x="614" y="447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sz="2159"/>
            </a:p>
          </p:txBody>
        </p:sp>
      </p:grpSp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2037271" y="1398167"/>
            <a:ext cx="1052047" cy="1667169"/>
            <a:chOff x="1171" y="763"/>
            <a:chExt cx="614" cy="973"/>
          </a:xfrm>
          <a:solidFill>
            <a:schemeClr val="accent1"/>
          </a:solidFill>
        </p:grpSpPr>
        <p:sp>
          <p:nvSpPr>
            <p:cNvPr id="740366" name="Freeform 14"/>
            <p:cNvSpPr>
              <a:spLocks/>
            </p:cNvSpPr>
            <p:nvPr/>
          </p:nvSpPr>
          <p:spPr bwMode="gray">
            <a:xfrm>
              <a:off x="1171" y="763"/>
              <a:ext cx="614" cy="194"/>
            </a:xfrm>
            <a:custGeom>
              <a:avLst/>
              <a:gdLst/>
              <a:ahLst/>
              <a:cxnLst>
                <a:cxn ang="0">
                  <a:pos x="62" y="971"/>
                </a:cxn>
                <a:cxn ang="0">
                  <a:pos x="182" y="959"/>
                </a:cxn>
                <a:cxn ang="0">
                  <a:pos x="294" y="934"/>
                </a:cxn>
                <a:cxn ang="0">
                  <a:pos x="392" y="900"/>
                </a:cxn>
                <a:cxn ang="0">
                  <a:pos x="455" y="869"/>
                </a:cxn>
                <a:cxn ang="0">
                  <a:pos x="493" y="846"/>
                </a:cxn>
                <a:cxn ang="0">
                  <a:pos x="526" y="821"/>
                </a:cxn>
                <a:cxn ang="0">
                  <a:pos x="555" y="794"/>
                </a:cxn>
                <a:cxn ang="0">
                  <a:pos x="578" y="765"/>
                </a:cxn>
                <a:cxn ang="0">
                  <a:pos x="597" y="735"/>
                </a:cxn>
                <a:cxn ang="0">
                  <a:pos x="609" y="704"/>
                </a:cxn>
                <a:cxn ang="0">
                  <a:pos x="614" y="673"/>
                </a:cxn>
                <a:cxn ang="0">
                  <a:pos x="614" y="395"/>
                </a:cxn>
                <a:cxn ang="0">
                  <a:pos x="609" y="345"/>
                </a:cxn>
                <a:cxn ang="0">
                  <a:pos x="586" y="299"/>
                </a:cxn>
                <a:cxn ang="0">
                  <a:pos x="551" y="255"/>
                </a:cxn>
                <a:cxn ang="0">
                  <a:pos x="505" y="215"/>
                </a:cxn>
                <a:cxn ang="0">
                  <a:pos x="445" y="178"/>
                </a:cxn>
                <a:cxn ang="0">
                  <a:pos x="378" y="145"/>
                </a:cxn>
                <a:cxn ang="0">
                  <a:pos x="300" y="121"/>
                </a:cxn>
                <a:cxn ang="0">
                  <a:pos x="213" y="99"/>
                </a:cxn>
                <a:cxn ang="0">
                  <a:pos x="0" y="211"/>
                </a:cxn>
                <a:cxn ang="0">
                  <a:pos x="213" y="360"/>
                </a:cxn>
                <a:cxn ang="0">
                  <a:pos x="323" y="387"/>
                </a:cxn>
                <a:cxn ang="0">
                  <a:pos x="396" y="416"/>
                </a:cxn>
                <a:cxn ang="0">
                  <a:pos x="440" y="437"/>
                </a:cxn>
                <a:cxn ang="0">
                  <a:pos x="480" y="460"/>
                </a:cxn>
                <a:cxn ang="0">
                  <a:pos x="515" y="485"/>
                </a:cxn>
                <a:cxn ang="0">
                  <a:pos x="547" y="512"/>
                </a:cxn>
                <a:cxn ang="0">
                  <a:pos x="540" y="547"/>
                </a:cxn>
                <a:cxn ang="0">
                  <a:pos x="492" y="585"/>
                </a:cxn>
                <a:cxn ang="0">
                  <a:pos x="434" y="619"/>
                </a:cxn>
                <a:cxn ang="0">
                  <a:pos x="369" y="648"/>
                </a:cxn>
                <a:cxn ang="0">
                  <a:pos x="296" y="671"/>
                </a:cxn>
                <a:cxn ang="0">
                  <a:pos x="217" y="690"/>
                </a:cxn>
                <a:cxn ang="0">
                  <a:pos x="133" y="704"/>
                </a:cxn>
                <a:cxn ang="0">
                  <a:pos x="44" y="710"/>
                </a:cxn>
                <a:cxn ang="0">
                  <a:pos x="0" y="973"/>
                </a:cxn>
              </a:cxnLst>
              <a:rect l="0" t="0" r="r" b="b"/>
              <a:pathLst>
                <a:path w="614" h="973">
                  <a:moveTo>
                    <a:pt x="0" y="973"/>
                  </a:moveTo>
                  <a:lnTo>
                    <a:pt x="62" y="971"/>
                  </a:lnTo>
                  <a:lnTo>
                    <a:pt x="123" y="967"/>
                  </a:lnTo>
                  <a:lnTo>
                    <a:pt x="182" y="959"/>
                  </a:lnTo>
                  <a:lnTo>
                    <a:pt x="240" y="948"/>
                  </a:lnTo>
                  <a:lnTo>
                    <a:pt x="294" y="934"/>
                  </a:lnTo>
                  <a:lnTo>
                    <a:pt x="344" y="919"/>
                  </a:lnTo>
                  <a:lnTo>
                    <a:pt x="392" y="900"/>
                  </a:lnTo>
                  <a:lnTo>
                    <a:pt x="436" y="880"/>
                  </a:lnTo>
                  <a:lnTo>
                    <a:pt x="455" y="869"/>
                  </a:lnTo>
                  <a:lnTo>
                    <a:pt x="474" y="857"/>
                  </a:lnTo>
                  <a:lnTo>
                    <a:pt x="493" y="846"/>
                  </a:lnTo>
                  <a:lnTo>
                    <a:pt x="511" y="834"/>
                  </a:lnTo>
                  <a:lnTo>
                    <a:pt x="526" y="821"/>
                  </a:lnTo>
                  <a:lnTo>
                    <a:pt x="541" y="808"/>
                  </a:lnTo>
                  <a:lnTo>
                    <a:pt x="555" y="794"/>
                  </a:lnTo>
                  <a:lnTo>
                    <a:pt x="566" y="779"/>
                  </a:lnTo>
                  <a:lnTo>
                    <a:pt x="578" y="765"/>
                  </a:lnTo>
                  <a:lnTo>
                    <a:pt x="588" y="750"/>
                  </a:lnTo>
                  <a:lnTo>
                    <a:pt x="597" y="735"/>
                  </a:lnTo>
                  <a:lnTo>
                    <a:pt x="603" y="721"/>
                  </a:lnTo>
                  <a:lnTo>
                    <a:pt x="609" y="704"/>
                  </a:lnTo>
                  <a:lnTo>
                    <a:pt x="612" y="689"/>
                  </a:lnTo>
                  <a:lnTo>
                    <a:pt x="614" y="673"/>
                  </a:lnTo>
                  <a:lnTo>
                    <a:pt x="614" y="656"/>
                  </a:lnTo>
                  <a:lnTo>
                    <a:pt x="614" y="395"/>
                  </a:lnTo>
                  <a:lnTo>
                    <a:pt x="612" y="370"/>
                  </a:lnTo>
                  <a:lnTo>
                    <a:pt x="609" y="345"/>
                  </a:lnTo>
                  <a:lnTo>
                    <a:pt x="599" y="322"/>
                  </a:lnTo>
                  <a:lnTo>
                    <a:pt x="586" y="299"/>
                  </a:lnTo>
                  <a:lnTo>
                    <a:pt x="570" y="276"/>
                  </a:lnTo>
                  <a:lnTo>
                    <a:pt x="551" y="255"/>
                  </a:lnTo>
                  <a:lnTo>
                    <a:pt x="530" y="234"/>
                  </a:lnTo>
                  <a:lnTo>
                    <a:pt x="505" y="215"/>
                  </a:lnTo>
                  <a:lnTo>
                    <a:pt x="476" y="195"/>
                  </a:lnTo>
                  <a:lnTo>
                    <a:pt x="445" y="178"/>
                  </a:lnTo>
                  <a:lnTo>
                    <a:pt x="413" y="161"/>
                  </a:lnTo>
                  <a:lnTo>
                    <a:pt x="378" y="145"/>
                  </a:lnTo>
                  <a:lnTo>
                    <a:pt x="340" y="132"/>
                  </a:lnTo>
                  <a:lnTo>
                    <a:pt x="300" y="121"/>
                  </a:lnTo>
                  <a:lnTo>
                    <a:pt x="257" y="107"/>
                  </a:lnTo>
                  <a:lnTo>
                    <a:pt x="213" y="99"/>
                  </a:lnTo>
                  <a:lnTo>
                    <a:pt x="213" y="0"/>
                  </a:lnTo>
                  <a:lnTo>
                    <a:pt x="0" y="211"/>
                  </a:lnTo>
                  <a:lnTo>
                    <a:pt x="213" y="460"/>
                  </a:lnTo>
                  <a:lnTo>
                    <a:pt x="213" y="360"/>
                  </a:lnTo>
                  <a:lnTo>
                    <a:pt x="269" y="372"/>
                  </a:lnTo>
                  <a:lnTo>
                    <a:pt x="323" y="387"/>
                  </a:lnTo>
                  <a:lnTo>
                    <a:pt x="373" y="406"/>
                  </a:lnTo>
                  <a:lnTo>
                    <a:pt x="396" y="416"/>
                  </a:lnTo>
                  <a:lnTo>
                    <a:pt x="419" y="426"/>
                  </a:lnTo>
                  <a:lnTo>
                    <a:pt x="440" y="437"/>
                  </a:lnTo>
                  <a:lnTo>
                    <a:pt x="461" y="447"/>
                  </a:lnTo>
                  <a:lnTo>
                    <a:pt x="480" y="460"/>
                  </a:lnTo>
                  <a:lnTo>
                    <a:pt x="499" y="472"/>
                  </a:lnTo>
                  <a:lnTo>
                    <a:pt x="515" y="485"/>
                  </a:lnTo>
                  <a:lnTo>
                    <a:pt x="532" y="497"/>
                  </a:lnTo>
                  <a:lnTo>
                    <a:pt x="547" y="512"/>
                  </a:lnTo>
                  <a:lnTo>
                    <a:pt x="559" y="525"/>
                  </a:lnTo>
                  <a:lnTo>
                    <a:pt x="540" y="547"/>
                  </a:lnTo>
                  <a:lnTo>
                    <a:pt x="517" y="566"/>
                  </a:lnTo>
                  <a:lnTo>
                    <a:pt x="492" y="585"/>
                  </a:lnTo>
                  <a:lnTo>
                    <a:pt x="463" y="602"/>
                  </a:lnTo>
                  <a:lnTo>
                    <a:pt x="434" y="619"/>
                  </a:lnTo>
                  <a:lnTo>
                    <a:pt x="401" y="633"/>
                  </a:lnTo>
                  <a:lnTo>
                    <a:pt x="369" y="648"/>
                  </a:lnTo>
                  <a:lnTo>
                    <a:pt x="332" y="660"/>
                  </a:lnTo>
                  <a:lnTo>
                    <a:pt x="296" y="671"/>
                  </a:lnTo>
                  <a:lnTo>
                    <a:pt x="257" y="681"/>
                  </a:lnTo>
                  <a:lnTo>
                    <a:pt x="217" y="690"/>
                  </a:lnTo>
                  <a:lnTo>
                    <a:pt x="175" y="698"/>
                  </a:lnTo>
                  <a:lnTo>
                    <a:pt x="133" y="704"/>
                  </a:lnTo>
                  <a:lnTo>
                    <a:pt x="88" y="708"/>
                  </a:lnTo>
                  <a:lnTo>
                    <a:pt x="44" y="710"/>
                  </a:lnTo>
                  <a:lnTo>
                    <a:pt x="0" y="710"/>
                  </a:lnTo>
                  <a:lnTo>
                    <a:pt x="0" y="97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endParaRPr lang="pt-BR" sz="2159"/>
            </a:p>
          </p:txBody>
        </p:sp>
        <p:sp>
          <p:nvSpPr>
            <p:cNvPr id="740367" name="Freeform 15"/>
            <p:cNvSpPr>
              <a:spLocks/>
            </p:cNvSpPr>
            <p:nvPr/>
          </p:nvSpPr>
          <p:spPr bwMode="gray">
            <a:xfrm>
              <a:off x="1171" y="1288"/>
              <a:ext cx="614" cy="448"/>
            </a:xfrm>
            <a:custGeom>
              <a:avLst/>
              <a:gdLst/>
              <a:ahLst/>
              <a:cxnLst>
                <a:cxn ang="0">
                  <a:pos x="0" y="448"/>
                </a:cxn>
                <a:cxn ang="0">
                  <a:pos x="62" y="446"/>
                </a:cxn>
                <a:cxn ang="0">
                  <a:pos x="123" y="442"/>
                </a:cxn>
                <a:cxn ang="0">
                  <a:pos x="182" y="434"/>
                </a:cxn>
                <a:cxn ang="0">
                  <a:pos x="240" y="423"/>
                </a:cxn>
                <a:cxn ang="0">
                  <a:pos x="294" y="409"/>
                </a:cxn>
                <a:cxn ang="0">
                  <a:pos x="344" y="394"/>
                </a:cxn>
                <a:cxn ang="0">
                  <a:pos x="392" y="375"/>
                </a:cxn>
                <a:cxn ang="0">
                  <a:pos x="436" y="355"/>
                </a:cxn>
                <a:cxn ang="0">
                  <a:pos x="455" y="344"/>
                </a:cxn>
                <a:cxn ang="0">
                  <a:pos x="474" y="332"/>
                </a:cxn>
                <a:cxn ang="0">
                  <a:pos x="493" y="321"/>
                </a:cxn>
                <a:cxn ang="0">
                  <a:pos x="511" y="309"/>
                </a:cxn>
                <a:cxn ang="0">
                  <a:pos x="526" y="296"/>
                </a:cxn>
                <a:cxn ang="0">
                  <a:pos x="541" y="283"/>
                </a:cxn>
                <a:cxn ang="0">
                  <a:pos x="555" y="269"/>
                </a:cxn>
                <a:cxn ang="0">
                  <a:pos x="566" y="254"/>
                </a:cxn>
                <a:cxn ang="0">
                  <a:pos x="578" y="240"/>
                </a:cxn>
                <a:cxn ang="0">
                  <a:pos x="588" y="225"/>
                </a:cxn>
                <a:cxn ang="0">
                  <a:pos x="597" y="210"/>
                </a:cxn>
                <a:cxn ang="0">
                  <a:pos x="603" y="196"/>
                </a:cxn>
                <a:cxn ang="0">
                  <a:pos x="609" y="179"/>
                </a:cxn>
                <a:cxn ang="0">
                  <a:pos x="612" y="164"/>
                </a:cxn>
                <a:cxn ang="0">
                  <a:pos x="614" y="148"/>
                </a:cxn>
                <a:cxn ang="0">
                  <a:pos x="614" y="131"/>
                </a:cxn>
                <a:cxn ang="0">
                  <a:pos x="614" y="114"/>
                </a:cxn>
                <a:cxn ang="0">
                  <a:pos x="611" y="98"/>
                </a:cxn>
                <a:cxn ang="0">
                  <a:pos x="607" y="81"/>
                </a:cxn>
                <a:cxn ang="0">
                  <a:pos x="601" y="64"/>
                </a:cxn>
                <a:cxn ang="0">
                  <a:pos x="593" y="48"/>
                </a:cxn>
                <a:cxn ang="0">
                  <a:pos x="584" y="31"/>
                </a:cxn>
                <a:cxn ang="0">
                  <a:pos x="572" y="16"/>
                </a:cxn>
                <a:cxn ang="0">
                  <a:pos x="559" y="0"/>
                </a:cxn>
                <a:cxn ang="0">
                  <a:pos x="540" y="22"/>
                </a:cxn>
                <a:cxn ang="0">
                  <a:pos x="517" y="41"/>
                </a:cxn>
                <a:cxn ang="0">
                  <a:pos x="492" y="60"/>
                </a:cxn>
                <a:cxn ang="0">
                  <a:pos x="463" y="77"/>
                </a:cxn>
                <a:cxn ang="0">
                  <a:pos x="434" y="94"/>
                </a:cxn>
                <a:cxn ang="0">
                  <a:pos x="401" y="108"/>
                </a:cxn>
                <a:cxn ang="0">
                  <a:pos x="369" y="123"/>
                </a:cxn>
                <a:cxn ang="0">
                  <a:pos x="332" y="135"/>
                </a:cxn>
                <a:cxn ang="0">
                  <a:pos x="296" y="146"/>
                </a:cxn>
                <a:cxn ang="0">
                  <a:pos x="257" y="156"/>
                </a:cxn>
                <a:cxn ang="0">
                  <a:pos x="217" y="165"/>
                </a:cxn>
                <a:cxn ang="0">
                  <a:pos x="175" y="173"/>
                </a:cxn>
                <a:cxn ang="0">
                  <a:pos x="133" y="179"/>
                </a:cxn>
                <a:cxn ang="0">
                  <a:pos x="88" y="183"/>
                </a:cxn>
                <a:cxn ang="0">
                  <a:pos x="44" y="185"/>
                </a:cxn>
                <a:cxn ang="0">
                  <a:pos x="0" y="185"/>
                </a:cxn>
                <a:cxn ang="0">
                  <a:pos x="0" y="448"/>
                </a:cxn>
              </a:cxnLst>
              <a:rect l="0" t="0" r="r" b="b"/>
              <a:pathLst>
                <a:path w="614" h="448">
                  <a:moveTo>
                    <a:pt x="0" y="448"/>
                  </a:moveTo>
                  <a:lnTo>
                    <a:pt x="62" y="446"/>
                  </a:lnTo>
                  <a:lnTo>
                    <a:pt x="123" y="442"/>
                  </a:lnTo>
                  <a:lnTo>
                    <a:pt x="182" y="434"/>
                  </a:lnTo>
                  <a:lnTo>
                    <a:pt x="240" y="423"/>
                  </a:lnTo>
                  <a:lnTo>
                    <a:pt x="294" y="409"/>
                  </a:lnTo>
                  <a:lnTo>
                    <a:pt x="344" y="394"/>
                  </a:lnTo>
                  <a:lnTo>
                    <a:pt x="392" y="375"/>
                  </a:lnTo>
                  <a:lnTo>
                    <a:pt x="436" y="355"/>
                  </a:lnTo>
                  <a:lnTo>
                    <a:pt x="455" y="344"/>
                  </a:lnTo>
                  <a:lnTo>
                    <a:pt x="474" y="332"/>
                  </a:lnTo>
                  <a:lnTo>
                    <a:pt x="493" y="321"/>
                  </a:lnTo>
                  <a:lnTo>
                    <a:pt x="511" y="309"/>
                  </a:lnTo>
                  <a:lnTo>
                    <a:pt x="526" y="296"/>
                  </a:lnTo>
                  <a:lnTo>
                    <a:pt x="541" y="283"/>
                  </a:lnTo>
                  <a:lnTo>
                    <a:pt x="555" y="269"/>
                  </a:lnTo>
                  <a:lnTo>
                    <a:pt x="566" y="254"/>
                  </a:lnTo>
                  <a:lnTo>
                    <a:pt x="578" y="240"/>
                  </a:lnTo>
                  <a:lnTo>
                    <a:pt x="588" y="225"/>
                  </a:lnTo>
                  <a:lnTo>
                    <a:pt x="597" y="210"/>
                  </a:lnTo>
                  <a:lnTo>
                    <a:pt x="603" y="196"/>
                  </a:lnTo>
                  <a:lnTo>
                    <a:pt x="609" y="179"/>
                  </a:lnTo>
                  <a:lnTo>
                    <a:pt x="612" y="164"/>
                  </a:lnTo>
                  <a:lnTo>
                    <a:pt x="614" y="148"/>
                  </a:lnTo>
                  <a:lnTo>
                    <a:pt x="614" y="131"/>
                  </a:lnTo>
                  <a:lnTo>
                    <a:pt x="614" y="114"/>
                  </a:lnTo>
                  <a:lnTo>
                    <a:pt x="611" y="98"/>
                  </a:lnTo>
                  <a:lnTo>
                    <a:pt x="607" y="81"/>
                  </a:lnTo>
                  <a:lnTo>
                    <a:pt x="601" y="64"/>
                  </a:lnTo>
                  <a:lnTo>
                    <a:pt x="593" y="48"/>
                  </a:lnTo>
                  <a:lnTo>
                    <a:pt x="584" y="31"/>
                  </a:lnTo>
                  <a:lnTo>
                    <a:pt x="572" y="16"/>
                  </a:lnTo>
                  <a:lnTo>
                    <a:pt x="559" y="0"/>
                  </a:lnTo>
                  <a:lnTo>
                    <a:pt x="540" y="22"/>
                  </a:lnTo>
                  <a:lnTo>
                    <a:pt x="517" y="41"/>
                  </a:lnTo>
                  <a:lnTo>
                    <a:pt x="492" y="60"/>
                  </a:lnTo>
                  <a:lnTo>
                    <a:pt x="463" y="77"/>
                  </a:lnTo>
                  <a:lnTo>
                    <a:pt x="434" y="94"/>
                  </a:lnTo>
                  <a:lnTo>
                    <a:pt x="401" y="108"/>
                  </a:lnTo>
                  <a:lnTo>
                    <a:pt x="369" y="123"/>
                  </a:lnTo>
                  <a:lnTo>
                    <a:pt x="332" y="135"/>
                  </a:lnTo>
                  <a:lnTo>
                    <a:pt x="296" y="146"/>
                  </a:lnTo>
                  <a:lnTo>
                    <a:pt x="257" y="156"/>
                  </a:lnTo>
                  <a:lnTo>
                    <a:pt x="217" y="165"/>
                  </a:lnTo>
                  <a:lnTo>
                    <a:pt x="175" y="173"/>
                  </a:lnTo>
                  <a:lnTo>
                    <a:pt x="133" y="179"/>
                  </a:lnTo>
                  <a:lnTo>
                    <a:pt x="88" y="183"/>
                  </a:lnTo>
                  <a:lnTo>
                    <a:pt x="44" y="185"/>
                  </a:lnTo>
                  <a:lnTo>
                    <a:pt x="0" y="185"/>
                  </a:lnTo>
                  <a:lnTo>
                    <a:pt x="0" y="448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pt-BR" sz="2159"/>
            </a:p>
          </p:txBody>
        </p:sp>
      </p:grpSp>
      <p:sp>
        <p:nvSpPr>
          <p:cNvPr id="740368" name="Rectangle 16"/>
          <p:cNvSpPr>
            <a:spLocks noChangeArrowheads="1"/>
          </p:cNvSpPr>
          <p:nvPr/>
        </p:nvSpPr>
        <p:spPr bwMode="gray">
          <a:xfrm>
            <a:off x="817308" y="1667440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0369" name="Rectangle 17"/>
          <p:cNvSpPr>
            <a:spLocks noChangeArrowheads="1"/>
          </p:cNvSpPr>
          <p:nvPr/>
        </p:nvSpPr>
        <p:spPr bwMode="gray">
          <a:xfrm>
            <a:off x="2105808" y="6040117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0370" name="Rectangle 18"/>
          <p:cNvSpPr>
            <a:spLocks noChangeArrowheads="1"/>
          </p:cNvSpPr>
          <p:nvPr/>
        </p:nvSpPr>
        <p:spPr bwMode="gray">
          <a:xfrm>
            <a:off x="1187409" y="4381515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0371" name="Rectangle 19"/>
          <p:cNvSpPr>
            <a:spLocks noChangeArrowheads="1"/>
          </p:cNvSpPr>
          <p:nvPr/>
        </p:nvSpPr>
        <p:spPr bwMode="gray">
          <a:xfrm>
            <a:off x="1831659" y="3300341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0374" name="Freeform 22"/>
          <p:cNvSpPr>
            <a:spLocks/>
          </p:cNvSpPr>
          <p:nvPr/>
        </p:nvSpPr>
        <p:spPr bwMode="gray">
          <a:xfrm>
            <a:off x="4110523" y="5264526"/>
            <a:ext cx="3162995" cy="1473551"/>
          </a:xfrm>
          <a:custGeom>
            <a:avLst/>
            <a:gdLst/>
            <a:ahLst/>
            <a:cxnLst>
              <a:cxn ang="0">
                <a:pos x="1844" y="44"/>
              </a:cxn>
              <a:cxn ang="0">
                <a:pos x="1838" y="132"/>
              </a:cxn>
              <a:cxn ang="0">
                <a:pos x="1825" y="215"/>
              </a:cxn>
              <a:cxn ang="0">
                <a:pos x="1806" y="296"/>
              </a:cxn>
              <a:cxn ang="0">
                <a:pos x="1781" y="372"/>
              </a:cxn>
              <a:cxn ang="0">
                <a:pos x="1748" y="445"/>
              </a:cxn>
              <a:cxn ang="0">
                <a:pos x="1714" y="515"/>
              </a:cxn>
              <a:cxn ang="0">
                <a:pos x="1671" y="578"/>
              </a:cxn>
              <a:cxn ang="0">
                <a:pos x="1625" y="636"/>
              </a:cxn>
              <a:cxn ang="0">
                <a:pos x="1577" y="689"/>
              </a:cxn>
              <a:cxn ang="0">
                <a:pos x="1524" y="735"/>
              </a:cxn>
              <a:cxn ang="0">
                <a:pos x="1466" y="774"/>
              </a:cxn>
              <a:cxn ang="0">
                <a:pos x="1407" y="807"/>
              </a:cxn>
              <a:cxn ang="0">
                <a:pos x="1343" y="832"/>
              </a:cxn>
              <a:cxn ang="0">
                <a:pos x="1278" y="849"/>
              </a:cxn>
              <a:cxn ang="0">
                <a:pos x="1211" y="858"/>
              </a:cxn>
              <a:cxn ang="0">
                <a:pos x="794" y="860"/>
              </a:cxn>
              <a:cxn ang="0">
                <a:pos x="742" y="856"/>
              </a:cxn>
              <a:cxn ang="0">
                <a:pos x="691" y="849"/>
              </a:cxn>
              <a:cxn ang="0">
                <a:pos x="641" y="837"/>
              </a:cxn>
              <a:cxn ang="0">
                <a:pos x="591" y="820"/>
              </a:cxn>
              <a:cxn ang="0">
                <a:pos x="543" y="797"/>
              </a:cxn>
              <a:cxn ang="0">
                <a:pos x="497" y="770"/>
              </a:cxn>
              <a:cxn ang="0">
                <a:pos x="453" y="741"/>
              </a:cxn>
              <a:cxn ang="0">
                <a:pos x="410" y="705"/>
              </a:cxn>
              <a:cxn ang="0">
                <a:pos x="332" y="624"/>
              </a:cxn>
              <a:cxn ang="0">
                <a:pos x="264" y="528"/>
              </a:cxn>
              <a:cxn ang="0">
                <a:pos x="209" y="418"/>
              </a:cxn>
              <a:cxn ang="0">
                <a:pos x="165" y="297"/>
              </a:cxn>
              <a:cxn ang="0">
                <a:pos x="314" y="0"/>
              </a:cxn>
              <a:cxn ang="0">
                <a:pos x="547" y="297"/>
              </a:cxn>
              <a:cxn ang="0">
                <a:pos x="579" y="390"/>
              </a:cxn>
              <a:cxn ang="0">
                <a:pos x="618" y="476"/>
              </a:cxn>
              <a:cxn ang="0">
                <a:pos x="664" y="555"/>
              </a:cxn>
              <a:cxn ang="0">
                <a:pos x="717" y="626"/>
              </a:cxn>
              <a:cxn ang="0">
                <a:pos x="777" y="691"/>
              </a:cxn>
              <a:cxn ang="0">
                <a:pos x="842" y="745"/>
              </a:cxn>
              <a:cxn ang="0">
                <a:pos x="909" y="789"/>
              </a:cxn>
              <a:cxn ang="0">
                <a:pos x="984" y="824"/>
              </a:cxn>
              <a:cxn ang="0">
                <a:pos x="1011" y="812"/>
              </a:cxn>
              <a:cxn ang="0">
                <a:pos x="1063" y="787"/>
              </a:cxn>
              <a:cxn ang="0">
                <a:pos x="1111" y="757"/>
              </a:cxn>
              <a:cxn ang="0">
                <a:pos x="1159" y="722"/>
              </a:cxn>
              <a:cxn ang="0">
                <a:pos x="1201" y="682"/>
              </a:cxn>
              <a:cxn ang="0">
                <a:pos x="1261" y="616"/>
              </a:cxn>
              <a:cxn ang="0">
                <a:pos x="1332" y="515"/>
              </a:cxn>
              <a:cxn ang="0">
                <a:pos x="1387" y="399"/>
              </a:cxn>
              <a:cxn ang="0">
                <a:pos x="1430" y="274"/>
              </a:cxn>
              <a:cxn ang="0">
                <a:pos x="1445" y="209"/>
              </a:cxn>
              <a:cxn ang="0">
                <a:pos x="1455" y="140"/>
              </a:cxn>
              <a:cxn ang="0">
                <a:pos x="1462" y="71"/>
              </a:cxn>
              <a:cxn ang="0">
                <a:pos x="1464" y="0"/>
              </a:cxn>
            </a:cxnLst>
            <a:rect l="0" t="0" r="r" b="b"/>
            <a:pathLst>
              <a:path w="1846" h="860">
                <a:moveTo>
                  <a:pt x="1846" y="0"/>
                </a:moveTo>
                <a:lnTo>
                  <a:pt x="1844" y="44"/>
                </a:lnTo>
                <a:lnTo>
                  <a:pt x="1842" y="88"/>
                </a:lnTo>
                <a:lnTo>
                  <a:pt x="1838" y="132"/>
                </a:lnTo>
                <a:lnTo>
                  <a:pt x="1833" y="175"/>
                </a:lnTo>
                <a:lnTo>
                  <a:pt x="1825" y="215"/>
                </a:lnTo>
                <a:lnTo>
                  <a:pt x="1815" y="255"/>
                </a:lnTo>
                <a:lnTo>
                  <a:pt x="1806" y="296"/>
                </a:lnTo>
                <a:lnTo>
                  <a:pt x="1792" y="334"/>
                </a:lnTo>
                <a:lnTo>
                  <a:pt x="1781" y="372"/>
                </a:lnTo>
                <a:lnTo>
                  <a:pt x="1765" y="409"/>
                </a:lnTo>
                <a:lnTo>
                  <a:pt x="1748" y="445"/>
                </a:lnTo>
                <a:lnTo>
                  <a:pt x="1733" y="480"/>
                </a:lnTo>
                <a:lnTo>
                  <a:pt x="1714" y="515"/>
                </a:lnTo>
                <a:lnTo>
                  <a:pt x="1693" y="547"/>
                </a:lnTo>
                <a:lnTo>
                  <a:pt x="1671" y="578"/>
                </a:lnTo>
                <a:lnTo>
                  <a:pt x="1650" y="607"/>
                </a:lnTo>
                <a:lnTo>
                  <a:pt x="1625" y="636"/>
                </a:lnTo>
                <a:lnTo>
                  <a:pt x="1602" y="664"/>
                </a:lnTo>
                <a:lnTo>
                  <a:pt x="1577" y="689"/>
                </a:lnTo>
                <a:lnTo>
                  <a:pt x="1550" y="712"/>
                </a:lnTo>
                <a:lnTo>
                  <a:pt x="1524" y="735"/>
                </a:lnTo>
                <a:lnTo>
                  <a:pt x="1495" y="755"/>
                </a:lnTo>
                <a:lnTo>
                  <a:pt x="1466" y="774"/>
                </a:lnTo>
                <a:lnTo>
                  <a:pt x="1435" y="791"/>
                </a:lnTo>
                <a:lnTo>
                  <a:pt x="1407" y="807"/>
                </a:lnTo>
                <a:lnTo>
                  <a:pt x="1376" y="820"/>
                </a:lnTo>
                <a:lnTo>
                  <a:pt x="1343" y="832"/>
                </a:lnTo>
                <a:lnTo>
                  <a:pt x="1311" y="843"/>
                </a:lnTo>
                <a:lnTo>
                  <a:pt x="1278" y="849"/>
                </a:lnTo>
                <a:lnTo>
                  <a:pt x="1243" y="855"/>
                </a:lnTo>
                <a:lnTo>
                  <a:pt x="1211" y="858"/>
                </a:lnTo>
                <a:lnTo>
                  <a:pt x="1174" y="860"/>
                </a:lnTo>
                <a:lnTo>
                  <a:pt x="794" y="860"/>
                </a:lnTo>
                <a:lnTo>
                  <a:pt x="769" y="858"/>
                </a:lnTo>
                <a:lnTo>
                  <a:pt x="742" y="856"/>
                </a:lnTo>
                <a:lnTo>
                  <a:pt x="716" y="853"/>
                </a:lnTo>
                <a:lnTo>
                  <a:pt x="691" y="849"/>
                </a:lnTo>
                <a:lnTo>
                  <a:pt x="666" y="843"/>
                </a:lnTo>
                <a:lnTo>
                  <a:pt x="641" y="837"/>
                </a:lnTo>
                <a:lnTo>
                  <a:pt x="616" y="828"/>
                </a:lnTo>
                <a:lnTo>
                  <a:pt x="591" y="820"/>
                </a:lnTo>
                <a:lnTo>
                  <a:pt x="568" y="808"/>
                </a:lnTo>
                <a:lnTo>
                  <a:pt x="543" y="797"/>
                </a:lnTo>
                <a:lnTo>
                  <a:pt x="520" y="783"/>
                </a:lnTo>
                <a:lnTo>
                  <a:pt x="497" y="770"/>
                </a:lnTo>
                <a:lnTo>
                  <a:pt x="476" y="757"/>
                </a:lnTo>
                <a:lnTo>
                  <a:pt x="453" y="741"/>
                </a:lnTo>
                <a:lnTo>
                  <a:pt x="431" y="724"/>
                </a:lnTo>
                <a:lnTo>
                  <a:pt x="410" y="705"/>
                </a:lnTo>
                <a:lnTo>
                  <a:pt x="370" y="666"/>
                </a:lnTo>
                <a:lnTo>
                  <a:pt x="332" y="624"/>
                </a:lnTo>
                <a:lnTo>
                  <a:pt x="297" y="578"/>
                </a:lnTo>
                <a:lnTo>
                  <a:pt x="264" y="528"/>
                </a:lnTo>
                <a:lnTo>
                  <a:pt x="234" y="474"/>
                </a:lnTo>
                <a:lnTo>
                  <a:pt x="209" y="418"/>
                </a:lnTo>
                <a:lnTo>
                  <a:pt x="184" y="359"/>
                </a:lnTo>
                <a:lnTo>
                  <a:pt x="165" y="297"/>
                </a:lnTo>
                <a:lnTo>
                  <a:pt x="0" y="297"/>
                </a:lnTo>
                <a:lnTo>
                  <a:pt x="314" y="0"/>
                </a:lnTo>
                <a:lnTo>
                  <a:pt x="712" y="297"/>
                </a:lnTo>
                <a:lnTo>
                  <a:pt x="547" y="297"/>
                </a:lnTo>
                <a:lnTo>
                  <a:pt x="562" y="345"/>
                </a:lnTo>
                <a:lnTo>
                  <a:pt x="579" y="390"/>
                </a:lnTo>
                <a:lnTo>
                  <a:pt x="597" y="434"/>
                </a:lnTo>
                <a:lnTo>
                  <a:pt x="618" y="476"/>
                </a:lnTo>
                <a:lnTo>
                  <a:pt x="639" y="516"/>
                </a:lnTo>
                <a:lnTo>
                  <a:pt x="664" y="555"/>
                </a:lnTo>
                <a:lnTo>
                  <a:pt x="689" y="593"/>
                </a:lnTo>
                <a:lnTo>
                  <a:pt x="717" y="626"/>
                </a:lnTo>
                <a:lnTo>
                  <a:pt x="746" y="659"/>
                </a:lnTo>
                <a:lnTo>
                  <a:pt x="777" y="691"/>
                </a:lnTo>
                <a:lnTo>
                  <a:pt x="808" y="718"/>
                </a:lnTo>
                <a:lnTo>
                  <a:pt x="842" y="745"/>
                </a:lnTo>
                <a:lnTo>
                  <a:pt x="875" y="768"/>
                </a:lnTo>
                <a:lnTo>
                  <a:pt x="909" y="789"/>
                </a:lnTo>
                <a:lnTo>
                  <a:pt x="948" y="807"/>
                </a:lnTo>
                <a:lnTo>
                  <a:pt x="984" y="824"/>
                </a:lnTo>
                <a:lnTo>
                  <a:pt x="986" y="824"/>
                </a:lnTo>
                <a:lnTo>
                  <a:pt x="1011" y="812"/>
                </a:lnTo>
                <a:lnTo>
                  <a:pt x="1038" y="801"/>
                </a:lnTo>
                <a:lnTo>
                  <a:pt x="1063" y="787"/>
                </a:lnTo>
                <a:lnTo>
                  <a:pt x="1088" y="772"/>
                </a:lnTo>
                <a:lnTo>
                  <a:pt x="1111" y="757"/>
                </a:lnTo>
                <a:lnTo>
                  <a:pt x="1136" y="741"/>
                </a:lnTo>
                <a:lnTo>
                  <a:pt x="1159" y="722"/>
                </a:lnTo>
                <a:lnTo>
                  <a:pt x="1180" y="703"/>
                </a:lnTo>
                <a:lnTo>
                  <a:pt x="1201" y="682"/>
                </a:lnTo>
                <a:lnTo>
                  <a:pt x="1222" y="661"/>
                </a:lnTo>
                <a:lnTo>
                  <a:pt x="1261" y="616"/>
                </a:lnTo>
                <a:lnTo>
                  <a:pt x="1299" y="566"/>
                </a:lnTo>
                <a:lnTo>
                  <a:pt x="1332" y="515"/>
                </a:lnTo>
                <a:lnTo>
                  <a:pt x="1360" y="459"/>
                </a:lnTo>
                <a:lnTo>
                  <a:pt x="1387" y="399"/>
                </a:lnTo>
                <a:lnTo>
                  <a:pt x="1410" y="338"/>
                </a:lnTo>
                <a:lnTo>
                  <a:pt x="1430" y="274"/>
                </a:lnTo>
                <a:lnTo>
                  <a:pt x="1437" y="242"/>
                </a:lnTo>
                <a:lnTo>
                  <a:pt x="1445" y="209"/>
                </a:lnTo>
                <a:lnTo>
                  <a:pt x="1451" y="175"/>
                </a:lnTo>
                <a:lnTo>
                  <a:pt x="1455" y="140"/>
                </a:lnTo>
                <a:lnTo>
                  <a:pt x="1458" y="107"/>
                </a:lnTo>
                <a:lnTo>
                  <a:pt x="1462" y="71"/>
                </a:lnTo>
                <a:lnTo>
                  <a:pt x="1462" y="36"/>
                </a:lnTo>
                <a:lnTo>
                  <a:pt x="1464" y="0"/>
                </a:lnTo>
                <a:lnTo>
                  <a:pt x="1846" y="0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740375" name="Freeform 23"/>
          <p:cNvSpPr>
            <a:spLocks/>
          </p:cNvSpPr>
          <p:nvPr/>
        </p:nvSpPr>
        <p:spPr bwMode="gray">
          <a:xfrm>
            <a:off x="5796540" y="5264526"/>
            <a:ext cx="1476978" cy="1473551"/>
          </a:xfrm>
          <a:custGeom>
            <a:avLst/>
            <a:gdLst/>
            <a:ahLst/>
            <a:cxnLst>
              <a:cxn ang="0">
                <a:pos x="860" y="44"/>
              </a:cxn>
              <a:cxn ang="0">
                <a:pos x="854" y="132"/>
              </a:cxn>
              <a:cxn ang="0">
                <a:pos x="841" y="215"/>
              </a:cxn>
              <a:cxn ang="0">
                <a:pos x="822" y="296"/>
              </a:cxn>
              <a:cxn ang="0">
                <a:pos x="797" y="372"/>
              </a:cxn>
              <a:cxn ang="0">
                <a:pos x="764" y="445"/>
              </a:cxn>
              <a:cxn ang="0">
                <a:pos x="730" y="515"/>
              </a:cxn>
              <a:cxn ang="0">
                <a:pos x="687" y="578"/>
              </a:cxn>
              <a:cxn ang="0">
                <a:pos x="641" y="636"/>
              </a:cxn>
              <a:cxn ang="0">
                <a:pos x="593" y="689"/>
              </a:cxn>
              <a:cxn ang="0">
                <a:pos x="540" y="735"/>
              </a:cxn>
              <a:cxn ang="0">
                <a:pos x="482" y="774"/>
              </a:cxn>
              <a:cxn ang="0">
                <a:pos x="423" y="807"/>
              </a:cxn>
              <a:cxn ang="0">
                <a:pos x="359" y="832"/>
              </a:cxn>
              <a:cxn ang="0">
                <a:pos x="294" y="849"/>
              </a:cxn>
              <a:cxn ang="0">
                <a:pos x="227" y="858"/>
              </a:cxn>
              <a:cxn ang="0">
                <a:pos x="167" y="858"/>
              </a:cxn>
              <a:cxn ang="0">
                <a:pos x="119" y="855"/>
              </a:cxn>
              <a:cxn ang="0">
                <a:pos x="71" y="845"/>
              </a:cxn>
              <a:cxn ang="0">
                <a:pos x="23" y="832"/>
              </a:cxn>
              <a:cxn ang="0">
                <a:pos x="2" y="824"/>
              </a:cxn>
              <a:cxn ang="0">
                <a:pos x="54" y="801"/>
              </a:cxn>
              <a:cxn ang="0">
                <a:pos x="104" y="772"/>
              </a:cxn>
              <a:cxn ang="0">
                <a:pos x="152" y="741"/>
              </a:cxn>
              <a:cxn ang="0">
                <a:pos x="196" y="703"/>
              </a:cxn>
              <a:cxn ang="0">
                <a:pos x="238" y="661"/>
              </a:cxn>
              <a:cxn ang="0">
                <a:pos x="315" y="566"/>
              </a:cxn>
              <a:cxn ang="0">
                <a:pos x="376" y="459"/>
              </a:cxn>
              <a:cxn ang="0">
                <a:pos x="426" y="338"/>
              </a:cxn>
              <a:cxn ang="0">
                <a:pos x="453" y="242"/>
              </a:cxn>
              <a:cxn ang="0">
                <a:pos x="467" y="175"/>
              </a:cxn>
              <a:cxn ang="0">
                <a:pos x="474" y="107"/>
              </a:cxn>
              <a:cxn ang="0">
                <a:pos x="478" y="36"/>
              </a:cxn>
              <a:cxn ang="0">
                <a:pos x="862" y="0"/>
              </a:cxn>
            </a:cxnLst>
            <a:rect l="0" t="0" r="r" b="b"/>
            <a:pathLst>
              <a:path w="862" h="860">
                <a:moveTo>
                  <a:pt x="862" y="0"/>
                </a:moveTo>
                <a:lnTo>
                  <a:pt x="860" y="44"/>
                </a:lnTo>
                <a:lnTo>
                  <a:pt x="858" y="88"/>
                </a:lnTo>
                <a:lnTo>
                  <a:pt x="854" y="132"/>
                </a:lnTo>
                <a:lnTo>
                  <a:pt x="849" y="175"/>
                </a:lnTo>
                <a:lnTo>
                  <a:pt x="841" y="215"/>
                </a:lnTo>
                <a:lnTo>
                  <a:pt x="831" y="255"/>
                </a:lnTo>
                <a:lnTo>
                  <a:pt x="822" y="296"/>
                </a:lnTo>
                <a:lnTo>
                  <a:pt x="808" y="334"/>
                </a:lnTo>
                <a:lnTo>
                  <a:pt x="797" y="372"/>
                </a:lnTo>
                <a:lnTo>
                  <a:pt x="781" y="409"/>
                </a:lnTo>
                <a:lnTo>
                  <a:pt x="764" y="445"/>
                </a:lnTo>
                <a:lnTo>
                  <a:pt x="749" y="480"/>
                </a:lnTo>
                <a:lnTo>
                  <a:pt x="730" y="515"/>
                </a:lnTo>
                <a:lnTo>
                  <a:pt x="709" y="547"/>
                </a:lnTo>
                <a:lnTo>
                  <a:pt x="687" y="578"/>
                </a:lnTo>
                <a:lnTo>
                  <a:pt x="666" y="607"/>
                </a:lnTo>
                <a:lnTo>
                  <a:pt x="641" y="636"/>
                </a:lnTo>
                <a:lnTo>
                  <a:pt x="618" y="664"/>
                </a:lnTo>
                <a:lnTo>
                  <a:pt x="593" y="689"/>
                </a:lnTo>
                <a:lnTo>
                  <a:pt x="566" y="712"/>
                </a:lnTo>
                <a:lnTo>
                  <a:pt x="540" y="735"/>
                </a:lnTo>
                <a:lnTo>
                  <a:pt x="511" y="755"/>
                </a:lnTo>
                <a:lnTo>
                  <a:pt x="482" y="774"/>
                </a:lnTo>
                <a:lnTo>
                  <a:pt x="451" y="791"/>
                </a:lnTo>
                <a:lnTo>
                  <a:pt x="423" y="807"/>
                </a:lnTo>
                <a:lnTo>
                  <a:pt x="392" y="820"/>
                </a:lnTo>
                <a:lnTo>
                  <a:pt x="359" y="832"/>
                </a:lnTo>
                <a:lnTo>
                  <a:pt x="327" y="843"/>
                </a:lnTo>
                <a:lnTo>
                  <a:pt x="294" y="849"/>
                </a:lnTo>
                <a:lnTo>
                  <a:pt x="259" y="855"/>
                </a:lnTo>
                <a:lnTo>
                  <a:pt x="227" y="858"/>
                </a:lnTo>
                <a:lnTo>
                  <a:pt x="190" y="860"/>
                </a:lnTo>
                <a:lnTo>
                  <a:pt x="167" y="858"/>
                </a:lnTo>
                <a:lnTo>
                  <a:pt x="142" y="856"/>
                </a:lnTo>
                <a:lnTo>
                  <a:pt x="119" y="855"/>
                </a:lnTo>
                <a:lnTo>
                  <a:pt x="94" y="851"/>
                </a:lnTo>
                <a:lnTo>
                  <a:pt x="71" y="845"/>
                </a:lnTo>
                <a:lnTo>
                  <a:pt x="46" y="839"/>
                </a:lnTo>
                <a:lnTo>
                  <a:pt x="23" y="832"/>
                </a:lnTo>
                <a:lnTo>
                  <a:pt x="0" y="824"/>
                </a:lnTo>
                <a:lnTo>
                  <a:pt x="2" y="824"/>
                </a:lnTo>
                <a:lnTo>
                  <a:pt x="27" y="812"/>
                </a:lnTo>
                <a:lnTo>
                  <a:pt x="54" y="801"/>
                </a:lnTo>
                <a:lnTo>
                  <a:pt x="79" y="787"/>
                </a:lnTo>
                <a:lnTo>
                  <a:pt x="104" y="772"/>
                </a:lnTo>
                <a:lnTo>
                  <a:pt x="127" y="757"/>
                </a:lnTo>
                <a:lnTo>
                  <a:pt x="152" y="741"/>
                </a:lnTo>
                <a:lnTo>
                  <a:pt x="175" y="722"/>
                </a:lnTo>
                <a:lnTo>
                  <a:pt x="196" y="703"/>
                </a:lnTo>
                <a:lnTo>
                  <a:pt x="217" y="682"/>
                </a:lnTo>
                <a:lnTo>
                  <a:pt x="238" y="661"/>
                </a:lnTo>
                <a:lnTo>
                  <a:pt x="277" y="616"/>
                </a:lnTo>
                <a:lnTo>
                  <a:pt x="315" y="566"/>
                </a:lnTo>
                <a:lnTo>
                  <a:pt x="348" y="515"/>
                </a:lnTo>
                <a:lnTo>
                  <a:pt x="376" y="459"/>
                </a:lnTo>
                <a:lnTo>
                  <a:pt x="403" y="399"/>
                </a:lnTo>
                <a:lnTo>
                  <a:pt x="426" y="338"/>
                </a:lnTo>
                <a:lnTo>
                  <a:pt x="446" y="274"/>
                </a:lnTo>
                <a:lnTo>
                  <a:pt x="453" y="242"/>
                </a:lnTo>
                <a:lnTo>
                  <a:pt x="461" y="209"/>
                </a:lnTo>
                <a:lnTo>
                  <a:pt x="467" y="175"/>
                </a:lnTo>
                <a:lnTo>
                  <a:pt x="471" y="140"/>
                </a:lnTo>
                <a:lnTo>
                  <a:pt x="474" y="107"/>
                </a:lnTo>
                <a:lnTo>
                  <a:pt x="478" y="71"/>
                </a:lnTo>
                <a:lnTo>
                  <a:pt x="478" y="36"/>
                </a:lnTo>
                <a:lnTo>
                  <a:pt x="480" y="0"/>
                </a:lnTo>
                <a:lnTo>
                  <a:pt x="862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740376" name="Freeform 24"/>
          <p:cNvSpPr>
            <a:spLocks/>
          </p:cNvSpPr>
          <p:nvPr/>
        </p:nvSpPr>
        <p:spPr bwMode="gray">
          <a:xfrm>
            <a:off x="6625840" y="5264526"/>
            <a:ext cx="3162995" cy="1473551"/>
          </a:xfrm>
          <a:custGeom>
            <a:avLst/>
            <a:gdLst/>
            <a:ahLst/>
            <a:cxnLst>
              <a:cxn ang="0">
                <a:pos x="2" y="44"/>
              </a:cxn>
              <a:cxn ang="0">
                <a:pos x="8" y="132"/>
              </a:cxn>
              <a:cxn ang="0">
                <a:pos x="21" y="215"/>
              </a:cxn>
              <a:cxn ang="0">
                <a:pos x="40" y="296"/>
              </a:cxn>
              <a:cxn ang="0">
                <a:pos x="65" y="372"/>
              </a:cxn>
              <a:cxn ang="0">
                <a:pos x="98" y="445"/>
              </a:cxn>
              <a:cxn ang="0">
                <a:pos x="132" y="515"/>
              </a:cxn>
              <a:cxn ang="0">
                <a:pos x="175" y="578"/>
              </a:cxn>
              <a:cxn ang="0">
                <a:pos x="221" y="636"/>
              </a:cxn>
              <a:cxn ang="0">
                <a:pos x="269" y="689"/>
              </a:cxn>
              <a:cxn ang="0">
                <a:pos x="322" y="735"/>
              </a:cxn>
              <a:cxn ang="0">
                <a:pos x="380" y="774"/>
              </a:cxn>
              <a:cxn ang="0">
                <a:pos x="439" y="807"/>
              </a:cxn>
              <a:cxn ang="0">
                <a:pos x="503" y="832"/>
              </a:cxn>
              <a:cxn ang="0">
                <a:pos x="568" y="849"/>
              </a:cxn>
              <a:cxn ang="0">
                <a:pos x="635" y="858"/>
              </a:cxn>
              <a:cxn ang="0">
                <a:pos x="1052" y="860"/>
              </a:cxn>
              <a:cxn ang="0">
                <a:pos x="1104" y="856"/>
              </a:cxn>
              <a:cxn ang="0">
                <a:pos x="1155" y="849"/>
              </a:cxn>
              <a:cxn ang="0">
                <a:pos x="1205" y="837"/>
              </a:cxn>
              <a:cxn ang="0">
                <a:pos x="1255" y="820"/>
              </a:cxn>
              <a:cxn ang="0">
                <a:pos x="1303" y="797"/>
              </a:cxn>
              <a:cxn ang="0">
                <a:pos x="1349" y="770"/>
              </a:cxn>
              <a:cxn ang="0">
                <a:pos x="1393" y="741"/>
              </a:cxn>
              <a:cxn ang="0">
                <a:pos x="1436" y="705"/>
              </a:cxn>
              <a:cxn ang="0">
                <a:pos x="1514" y="624"/>
              </a:cxn>
              <a:cxn ang="0">
                <a:pos x="1582" y="528"/>
              </a:cxn>
              <a:cxn ang="0">
                <a:pos x="1637" y="418"/>
              </a:cxn>
              <a:cxn ang="0">
                <a:pos x="1681" y="297"/>
              </a:cxn>
              <a:cxn ang="0">
                <a:pos x="1532" y="0"/>
              </a:cxn>
              <a:cxn ang="0">
                <a:pos x="1299" y="297"/>
              </a:cxn>
              <a:cxn ang="0">
                <a:pos x="1269" y="390"/>
              </a:cxn>
              <a:cxn ang="0">
                <a:pos x="1228" y="476"/>
              </a:cxn>
              <a:cxn ang="0">
                <a:pos x="1182" y="555"/>
              </a:cxn>
              <a:cxn ang="0">
                <a:pos x="1129" y="626"/>
              </a:cxn>
              <a:cxn ang="0">
                <a:pos x="1069" y="691"/>
              </a:cxn>
              <a:cxn ang="0">
                <a:pos x="1004" y="745"/>
              </a:cxn>
              <a:cxn ang="0">
                <a:pos x="937" y="789"/>
              </a:cxn>
              <a:cxn ang="0">
                <a:pos x="862" y="824"/>
              </a:cxn>
              <a:cxn ang="0">
                <a:pos x="835" y="812"/>
              </a:cxn>
              <a:cxn ang="0">
                <a:pos x="783" y="787"/>
              </a:cxn>
              <a:cxn ang="0">
                <a:pos x="735" y="757"/>
              </a:cxn>
              <a:cxn ang="0">
                <a:pos x="689" y="722"/>
              </a:cxn>
              <a:cxn ang="0">
                <a:pos x="645" y="682"/>
              </a:cxn>
              <a:cxn ang="0">
                <a:pos x="585" y="616"/>
              </a:cxn>
              <a:cxn ang="0">
                <a:pos x="514" y="515"/>
              </a:cxn>
              <a:cxn ang="0">
                <a:pos x="459" y="399"/>
              </a:cxn>
              <a:cxn ang="0">
                <a:pos x="416" y="274"/>
              </a:cxn>
              <a:cxn ang="0">
                <a:pos x="401" y="209"/>
              </a:cxn>
              <a:cxn ang="0">
                <a:pos x="391" y="140"/>
              </a:cxn>
              <a:cxn ang="0">
                <a:pos x="384" y="71"/>
              </a:cxn>
              <a:cxn ang="0">
                <a:pos x="382" y="0"/>
              </a:cxn>
            </a:cxnLst>
            <a:rect l="0" t="0" r="r" b="b"/>
            <a:pathLst>
              <a:path w="1846" h="860">
                <a:moveTo>
                  <a:pt x="0" y="0"/>
                </a:moveTo>
                <a:lnTo>
                  <a:pt x="2" y="44"/>
                </a:lnTo>
                <a:lnTo>
                  <a:pt x="4" y="88"/>
                </a:lnTo>
                <a:lnTo>
                  <a:pt x="8" y="132"/>
                </a:lnTo>
                <a:lnTo>
                  <a:pt x="13" y="175"/>
                </a:lnTo>
                <a:lnTo>
                  <a:pt x="21" y="215"/>
                </a:lnTo>
                <a:lnTo>
                  <a:pt x="31" y="255"/>
                </a:lnTo>
                <a:lnTo>
                  <a:pt x="40" y="296"/>
                </a:lnTo>
                <a:lnTo>
                  <a:pt x="54" y="334"/>
                </a:lnTo>
                <a:lnTo>
                  <a:pt x="65" y="372"/>
                </a:lnTo>
                <a:lnTo>
                  <a:pt x="81" y="409"/>
                </a:lnTo>
                <a:lnTo>
                  <a:pt x="98" y="445"/>
                </a:lnTo>
                <a:lnTo>
                  <a:pt x="115" y="480"/>
                </a:lnTo>
                <a:lnTo>
                  <a:pt x="132" y="515"/>
                </a:lnTo>
                <a:lnTo>
                  <a:pt x="153" y="547"/>
                </a:lnTo>
                <a:lnTo>
                  <a:pt x="175" y="578"/>
                </a:lnTo>
                <a:lnTo>
                  <a:pt x="196" y="607"/>
                </a:lnTo>
                <a:lnTo>
                  <a:pt x="221" y="636"/>
                </a:lnTo>
                <a:lnTo>
                  <a:pt x="244" y="664"/>
                </a:lnTo>
                <a:lnTo>
                  <a:pt x="269" y="689"/>
                </a:lnTo>
                <a:lnTo>
                  <a:pt x="296" y="712"/>
                </a:lnTo>
                <a:lnTo>
                  <a:pt x="322" y="735"/>
                </a:lnTo>
                <a:lnTo>
                  <a:pt x="351" y="755"/>
                </a:lnTo>
                <a:lnTo>
                  <a:pt x="380" y="774"/>
                </a:lnTo>
                <a:lnTo>
                  <a:pt x="411" y="791"/>
                </a:lnTo>
                <a:lnTo>
                  <a:pt x="439" y="807"/>
                </a:lnTo>
                <a:lnTo>
                  <a:pt x="470" y="820"/>
                </a:lnTo>
                <a:lnTo>
                  <a:pt x="503" y="832"/>
                </a:lnTo>
                <a:lnTo>
                  <a:pt x="535" y="843"/>
                </a:lnTo>
                <a:lnTo>
                  <a:pt x="568" y="849"/>
                </a:lnTo>
                <a:lnTo>
                  <a:pt x="603" y="855"/>
                </a:lnTo>
                <a:lnTo>
                  <a:pt x="635" y="858"/>
                </a:lnTo>
                <a:lnTo>
                  <a:pt x="672" y="860"/>
                </a:lnTo>
                <a:lnTo>
                  <a:pt x="1052" y="860"/>
                </a:lnTo>
                <a:lnTo>
                  <a:pt x="1077" y="858"/>
                </a:lnTo>
                <a:lnTo>
                  <a:pt x="1104" y="856"/>
                </a:lnTo>
                <a:lnTo>
                  <a:pt x="1130" y="853"/>
                </a:lnTo>
                <a:lnTo>
                  <a:pt x="1155" y="849"/>
                </a:lnTo>
                <a:lnTo>
                  <a:pt x="1180" y="843"/>
                </a:lnTo>
                <a:lnTo>
                  <a:pt x="1205" y="837"/>
                </a:lnTo>
                <a:lnTo>
                  <a:pt x="1230" y="828"/>
                </a:lnTo>
                <a:lnTo>
                  <a:pt x="1255" y="820"/>
                </a:lnTo>
                <a:lnTo>
                  <a:pt x="1278" y="808"/>
                </a:lnTo>
                <a:lnTo>
                  <a:pt x="1303" y="797"/>
                </a:lnTo>
                <a:lnTo>
                  <a:pt x="1326" y="783"/>
                </a:lnTo>
                <a:lnTo>
                  <a:pt x="1349" y="770"/>
                </a:lnTo>
                <a:lnTo>
                  <a:pt x="1370" y="757"/>
                </a:lnTo>
                <a:lnTo>
                  <a:pt x="1393" y="741"/>
                </a:lnTo>
                <a:lnTo>
                  <a:pt x="1415" y="724"/>
                </a:lnTo>
                <a:lnTo>
                  <a:pt x="1436" y="705"/>
                </a:lnTo>
                <a:lnTo>
                  <a:pt x="1476" y="666"/>
                </a:lnTo>
                <a:lnTo>
                  <a:pt x="1514" y="624"/>
                </a:lnTo>
                <a:lnTo>
                  <a:pt x="1549" y="578"/>
                </a:lnTo>
                <a:lnTo>
                  <a:pt x="1582" y="528"/>
                </a:lnTo>
                <a:lnTo>
                  <a:pt x="1612" y="474"/>
                </a:lnTo>
                <a:lnTo>
                  <a:pt x="1637" y="418"/>
                </a:lnTo>
                <a:lnTo>
                  <a:pt x="1662" y="359"/>
                </a:lnTo>
                <a:lnTo>
                  <a:pt x="1681" y="297"/>
                </a:lnTo>
                <a:lnTo>
                  <a:pt x="1846" y="297"/>
                </a:lnTo>
                <a:lnTo>
                  <a:pt x="1532" y="0"/>
                </a:lnTo>
                <a:lnTo>
                  <a:pt x="1134" y="297"/>
                </a:lnTo>
                <a:lnTo>
                  <a:pt x="1299" y="297"/>
                </a:lnTo>
                <a:lnTo>
                  <a:pt x="1284" y="345"/>
                </a:lnTo>
                <a:lnTo>
                  <a:pt x="1269" y="390"/>
                </a:lnTo>
                <a:lnTo>
                  <a:pt x="1249" y="434"/>
                </a:lnTo>
                <a:lnTo>
                  <a:pt x="1228" y="476"/>
                </a:lnTo>
                <a:lnTo>
                  <a:pt x="1207" y="516"/>
                </a:lnTo>
                <a:lnTo>
                  <a:pt x="1182" y="555"/>
                </a:lnTo>
                <a:lnTo>
                  <a:pt x="1157" y="593"/>
                </a:lnTo>
                <a:lnTo>
                  <a:pt x="1129" y="626"/>
                </a:lnTo>
                <a:lnTo>
                  <a:pt x="1100" y="659"/>
                </a:lnTo>
                <a:lnTo>
                  <a:pt x="1069" y="691"/>
                </a:lnTo>
                <a:lnTo>
                  <a:pt x="1038" y="718"/>
                </a:lnTo>
                <a:lnTo>
                  <a:pt x="1004" y="745"/>
                </a:lnTo>
                <a:lnTo>
                  <a:pt x="971" y="768"/>
                </a:lnTo>
                <a:lnTo>
                  <a:pt x="937" y="789"/>
                </a:lnTo>
                <a:lnTo>
                  <a:pt x="898" y="807"/>
                </a:lnTo>
                <a:lnTo>
                  <a:pt x="862" y="824"/>
                </a:lnTo>
                <a:lnTo>
                  <a:pt x="860" y="824"/>
                </a:lnTo>
                <a:lnTo>
                  <a:pt x="835" y="812"/>
                </a:lnTo>
                <a:lnTo>
                  <a:pt x="808" y="801"/>
                </a:lnTo>
                <a:lnTo>
                  <a:pt x="783" y="787"/>
                </a:lnTo>
                <a:lnTo>
                  <a:pt x="758" y="772"/>
                </a:lnTo>
                <a:lnTo>
                  <a:pt x="735" y="757"/>
                </a:lnTo>
                <a:lnTo>
                  <a:pt x="710" y="741"/>
                </a:lnTo>
                <a:lnTo>
                  <a:pt x="689" y="722"/>
                </a:lnTo>
                <a:lnTo>
                  <a:pt x="666" y="703"/>
                </a:lnTo>
                <a:lnTo>
                  <a:pt x="645" y="682"/>
                </a:lnTo>
                <a:lnTo>
                  <a:pt x="624" y="661"/>
                </a:lnTo>
                <a:lnTo>
                  <a:pt x="585" y="616"/>
                </a:lnTo>
                <a:lnTo>
                  <a:pt x="547" y="566"/>
                </a:lnTo>
                <a:lnTo>
                  <a:pt x="514" y="515"/>
                </a:lnTo>
                <a:lnTo>
                  <a:pt x="486" y="459"/>
                </a:lnTo>
                <a:lnTo>
                  <a:pt x="459" y="399"/>
                </a:lnTo>
                <a:lnTo>
                  <a:pt x="436" y="338"/>
                </a:lnTo>
                <a:lnTo>
                  <a:pt x="416" y="274"/>
                </a:lnTo>
                <a:lnTo>
                  <a:pt x="409" y="242"/>
                </a:lnTo>
                <a:lnTo>
                  <a:pt x="401" y="209"/>
                </a:lnTo>
                <a:lnTo>
                  <a:pt x="395" y="175"/>
                </a:lnTo>
                <a:lnTo>
                  <a:pt x="391" y="140"/>
                </a:lnTo>
                <a:lnTo>
                  <a:pt x="388" y="107"/>
                </a:lnTo>
                <a:lnTo>
                  <a:pt x="384" y="71"/>
                </a:lnTo>
                <a:lnTo>
                  <a:pt x="384" y="36"/>
                </a:lnTo>
                <a:lnTo>
                  <a:pt x="38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740377" name="Freeform 25"/>
          <p:cNvSpPr>
            <a:spLocks/>
          </p:cNvSpPr>
          <p:nvPr/>
        </p:nvSpPr>
        <p:spPr bwMode="gray">
          <a:xfrm>
            <a:off x="6625840" y="5264526"/>
            <a:ext cx="1476978" cy="1473551"/>
          </a:xfrm>
          <a:custGeom>
            <a:avLst/>
            <a:gdLst/>
            <a:ahLst/>
            <a:cxnLst>
              <a:cxn ang="0">
                <a:pos x="2" y="44"/>
              </a:cxn>
              <a:cxn ang="0">
                <a:pos x="8" y="132"/>
              </a:cxn>
              <a:cxn ang="0">
                <a:pos x="21" y="215"/>
              </a:cxn>
              <a:cxn ang="0">
                <a:pos x="40" y="296"/>
              </a:cxn>
              <a:cxn ang="0">
                <a:pos x="65" y="372"/>
              </a:cxn>
              <a:cxn ang="0">
                <a:pos x="98" y="445"/>
              </a:cxn>
              <a:cxn ang="0">
                <a:pos x="132" y="515"/>
              </a:cxn>
              <a:cxn ang="0">
                <a:pos x="175" y="578"/>
              </a:cxn>
              <a:cxn ang="0">
                <a:pos x="221" y="636"/>
              </a:cxn>
              <a:cxn ang="0">
                <a:pos x="269" y="689"/>
              </a:cxn>
              <a:cxn ang="0">
                <a:pos x="322" y="735"/>
              </a:cxn>
              <a:cxn ang="0">
                <a:pos x="380" y="774"/>
              </a:cxn>
              <a:cxn ang="0">
                <a:pos x="439" y="807"/>
              </a:cxn>
              <a:cxn ang="0">
                <a:pos x="503" y="832"/>
              </a:cxn>
              <a:cxn ang="0">
                <a:pos x="568" y="849"/>
              </a:cxn>
              <a:cxn ang="0">
                <a:pos x="635" y="858"/>
              </a:cxn>
              <a:cxn ang="0">
                <a:pos x="695" y="858"/>
              </a:cxn>
              <a:cxn ang="0">
                <a:pos x="743" y="855"/>
              </a:cxn>
              <a:cxn ang="0">
                <a:pos x="791" y="845"/>
              </a:cxn>
              <a:cxn ang="0">
                <a:pos x="839" y="832"/>
              </a:cxn>
              <a:cxn ang="0">
                <a:pos x="860" y="824"/>
              </a:cxn>
              <a:cxn ang="0">
                <a:pos x="808" y="801"/>
              </a:cxn>
              <a:cxn ang="0">
                <a:pos x="758" y="772"/>
              </a:cxn>
              <a:cxn ang="0">
                <a:pos x="710" y="741"/>
              </a:cxn>
              <a:cxn ang="0">
                <a:pos x="666" y="703"/>
              </a:cxn>
              <a:cxn ang="0">
                <a:pos x="624" y="661"/>
              </a:cxn>
              <a:cxn ang="0">
                <a:pos x="547" y="566"/>
              </a:cxn>
              <a:cxn ang="0">
                <a:pos x="486" y="459"/>
              </a:cxn>
              <a:cxn ang="0">
                <a:pos x="436" y="338"/>
              </a:cxn>
              <a:cxn ang="0">
                <a:pos x="409" y="242"/>
              </a:cxn>
              <a:cxn ang="0">
                <a:pos x="395" y="175"/>
              </a:cxn>
              <a:cxn ang="0">
                <a:pos x="388" y="107"/>
              </a:cxn>
              <a:cxn ang="0">
                <a:pos x="384" y="36"/>
              </a:cxn>
              <a:cxn ang="0">
                <a:pos x="0" y="0"/>
              </a:cxn>
            </a:cxnLst>
            <a:rect l="0" t="0" r="r" b="b"/>
            <a:pathLst>
              <a:path w="862" h="860">
                <a:moveTo>
                  <a:pt x="0" y="0"/>
                </a:moveTo>
                <a:lnTo>
                  <a:pt x="2" y="44"/>
                </a:lnTo>
                <a:lnTo>
                  <a:pt x="4" y="88"/>
                </a:lnTo>
                <a:lnTo>
                  <a:pt x="8" y="132"/>
                </a:lnTo>
                <a:lnTo>
                  <a:pt x="13" y="175"/>
                </a:lnTo>
                <a:lnTo>
                  <a:pt x="21" y="215"/>
                </a:lnTo>
                <a:lnTo>
                  <a:pt x="31" y="255"/>
                </a:lnTo>
                <a:lnTo>
                  <a:pt x="40" y="296"/>
                </a:lnTo>
                <a:lnTo>
                  <a:pt x="54" y="334"/>
                </a:lnTo>
                <a:lnTo>
                  <a:pt x="65" y="372"/>
                </a:lnTo>
                <a:lnTo>
                  <a:pt x="81" y="409"/>
                </a:lnTo>
                <a:lnTo>
                  <a:pt x="98" y="445"/>
                </a:lnTo>
                <a:lnTo>
                  <a:pt x="115" y="480"/>
                </a:lnTo>
                <a:lnTo>
                  <a:pt x="132" y="515"/>
                </a:lnTo>
                <a:lnTo>
                  <a:pt x="153" y="547"/>
                </a:lnTo>
                <a:lnTo>
                  <a:pt x="175" y="578"/>
                </a:lnTo>
                <a:lnTo>
                  <a:pt x="196" y="607"/>
                </a:lnTo>
                <a:lnTo>
                  <a:pt x="221" y="636"/>
                </a:lnTo>
                <a:lnTo>
                  <a:pt x="244" y="664"/>
                </a:lnTo>
                <a:lnTo>
                  <a:pt x="269" y="689"/>
                </a:lnTo>
                <a:lnTo>
                  <a:pt x="296" y="712"/>
                </a:lnTo>
                <a:lnTo>
                  <a:pt x="322" y="735"/>
                </a:lnTo>
                <a:lnTo>
                  <a:pt x="351" y="755"/>
                </a:lnTo>
                <a:lnTo>
                  <a:pt x="380" y="774"/>
                </a:lnTo>
                <a:lnTo>
                  <a:pt x="411" y="791"/>
                </a:lnTo>
                <a:lnTo>
                  <a:pt x="439" y="807"/>
                </a:lnTo>
                <a:lnTo>
                  <a:pt x="470" y="820"/>
                </a:lnTo>
                <a:lnTo>
                  <a:pt x="503" y="832"/>
                </a:lnTo>
                <a:lnTo>
                  <a:pt x="535" y="843"/>
                </a:lnTo>
                <a:lnTo>
                  <a:pt x="568" y="849"/>
                </a:lnTo>
                <a:lnTo>
                  <a:pt x="603" y="855"/>
                </a:lnTo>
                <a:lnTo>
                  <a:pt x="635" y="858"/>
                </a:lnTo>
                <a:lnTo>
                  <a:pt x="672" y="860"/>
                </a:lnTo>
                <a:lnTo>
                  <a:pt x="695" y="858"/>
                </a:lnTo>
                <a:lnTo>
                  <a:pt x="720" y="856"/>
                </a:lnTo>
                <a:lnTo>
                  <a:pt x="743" y="855"/>
                </a:lnTo>
                <a:lnTo>
                  <a:pt x="768" y="851"/>
                </a:lnTo>
                <a:lnTo>
                  <a:pt x="791" y="845"/>
                </a:lnTo>
                <a:lnTo>
                  <a:pt x="816" y="839"/>
                </a:lnTo>
                <a:lnTo>
                  <a:pt x="839" y="832"/>
                </a:lnTo>
                <a:lnTo>
                  <a:pt x="862" y="824"/>
                </a:lnTo>
                <a:lnTo>
                  <a:pt x="860" y="824"/>
                </a:lnTo>
                <a:lnTo>
                  <a:pt x="835" y="812"/>
                </a:lnTo>
                <a:lnTo>
                  <a:pt x="808" y="801"/>
                </a:lnTo>
                <a:lnTo>
                  <a:pt x="783" y="787"/>
                </a:lnTo>
                <a:lnTo>
                  <a:pt x="758" y="772"/>
                </a:lnTo>
                <a:lnTo>
                  <a:pt x="735" y="757"/>
                </a:lnTo>
                <a:lnTo>
                  <a:pt x="710" y="741"/>
                </a:lnTo>
                <a:lnTo>
                  <a:pt x="689" y="722"/>
                </a:lnTo>
                <a:lnTo>
                  <a:pt x="666" y="703"/>
                </a:lnTo>
                <a:lnTo>
                  <a:pt x="645" y="682"/>
                </a:lnTo>
                <a:lnTo>
                  <a:pt x="624" y="661"/>
                </a:lnTo>
                <a:lnTo>
                  <a:pt x="585" y="616"/>
                </a:lnTo>
                <a:lnTo>
                  <a:pt x="547" y="566"/>
                </a:lnTo>
                <a:lnTo>
                  <a:pt x="514" y="515"/>
                </a:lnTo>
                <a:lnTo>
                  <a:pt x="486" y="459"/>
                </a:lnTo>
                <a:lnTo>
                  <a:pt x="459" y="399"/>
                </a:lnTo>
                <a:lnTo>
                  <a:pt x="436" y="338"/>
                </a:lnTo>
                <a:lnTo>
                  <a:pt x="416" y="274"/>
                </a:lnTo>
                <a:lnTo>
                  <a:pt x="409" y="242"/>
                </a:lnTo>
                <a:lnTo>
                  <a:pt x="401" y="209"/>
                </a:lnTo>
                <a:lnTo>
                  <a:pt x="395" y="175"/>
                </a:lnTo>
                <a:lnTo>
                  <a:pt x="391" y="140"/>
                </a:lnTo>
                <a:lnTo>
                  <a:pt x="388" y="107"/>
                </a:lnTo>
                <a:lnTo>
                  <a:pt x="384" y="71"/>
                </a:lnTo>
                <a:lnTo>
                  <a:pt x="384" y="36"/>
                </a:lnTo>
                <a:lnTo>
                  <a:pt x="38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740378" name="Rectangle 26"/>
          <p:cNvSpPr>
            <a:spLocks noChangeArrowheads="1"/>
          </p:cNvSpPr>
          <p:nvPr/>
        </p:nvSpPr>
        <p:spPr bwMode="gray">
          <a:xfrm>
            <a:off x="6478485" y="4935810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0379" name="Rectangle 27"/>
          <p:cNvSpPr>
            <a:spLocks noChangeArrowheads="1"/>
          </p:cNvSpPr>
          <p:nvPr/>
        </p:nvSpPr>
        <p:spPr bwMode="gray">
          <a:xfrm>
            <a:off x="4148219" y="4935810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0380" name="Rectangle 28"/>
          <p:cNvSpPr>
            <a:spLocks noChangeArrowheads="1"/>
          </p:cNvSpPr>
          <p:nvPr/>
        </p:nvSpPr>
        <p:spPr bwMode="gray">
          <a:xfrm>
            <a:off x="8753922" y="4935810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grpSp>
        <p:nvGrpSpPr>
          <p:cNvPr id="9" name="Group 29"/>
          <p:cNvGrpSpPr>
            <a:grpSpLocks/>
          </p:cNvGrpSpPr>
          <p:nvPr/>
        </p:nvGrpSpPr>
        <p:grpSpPr bwMode="auto">
          <a:xfrm>
            <a:off x="4148218" y="140509"/>
            <a:ext cx="5726288" cy="1955025"/>
            <a:chOff x="2421" y="890"/>
            <a:chExt cx="3342" cy="1141"/>
          </a:xfrm>
        </p:grpSpPr>
        <p:sp>
          <p:nvSpPr>
            <p:cNvPr id="740382" name="Rectangle 30"/>
            <p:cNvSpPr>
              <a:spLocks noChangeArrowheads="1"/>
            </p:cNvSpPr>
            <p:nvPr/>
          </p:nvSpPr>
          <p:spPr bwMode="gray">
            <a:xfrm>
              <a:off x="3781" y="1895"/>
              <a:ext cx="65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/>
                <a:t>Texto</a:t>
              </a:r>
              <a:endParaRPr lang="pt-BR" sz="1511" b="1" dirty="0"/>
            </a:p>
          </p:txBody>
        </p:sp>
        <p:sp>
          <p:nvSpPr>
            <p:cNvPr id="740383" name="Rectangle 31"/>
            <p:cNvSpPr>
              <a:spLocks noChangeArrowheads="1"/>
            </p:cNvSpPr>
            <p:nvPr/>
          </p:nvSpPr>
          <p:spPr bwMode="gray">
            <a:xfrm>
              <a:off x="2421" y="1895"/>
              <a:ext cx="65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/>
                <a:t>Texto</a:t>
              </a:r>
              <a:endParaRPr lang="pt-BR" sz="1511" b="1" dirty="0"/>
            </a:p>
          </p:txBody>
        </p:sp>
        <p:sp>
          <p:nvSpPr>
            <p:cNvPr id="740384" name="Rectangle 32"/>
            <p:cNvSpPr>
              <a:spLocks noChangeArrowheads="1"/>
            </p:cNvSpPr>
            <p:nvPr/>
          </p:nvSpPr>
          <p:spPr bwMode="gray">
            <a:xfrm>
              <a:off x="5109" y="1895"/>
              <a:ext cx="65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defTabSz="1158251">
                <a:spcBef>
                  <a:spcPct val="20000"/>
                </a:spcBef>
              </a:pPr>
              <a:r>
                <a:rPr lang="pt-BR" sz="1511" b="1"/>
                <a:t>Texto</a:t>
              </a:r>
              <a:endParaRPr lang="pt-BR" sz="1511" b="1" dirty="0"/>
            </a:p>
          </p:txBody>
        </p:sp>
        <p:grpSp>
          <p:nvGrpSpPr>
            <p:cNvPr id="10" name="Group 33"/>
            <p:cNvGrpSpPr>
              <a:grpSpLocks/>
            </p:cNvGrpSpPr>
            <p:nvPr/>
          </p:nvGrpSpPr>
          <p:grpSpPr bwMode="auto">
            <a:xfrm>
              <a:off x="2478" y="890"/>
              <a:ext cx="3213" cy="927"/>
              <a:chOff x="2460" y="883"/>
              <a:chExt cx="3213" cy="927"/>
            </a:xfrm>
          </p:grpSpPr>
          <p:sp>
            <p:nvSpPr>
              <p:cNvPr id="740386" name="Freeform 34"/>
              <p:cNvSpPr>
                <a:spLocks/>
              </p:cNvSpPr>
              <p:nvPr/>
            </p:nvSpPr>
            <p:spPr bwMode="gray">
              <a:xfrm>
                <a:off x="2460" y="883"/>
                <a:ext cx="3213" cy="927"/>
              </a:xfrm>
              <a:custGeom>
                <a:avLst/>
                <a:gdLst/>
                <a:ahLst/>
                <a:cxnLst>
                  <a:cxn ang="0">
                    <a:pos x="3" y="831"/>
                  </a:cxn>
                  <a:cxn ang="0">
                    <a:pos x="21" y="695"/>
                  </a:cxn>
                  <a:cxn ang="0">
                    <a:pos x="55" y="566"/>
                  </a:cxn>
                  <a:cxn ang="0">
                    <a:pos x="103" y="447"/>
                  </a:cxn>
                  <a:cxn ang="0">
                    <a:pos x="163" y="338"/>
                  </a:cxn>
                  <a:cxn ang="0">
                    <a:pos x="234" y="242"/>
                  </a:cxn>
                  <a:cxn ang="0">
                    <a:pos x="316" y="159"/>
                  </a:cxn>
                  <a:cxn ang="0">
                    <a:pos x="406" y="92"/>
                  </a:cxn>
                  <a:cxn ang="0">
                    <a:pos x="504" y="42"/>
                  </a:cxn>
                  <a:cxn ang="0">
                    <a:pos x="608" y="11"/>
                  </a:cxn>
                  <a:cxn ang="0">
                    <a:pos x="717" y="0"/>
                  </a:cxn>
                  <a:cxn ang="0">
                    <a:pos x="1231" y="4"/>
                  </a:cxn>
                  <a:cxn ang="0">
                    <a:pos x="1314" y="17"/>
                  </a:cxn>
                  <a:cxn ang="0">
                    <a:pos x="1393" y="44"/>
                  </a:cxn>
                  <a:cxn ang="0">
                    <a:pos x="1469" y="82"/>
                  </a:cxn>
                  <a:cxn ang="0">
                    <a:pos x="1542" y="130"/>
                  </a:cxn>
                  <a:cxn ang="0">
                    <a:pos x="1606" y="186"/>
                  </a:cxn>
                  <a:cxn ang="0">
                    <a:pos x="1665" y="130"/>
                  </a:cxn>
                  <a:cxn ang="0">
                    <a:pos x="1732" y="82"/>
                  </a:cxn>
                  <a:cxn ang="0">
                    <a:pos x="1803" y="44"/>
                  </a:cxn>
                  <a:cxn ang="0">
                    <a:pos x="1876" y="17"/>
                  </a:cxn>
                  <a:cxn ang="0">
                    <a:pos x="1951" y="4"/>
                  </a:cxn>
                  <a:cxn ang="0">
                    <a:pos x="2553" y="0"/>
                  </a:cxn>
                  <a:cxn ang="0">
                    <a:pos x="2653" y="11"/>
                  </a:cxn>
                  <a:cxn ang="0">
                    <a:pos x="2749" y="42"/>
                  </a:cxn>
                  <a:cxn ang="0">
                    <a:pos x="2839" y="92"/>
                  </a:cxn>
                  <a:cxn ang="0">
                    <a:pos x="2922" y="159"/>
                  </a:cxn>
                  <a:cxn ang="0">
                    <a:pos x="2997" y="242"/>
                  </a:cxn>
                  <a:cxn ang="0">
                    <a:pos x="3064" y="338"/>
                  </a:cxn>
                  <a:cxn ang="0">
                    <a:pos x="3117" y="447"/>
                  </a:cxn>
                  <a:cxn ang="0">
                    <a:pos x="3162" y="566"/>
                  </a:cxn>
                  <a:cxn ang="0">
                    <a:pos x="3194" y="695"/>
                  </a:cxn>
                  <a:cxn ang="0">
                    <a:pos x="3211" y="831"/>
                  </a:cxn>
                  <a:cxn ang="0">
                    <a:pos x="2665" y="927"/>
                  </a:cxn>
                  <a:cxn ang="0">
                    <a:pos x="2649" y="728"/>
                  </a:cxn>
                  <a:cxn ang="0">
                    <a:pos x="2605" y="541"/>
                  </a:cxn>
                  <a:cxn ang="0">
                    <a:pos x="2532" y="372"/>
                  </a:cxn>
                  <a:cxn ang="0">
                    <a:pos x="2438" y="228"/>
                  </a:cxn>
                  <a:cxn ang="0">
                    <a:pos x="2321" y="115"/>
                  </a:cxn>
                  <a:cxn ang="0">
                    <a:pos x="2248" y="105"/>
                  </a:cxn>
                  <a:cxn ang="0">
                    <a:pos x="2164" y="178"/>
                  </a:cxn>
                  <a:cxn ang="0">
                    <a:pos x="2091" y="265"/>
                  </a:cxn>
                  <a:cxn ang="0">
                    <a:pos x="2026" y="368"/>
                  </a:cxn>
                  <a:cxn ang="0">
                    <a:pos x="1972" y="482"/>
                  </a:cxn>
                  <a:cxn ang="0">
                    <a:pos x="1932" y="607"/>
                  </a:cxn>
                  <a:cxn ang="0">
                    <a:pos x="1201" y="607"/>
                  </a:cxn>
                  <a:cxn ang="0">
                    <a:pos x="1387" y="591"/>
                  </a:cxn>
                  <a:cxn ang="0">
                    <a:pos x="1339" y="466"/>
                  </a:cxn>
                  <a:cxn ang="0">
                    <a:pos x="1272" y="338"/>
                  </a:cxn>
                  <a:cxn ang="0">
                    <a:pos x="1189" y="228"/>
                  </a:cxn>
                  <a:cxn ang="0">
                    <a:pos x="1093" y="138"/>
                  </a:cxn>
                  <a:cxn ang="0">
                    <a:pos x="984" y="67"/>
                  </a:cxn>
                  <a:cxn ang="0">
                    <a:pos x="892" y="77"/>
                  </a:cxn>
                  <a:cxn ang="0">
                    <a:pos x="817" y="125"/>
                  </a:cxn>
                  <a:cxn ang="0">
                    <a:pos x="746" y="184"/>
                  </a:cxn>
                  <a:cxn ang="0">
                    <a:pos x="663" y="278"/>
                  </a:cxn>
                  <a:cxn ang="0">
                    <a:pos x="562" y="445"/>
                  </a:cxn>
                  <a:cxn ang="0">
                    <a:pos x="502" y="607"/>
                  </a:cxn>
                  <a:cxn ang="0">
                    <a:pos x="477" y="710"/>
                  </a:cxn>
                  <a:cxn ang="0">
                    <a:pos x="462" y="816"/>
                  </a:cxn>
                  <a:cxn ang="0">
                    <a:pos x="458" y="927"/>
                  </a:cxn>
                </a:cxnLst>
                <a:rect l="0" t="0" r="r" b="b"/>
                <a:pathLst>
                  <a:path w="3213" h="927">
                    <a:moveTo>
                      <a:pt x="0" y="927"/>
                    </a:moveTo>
                    <a:lnTo>
                      <a:pt x="0" y="879"/>
                    </a:lnTo>
                    <a:lnTo>
                      <a:pt x="3" y="831"/>
                    </a:lnTo>
                    <a:lnTo>
                      <a:pt x="7" y="785"/>
                    </a:lnTo>
                    <a:lnTo>
                      <a:pt x="13" y="741"/>
                    </a:lnTo>
                    <a:lnTo>
                      <a:pt x="21" y="695"/>
                    </a:lnTo>
                    <a:lnTo>
                      <a:pt x="30" y="651"/>
                    </a:lnTo>
                    <a:lnTo>
                      <a:pt x="42" y="609"/>
                    </a:lnTo>
                    <a:lnTo>
                      <a:pt x="55" y="566"/>
                    </a:lnTo>
                    <a:lnTo>
                      <a:pt x="71" y="526"/>
                    </a:lnTo>
                    <a:lnTo>
                      <a:pt x="86" y="486"/>
                    </a:lnTo>
                    <a:lnTo>
                      <a:pt x="103" y="447"/>
                    </a:lnTo>
                    <a:lnTo>
                      <a:pt x="122" y="409"/>
                    </a:lnTo>
                    <a:lnTo>
                      <a:pt x="142" y="372"/>
                    </a:lnTo>
                    <a:lnTo>
                      <a:pt x="163" y="338"/>
                    </a:lnTo>
                    <a:lnTo>
                      <a:pt x="186" y="305"/>
                    </a:lnTo>
                    <a:lnTo>
                      <a:pt x="209" y="272"/>
                    </a:lnTo>
                    <a:lnTo>
                      <a:pt x="234" y="242"/>
                    </a:lnTo>
                    <a:lnTo>
                      <a:pt x="261" y="213"/>
                    </a:lnTo>
                    <a:lnTo>
                      <a:pt x="287" y="184"/>
                    </a:lnTo>
                    <a:lnTo>
                      <a:pt x="316" y="159"/>
                    </a:lnTo>
                    <a:lnTo>
                      <a:pt x="345" y="134"/>
                    </a:lnTo>
                    <a:lnTo>
                      <a:pt x="374" y="113"/>
                    </a:lnTo>
                    <a:lnTo>
                      <a:pt x="406" y="92"/>
                    </a:lnTo>
                    <a:lnTo>
                      <a:pt x="437" y="73"/>
                    </a:lnTo>
                    <a:lnTo>
                      <a:pt x="470" y="57"/>
                    </a:lnTo>
                    <a:lnTo>
                      <a:pt x="504" y="42"/>
                    </a:lnTo>
                    <a:lnTo>
                      <a:pt x="537" y="30"/>
                    </a:lnTo>
                    <a:lnTo>
                      <a:pt x="571" y="19"/>
                    </a:lnTo>
                    <a:lnTo>
                      <a:pt x="608" y="11"/>
                    </a:lnTo>
                    <a:lnTo>
                      <a:pt x="644" y="5"/>
                    </a:lnTo>
                    <a:lnTo>
                      <a:pt x="679" y="2"/>
                    </a:lnTo>
                    <a:lnTo>
                      <a:pt x="717" y="0"/>
                    </a:lnTo>
                    <a:lnTo>
                      <a:pt x="1176" y="0"/>
                    </a:lnTo>
                    <a:lnTo>
                      <a:pt x="1203" y="2"/>
                    </a:lnTo>
                    <a:lnTo>
                      <a:pt x="1231" y="4"/>
                    </a:lnTo>
                    <a:lnTo>
                      <a:pt x="1260" y="7"/>
                    </a:lnTo>
                    <a:lnTo>
                      <a:pt x="1287" y="11"/>
                    </a:lnTo>
                    <a:lnTo>
                      <a:pt x="1314" y="17"/>
                    </a:lnTo>
                    <a:lnTo>
                      <a:pt x="1341" y="27"/>
                    </a:lnTo>
                    <a:lnTo>
                      <a:pt x="1368" y="34"/>
                    </a:lnTo>
                    <a:lnTo>
                      <a:pt x="1393" y="44"/>
                    </a:lnTo>
                    <a:lnTo>
                      <a:pt x="1419" y="55"/>
                    </a:lnTo>
                    <a:lnTo>
                      <a:pt x="1444" y="67"/>
                    </a:lnTo>
                    <a:lnTo>
                      <a:pt x="1469" y="82"/>
                    </a:lnTo>
                    <a:lnTo>
                      <a:pt x="1494" y="96"/>
                    </a:lnTo>
                    <a:lnTo>
                      <a:pt x="1517" y="113"/>
                    </a:lnTo>
                    <a:lnTo>
                      <a:pt x="1542" y="130"/>
                    </a:lnTo>
                    <a:lnTo>
                      <a:pt x="1565" y="148"/>
                    </a:lnTo>
                    <a:lnTo>
                      <a:pt x="1586" y="167"/>
                    </a:lnTo>
                    <a:lnTo>
                      <a:pt x="1606" y="186"/>
                    </a:lnTo>
                    <a:lnTo>
                      <a:pt x="1623" y="167"/>
                    </a:lnTo>
                    <a:lnTo>
                      <a:pt x="1644" y="148"/>
                    </a:lnTo>
                    <a:lnTo>
                      <a:pt x="1665" y="130"/>
                    </a:lnTo>
                    <a:lnTo>
                      <a:pt x="1688" y="113"/>
                    </a:lnTo>
                    <a:lnTo>
                      <a:pt x="1709" y="96"/>
                    </a:lnTo>
                    <a:lnTo>
                      <a:pt x="1732" y="82"/>
                    </a:lnTo>
                    <a:lnTo>
                      <a:pt x="1755" y="67"/>
                    </a:lnTo>
                    <a:lnTo>
                      <a:pt x="1778" y="55"/>
                    </a:lnTo>
                    <a:lnTo>
                      <a:pt x="1803" y="44"/>
                    </a:lnTo>
                    <a:lnTo>
                      <a:pt x="1826" y="34"/>
                    </a:lnTo>
                    <a:lnTo>
                      <a:pt x="1851" y="27"/>
                    </a:lnTo>
                    <a:lnTo>
                      <a:pt x="1876" y="17"/>
                    </a:lnTo>
                    <a:lnTo>
                      <a:pt x="1901" y="11"/>
                    </a:lnTo>
                    <a:lnTo>
                      <a:pt x="1926" y="7"/>
                    </a:lnTo>
                    <a:lnTo>
                      <a:pt x="1951" y="4"/>
                    </a:lnTo>
                    <a:lnTo>
                      <a:pt x="1976" y="2"/>
                    </a:lnTo>
                    <a:lnTo>
                      <a:pt x="2003" y="0"/>
                    </a:lnTo>
                    <a:lnTo>
                      <a:pt x="2553" y="0"/>
                    </a:lnTo>
                    <a:lnTo>
                      <a:pt x="2586" y="2"/>
                    </a:lnTo>
                    <a:lnTo>
                      <a:pt x="2621" y="5"/>
                    </a:lnTo>
                    <a:lnTo>
                      <a:pt x="2653" y="11"/>
                    </a:lnTo>
                    <a:lnTo>
                      <a:pt x="2686" y="19"/>
                    </a:lnTo>
                    <a:lnTo>
                      <a:pt x="2718" y="30"/>
                    </a:lnTo>
                    <a:lnTo>
                      <a:pt x="2749" y="42"/>
                    </a:lnTo>
                    <a:lnTo>
                      <a:pt x="2780" y="57"/>
                    </a:lnTo>
                    <a:lnTo>
                      <a:pt x="2810" y="73"/>
                    </a:lnTo>
                    <a:lnTo>
                      <a:pt x="2839" y="92"/>
                    </a:lnTo>
                    <a:lnTo>
                      <a:pt x="2868" y="113"/>
                    </a:lnTo>
                    <a:lnTo>
                      <a:pt x="2895" y="134"/>
                    </a:lnTo>
                    <a:lnTo>
                      <a:pt x="2922" y="159"/>
                    </a:lnTo>
                    <a:lnTo>
                      <a:pt x="2949" y="184"/>
                    </a:lnTo>
                    <a:lnTo>
                      <a:pt x="2974" y="213"/>
                    </a:lnTo>
                    <a:lnTo>
                      <a:pt x="2997" y="242"/>
                    </a:lnTo>
                    <a:lnTo>
                      <a:pt x="3020" y="272"/>
                    </a:lnTo>
                    <a:lnTo>
                      <a:pt x="3043" y="305"/>
                    </a:lnTo>
                    <a:lnTo>
                      <a:pt x="3064" y="338"/>
                    </a:lnTo>
                    <a:lnTo>
                      <a:pt x="3083" y="372"/>
                    </a:lnTo>
                    <a:lnTo>
                      <a:pt x="3102" y="409"/>
                    </a:lnTo>
                    <a:lnTo>
                      <a:pt x="3117" y="447"/>
                    </a:lnTo>
                    <a:lnTo>
                      <a:pt x="3135" y="486"/>
                    </a:lnTo>
                    <a:lnTo>
                      <a:pt x="3150" y="526"/>
                    </a:lnTo>
                    <a:lnTo>
                      <a:pt x="3162" y="566"/>
                    </a:lnTo>
                    <a:lnTo>
                      <a:pt x="3175" y="609"/>
                    </a:lnTo>
                    <a:lnTo>
                      <a:pt x="3185" y="651"/>
                    </a:lnTo>
                    <a:lnTo>
                      <a:pt x="3194" y="695"/>
                    </a:lnTo>
                    <a:lnTo>
                      <a:pt x="3202" y="741"/>
                    </a:lnTo>
                    <a:lnTo>
                      <a:pt x="3206" y="785"/>
                    </a:lnTo>
                    <a:lnTo>
                      <a:pt x="3211" y="831"/>
                    </a:lnTo>
                    <a:lnTo>
                      <a:pt x="3213" y="879"/>
                    </a:lnTo>
                    <a:lnTo>
                      <a:pt x="3213" y="927"/>
                    </a:lnTo>
                    <a:lnTo>
                      <a:pt x="2665" y="927"/>
                    </a:lnTo>
                    <a:lnTo>
                      <a:pt x="2663" y="860"/>
                    </a:lnTo>
                    <a:lnTo>
                      <a:pt x="2657" y="793"/>
                    </a:lnTo>
                    <a:lnTo>
                      <a:pt x="2649" y="728"/>
                    </a:lnTo>
                    <a:lnTo>
                      <a:pt x="2638" y="664"/>
                    </a:lnTo>
                    <a:lnTo>
                      <a:pt x="2622" y="601"/>
                    </a:lnTo>
                    <a:lnTo>
                      <a:pt x="2605" y="541"/>
                    </a:lnTo>
                    <a:lnTo>
                      <a:pt x="2584" y="482"/>
                    </a:lnTo>
                    <a:lnTo>
                      <a:pt x="2559" y="426"/>
                    </a:lnTo>
                    <a:lnTo>
                      <a:pt x="2532" y="372"/>
                    </a:lnTo>
                    <a:lnTo>
                      <a:pt x="2503" y="322"/>
                    </a:lnTo>
                    <a:lnTo>
                      <a:pt x="2471" y="274"/>
                    </a:lnTo>
                    <a:lnTo>
                      <a:pt x="2438" y="228"/>
                    </a:lnTo>
                    <a:lnTo>
                      <a:pt x="2400" y="188"/>
                    </a:lnTo>
                    <a:lnTo>
                      <a:pt x="2362" y="149"/>
                    </a:lnTo>
                    <a:lnTo>
                      <a:pt x="2321" y="115"/>
                    </a:lnTo>
                    <a:lnTo>
                      <a:pt x="2300" y="100"/>
                    </a:lnTo>
                    <a:lnTo>
                      <a:pt x="2277" y="84"/>
                    </a:lnTo>
                    <a:lnTo>
                      <a:pt x="2248" y="105"/>
                    </a:lnTo>
                    <a:lnTo>
                      <a:pt x="2220" y="128"/>
                    </a:lnTo>
                    <a:lnTo>
                      <a:pt x="2191" y="151"/>
                    </a:lnTo>
                    <a:lnTo>
                      <a:pt x="2164" y="178"/>
                    </a:lnTo>
                    <a:lnTo>
                      <a:pt x="2139" y="205"/>
                    </a:lnTo>
                    <a:lnTo>
                      <a:pt x="2114" y="234"/>
                    </a:lnTo>
                    <a:lnTo>
                      <a:pt x="2091" y="265"/>
                    </a:lnTo>
                    <a:lnTo>
                      <a:pt x="2068" y="297"/>
                    </a:lnTo>
                    <a:lnTo>
                      <a:pt x="2045" y="332"/>
                    </a:lnTo>
                    <a:lnTo>
                      <a:pt x="2026" y="368"/>
                    </a:lnTo>
                    <a:lnTo>
                      <a:pt x="2007" y="405"/>
                    </a:lnTo>
                    <a:lnTo>
                      <a:pt x="1989" y="443"/>
                    </a:lnTo>
                    <a:lnTo>
                      <a:pt x="1972" y="482"/>
                    </a:lnTo>
                    <a:lnTo>
                      <a:pt x="1957" y="522"/>
                    </a:lnTo>
                    <a:lnTo>
                      <a:pt x="1943" y="564"/>
                    </a:lnTo>
                    <a:lnTo>
                      <a:pt x="1932" y="607"/>
                    </a:lnTo>
                    <a:lnTo>
                      <a:pt x="2112" y="607"/>
                    </a:lnTo>
                    <a:lnTo>
                      <a:pt x="1617" y="927"/>
                    </a:lnTo>
                    <a:lnTo>
                      <a:pt x="1201" y="607"/>
                    </a:lnTo>
                    <a:lnTo>
                      <a:pt x="1354" y="607"/>
                    </a:lnTo>
                    <a:lnTo>
                      <a:pt x="1381" y="607"/>
                    </a:lnTo>
                    <a:lnTo>
                      <a:pt x="1387" y="591"/>
                    </a:lnTo>
                    <a:lnTo>
                      <a:pt x="1375" y="557"/>
                    </a:lnTo>
                    <a:lnTo>
                      <a:pt x="1358" y="511"/>
                    </a:lnTo>
                    <a:lnTo>
                      <a:pt x="1339" y="466"/>
                    </a:lnTo>
                    <a:lnTo>
                      <a:pt x="1318" y="422"/>
                    </a:lnTo>
                    <a:lnTo>
                      <a:pt x="1295" y="378"/>
                    </a:lnTo>
                    <a:lnTo>
                      <a:pt x="1272" y="338"/>
                    </a:lnTo>
                    <a:lnTo>
                      <a:pt x="1245" y="299"/>
                    </a:lnTo>
                    <a:lnTo>
                      <a:pt x="1218" y="263"/>
                    </a:lnTo>
                    <a:lnTo>
                      <a:pt x="1189" y="228"/>
                    </a:lnTo>
                    <a:lnTo>
                      <a:pt x="1158" y="196"/>
                    </a:lnTo>
                    <a:lnTo>
                      <a:pt x="1126" y="165"/>
                    </a:lnTo>
                    <a:lnTo>
                      <a:pt x="1093" y="138"/>
                    </a:lnTo>
                    <a:lnTo>
                      <a:pt x="1057" y="111"/>
                    </a:lnTo>
                    <a:lnTo>
                      <a:pt x="1022" y="88"/>
                    </a:lnTo>
                    <a:lnTo>
                      <a:pt x="984" y="67"/>
                    </a:lnTo>
                    <a:lnTo>
                      <a:pt x="947" y="50"/>
                    </a:lnTo>
                    <a:lnTo>
                      <a:pt x="919" y="63"/>
                    </a:lnTo>
                    <a:lnTo>
                      <a:pt x="892" y="77"/>
                    </a:lnTo>
                    <a:lnTo>
                      <a:pt x="867" y="92"/>
                    </a:lnTo>
                    <a:lnTo>
                      <a:pt x="842" y="107"/>
                    </a:lnTo>
                    <a:lnTo>
                      <a:pt x="817" y="125"/>
                    </a:lnTo>
                    <a:lnTo>
                      <a:pt x="792" y="144"/>
                    </a:lnTo>
                    <a:lnTo>
                      <a:pt x="769" y="163"/>
                    </a:lnTo>
                    <a:lnTo>
                      <a:pt x="746" y="184"/>
                    </a:lnTo>
                    <a:lnTo>
                      <a:pt x="725" y="207"/>
                    </a:lnTo>
                    <a:lnTo>
                      <a:pt x="704" y="230"/>
                    </a:lnTo>
                    <a:lnTo>
                      <a:pt x="663" y="278"/>
                    </a:lnTo>
                    <a:lnTo>
                      <a:pt x="627" y="330"/>
                    </a:lnTo>
                    <a:lnTo>
                      <a:pt x="592" y="386"/>
                    </a:lnTo>
                    <a:lnTo>
                      <a:pt x="562" y="445"/>
                    </a:lnTo>
                    <a:lnTo>
                      <a:pt x="535" y="509"/>
                    </a:lnTo>
                    <a:lnTo>
                      <a:pt x="512" y="572"/>
                    </a:lnTo>
                    <a:lnTo>
                      <a:pt x="502" y="607"/>
                    </a:lnTo>
                    <a:lnTo>
                      <a:pt x="493" y="639"/>
                    </a:lnTo>
                    <a:lnTo>
                      <a:pt x="485" y="674"/>
                    </a:lnTo>
                    <a:lnTo>
                      <a:pt x="477" y="710"/>
                    </a:lnTo>
                    <a:lnTo>
                      <a:pt x="472" y="745"/>
                    </a:lnTo>
                    <a:lnTo>
                      <a:pt x="466" y="781"/>
                    </a:lnTo>
                    <a:lnTo>
                      <a:pt x="462" y="816"/>
                    </a:lnTo>
                    <a:lnTo>
                      <a:pt x="460" y="852"/>
                    </a:lnTo>
                    <a:lnTo>
                      <a:pt x="458" y="889"/>
                    </a:lnTo>
                    <a:lnTo>
                      <a:pt x="458" y="927"/>
                    </a:lnTo>
                    <a:lnTo>
                      <a:pt x="0" y="927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2159"/>
              </a:p>
            </p:txBody>
          </p:sp>
          <p:sp>
            <p:nvSpPr>
              <p:cNvPr id="740387" name="Freeform 35"/>
              <p:cNvSpPr>
                <a:spLocks/>
              </p:cNvSpPr>
              <p:nvPr/>
            </p:nvSpPr>
            <p:spPr bwMode="gray">
              <a:xfrm>
                <a:off x="2460" y="883"/>
                <a:ext cx="947" cy="927"/>
              </a:xfrm>
              <a:custGeom>
                <a:avLst/>
                <a:gdLst/>
                <a:ahLst/>
                <a:cxnLst>
                  <a:cxn ang="0">
                    <a:pos x="0" y="879"/>
                  </a:cxn>
                  <a:cxn ang="0">
                    <a:pos x="7" y="785"/>
                  </a:cxn>
                  <a:cxn ang="0">
                    <a:pos x="21" y="695"/>
                  </a:cxn>
                  <a:cxn ang="0">
                    <a:pos x="42" y="609"/>
                  </a:cxn>
                  <a:cxn ang="0">
                    <a:pos x="71" y="526"/>
                  </a:cxn>
                  <a:cxn ang="0">
                    <a:pos x="103" y="447"/>
                  </a:cxn>
                  <a:cxn ang="0">
                    <a:pos x="142" y="372"/>
                  </a:cxn>
                  <a:cxn ang="0">
                    <a:pos x="186" y="305"/>
                  </a:cxn>
                  <a:cxn ang="0">
                    <a:pos x="234" y="242"/>
                  </a:cxn>
                  <a:cxn ang="0">
                    <a:pos x="287" y="184"/>
                  </a:cxn>
                  <a:cxn ang="0">
                    <a:pos x="345" y="134"/>
                  </a:cxn>
                  <a:cxn ang="0">
                    <a:pos x="406" y="92"/>
                  </a:cxn>
                  <a:cxn ang="0">
                    <a:pos x="470" y="57"/>
                  </a:cxn>
                  <a:cxn ang="0">
                    <a:pos x="537" y="30"/>
                  </a:cxn>
                  <a:cxn ang="0">
                    <a:pos x="608" y="11"/>
                  </a:cxn>
                  <a:cxn ang="0">
                    <a:pos x="679" y="2"/>
                  </a:cxn>
                  <a:cxn ang="0">
                    <a:pos x="746" y="2"/>
                  </a:cxn>
                  <a:cxn ang="0">
                    <a:pos x="805" y="7"/>
                  </a:cxn>
                  <a:cxn ang="0">
                    <a:pos x="861" y="19"/>
                  </a:cxn>
                  <a:cxn ang="0">
                    <a:pos x="919" y="38"/>
                  </a:cxn>
                  <a:cxn ang="0">
                    <a:pos x="919" y="63"/>
                  </a:cxn>
                  <a:cxn ang="0">
                    <a:pos x="867" y="92"/>
                  </a:cxn>
                  <a:cxn ang="0">
                    <a:pos x="817" y="125"/>
                  </a:cxn>
                  <a:cxn ang="0">
                    <a:pos x="769" y="163"/>
                  </a:cxn>
                  <a:cxn ang="0">
                    <a:pos x="725" y="207"/>
                  </a:cxn>
                  <a:cxn ang="0">
                    <a:pos x="663" y="278"/>
                  </a:cxn>
                  <a:cxn ang="0">
                    <a:pos x="592" y="386"/>
                  </a:cxn>
                  <a:cxn ang="0">
                    <a:pos x="535" y="509"/>
                  </a:cxn>
                  <a:cxn ang="0">
                    <a:pos x="502" y="607"/>
                  </a:cxn>
                  <a:cxn ang="0">
                    <a:pos x="485" y="674"/>
                  </a:cxn>
                  <a:cxn ang="0">
                    <a:pos x="472" y="745"/>
                  </a:cxn>
                  <a:cxn ang="0">
                    <a:pos x="462" y="816"/>
                  </a:cxn>
                  <a:cxn ang="0">
                    <a:pos x="458" y="889"/>
                  </a:cxn>
                  <a:cxn ang="0">
                    <a:pos x="0" y="927"/>
                  </a:cxn>
                </a:cxnLst>
                <a:rect l="0" t="0" r="r" b="b"/>
                <a:pathLst>
                  <a:path w="947" h="927">
                    <a:moveTo>
                      <a:pt x="0" y="927"/>
                    </a:moveTo>
                    <a:lnTo>
                      <a:pt x="0" y="879"/>
                    </a:lnTo>
                    <a:lnTo>
                      <a:pt x="3" y="831"/>
                    </a:lnTo>
                    <a:lnTo>
                      <a:pt x="7" y="785"/>
                    </a:lnTo>
                    <a:lnTo>
                      <a:pt x="13" y="741"/>
                    </a:lnTo>
                    <a:lnTo>
                      <a:pt x="21" y="695"/>
                    </a:lnTo>
                    <a:lnTo>
                      <a:pt x="30" y="651"/>
                    </a:lnTo>
                    <a:lnTo>
                      <a:pt x="42" y="609"/>
                    </a:lnTo>
                    <a:lnTo>
                      <a:pt x="55" y="566"/>
                    </a:lnTo>
                    <a:lnTo>
                      <a:pt x="71" y="526"/>
                    </a:lnTo>
                    <a:lnTo>
                      <a:pt x="86" y="486"/>
                    </a:lnTo>
                    <a:lnTo>
                      <a:pt x="103" y="447"/>
                    </a:lnTo>
                    <a:lnTo>
                      <a:pt x="122" y="409"/>
                    </a:lnTo>
                    <a:lnTo>
                      <a:pt x="142" y="372"/>
                    </a:lnTo>
                    <a:lnTo>
                      <a:pt x="163" y="338"/>
                    </a:lnTo>
                    <a:lnTo>
                      <a:pt x="186" y="305"/>
                    </a:lnTo>
                    <a:lnTo>
                      <a:pt x="209" y="272"/>
                    </a:lnTo>
                    <a:lnTo>
                      <a:pt x="234" y="242"/>
                    </a:lnTo>
                    <a:lnTo>
                      <a:pt x="261" y="213"/>
                    </a:lnTo>
                    <a:lnTo>
                      <a:pt x="287" y="184"/>
                    </a:lnTo>
                    <a:lnTo>
                      <a:pt x="316" y="159"/>
                    </a:lnTo>
                    <a:lnTo>
                      <a:pt x="345" y="134"/>
                    </a:lnTo>
                    <a:lnTo>
                      <a:pt x="374" y="113"/>
                    </a:lnTo>
                    <a:lnTo>
                      <a:pt x="406" y="92"/>
                    </a:lnTo>
                    <a:lnTo>
                      <a:pt x="437" y="73"/>
                    </a:lnTo>
                    <a:lnTo>
                      <a:pt x="470" y="57"/>
                    </a:lnTo>
                    <a:lnTo>
                      <a:pt x="504" y="42"/>
                    </a:lnTo>
                    <a:lnTo>
                      <a:pt x="537" y="30"/>
                    </a:lnTo>
                    <a:lnTo>
                      <a:pt x="571" y="19"/>
                    </a:lnTo>
                    <a:lnTo>
                      <a:pt x="608" y="11"/>
                    </a:lnTo>
                    <a:lnTo>
                      <a:pt x="644" y="5"/>
                    </a:lnTo>
                    <a:lnTo>
                      <a:pt x="679" y="2"/>
                    </a:lnTo>
                    <a:lnTo>
                      <a:pt x="717" y="0"/>
                    </a:lnTo>
                    <a:lnTo>
                      <a:pt x="746" y="2"/>
                    </a:lnTo>
                    <a:lnTo>
                      <a:pt x="775" y="4"/>
                    </a:lnTo>
                    <a:lnTo>
                      <a:pt x="805" y="7"/>
                    </a:lnTo>
                    <a:lnTo>
                      <a:pt x="834" y="13"/>
                    </a:lnTo>
                    <a:lnTo>
                      <a:pt x="861" y="19"/>
                    </a:lnTo>
                    <a:lnTo>
                      <a:pt x="890" y="28"/>
                    </a:lnTo>
                    <a:lnTo>
                      <a:pt x="919" y="38"/>
                    </a:lnTo>
                    <a:lnTo>
                      <a:pt x="947" y="50"/>
                    </a:lnTo>
                    <a:lnTo>
                      <a:pt x="919" y="63"/>
                    </a:lnTo>
                    <a:lnTo>
                      <a:pt x="892" y="77"/>
                    </a:lnTo>
                    <a:lnTo>
                      <a:pt x="867" y="92"/>
                    </a:lnTo>
                    <a:lnTo>
                      <a:pt x="842" y="107"/>
                    </a:lnTo>
                    <a:lnTo>
                      <a:pt x="817" y="125"/>
                    </a:lnTo>
                    <a:lnTo>
                      <a:pt x="792" y="144"/>
                    </a:lnTo>
                    <a:lnTo>
                      <a:pt x="769" y="163"/>
                    </a:lnTo>
                    <a:lnTo>
                      <a:pt x="746" y="184"/>
                    </a:lnTo>
                    <a:lnTo>
                      <a:pt x="725" y="207"/>
                    </a:lnTo>
                    <a:lnTo>
                      <a:pt x="704" y="230"/>
                    </a:lnTo>
                    <a:lnTo>
                      <a:pt x="663" y="278"/>
                    </a:lnTo>
                    <a:lnTo>
                      <a:pt x="627" y="330"/>
                    </a:lnTo>
                    <a:lnTo>
                      <a:pt x="592" y="386"/>
                    </a:lnTo>
                    <a:lnTo>
                      <a:pt x="562" y="445"/>
                    </a:lnTo>
                    <a:lnTo>
                      <a:pt x="535" y="509"/>
                    </a:lnTo>
                    <a:lnTo>
                      <a:pt x="512" y="572"/>
                    </a:lnTo>
                    <a:lnTo>
                      <a:pt x="502" y="607"/>
                    </a:lnTo>
                    <a:lnTo>
                      <a:pt x="493" y="639"/>
                    </a:lnTo>
                    <a:lnTo>
                      <a:pt x="485" y="674"/>
                    </a:lnTo>
                    <a:lnTo>
                      <a:pt x="477" y="710"/>
                    </a:lnTo>
                    <a:lnTo>
                      <a:pt x="472" y="745"/>
                    </a:lnTo>
                    <a:lnTo>
                      <a:pt x="466" y="781"/>
                    </a:lnTo>
                    <a:lnTo>
                      <a:pt x="462" y="816"/>
                    </a:lnTo>
                    <a:lnTo>
                      <a:pt x="460" y="852"/>
                    </a:lnTo>
                    <a:lnTo>
                      <a:pt x="458" y="889"/>
                    </a:lnTo>
                    <a:lnTo>
                      <a:pt x="458" y="927"/>
                    </a:lnTo>
                    <a:lnTo>
                      <a:pt x="0" y="927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 sz="2159"/>
              </a:p>
            </p:txBody>
          </p:sp>
          <p:sp>
            <p:nvSpPr>
              <p:cNvPr id="740388" name="Freeform 36"/>
              <p:cNvSpPr>
                <a:spLocks/>
              </p:cNvSpPr>
              <p:nvPr/>
            </p:nvSpPr>
            <p:spPr bwMode="gray">
              <a:xfrm>
                <a:off x="4737" y="883"/>
                <a:ext cx="936" cy="927"/>
              </a:xfrm>
              <a:custGeom>
                <a:avLst/>
                <a:gdLst/>
                <a:ahLst/>
                <a:cxnLst>
                  <a:cxn ang="0">
                    <a:pos x="936" y="927"/>
                  </a:cxn>
                  <a:cxn ang="0">
                    <a:pos x="936" y="879"/>
                  </a:cxn>
                  <a:cxn ang="0">
                    <a:pos x="934" y="831"/>
                  </a:cxn>
                  <a:cxn ang="0">
                    <a:pos x="929" y="785"/>
                  </a:cxn>
                  <a:cxn ang="0">
                    <a:pos x="925" y="741"/>
                  </a:cxn>
                  <a:cxn ang="0">
                    <a:pos x="917" y="695"/>
                  </a:cxn>
                  <a:cxn ang="0">
                    <a:pos x="908" y="651"/>
                  </a:cxn>
                  <a:cxn ang="0">
                    <a:pos x="898" y="609"/>
                  </a:cxn>
                  <a:cxn ang="0">
                    <a:pos x="885" y="566"/>
                  </a:cxn>
                  <a:cxn ang="0">
                    <a:pos x="873" y="526"/>
                  </a:cxn>
                  <a:cxn ang="0">
                    <a:pos x="858" y="486"/>
                  </a:cxn>
                  <a:cxn ang="0">
                    <a:pos x="840" y="447"/>
                  </a:cxn>
                  <a:cxn ang="0">
                    <a:pos x="825" y="409"/>
                  </a:cxn>
                  <a:cxn ang="0">
                    <a:pos x="806" y="372"/>
                  </a:cxn>
                  <a:cxn ang="0">
                    <a:pos x="787" y="338"/>
                  </a:cxn>
                  <a:cxn ang="0">
                    <a:pos x="766" y="305"/>
                  </a:cxn>
                  <a:cxn ang="0">
                    <a:pos x="743" y="272"/>
                  </a:cxn>
                  <a:cxn ang="0">
                    <a:pos x="720" y="242"/>
                  </a:cxn>
                  <a:cxn ang="0">
                    <a:pos x="697" y="213"/>
                  </a:cxn>
                  <a:cxn ang="0">
                    <a:pos x="672" y="184"/>
                  </a:cxn>
                  <a:cxn ang="0">
                    <a:pos x="645" y="159"/>
                  </a:cxn>
                  <a:cxn ang="0">
                    <a:pos x="618" y="134"/>
                  </a:cxn>
                  <a:cxn ang="0">
                    <a:pos x="591" y="113"/>
                  </a:cxn>
                  <a:cxn ang="0">
                    <a:pos x="562" y="92"/>
                  </a:cxn>
                  <a:cxn ang="0">
                    <a:pos x="533" y="73"/>
                  </a:cxn>
                  <a:cxn ang="0">
                    <a:pos x="503" y="57"/>
                  </a:cxn>
                  <a:cxn ang="0">
                    <a:pos x="472" y="42"/>
                  </a:cxn>
                  <a:cxn ang="0">
                    <a:pos x="441" y="30"/>
                  </a:cxn>
                  <a:cxn ang="0">
                    <a:pos x="409" y="19"/>
                  </a:cxn>
                  <a:cxn ang="0">
                    <a:pos x="376" y="11"/>
                  </a:cxn>
                  <a:cxn ang="0">
                    <a:pos x="344" y="5"/>
                  </a:cxn>
                  <a:cxn ang="0">
                    <a:pos x="309" y="2"/>
                  </a:cxn>
                  <a:cxn ang="0">
                    <a:pos x="276" y="0"/>
                  </a:cxn>
                  <a:cxn ang="0">
                    <a:pos x="240" y="2"/>
                  </a:cxn>
                  <a:cxn ang="0">
                    <a:pos x="203" y="5"/>
                  </a:cxn>
                  <a:cxn ang="0">
                    <a:pos x="169" y="13"/>
                  </a:cxn>
                  <a:cxn ang="0">
                    <a:pos x="136" y="21"/>
                  </a:cxn>
                  <a:cxn ang="0">
                    <a:pos x="100" y="34"/>
                  </a:cxn>
                  <a:cxn ang="0">
                    <a:pos x="67" y="48"/>
                  </a:cxn>
                  <a:cxn ang="0">
                    <a:pos x="33" y="65"/>
                  </a:cxn>
                  <a:cxn ang="0">
                    <a:pos x="0" y="84"/>
                  </a:cxn>
                  <a:cxn ang="0">
                    <a:pos x="23" y="100"/>
                  </a:cxn>
                  <a:cxn ang="0">
                    <a:pos x="44" y="115"/>
                  </a:cxn>
                  <a:cxn ang="0">
                    <a:pos x="85" y="149"/>
                  </a:cxn>
                  <a:cxn ang="0">
                    <a:pos x="123" y="188"/>
                  </a:cxn>
                  <a:cxn ang="0">
                    <a:pos x="161" y="228"/>
                  </a:cxn>
                  <a:cxn ang="0">
                    <a:pos x="194" y="274"/>
                  </a:cxn>
                  <a:cxn ang="0">
                    <a:pos x="226" y="322"/>
                  </a:cxn>
                  <a:cxn ang="0">
                    <a:pos x="255" y="372"/>
                  </a:cxn>
                  <a:cxn ang="0">
                    <a:pos x="282" y="426"/>
                  </a:cxn>
                  <a:cxn ang="0">
                    <a:pos x="307" y="482"/>
                  </a:cxn>
                  <a:cxn ang="0">
                    <a:pos x="328" y="541"/>
                  </a:cxn>
                  <a:cxn ang="0">
                    <a:pos x="345" y="601"/>
                  </a:cxn>
                  <a:cxn ang="0">
                    <a:pos x="361" y="664"/>
                  </a:cxn>
                  <a:cxn ang="0">
                    <a:pos x="372" y="728"/>
                  </a:cxn>
                  <a:cxn ang="0">
                    <a:pos x="380" y="793"/>
                  </a:cxn>
                  <a:cxn ang="0">
                    <a:pos x="386" y="860"/>
                  </a:cxn>
                  <a:cxn ang="0">
                    <a:pos x="388" y="927"/>
                  </a:cxn>
                  <a:cxn ang="0">
                    <a:pos x="936" y="927"/>
                  </a:cxn>
                </a:cxnLst>
                <a:rect l="0" t="0" r="r" b="b"/>
                <a:pathLst>
                  <a:path w="936" h="927">
                    <a:moveTo>
                      <a:pt x="936" y="927"/>
                    </a:moveTo>
                    <a:lnTo>
                      <a:pt x="936" y="879"/>
                    </a:lnTo>
                    <a:lnTo>
                      <a:pt x="934" y="831"/>
                    </a:lnTo>
                    <a:lnTo>
                      <a:pt x="929" y="785"/>
                    </a:lnTo>
                    <a:lnTo>
                      <a:pt x="925" y="741"/>
                    </a:lnTo>
                    <a:lnTo>
                      <a:pt x="917" y="695"/>
                    </a:lnTo>
                    <a:lnTo>
                      <a:pt x="908" y="651"/>
                    </a:lnTo>
                    <a:lnTo>
                      <a:pt x="898" y="609"/>
                    </a:lnTo>
                    <a:lnTo>
                      <a:pt x="885" y="566"/>
                    </a:lnTo>
                    <a:lnTo>
                      <a:pt x="873" y="526"/>
                    </a:lnTo>
                    <a:lnTo>
                      <a:pt x="858" y="486"/>
                    </a:lnTo>
                    <a:lnTo>
                      <a:pt x="840" y="447"/>
                    </a:lnTo>
                    <a:lnTo>
                      <a:pt x="825" y="409"/>
                    </a:lnTo>
                    <a:lnTo>
                      <a:pt x="806" y="372"/>
                    </a:lnTo>
                    <a:lnTo>
                      <a:pt x="787" y="338"/>
                    </a:lnTo>
                    <a:lnTo>
                      <a:pt x="766" y="305"/>
                    </a:lnTo>
                    <a:lnTo>
                      <a:pt x="743" y="272"/>
                    </a:lnTo>
                    <a:lnTo>
                      <a:pt x="720" y="242"/>
                    </a:lnTo>
                    <a:lnTo>
                      <a:pt x="697" y="213"/>
                    </a:lnTo>
                    <a:lnTo>
                      <a:pt x="672" y="184"/>
                    </a:lnTo>
                    <a:lnTo>
                      <a:pt x="645" y="159"/>
                    </a:lnTo>
                    <a:lnTo>
                      <a:pt x="618" y="134"/>
                    </a:lnTo>
                    <a:lnTo>
                      <a:pt x="591" y="113"/>
                    </a:lnTo>
                    <a:lnTo>
                      <a:pt x="562" y="92"/>
                    </a:lnTo>
                    <a:lnTo>
                      <a:pt x="533" y="73"/>
                    </a:lnTo>
                    <a:lnTo>
                      <a:pt x="503" y="57"/>
                    </a:lnTo>
                    <a:lnTo>
                      <a:pt x="472" y="42"/>
                    </a:lnTo>
                    <a:lnTo>
                      <a:pt x="441" y="30"/>
                    </a:lnTo>
                    <a:lnTo>
                      <a:pt x="409" y="19"/>
                    </a:lnTo>
                    <a:lnTo>
                      <a:pt x="376" y="11"/>
                    </a:lnTo>
                    <a:lnTo>
                      <a:pt x="344" y="5"/>
                    </a:lnTo>
                    <a:lnTo>
                      <a:pt x="309" y="2"/>
                    </a:lnTo>
                    <a:lnTo>
                      <a:pt x="276" y="0"/>
                    </a:lnTo>
                    <a:lnTo>
                      <a:pt x="240" y="2"/>
                    </a:lnTo>
                    <a:lnTo>
                      <a:pt x="203" y="5"/>
                    </a:lnTo>
                    <a:lnTo>
                      <a:pt x="169" y="13"/>
                    </a:lnTo>
                    <a:lnTo>
                      <a:pt x="136" y="21"/>
                    </a:lnTo>
                    <a:lnTo>
                      <a:pt x="100" y="34"/>
                    </a:lnTo>
                    <a:lnTo>
                      <a:pt x="67" y="48"/>
                    </a:lnTo>
                    <a:lnTo>
                      <a:pt x="33" y="65"/>
                    </a:lnTo>
                    <a:lnTo>
                      <a:pt x="0" y="84"/>
                    </a:lnTo>
                    <a:lnTo>
                      <a:pt x="23" y="100"/>
                    </a:lnTo>
                    <a:lnTo>
                      <a:pt x="44" y="115"/>
                    </a:lnTo>
                    <a:lnTo>
                      <a:pt x="85" y="149"/>
                    </a:lnTo>
                    <a:lnTo>
                      <a:pt x="123" y="188"/>
                    </a:lnTo>
                    <a:lnTo>
                      <a:pt x="161" y="228"/>
                    </a:lnTo>
                    <a:lnTo>
                      <a:pt x="194" y="274"/>
                    </a:lnTo>
                    <a:lnTo>
                      <a:pt x="226" y="322"/>
                    </a:lnTo>
                    <a:lnTo>
                      <a:pt x="255" y="372"/>
                    </a:lnTo>
                    <a:lnTo>
                      <a:pt x="282" y="426"/>
                    </a:lnTo>
                    <a:lnTo>
                      <a:pt x="307" y="482"/>
                    </a:lnTo>
                    <a:lnTo>
                      <a:pt x="328" y="541"/>
                    </a:lnTo>
                    <a:lnTo>
                      <a:pt x="345" y="601"/>
                    </a:lnTo>
                    <a:lnTo>
                      <a:pt x="361" y="664"/>
                    </a:lnTo>
                    <a:lnTo>
                      <a:pt x="372" y="728"/>
                    </a:lnTo>
                    <a:lnTo>
                      <a:pt x="380" y="793"/>
                    </a:lnTo>
                    <a:lnTo>
                      <a:pt x="386" y="860"/>
                    </a:lnTo>
                    <a:lnTo>
                      <a:pt x="388" y="927"/>
                    </a:lnTo>
                    <a:lnTo>
                      <a:pt x="936" y="927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pt-BR" sz="2159"/>
              </a:p>
            </p:txBody>
          </p:sp>
        </p:grpSp>
      </p:grpSp>
      <p:sp>
        <p:nvSpPr>
          <p:cNvPr id="41" name="Freeform 22"/>
          <p:cNvSpPr>
            <a:spLocks/>
          </p:cNvSpPr>
          <p:nvPr/>
        </p:nvSpPr>
        <p:spPr bwMode="gray">
          <a:xfrm>
            <a:off x="4110523" y="2766343"/>
            <a:ext cx="3162995" cy="1473551"/>
          </a:xfrm>
          <a:custGeom>
            <a:avLst/>
            <a:gdLst/>
            <a:ahLst/>
            <a:cxnLst>
              <a:cxn ang="0">
                <a:pos x="1844" y="44"/>
              </a:cxn>
              <a:cxn ang="0">
                <a:pos x="1838" y="132"/>
              </a:cxn>
              <a:cxn ang="0">
                <a:pos x="1825" y="215"/>
              </a:cxn>
              <a:cxn ang="0">
                <a:pos x="1806" y="296"/>
              </a:cxn>
              <a:cxn ang="0">
                <a:pos x="1781" y="372"/>
              </a:cxn>
              <a:cxn ang="0">
                <a:pos x="1748" y="445"/>
              </a:cxn>
              <a:cxn ang="0">
                <a:pos x="1714" y="515"/>
              </a:cxn>
              <a:cxn ang="0">
                <a:pos x="1671" y="578"/>
              </a:cxn>
              <a:cxn ang="0">
                <a:pos x="1625" y="636"/>
              </a:cxn>
              <a:cxn ang="0">
                <a:pos x="1577" y="689"/>
              </a:cxn>
              <a:cxn ang="0">
                <a:pos x="1524" y="735"/>
              </a:cxn>
              <a:cxn ang="0">
                <a:pos x="1466" y="774"/>
              </a:cxn>
              <a:cxn ang="0">
                <a:pos x="1407" y="807"/>
              </a:cxn>
              <a:cxn ang="0">
                <a:pos x="1343" y="832"/>
              </a:cxn>
              <a:cxn ang="0">
                <a:pos x="1278" y="849"/>
              </a:cxn>
              <a:cxn ang="0">
                <a:pos x="1211" y="858"/>
              </a:cxn>
              <a:cxn ang="0">
                <a:pos x="794" y="860"/>
              </a:cxn>
              <a:cxn ang="0">
                <a:pos x="742" y="856"/>
              </a:cxn>
              <a:cxn ang="0">
                <a:pos x="691" y="849"/>
              </a:cxn>
              <a:cxn ang="0">
                <a:pos x="641" y="837"/>
              </a:cxn>
              <a:cxn ang="0">
                <a:pos x="591" y="820"/>
              </a:cxn>
              <a:cxn ang="0">
                <a:pos x="543" y="797"/>
              </a:cxn>
              <a:cxn ang="0">
                <a:pos x="497" y="770"/>
              </a:cxn>
              <a:cxn ang="0">
                <a:pos x="453" y="741"/>
              </a:cxn>
              <a:cxn ang="0">
                <a:pos x="410" y="705"/>
              </a:cxn>
              <a:cxn ang="0">
                <a:pos x="332" y="624"/>
              </a:cxn>
              <a:cxn ang="0">
                <a:pos x="264" y="528"/>
              </a:cxn>
              <a:cxn ang="0">
                <a:pos x="209" y="418"/>
              </a:cxn>
              <a:cxn ang="0">
                <a:pos x="165" y="297"/>
              </a:cxn>
              <a:cxn ang="0">
                <a:pos x="314" y="0"/>
              </a:cxn>
              <a:cxn ang="0">
                <a:pos x="547" y="297"/>
              </a:cxn>
              <a:cxn ang="0">
                <a:pos x="579" y="390"/>
              </a:cxn>
              <a:cxn ang="0">
                <a:pos x="618" y="476"/>
              </a:cxn>
              <a:cxn ang="0">
                <a:pos x="664" y="555"/>
              </a:cxn>
              <a:cxn ang="0">
                <a:pos x="717" y="626"/>
              </a:cxn>
              <a:cxn ang="0">
                <a:pos x="777" y="691"/>
              </a:cxn>
              <a:cxn ang="0">
                <a:pos x="842" y="745"/>
              </a:cxn>
              <a:cxn ang="0">
                <a:pos x="909" y="789"/>
              </a:cxn>
              <a:cxn ang="0">
                <a:pos x="984" y="824"/>
              </a:cxn>
              <a:cxn ang="0">
                <a:pos x="1011" y="812"/>
              </a:cxn>
              <a:cxn ang="0">
                <a:pos x="1063" y="787"/>
              </a:cxn>
              <a:cxn ang="0">
                <a:pos x="1111" y="757"/>
              </a:cxn>
              <a:cxn ang="0">
                <a:pos x="1159" y="722"/>
              </a:cxn>
              <a:cxn ang="0">
                <a:pos x="1201" y="682"/>
              </a:cxn>
              <a:cxn ang="0">
                <a:pos x="1261" y="616"/>
              </a:cxn>
              <a:cxn ang="0">
                <a:pos x="1332" y="515"/>
              </a:cxn>
              <a:cxn ang="0">
                <a:pos x="1387" y="399"/>
              </a:cxn>
              <a:cxn ang="0">
                <a:pos x="1430" y="274"/>
              </a:cxn>
              <a:cxn ang="0">
                <a:pos x="1445" y="209"/>
              </a:cxn>
              <a:cxn ang="0">
                <a:pos x="1455" y="140"/>
              </a:cxn>
              <a:cxn ang="0">
                <a:pos x="1462" y="71"/>
              </a:cxn>
              <a:cxn ang="0">
                <a:pos x="1464" y="0"/>
              </a:cxn>
            </a:cxnLst>
            <a:rect l="0" t="0" r="r" b="b"/>
            <a:pathLst>
              <a:path w="1846" h="860">
                <a:moveTo>
                  <a:pt x="1846" y="0"/>
                </a:moveTo>
                <a:lnTo>
                  <a:pt x="1844" y="44"/>
                </a:lnTo>
                <a:lnTo>
                  <a:pt x="1842" y="88"/>
                </a:lnTo>
                <a:lnTo>
                  <a:pt x="1838" y="132"/>
                </a:lnTo>
                <a:lnTo>
                  <a:pt x="1833" y="175"/>
                </a:lnTo>
                <a:lnTo>
                  <a:pt x="1825" y="215"/>
                </a:lnTo>
                <a:lnTo>
                  <a:pt x="1815" y="255"/>
                </a:lnTo>
                <a:lnTo>
                  <a:pt x="1806" y="296"/>
                </a:lnTo>
                <a:lnTo>
                  <a:pt x="1792" y="334"/>
                </a:lnTo>
                <a:lnTo>
                  <a:pt x="1781" y="372"/>
                </a:lnTo>
                <a:lnTo>
                  <a:pt x="1765" y="409"/>
                </a:lnTo>
                <a:lnTo>
                  <a:pt x="1748" y="445"/>
                </a:lnTo>
                <a:lnTo>
                  <a:pt x="1733" y="480"/>
                </a:lnTo>
                <a:lnTo>
                  <a:pt x="1714" y="515"/>
                </a:lnTo>
                <a:lnTo>
                  <a:pt x="1693" y="547"/>
                </a:lnTo>
                <a:lnTo>
                  <a:pt x="1671" y="578"/>
                </a:lnTo>
                <a:lnTo>
                  <a:pt x="1650" y="607"/>
                </a:lnTo>
                <a:lnTo>
                  <a:pt x="1625" y="636"/>
                </a:lnTo>
                <a:lnTo>
                  <a:pt x="1602" y="664"/>
                </a:lnTo>
                <a:lnTo>
                  <a:pt x="1577" y="689"/>
                </a:lnTo>
                <a:lnTo>
                  <a:pt x="1550" y="712"/>
                </a:lnTo>
                <a:lnTo>
                  <a:pt x="1524" y="735"/>
                </a:lnTo>
                <a:lnTo>
                  <a:pt x="1495" y="755"/>
                </a:lnTo>
                <a:lnTo>
                  <a:pt x="1466" y="774"/>
                </a:lnTo>
                <a:lnTo>
                  <a:pt x="1435" y="791"/>
                </a:lnTo>
                <a:lnTo>
                  <a:pt x="1407" y="807"/>
                </a:lnTo>
                <a:lnTo>
                  <a:pt x="1376" y="820"/>
                </a:lnTo>
                <a:lnTo>
                  <a:pt x="1343" y="832"/>
                </a:lnTo>
                <a:lnTo>
                  <a:pt x="1311" y="843"/>
                </a:lnTo>
                <a:lnTo>
                  <a:pt x="1278" y="849"/>
                </a:lnTo>
                <a:lnTo>
                  <a:pt x="1243" y="855"/>
                </a:lnTo>
                <a:lnTo>
                  <a:pt x="1211" y="858"/>
                </a:lnTo>
                <a:lnTo>
                  <a:pt x="1174" y="860"/>
                </a:lnTo>
                <a:lnTo>
                  <a:pt x="794" y="860"/>
                </a:lnTo>
                <a:lnTo>
                  <a:pt x="769" y="858"/>
                </a:lnTo>
                <a:lnTo>
                  <a:pt x="742" y="856"/>
                </a:lnTo>
                <a:lnTo>
                  <a:pt x="716" y="853"/>
                </a:lnTo>
                <a:lnTo>
                  <a:pt x="691" y="849"/>
                </a:lnTo>
                <a:lnTo>
                  <a:pt x="666" y="843"/>
                </a:lnTo>
                <a:lnTo>
                  <a:pt x="641" y="837"/>
                </a:lnTo>
                <a:lnTo>
                  <a:pt x="616" y="828"/>
                </a:lnTo>
                <a:lnTo>
                  <a:pt x="591" y="820"/>
                </a:lnTo>
                <a:lnTo>
                  <a:pt x="568" y="808"/>
                </a:lnTo>
                <a:lnTo>
                  <a:pt x="543" y="797"/>
                </a:lnTo>
                <a:lnTo>
                  <a:pt x="520" y="783"/>
                </a:lnTo>
                <a:lnTo>
                  <a:pt x="497" y="770"/>
                </a:lnTo>
                <a:lnTo>
                  <a:pt x="476" y="757"/>
                </a:lnTo>
                <a:lnTo>
                  <a:pt x="453" y="741"/>
                </a:lnTo>
                <a:lnTo>
                  <a:pt x="431" y="724"/>
                </a:lnTo>
                <a:lnTo>
                  <a:pt x="410" y="705"/>
                </a:lnTo>
                <a:lnTo>
                  <a:pt x="370" y="666"/>
                </a:lnTo>
                <a:lnTo>
                  <a:pt x="332" y="624"/>
                </a:lnTo>
                <a:lnTo>
                  <a:pt x="297" y="578"/>
                </a:lnTo>
                <a:lnTo>
                  <a:pt x="264" y="528"/>
                </a:lnTo>
                <a:lnTo>
                  <a:pt x="234" y="474"/>
                </a:lnTo>
                <a:lnTo>
                  <a:pt x="209" y="418"/>
                </a:lnTo>
                <a:lnTo>
                  <a:pt x="184" y="359"/>
                </a:lnTo>
                <a:lnTo>
                  <a:pt x="165" y="297"/>
                </a:lnTo>
                <a:lnTo>
                  <a:pt x="0" y="297"/>
                </a:lnTo>
                <a:lnTo>
                  <a:pt x="314" y="0"/>
                </a:lnTo>
                <a:lnTo>
                  <a:pt x="712" y="297"/>
                </a:lnTo>
                <a:lnTo>
                  <a:pt x="547" y="297"/>
                </a:lnTo>
                <a:lnTo>
                  <a:pt x="562" y="345"/>
                </a:lnTo>
                <a:lnTo>
                  <a:pt x="579" y="390"/>
                </a:lnTo>
                <a:lnTo>
                  <a:pt x="597" y="434"/>
                </a:lnTo>
                <a:lnTo>
                  <a:pt x="618" y="476"/>
                </a:lnTo>
                <a:lnTo>
                  <a:pt x="639" y="516"/>
                </a:lnTo>
                <a:lnTo>
                  <a:pt x="664" y="555"/>
                </a:lnTo>
                <a:lnTo>
                  <a:pt x="689" y="593"/>
                </a:lnTo>
                <a:lnTo>
                  <a:pt x="717" y="626"/>
                </a:lnTo>
                <a:lnTo>
                  <a:pt x="746" y="659"/>
                </a:lnTo>
                <a:lnTo>
                  <a:pt x="777" y="691"/>
                </a:lnTo>
                <a:lnTo>
                  <a:pt x="808" y="718"/>
                </a:lnTo>
                <a:lnTo>
                  <a:pt x="842" y="745"/>
                </a:lnTo>
                <a:lnTo>
                  <a:pt x="875" y="768"/>
                </a:lnTo>
                <a:lnTo>
                  <a:pt x="909" y="789"/>
                </a:lnTo>
                <a:lnTo>
                  <a:pt x="948" y="807"/>
                </a:lnTo>
                <a:lnTo>
                  <a:pt x="984" y="824"/>
                </a:lnTo>
                <a:lnTo>
                  <a:pt x="986" y="824"/>
                </a:lnTo>
                <a:lnTo>
                  <a:pt x="1011" y="812"/>
                </a:lnTo>
                <a:lnTo>
                  <a:pt x="1038" y="801"/>
                </a:lnTo>
                <a:lnTo>
                  <a:pt x="1063" y="787"/>
                </a:lnTo>
                <a:lnTo>
                  <a:pt x="1088" y="772"/>
                </a:lnTo>
                <a:lnTo>
                  <a:pt x="1111" y="757"/>
                </a:lnTo>
                <a:lnTo>
                  <a:pt x="1136" y="741"/>
                </a:lnTo>
                <a:lnTo>
                  <a:pt x="1159" y="722"/>
                </a:lnTo>
                <a:lnTo>
                  <a:pt x="1180" y="703"/>
                </a:lnTo>
                <a:lnTo>
                  <a:pt x="1201" y="682"/>
                </a:lnTo>
                <a:lnTo>
                  <a:pt x="1222" y="661"/>
                </a:lnTo>
                <a:lnTo>
                  <a:pt x="1261" y="616"/>
                </a:lnTo>
                <a:lnTo>
                  <a:pt x="1299" y="566"/>
                </a:lnTo>
                <a:lnTo>
                  <a:pt x="1332" y="515"/>
                </a:lnTo>
                <a:lnTo>
                  <a:pt x="1360" y="459"/>
                </a:lnTo>
                <a:lnTo>
                  <a:pt x="1387" y="399"/>
                </a:lnTo>
                <a:lnTo>
                  <a:pt x="1410" y="338"/>
                </a:lnTo>
                <a:lnTo>
                  <a:pt x="1430" y="274"/>
                </a:lnTo>
                <a:lnTo>
                  <a:pt x="1437" y="242"/>
                </a:lnTo>
                <a:lnTo>
                  <a:pt x="1445" y="209"/>
                </a:lnTo>
                <a:lnTo>
                  <a:pt x="1451" y="175"/>
                </a:lnTo>
                <a:lnTo>
                  <a:pt x="1455" y="140"/>
                </a:lnTo>
                <a:lnTo>
                  <a:pt x="1458" y="107"/>
                </a:lnTo>
                <a:lnTo>
                  <a:pt x="1462" y="71"/>
                </a:lnTo>
                <a:lnTo>
                  <a:pt x="1462" y="36"/>
                </a:lnTo>
                <a:lnTo>
                  <a:pt x="1464" y="0"/>
                </a:lnTo>
                <a:lnTo>
                  <a:pt x="1846" y="0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42" name="Freeform 23"/>
          <p:cNvSpPr>
            <a:spLocks/>
          </p:cNvSpPr>
          <p:nvPr/>
        </p:nvSpPr>
        <p:spPr bwMode="gray">
          <a:xfrm>
            <a:off x="5796540" y="2766343"/>
            <a:ext cx="1476978" cy="1473551"/>
          </a:xfrm>
          <a:custGeom>
            <a:avLst/>
            <a:gdLst/>
            <a:ahLst/>
            <a:cxnLst>
              <a:cxn ang="0">
                <a:pos x="860" y="44"/>
              </a:cxn>
              <a:cxn ang="0">
                <a:pos x="854" y="132"/>
              </a:cxn>
              <a:cxn ang="0">
                <a:pos x="841" y="215"/>
              </a:cxn>
              <a:cxn ang="0">
                <a:pos x="822" y="296"/>
              </a:cxn>
              <a:cxn ang="0">
                <a:pos x="797" y="372"/>
              </a:cxn>
              <a:cxn ang="0">
                <a:pos x="764" y="445"/>
              </a:cxn>
              <a:cxn ang="0">
                <a:pos x="730" y="515"/>
              </a:cxn>
              <a:cxn ang="0">
                <a:pos x="687" y="578"/>
              </a:cxn>
              <a:cxn ang="0">
                <a:pos x="641" y="636"/>
              </a:cxn>
              <a:cxn ang="0">
                <a:pos x="593" y="689"/>
              </a:cxn>
              <a:cxn ang="0">
                <a:pos x="540" y="735"/>
              </a:cxn>
              <a:cxn ang="0">
                <a:pos x="482" y="774"/>
              </a:cxn>
              <a:cxn ang="0">
                <a:pos x="423" y="807"/>
              </a:cxn>
              <a:cxn ang="0">
                <a:pos x="359" y="832"/>
              </a:cxn>
              <a:cxn ang="0">
                <a:pos x="294" y="849"/>
              </a:cxn>
              <a:cxn ang="0">
                <a:pos x="227" y="858"/>
              </a:cxn>
              <a:cxn ang="0">
                <a:pos x="167" y="858"/>
              </a:cxn>
              <a:cxn ang="0">
                <a:pos x="119" y="855"/>
              </a:cxn>
              <a:cxn ang="0">
                <a:pos x="71" y="845"/>
              </a:cxn>
              <a:cxn ang="0">
                <a:pos x="23" y="832"/>
              </a:cxn>
              <a:cxn ang="0">
                <a:pos x="2" y="824"/>
              </a:cxn>
              <a:cxn ang="0">
                <a:pos x="54" y="801"/>
              </a:cxn>
              <a:cxn ang="0">
                <a:pos x="104" y="772"/>
              </a:cxn>
              <a:cxn ang="0">
                <a:pos x="152" y="741"/>
              </a:cxn>
              <a:cxn ang="0">
                <a:pos x="196" y="703"/>
              </a:cxn>
              <a:cxn ang="0">
                <a:pos x="238" y="661"/>
              </a:cxn>
              <a:cxn ang="0">
                <a:pos x="315" y="566"/>
              </a:cxn>
              <a:cxn ang="0">
                <a:pos x="376" y="459"/>
              </a:cxn>
              <a:cxn ang="0">
                <a:pos x="426" y="338"/>
              </a:cxn>
              <a:cxn ang="0">
                <a:pos x="453" y="242"/>
              </a:cxn>
              <a:cxn ang="0">
                <a:pos x="467" y="175"/>
              </a:cxn>
              <a:cxn ang="0">
                <a:pos x="474" y="107"/>
              </a:cxn>
              <a:cxn ang="0">
                <a:pos x="478" y="36"/>
              </a:cxn>
              <a:cxn ang="0">
                <a:pos x="862" y="0"/>
              </a:cxn>
            </a:cxnLst>
            <a:rect l="0" t="0" r="r" b="b"/>
            <a:pathLst>
              <a:path w="862" h="860">
                <a:moveTo>
                  <a:pt x="862" y="0"/>
                </a:moveTo>
                <a:lnTo>
                  <a:pt x="860" y="44"/>
                </a:lnTo>
                <a:lnTo>
                  <a:pt x="858" y="88"/>
                </a:lnTo>
                <a:lnTo>
                  <a:pt x="854" y="132"/>
                </a:lnTo>
                <a:lnTo>
                  <a:pt x="849" y="175"/>
                </a:lnTo>
                <a:lnTo>
                  <a:pt x="841" y="215"/>
                </a:lnTo>
                <a:lnTo>
                  <a:pt x="831" y="255"/>
                </a:lnTo>
                <a:lnTo>
                  <a:pt x="822" y="296"/>
                </a:lnTo>
                <a:lnTo>
                  <a:pt x="808" y="334"/>
                </a:lnTo>
                <a:lnTo>
                  <a:pt x="797" y="372"/>
                </a:lnTo>
                <a:lnTo>
                  <a:pt x="781" y="409"/>
                </a:lnTo>
                <a:lnTo>
                  <a:pt x="764" y="445"/>
                </a:lnTo>
                <a:lnTo>
                  <a:pt x="749" y="480"/>
                </a:lnTo>
                <a:lnTo>
                  <a:pt x="730" y="515"/>
                </a:lnTo>
                <a:lnTo>
                  <a:pt x="709" y="547"/>
                </a:lnTo>
                <a:lnTo>
                  <a:pt x="687" y="578"/>
                </a:lnTo>
                <a:lnTo>
                  <a:pt x="666" y="607"/>
                </a:lnTo>
                <a:lnTo>
                  <a:pt x="641" y="636"/>
                </a:lnTo>
                <a:lnTo>
                  <a:pt x="618" y="664"/>
                </a:lnTo>
                <a:lnTo>
                  <a:pt x="593" y="689"/>
                </a:lnTo>
                <a:lnTo>
                  <a:pt x="566" y="712"/>
                </a:lnTo>
                <a:lnTo>
                  <a:pt x="540" y="735"/>
                </a:lnTo>
                <a:lnTo>
                  <a:pt x="511" y="755"/>
                </a:lnTo>
                <a:lnTo>
                  <a:pt x="482" y="774"/>
                </a:lnTo>
                <a:lnTo>
                  <a:pt x="451" y="791"/>
                </a:lnTo>
                <a:lnTo>
                  <a:pt x="423" y="807"/>
                </a:lnTo>
                <a:lnTo>
                  <a:pt x="392" y="820"/>
                </a:lnTo>
                <a:lnTo>
                  <a:pt x="359" y="832"/>
                </a:lnTo>
                <a:lnTo>
                  <a:pt x="327" y="843"/>
                </a:lnTo>
                <a:lnTo>
                  <a:pt x="294" y="849"/>
                </a:lnTo>
                <a:lnTo>
                  <a:pt x="259" y="855"/>
                </a:lnTo>
                <a:lnTo>
                  <a:pt x="227" y="858"/>
                </a:lnTo>
                <a:lnTo>
                  <a:pt x="190" y="860"/>
                </a:lnTo>
                <a:lnTo>
                  <a:pt x="167" y="858"/>
                </a:lnTo>
                <a:lnTo>
                  <a:pt x="142" y="856"/>
                </a:lnTo>
                <a:lnTo>
                  <a:pt x="119" y="855"/>
                </a:lnTo>
                <a:lnTo>
                  <a:pt x="94" y="851"/>
                </a:lnTo>
                <a:lnTo>
                  <a:pt x="71" y="845"/>
                </a:lnTo>
                <a:lnTo>
                  <a:pt x="46" y="839"/>
                </a:lnTo>
                <a:lnTo>
                  <a:pt x="23" y="832"/>
                </a:lnTo>
                <a:lnTo>
                  <a:pt x="0" y="824"/>
                </a:lnTo>
                <a:lnTo>
                  <a:pt x="2" y="824"/>
                </a:lnTo>
                <a:lnTo>
                  <a:pt x="27" y="812"/>
                </a:lnTo>
                <a:lnTo>
                  <a:pt x="54" y="801"/>
                </a:lnTo>
                <a:lnTo>
                  <a:pt x="79" y="787"/>
                </a:lnTo>
                <a:lnTo>
                  <a:pt x="104" y="772"/>
                </a:lnTo>
                <a:lnTo>
                  <a:pt x="127" y="757"/>
                </a:lnTo>
                <a:lnTo>
                  <a:pt x="152" y="741"/>
                </a:lnTo>
                <a:lnTo>
                  <a:pt x="175" y="722"/>
                </a:lnTo>
                <a:lnTo>
                  <a:pt x="196" y="703"/>
                </a:lnTo>
                <a:lnTo>
                  <a:pt x="217" y="682"/>
                </a:lnTo>
                <a:lnTo>
                  <a:pt x="238" y="661"/>
                </a:lnTo>
                <a:lnTo>
                  <a:pt x="277" y="616"/>
                </a:lnTo>
                <a:lnTo>
                  <a:pt x="315" y="566"/>
                </a:lnTo>
                <a:lnTo>
                  <a:pt x="348" y="515"/>
                </a:lnTo>
                <a:lnTo>
                  <a:pt x="376" y="459"/>
                </a:lnTo>
                <a:lnTo>
                  <a:pt x="403" y="399"/>
                </a:lnTo>
                <a:lnTo>
                  <a:pt x="426" y="338"/>
                </a:lnTo>
                <a:lnTo>
                  <a:pt x="446" y="274"/>
                </a:lnTo>
                <a:lnTo>
                  <a:pt x="453" y="242"/>
                </a:lnTo>
                <a:lnTo>
                  <a:pt x="461" y="209"/>
                </a:lnTo>
                <a:lnTo>
                  <a:pt x="467" y="175"/>
                </a:lnTo>
                <a:lnTo>
                  <a:pt x="471" y="140"/>
                </a:lnTo>
                <a:lnTo>
                  <a:pt x="474" y="107"/>
                </a:lnTo>
                <a:lnTo>
                  <a:pt x="478" y="71"/>
                </a:lnTo>
                <a:lnTo>
                  <a:pt x="478" y="36"/>
                </a:lnTo>
                <a:lnTo>
                  <a:pt x="480" y="0"/>
                </a:lnTo>
                <a:lnTo>
                  <a:pt x="862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43" name="Freeform 24"/>
          <p:cNvSpPr>
            <a:spLocks/>
          </p:cNvSpPr>
          <p:nvPr/>
        </p:nvSpPr>
        <p:spPr bwMode="gray">
          <a:xfrm>
            <a:off x="6625840" y="2766343"/>
            <a:ext cx="3162995" cy="1473551"/>
          </a:xfrm>
          <a:custGeom>
            <a:avLst/>
            <a:gdLst/>
            <a:ahLst/>
            <a:cxnLst>
              <a:cxn ang="0">
                <a:pos x="2" y="44"/>
              </a:cxn>
              <a:cxn ang="0">
                <a:pos x="8" y="132"/>
              </a:cxn>
              <a:cxn ang="0">
                <a:pos x="21" y="215"/>
              </a:cxn>
              <a:cxn ang="0">
                <a:pos x="40" y="296"/>
              </a:cxn>
              <a:cxn ang="0">
                <a:pos x="65" y="372"/>
              </a:cxn>
              <a:cxn ang="0">
                <a:pos x="98" y="445"/>
              </a:cxn>
              <a:cxn ang="0">
                <a:pos x="132" y="515"/>
              </a:cxn>
              <a:cxn ang="0">
                <a:pos x="175" y="578"/>
              </a:cxn>
              <a:cxn ang="0">
                <a:pos x="221" y="636"/>
              </a:cxn>
              <a:cxn ang="0">
                <a:pos x="269" y="689"/>
              </a:cxn>
              <a:cxn ang="0">
                <a:pos x="322" y="735"/>
              </a:cxn>
              <a:cxn ang="0">
                <a:pos x="380" y="774"/>
              </a:cxn>
              <a:cxn ang="0">
                <a:pos x="439" y="807"/>
              </a:cxn>
              <a:cxn ang="0">
                <a:pos x="503" y="832"/>
              </a:cxn>
              <a:cxn ang="0">
                <a:pos x="568" y="849"/>
              </a:cxn>
              <a:cxn ang="0">
                <a:pos x="635" y="858"/>
              </a:cxn>
              <a:cxn ang="0">
                <a:pos x="1052" y="860"/>
              </a:cxn>
              <a:cxn ang="0">
                <a:pos x="1104" y="856"/>
              </a:cxn>
              <a:cxn ang="0">
                <a:pos x="1155" y="849"/>
              </a:cxn>
              <a:cxn ang="0">
                <a:pos x="1205" y="837"/>
              </a:cxn>
              <a:cxn ang="0">
                <a:pos x="1255" y="820"/>
              </a:cxn>
              <a:cxn ang="0">
                <a:pos x="1303" y="797"/>
              </a:cxn>
              <a:cxn ang="0">
                <a:pos x="1349" y="770"/>
              </a:cxn>
              <a:cxn ang="0">
                <a:pos x="1393" y="741"/>
              </a:cxn>
              <a:cxn ang="0">
                <a:pos x="1436" y="705"/>
              </a:cxn>
              <a:cxn ang="0">
                <a:pos x="1514" y="624"/>
              </a:cxn>
              <a:cxn ang="0">
                <a:pos x="1582" y="528"/>
              </a:cxn>
              <a:cxn ang="0">
                <a:pos x="1637" y="418"/>
              </a:cxn>
              <a:cxn ang="0">
                <a:pos x="1681" y="297"/>
              </a:cxn>
              <a:cxn ang="0">
                <a:pos x="1532" y="0"/>
              </a:cxn>
              <a:cxn ang="0">
                <a:pos x="1299" y="297"/>
              </a:cxn>
              <a:cxn ang="0">
                <a:pos x="1269" y="390"/>
              </a:cxn>
              <a:cxn ang="0">
                <a:pos x="1228" y="476"/>
              </a:cxn>
              <a:cxn ang="0">
                <a:pos x="1182" y="555"/>
              </a:cxn>
              <a:cxn ang="0">
                <a:pos x="1129" y="626"/>
              </a:cxn>
              <a:cxn ang="0">
                <a:pos x="1069" y="691"/>
              </a:cxn>
              <a:cxn ang="0">
                <a:pos x="1004" y="745"/>
              </a:cxn>
              <a:cxn ang="0">
                <a:pos x="937" y="789"/>
              </a:cxn>
              <a:cxn ang="0">
                <a:pos x="862" y="824"/>
              </a:cxn>
              <a:cxn ang="0">
                <a:pos x="835" y="812"/>
              </a:cxn>
              <a:cxn ang="0">
                <a:pos x="783" y="787"/>
              </a:cxn>
              <a:cxn ang="0">
                <a:pos x="735" y="757"/>
              </a:cxn>
              <a:cxn ang="0">
                <a:pos x="689" y="722"/>
              </a:cxn>
              <a:cxn ang="0">
                <a:pos x="645" y="682"/>
              </a:cxn>
              <a:cxn ang="0">
                <a:pos x="585" y="616"/>
              </a:cxn>
              <a:cxn ang="0">
                <a:pos x="514" y="515"/>
              </a:cxn>
              <a:cxn ang="0">
                <a:pos x="459" y="399"/>
              </a:cxn>
              <a:cxn ang="0">
                <a:pos x="416" y="274"/>
              </a:cxn>
              <a:cxn ang="0">
                <a:pos x="401" y="209"/>
              </a:cxn>
              <a:cxn ang="0">
                <a:pos x="391" y="140"/>
              </a:cxn>
              <a:cxn ang="0">
                <a:pos x="384" y="71"/>
              </a:cxn>
              <a:cxn ang="0">
                <a:pos x="382" y="0"/>
              </a:cxn>
            </a:cxnLst>
            <a:rect l="0" t="0" r="r" b="b"/>
            <a:pathLst>
              <a:path w="1846" h="860">
                <a:moveTo>
                  <a:pt x="0" y="0"/>
                </a:moveTo>
                <a:lnTo>
                  <a:pt x="2" y="44"/>
                </a:lnTo>
                <a:lnTo>
                  <a:pt x="4" y="88"/>
                </a:lnTo>
                <a:lnTo>
                  <a:pt x="8" y="132"/>
                </a:lnTo>
                <a:lnTo>
                  <a:pt x="13" y="175"/>
                </a:lnTo>
                <a:lnTo>
                  <a:pt x="21" y="215"/>
                </a:lnTo>
                <a:lnTo>
                  <a:pt x="31" y="255"/>
                </a:lnTo>
                <a:lnTo>
                  <a:pt x="40" y="296"/>
                </a:lnTo>
                <a:lnTo>
                  <a:pt x="54" y="334"/>
                </a:lnTo>
                <a:lnTo>
                  <a:pt x="65" y="372"/>
                </a:lnTo>
                <a:lnTo>
                  <a:pt x="81" y="409"/>
                </a:lnTo>
                <a:lnTo>
                  <a:pt x="98" y="445"/>
                </a:lnTo>
                <a:lnTo>
                  <a:pt x="115" y="480"/>
                </a:lnTo>
                <a:lnTo>
                  <a:pt x="132" y="515"/>
                </a:lnTo>
                <a:lnTo>
                  <a:pt x="153" y="547"/>
                </a:lnTo>
                <a:lnTo>
                  <a:pt x="175" y="578"/>
                </a:lnTo>
                <a:lnTo>
                  <a:pt x="196" y="607"/>
                </a:lnTo>
                <a:lnTo>
                  <a:pt x="221" y="636"/>
                </a:lnTo>
                <a:lnTo>
                  <a:pt x="244" y="664"/>
                </a:lnTo>
                <a:lnTo>
                  <a:pt x="269" y="689"/>
                </a:lnTo>
                <a:lnTo>
                  <a:pt x="296" y="712"/>
                </a:lnTo>
                <a:lnTo>
                  <a:pt x="322" y="735"/>
                </a:lnTo>
                <a:lnTo>
                  <a:pt x="351" y="755"/>
                </a:lnTo>
                <a:lnTo>
                  <a:pt x="380" y="774"/>
                </a:lnTo>
                <a:lnTo>
                  <a:pt x="411" y="791"/>
                </a:lnTo>
                <a:lnTo>
                  <a:pt x="439" y="807"/>
                </a:lnTo>
                <a:lnTo>
                  <a:pt x="470" y="820"/>
                </a:lnTo>
                <a:lnTo>
                  <a:pt x="503" y="832"/>
                </a:lnTo>
                <a:lnTo>
                  <a:pt x="535" y="843"/>
                </a:lnTo>
                <a:lnTo>
                  <a:pt x="568" y="849"/>
                </a:lnTo>
                <a:lnTo>
                  <a:pt x="603" y="855"/>
                </a:lnTo>
                <a:lnTo>
                  <a:pt x="635" y="858"/>
                </a:lnTo>
                <a:lnTo>
                  <a:pt x="672" y="860"/>
                </a:lnTo>
                <a:lnTo>
                  <a:pt x="1052" y="860"/>
                </a:lnTo>
                <a:lnTo>
                  <a:pt x="1077" y="858"/>
                </a:lnTo>
                <a:lnTo>
                  <a:pt x="1104" y="856"/>
                </a:lnTo>
                <a:lnTo>
                  <a:pt x="1130" y="853"/>
                </a:lnTo>
                <a:lnTo>
                  <a:pt x="1155" y="849"/>
                </a:lnTo>
                <a:lnTo>
                  <a:pt x="1180" y="843"/>
                </a:lnTo>
                <a:lnTo>
                  <a:pt x="1205" y="837"/>
                </a:lnTo>
                <a:lnTo>
                  <a:pt x="1230" y="828"/>
                </a:lnTo>
                <a:lnTo>
                  <a:pt x="1255" y="820"/>
                </a:lnTo>
                <a:lnTo>
                  <a:pt x="1278" y="808"/>
                </a:lnTo>
                <a:lnTo>
                  <a:pt x="1303" y="797"/>
                </a:lnTo>
                <a:lnTo>
                  <a:pt x="1326" y="783"/>
                </a:lnTo>
                <a:lnTo>
                  <a:pt x="1349" y="770"/>
                </a:lnTo>
                <a:lnTo>
                  <a:pt x="1370" y="757"/>
                </a:lnTo>
                <a:lnTo>
                  <a:pt x="1393" y="741"/>
                </a:lnTo>
                <a:lnTo>
                  <a:pt x="1415" y="724"/>
                </a:lnTo>
                <a:lnTo>
                  <a:pt x="1436" y="705"/>
                </a:lnTo>
                <a:lnTo>
                  <a:pt x="1476" y="666"/>
                </a:lnTo>
                <a:lnTo>
                  <a:pt x="1514" y="624"/>
                </a:lnTo>
                <a:lnTo>
                  <a:pt x="1549" y="578"/>
                </a:lnTo>
                <a:lnTo>
                  <a:pt x="1582" y="528"/>
                </a:lnTo>
                <a:lnTo>
                  <a:pt x="1612" y="474"/>
                </a:lnTo>
                <a:lnTo>
                  <a:pt x="1637" y="418"/>
                </a:lnTo>
                <a:lnTo>
                  <a:pt x="1662" y="359"/>
                </a:lnTo>
                <a:lnTo>
                  <a:pt x="1681" y="297"/>
                </a:lnTo>
                <a:lnTo>
                  <a:pt x="1846" y="297"/>
                </a:lnTo>
                <a:lnTo>
                  <a:pt x="1532" y="0"/>
                </a:lnTo>
                <a:lnTo>
                  <a:pt x="1134" y="297"/>
                </a:lnTo>
                <a:lnTo>
                  <a:pt x="1299" y="297"/>
                </a:lnTo>
                <a:lnTo>
                  <a:pt x="1284" y="345"/>
                </a:lnTo>
                <a:lnTo>
                  <a:pt x="1269" y="390"/>
                </a:lnTo>
                <a:lnTo>
                  <a:pt x="1249" y="434"/>
                </a:lnTo>
                <a:lnTo>
                  <a:pt x="1228" y="476"/>
                </a:lnTo>
                <a:lnTo>
                  <a:pt x="1207" y="516"/>
                </a:lnTo>
                <a:lnTo>
                  <a:pt x="1182" y="555"/>
                </a:lnTo>
                <a:lnTo>
                  <a:pt x="1157" y="593"/>
                </a:lnTo>
                <a:lnTo>
                  <a:pt x="1129" y="626"/>
                </a:lnTo>
                <a:lnTo>
                  <a:pt x="1100" y="659"/>
                </a:lnTo>
                <a:lnTo>
                  <a:pt x="1069" y="691"/>
                </a:lnTo>
                <a:lnTo>
                  <a:pt x="1038" y="718"/>
                </a:lnTo>
                <a:lnTo>
                  <a:pt x="1004" y="745"/>
                </a:lnTo>
                <a:lnTo>
                  <a:pt x="971" y="768"/>
                </a:lnTo>
                <a:lnTo>
                  <a:pt x="937" y="789"/>
                </a:lnTo>
                <a:lnTo>
                  <a:pt x="898" y="807"/>
                </a:lnTo>
                <a:lnTo>
                  <a:pt x="862" y="824"/>
                </a:lnTo>
                <a:lnTo>
                  <a:pt x="860" y="824"/>
                </a:lnTo>
                <a:lnTo>
                  <a:pt x="835" y="812"/>
                </a:lnTo>
                <a:lnTo>
                  <a:pt x="808" y="801"/>
                </a:lnTo>
                <a:lnTo>
                  <a:pt x="783" y="787"/>
                </a:lnTo>
                <a:lnTo>
                  <a:pt x="758" y="772"/>
                </a:lnTo>
                <a:lnTo>
                  <a:pt x="735" y="757"/>
                </a:lnTo>
                <a:lnTo>
                  <a:pt x="710" y="741"/>
                </a:lnTo>
                <a:lnTo>
                  <a:pt x="689" y="722"/>
                </a:lnTo>
                <a:lnTo>
                  <a:pt x="666" y="703"/>
                </a:lnTo>
                <a:lnTo>
                  <a:pt x="645" y="682"/>
                </a:lnTo>
                <a:lnTo>
                  <a:pt x="624" y="661"/>
                </a:lnTo>
                <a:lnTo>
                  <a:pt x="585" y="616"/>
                </a:lnTo>
                <a:lnTo>
                  <a:pt x="547" y="566"/>
                </a:lnTo>
                <a:lnTo>
                  <a:pt x="514" y="515"/>
                </a:lnTo>
                <a:lnTo>
                  <a:pt x="486" y="459"/>
                </a:lnTo>
                <a:lnTo>
                  <a:pt x="459" y="399"/>
                </a:lnTo>
                <a:lnTo>
                  <a:pt x="436" y="338"/>
                </a:lnTo>
                <a:lnTo>
                  <a:pt x="416" y="274"/>
                </a:lnTo>
                <a:lnTo>
                  <a:pt x="409" y="242"/>
                </a:lnTo>
                <a:lnTo>
                  <a:pt x="401" y="209"/>
                </a:lnTo>
                <a:lnTo>
                  <a:pt x="395" y="175"/>
                </a:lnTo>
                <a:lnTo>
                  <a:pt x="391" y="140"/>
                </a:lnTo>
                <a:lnTo>
                  <a:pt x="388" y="107"/>
                </a:lnTo>
                <a:lnTo>
                  <a:pt x="384" y="71"/>
                </a:lnTo>
                <a:lnTo>
                  <a:pt x="384" y="36"/>
                </a:lnTo>
                <a:lnTo>
                  <a:pt x="38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44" name="Freeform 25"/>
          <p:cNvSpPr>
            <a:spLocks/>
          </p:cNvSpPr>
          <p:nvPr/>
        </p:nvSpPr>
        <p:spPr bwMode="gray">
          <a:xfrm>
            <a:off x="6625840" y="2766343"/>
            <a:ext cx="1476978" cy="1473551"/>
          </a:xfrm>
          <a:custGeom>
            <a:avLst/>
            <a:gdLst/>
            <a:ahLst/>
            <a:cxnLst>
              <a:cxn ang="0">
                <a:pos x="2" y="44"/>
              </a:cxn>
              <a:cxn ang="0">
                <a:pos x="8" y="132"/>
              </a:cxn>
              <a:cxn ang="0">
                <a:pos x="21" y="215"/>
              </a:cxn>
              <a:cxn ang="0">
                <a:pos x="40" y="296"/>
              </a:cxn>
              <a:cxn ang="0">
                <a:pos x="65" y="372"/>
              </a:cxn>
              <a:cxn ang="0">
                <a:pos x="98" y="445"/>
              </a:cxn>
              <a:cxn ang="0">
                <a:pos x="132" y="515"/>
              </a:cxn>
              <a:cxn ang="0">
                <a:pos x="175" y="578"/>
              </a:cxn>
              <a:cxn ang="0">
                <a:pos x="221" y="636"/>
              </a:cxn>
              <a:cxn ang="0">
                <a:pos x="269" y="689"/>
              </a:cxn>
              <a:cxn ang="0">
                <a:pos x="322" y="735"/>
              </a:cxn>
              <a:cxn ang="0">
                <a:pos x="380" y="774"/>
              </a:cxn>
              <a:cxn ang="0">
                <a:pos x="439" y="807"/>
              </a:cxn>
              <a:cxn ang="0">
                <a:pos x="503" y="832"/>
              </a:cxn>
              <a:cxn ang="0">
                <a:pos x="568" y="849"/>
              </a:cxn>
              <a:cxn ang="0">
                <a:pos x="635" y="858"/>
              </a:cxn>
              <a:cxn ang="0">
                <a:pos x="695" y="858"/>
              </a:cxn>
              <a:cxn ang="0">
                <a:pos x="743" y="855"/>
              </a:cxn>
              <a:cxn ang="0">
                <a:pos x="791" y="845"/>
              </a:cxn>
              <a:cxn ang="0">
                <a:pos x="839" y="832"/>
              </a:cxn>
              <a:cxn ang="0">
                <a:pos x="860" y="824"/>
              </a:cxn>
              <a:cxn ang="0">
                <a:pos x="808" y="801"/>
              </a:cxn>
              <a:cxn ang="0">
                <a:pos x="758" y="772"/>
              </a:cxn>
              <a:cxn ang="0">
                <a:pos x="710" y="741"/>
              </a:cxn>
              <a:cxn ang="0">
                <a:pos x="666" y="703"/>
              </a:cxn>
              <a:cxn ang="0">
                <a:pos x="624" y="661"/>
              </a:cxn>
              <a:cxn ang="0">
                <a:pos x="547" y="566"/>
              </a:cxn>
              <a:cxn ang="0">
                <a:pos x="486" y="459"/>
              </a:cxn>
              <a:cxn ang="0">
                <a:pos x="436" y="338"/>
              </a:cxn>
              <a:cxn ang="0">
                <a:pos x="409" y="242"/>
              </a:cxn>
              <a:cxn ang="0">
                <a:pos x="395" y="175"/>
              </a:cxn>
              <a:cxn ang="0">
                <a:pos x="388" y="107"/>
              </a:cxn>
              <a:cxn ang="0">
                <a:pos x="384" y="36"/>
              </a:cxn>
              <a:cxn ang="0">
                <a:pos x="0" y="0"/>
              </a:cxn>
            </a:cxnLst>
            <a:rect l="0" t="0" r="r" b="b"/>
            <a:pathLst>
              <a:path w="862" h="860">
                <a:moveTo>
                  <a:pt x="0" y="0"/>
                </a:moveTo>
                <a:lnTo>
                  <a:pt x="2" y="44"/>
                </a:lnTo>
                <a:lnTo>
                  <a:pt x="4" y="88"/>
                </a:lnTo>
                <a:lnTo>
                  <a:pt x="8" y="132"/>
                </a:lnTo>
                <a:lnTo>
                  <a:pt x="13" y="175"/>
                </a:lnTo>
                <a:lnTo>
                  <a:pt x="21" y="215"/>
                </a:lnTo>
                <a:lnTo>
                  <a:pt x="31" y="255"/>
                </a:lnTo>
                <a:lnTo>
                  <a:pt x="40" y="296"/>
                </a:lnTo>
                <a:lnTo>
                  <a:pt x="54" y="334"/>
                </a:lnTo>
                <a:lnTo>
                  <a:pt x="65" y="372"/>
                </a:lnTo>
                <a:lnTo>
                  <a:pt x="81" y="409"/>
                </a:lnTo>
                <a:lnTo>
                  <a:pt x="98" y="445"/>
                </a:lnTo>
                <a:lnTo>
                  <a:pt x="115" y="480"/>
                </a:lnTo>
                <a:lnTo>
                  <a:pt x="132" y="515"/>
                </a:lnTo>
                <a:lnTo>
                  <a:pt x="153" y="547"/>
                </a:lnTo>
                <a:lnTo>
                  <a:pt x="175" y="578"/>
                </a:lnTo>
                <a:lnTo>
                  <a:pt x="196" y="607"/>
                </a:lnTo>
                <a:lnTo>
                  <a:pt x="221" y="636"/>
                </a:lnTo>
                <a:lnTo>
                  <a:pt x="244" y="664"/>
                </a:lnTo>
                <a:lnTo>
                  <a:pt x="269" y="689"/>
                </a:lnTo>
                <a:lnTo>
                  <a:pt x="296" y="712"/>
                </a:lnTo>
                <a:lnTo>
                  <a:pt x="322" y="735"/>
                </a:lnTo>
                <a:lnTo>
                  <a:pt x="351" y="755"/>
                </a:lnTo>
                <a:lnTo>
                  <a:pt x="380" y="774"/>
                </a:lnTo>
                <a:lnTo>
                  <a:pt x="411" y="791"/>
                </a:lnTo>
                <a:lnTo>
                  <a:pt x="439" y="807"/>
                </a:lnTo>
                <a:lnTo>
                  <a:pt x="470" y="820"/>
                </a:lnTo>
                <a:lnTo>
                  <a:pt x="503" y="832"/>
                </a:lnTo>
                <a:lnTo>
                  <a:pt x="535" y="843"/>
                </a:lnTo>
                <a:lnTo>
                  <a:pt x="568" y="849"/>
                </a:lnTo>
                <a:lnTo>
                  <a:pt x="603" y="855"/>
                </a:lnTo>
                <a:lnTo>
                  <a:pt x="635" y="858"/>
                </a:lnTo>
                <a:lnTo>
                  <a:pt x="672" y="860"/>
                </a:lnTo>
                <a:lnTo>
                  <a:pt x="695" y="858"/>
                </a:lnTo>
                <a:lnTo>
                  <a:pt x="720" y="856"/>
                </a:lnTo>
                <a:lnTo>
                  <a:pt x="743" y="855"/>
                </a:lnTo>
                <a:lnTo>
                  <a:pt x="768" y="851"/>
                </a:lnTo>
                <a:lnTo>
                  <a:pt x="791" y="845"/>
                </a:lnTo>
                <a:lnTo>
                  <a:pt x="816" y="839"/>
                </a:lnTo>
                <a:lnTo>
                  <a:pt x="839" y="832"/>
                </a:lnTo>
                <a:lnTo>
                  <a:pt x="862" y="824"/>
                </a:lnTo>
                <a:lnTo>
                  <a:pt x="860" y="824"/>
                </a:lnTo>
                <a:lnTo>
                  <a:pt x="835" y="812"/>
                </a:lnTo>
                <a:lnTo>
                  <a:pt x="808" y="801"/>
                </a:lnTo>
                <a:lnTo>
                  <a:pt x="783" y="787"/>
                </a:lnTo>
                <a:lnTo>
                  <a:pt x="758" y="772"/>
                </a:lnTo>
                <a:lnTo>
                  <a:pt x="735" y="757"/>
                </a:lnTo>
                <a:lnTo>
                  <a:pt x="710" y="741"/>
                </a:lnTo>
                <a:lnTo>
                  <a:pt x="689" y="722"/>
                </a:lnTo>
                <a:lnTo>
                  <a:pt x="666" y="703"/>
                </a:lnTo>
                <a:lnTo>
                  <a:pt x="645" y="682"/>
                </a:lnTo>
                <a:lnTo>
                  <a:pt x="624" y="661"/>
                </a:lnTo>
                <a:lnTo>
                  <a:pt x="585" y="616"/>
                </a:lnTo>
                <a:lnTo>
                  <a:pt x="547" y="566"/>
                </a:lnTo>
                <a:lnTo>
                  <a:pt x="514" y="515"/>
                </a:lnTo>
                <a:lnTo>
                  <a:pt x="486" y="459"/>
                </a:lnTo>
                <a:lnTo>
                  <a:pt x="459" y="399"/>
                </a:lnTo>
                <a:lnTo>
                  <a:pt x="436" y="338"/>
                </a:lnTo>
                <a:lnTo>
                  <a:pt x="416" y="274"/>
                </a:lnTo>
                <a:lnTo>
                  <a:pt x="409" y="242"/>
                </a:lnTo>
                <a:lnTo>
                  <a:pt x="401" y="209"/>
                </a:lnTo>
                <a:lnTo>
                  <a:pt x="395" y="175"/>
                </a:lnTo>
                <a:lnTo>
                  <a:pt x="391" y="140"/>
                </a:lnTo>
                <a:lnTo>
                  <a:pt x="388" y="107"/>
                </a:lnTo>
                <a:lnTo>
                  <a:pt x="384" y="71"/>
                </a:lnTo>
                <a:lnTo>
                  <a:pt x="384" y="36"/>
                </a:lnTo>
                <a:lnTo>
                  <a:pt x="38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/>
          </a:p>
        </p:txBody>
      </p:sp>
      <p:sp>
        <p:nvSpPr>
          <p:cNvPr id="45" name="Rectangle 26"/>
          <p:cNvSpPr>
            <a:spLocks noChangeArrowheads="1"/>
          </p:cNvSpPr>
          <p:nvPr/>
        </p:nvSpPr>
        <p:spPr bwMode="gray">
          <a:xfrm>
            <a:off x="6478485" y="2437627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46" name="Rectangle 27"/>
          <p:cNvSpPr>
            <a:spLocks noChangeArrowheads="1"/>
          </p:cNvSpPr>
          <p:nvPr/>
        </p:nvSpPr>
        <p:spPr bwMode="gray">
          <a:xfrm>
            <a:off x="4148219" y="2437627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47" name="Rectangle 28"/>
          <p:cNvSpPr>
            <a:spLocks noChangeArrowheads="1"/>
          </p:cNvSpPr>
          <p:nvPr/>
        </p:nvSpPr>
        <p:spPr bwMode="gray">
          <a:xfrm>
            <a:off x="8753922" y="2437627"/>
            <a:ext cx="112058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</p:spTree>
    <p:extLst>
      <p:ext uri="{BB962C8B-B14F-4D97-AF65-F5344CB8AC3E}">
        <p14:creationId xmlns:p14="http://schemas.microsoft.com/office/powerpoint/2010/main" val="26495920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2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Força 21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42404" name="Freeform 4"/>
          <p:cNvSpPr>
            <a:spLocks/>
          </p:cNvSpPr>
          <p:nvPr/>
        </p:nvSpPr>
        <p:spPr bwMode="auto">
          <a:xfrm>
            <a:off x="788178" y="3013934"/>
            <a:ext cx="9129163" cy="1692870"/>
          </a:xfrm>
          <a:custGeom>
            <a:avLst/>
            <a:gdLst/>
            <a:ahLst/>
            <a:cxnLst>
              <a:cxn ang="0">
                <a:pos x="4786" y="486"/>
              </a:cxn>
              <a:cxn ang="0">
                <a:pos x="4786" y="486"/>
              </a:cxn>
              <a:cxn ang="0">
                <a:pos x="4786" y="782"/>
              </a:cxn>
              <a:cxn ang="0">
                <a:pos x="4822" y="786"/>
              </a:cxn>
              <a:cxn ang="0">
                <a:pos x="4736" y="888"/>
              </a:cxn>
              <a:cxn ang="0">
                <a:pos x="4642" y="786"/>
              </a:cxn>
              <a:cxn ang="0">
                <a:pos x="4694" y="786"/>
              </a:cxn>
              <a:cxn ang="0">
                <a:pos x="4694" y="586"/>
              </a:cxn>
              <a:cxn ang="0">
                <a:pos x="2454" y="586"/>
              </a:cxn>
              <a:cxn ang="0">
                <a:pos x="2454" y="786"/>
              </a:cxn>
              <a:cxn ang="0">
                <a:pos x="2493" y="788"/>
              </a:cxn>
              <a:cxn ang="0">
                <a:pos x="2416" y="890"/>
              </a:cxn>
              <a:cxn ang="0">
                <a:pos x="2333" y="790"/>
              </a:cxn>
              <a:cxn ang="0">
                <a:pos x="2372" y="790"/>
              </a:cxn>
              <a:cxn ang="0">
                <a:pos x="2372" y="586"/>
              </a:cxn>
              <a:cxn ang="0">
                <a:pos x="122" y="586"/>
              </a:cxn>
              <a:cxn ang="0">
                <a:pos x="122" y="786"/>
              </a:cxn>
              <a:cxn ang="0">
                <a:pos x="168" y="788"/>
              </a:cxn>
              <a:cxn ang="0">
                <a:pos x="78" y="895"/>
              </a:cxn>
              <a:cxn ang="0">
                <a:pos x="0" y="786"/>
              </a:cxn>
              <a:cxn ang="0">
                <a:pos x="44" y="786"/>
              </a:cxn>
              <a:cxn ang="0">
                <a:pos x="44" y="486"/>
              </a:cxn>
              <a:cxn ang="0">
                <a:pos x="44" y="486"/>
              </a:cxn>
              <a:cxn ang="0">
                <a:pos x="44" y="303"/>
              </a:cxn>
              <a:cxn ang="0">
                <a:pos x="1195" y="303"/>
              </a:cxn>
              <a:cxn ang="0">
                <a:pos x="1195" y="103"/>
              </a:cxn>
              <a:cxn ang="0">
                <a:pos x="1155" y="103"/>
              </a:cxn>
              <a:cxn ang="0">
                <a:pos x="1245" y="0"/>
              </a:cxn>
              <a:cxn ang="0">
                <a:pos x="1331" y="105"/>
              </a:cxn>
              <a:cxn ang="0">
                <a:pos x="1289" y="105"/>
              </a:cxn>
              <a:cxn ang="0">
                <a:pos x="1289" y="303"/>
              </a:cxn>
              <a:cxn ang="0">
                <a:pos x="3527" y="303"/>
              </a:cxn>
              <a:cxn ang="0">
                <a:pos x="3527" y="102"/>
              </a:cxn>
              <a:cxn ang="0">
                <a:pos x="3494" y="102"/>
              </a:cxn>
              <a:cxn ang="0">
                <a:pos x="3577" y="0"/>
              </a:cxn>
              <a:cxn ang="0">
                <a:pos x="3656" y="102"/>
              </a:cxn>
              <a:cxn ang="0">
                <a:pos x="3619" y="102"/>
              </a:cxn>
              <a:cxn ang="0">
                <a:pos x="3619" y="303"/>
              </a:cxn>
              <a:cxn ang="0">
                <a:pos x="4786" y="303"/>
              </a:cxn>
              <a:cxn ang="0">
                <a:pos x="4786" y="486"/>
              </a:cxn>
            </a:cxnLst>
            <a:rect l="0" t="0" r="r" b="b"/>
            <a:pathLst>
              <a:path w="4822" h="895">
                <a:moveTo>
                  <a:pt x="4786" y="486"/>
                </a:moveTo>
                <a:lnTo>
                  <a:pt x="4786" y="486"/>
                </a:lnTo>
                <a:lnTo>
                  <a:pt x="4786" y="782"/>
                </a:lnTo>
                <a:lnTo>
                  <a:pt x="4822" y="786"/>
                </a:lnTo>
                <a:lnTo>
                  <a:pt x="4736" y="888"/>
                </a:lnTo>
                <a:lnTo>
                  <a:pt x="4642" y="786"/>
                </a:lnTo>
                <a:lnTo>
                  <a:pt x="4694" y="786"/>
                </a:lnTo>
                <a:lnTo>
                  <a:pt x="4694" y="586"/>
                </a:lnTo>
                <a:lnTo>
                  <a:pt x="2454" y="586"/>
                </a:lnTo>
                <a:lnTo>
                  <a:pt x="2454" y="786"/>
                </a:lnTo>
                <a:lnTo>
                  <a:pt x="2493" y="788"/>
                </a:lnTo>
                <a:lnTo>
                  <a:pt x="2416" y="890"/>
                </a:lnTo>
                <a:lnTo>
                  <a:pt x="2333" y="790"/>
                </a:lnTo>
                <a:lnTo>
                  <a:pt x="2372" y="790"/>
                </a:lnTo>
                <a:lnTo>
                  <a:pt x="2372" y="586"/>
                </a:lnTo>
                <a:lnTo>
                  <a:pt x="122" y="586"/>
                </a:lnTo>
                <a:lnTo>
                  <a:pt x="122" y="786"/>
                </a:lnTo>
                <a:lnTo>
                  <a:pt x="168" y="788"/>
                </a:lnTo>
                <a:lnTo>
                  <a:pt x="78" y="895"/>
                </a:lnTo>
                <a:lnTo>
                  <a:pt x="0" y="786"/>
                </a:lnTo>
                <a:lnTo>
                  <a:pt x="44" y="786"/>
                </a:lnTo>
                <a:lnTo>
                  <a:pt x="44" y="486"/>
                </a:lnTo>
                <a:lnTo>
                  <a:pt x="44" y="486"/>
                </a:lnTo>
                <a:lnTo>
                  <a:pt x="44" y="303"/>
                </a:lnTo>
                <a:lnTo>
                  <a:pt x="1195" y="303"/>
                </a:lnTo>
                <a:lnTo>
                  <a:pt x="1195" y="103"/>
                </a:lnTo>
                <a:lnTo>
                  <a:pt x="1155" y="103"/>
                </a:lnTo>
                <a:lnTo>
                  <a:pt x="1245" y="0"/>
                </a:lnTo>
                <a:lnTo>
                  <a:pt x="1331" y="105"/>
                </a:lnTo>
                <a:lnTo>
                  <a:pt x="1289" y="105"/>
                </a:lnTo>
                <a:lnTo>
                  <a:pt x="1289" y="303"/>
                </a:lnTo>
                <a:lnTo>
                  <a:pt x="3527" y="303"/>
                </a:lnTo>
                <a:lnTo>
                  <a:pt x="3527" y="102"/>
                </a:lnTo>
                <a:lnTo>
                  <a:pt x="3494" y="102"/>
                </a:lnTo>
                <a:lnTo>
                  <a:pt x="3577" y="0"/>
                </a:lnTo>
                <a:lnTo>
                  <a:pt x="3656" y="102"/>
                </a:lnTo>
                <a:lnTo>
                  <a:pt x="3619" y="102"/>
                </a:lnTo>
                <a:lnTo>
                  <a:pt x="3619" y="303"/>
                </a:lnTo>
                <a:lnTo>
                  <a:pt x="4786" y="303"/>
                </a:lnTo>
                <a:lnTo>
                  <a:pt x="4786" y="486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pt-BR" sz="2159" dirty="0"/>
          </a:p>
        </p:txBody>
      </p:sp>
      <p:sp>
        <p:nvSpPr>
          <p:cNvPr id="74240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36627" y="3744119"/>
            <a:ext cx="8632268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240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31360" y="2704329"/>
            <a:ext cx="142900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2407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31452" y="2704329"/>
            <a:ext cx="142900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2408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6173" y="4811323"/>
            <a:ext cx="142900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2409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51967" y="4811323"/>
            <a:ext cx="142900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742410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036638" y="4811323"/>
            <a:ext cx="1429002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Ctr="1">
            <a:spAutoFit/>
          </a:bodyPr>
          <a:lstStyle/>
          <a:p>
            <a:pPr defTabSz="1158251">
              <a:spcBef>
                <a:spcPct val="2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</p:spTree>
    <p:extLst>
      <p:ext uri="{BB962C8B-B14F-4D97-AF65-F5344CB8AC3E}">
        <p14:creationId xmlns:p14="http://schemas.microsoft.com/office/powerpoint/2010/main" val="20854320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4450" name="AutoShape 2"/>
          <p:cNvSpPr>
            <a:spLocks noChangeArrowheads="1"/>
          </p:cNvSpPr>
          <p:nvPr/>
        </p:nvSpPr>
        <p:spPr bwMode="gray">
          <a:xfrm flipH="1">
            <a:off x="6363684" y="3096179"/>
            <a:ext cx="3803818" cy="923545"/>
          </a:xfrm>
          <a:custGeom>
            <a:avLst/>
            <a:gdLst>
              <a:gd name="G0" fmla="+- 9486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6"/>
              <a:gd name="G18" fmla="*/ 9486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9486 10800 0"/>
              <a:gd name="G26" fmla="?: G9 G17 G25"/>
              <a:gd name="G27" fmla="?: G9 0 21600"/>
              <a:gd name="G28" fmla="cos 10800 11796480"/>
              <a:gd name="G29" fmla="sin 10800 11796480"/>
              <a:gd name="G30" fmla="sin 9486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7 w 21600"/>
              <a:gd name="T15" fmla="*/ 10800 h 21600"/>
              <a:gd name="T16" fmla="*/ 10800 w 21600"/>
              <a:gd name="T17" fmla="*/ 1314 h 21600"/>
              <a:gd name="T18" fmla="*/ 20943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4" y="10800"/>
                </a:moveTo>
                <a:cubicBezTo>
                  <a:pt x="1314" y="5561"/>
                  <a:pt x="5561" y="1314"/>
                  <a:pt x="10800" y="1314"/>
                </a:cubicBezTo>
                <a:cubicBezTo>
                  <a:pt x="16038" y="1313"/>
                  <a:pt x="20285" y="5561"/>
                  <a:pt x="20286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1" name="AutoShape 3"/>
          <p:cNvSpPr>
            <a:spLocks noChangeArrowheads="1"/>
          </p:cNvSpPr>
          <p:nvPr/>
        </p:nvSpPr>
        <p:spPr bwMode="gray">
          <a:xfrm>
            <a:off x="524310" y="3096179"/>
            <a:ext cx="3803818" cy="923545"/>
          </a:xfrm>
          <a:custGeom>
            <a:avLst/>
            <a:gdLst>
              <a:gd name="G0" fmla="+- 9486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6"/>
              <a:gd name="G18" fmla="*/ 9486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9486 10800 0"/>
              <a:gd name="G26" fmla="?: G9 G17 G25"/>
              <a:gd name="G27" fmla="?: G9 0 21600"/>
              <a:gd name="G28" fmla="cos 10800 11796480"/>
              <a:gd name="G29" fmla="sin 10800 11796480"/>
              <a:gd name="G30" fmla="sin 9486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7 w 21600"/>
              <a:gd name="T15" fmla="*/ 10800 h 21600"/>
              <a:gd name="T16" fmla="*/ 10800 w 21600"/>
              <a:gd name="T17" fmla="*/ 1314 h 21600"/>
              <a:gd name="T18" fmla="*/ 20943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4" y="10800"/>
                </a:moveTo>
                <a:cubicBezTo>
                  <a:pt x="1314" y="5561"/>
                  <a:pt x="5561" y="1314"/>
                  <a:pt x="10800" y="1314"/>
                </a:cubicBezTo>
                <a:cubicBezTo>
                  <a:pt x="16038" y="1313"/>
                  <a:pt x="20285" y="5561"/>
                  <a:pt x="20286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2" name="AutoShape 4"/>
          <p:cNvSpPr>
            <a:spLocks noChangeArrowheads="1"/>
          </p:cNvSpPr>
          <p:nvPr/>
        </p:nvSpPr>
        <p:spPr bwMode="gray">
          <a:xfrm>
            <a:off x="3469699" y="2888853"/>
            <a:ext cx="3803818" cy="923545"/>
          </a:xfrm>
          <a:custGeom>
            <a:avLst/>
            <a:gdLst>
              <a:gd name="G0" fmla="+- 9486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6"/>
              <a:gd name="G18" fmla="*/ 9486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9486 10800 0"/>
              <a:gd name="G26" fmla="?: G9 G17 G25"/>
              <a:gd name="G27" fmla="?: G9 0 21600"/>
              <a:gd name="G28" fmla="cos 10800 11796480"/>
              <a:gd name="G29" fmla="sin 10800 11796480"/>
              <a:gd name="G30" fmla="sin 9486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7 w 21600"/>
              <a:gd name="T15" fmla="*/ 10800 h 21600"/>
              <a:gd name="T16" fmla="*/ 10800 w 21600"/>
              <a:gd name="T17" fmla="*/ 1314 h 21600"/>
              <a:gd name="T18" fmla="*/ 20943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4" y="10800"/>
                </a:moveTo>
                <a:cubicBezTo>
                  <a:pt x="1314" y="5561"/>
                  <a:pt x="5561" y="1314"/>
                  <a:pt x="10800" y="1314"/>
                </a:cubicBezTo>
                <a:cubicBezTo>
                  <a:pt x="16038" y="1313"/>
                  <a:pt x="20285" y="5561"/>
                  <a:pt x="20286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716858" y="3906895"/>
            <a:ext cx="141872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4454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587075" y="3906895"/>
            <a:ext cx="1420435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4455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65675" y="3685862"/>
            <a:ext cx="1420434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1">
            <a:spAutoFit/>
          </a:bodyPr>
          <a:lstStyle/>
          <a:p>
            <a:pPr algn="ctr" defTabSz="1158251">
              <a:spcBef>
                <a:spcPct val="20000"/>
              </a:spcBef>
            </a:pPr>
            <a:r>
              <a:rPr lang="pt-BR" sz="1511" b="1"/>
              <a:t>Texto</a:t>
            </a:r>
            <a:endParaRPr lang="pt-BR" sz="1511" b="1" dirty="0"/>
          </a:p>
        </p:txBody>
      </p:sp>
      <p:sp>
        <p:nvSpPr>
          <p:cNvPr id="744456" name="AutoShape 8"/>
          <p:cNvSpPr>
            <a:spLocks noChangeArrowheads="1"/>
          </p:cNvSpPr>
          <p:nvPr/>
        </p:nvSpPr>
        <p:spPr bwMode="gray">
          <a:xfrm flipV="1">
            <a:off x="3469699" y="2888853"/>
            <a:ext cx="3803818" cy="528291"/>
          </a:xfrm>
          <a:custGeom>
            <a:avLst/>
            <a:gdLst>
              <a:gd name="G0" fmla="+- 9487 0 0"/>
              <a:gd name="G1" fmla="+- -11796085 0 0"/>
              <a:gd name="G2" fmla="+- 0 0 -11796085"/>
              <a:gd name="T0" fmla="*/ 0 256 1"/>
              <a:gd name="T1" fmla="*/ 180 256 1"/>
              <a:gd name="G3" fmla="+- -11796085 T0 T1"/>
              <a:gd name="T2" fmla="*/ 0 256 1"/>
              <a:gd name="T3" fmla="*/ 90 256 1"/>
              <a:gd name="G4" fmla="+- -11796085 T2 T3"/>
              <a:gd name="G5" fmla="*/ G4 2 1"/>
              <a:gd name="T4" fmla="*/ 90 256 1"/>
              <a:gd name="T5" fmla="*/ 0 256 1"/>
              <a:gd name="G6" fmla="+- -11796085 T4 T5"/>
              <a:gd name="G7" fmla="*/ G6 2 1"/>
              <a:gd name="G8" fmla="abs -11796085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7"/>
              <a:gd name="G18" fmla="*/ 9487 1 2"/>
              <a:gd name="G19" fmla="+- G18 5400 0"/>
              <a:gd name="G20" fmla="cos G19 -11796085"/>
              <a:gd name="G21" fmla="sin G19 -11796085"/>
              <a:gd name="G22" fmla="+- G20 10800 0"/>
              <a:gd name="G23" fmla="+- G21 10800 0"/>
              <a:gd name="G24" fmla="+- 10800 0 G20"/>
              <a:gd name="G25" fmla="+- 9487 10800 0"/>
              <a:gd name="G26" fmla="?: G9 G17 G25"/>
              <a:gd name="G27" fmla="?: G9 0 21600"/>
              <a:gd name="G28" fmla="cos 10800 -11796085"/>
              <a:gd name="G29" fmla="sin 10800 -11796085"/>
              <a:gd name="G30" fmla="sin 9487 -11796085"/>
              <a:gd name="G31" fmla="+- G28 10800 0"/>
              <a:gd name="G32" fmla="+- G29 10800 0"/>
              <a:gd name="G33" fmla="+- G30 10800 0"/>
              <a:gd name="G34" fmla="?: G4 0 G31"/>
              <a:gd name="G35" fmla="?: -11796085 G34 0"/>
              <a:gd name="G36" fmla="?: G6 G35 G31"/>
              <a:gd name="G37" fmla="+- 21600 0 G36"/>
              <a:gd name="G38" fmla="?: G4 0 G33"/>
              <a:gd name="G39" fmla="?: -11796085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6 w 21600"/>
              <a:gd name="T15" fmla="*/ 10798 h 21600"/>
              <a:gd name="T16" fmla="*/ 10800 w 21600"/>
              <a:gd name="T17" fmla="*/ 1313 h 21600"/>
              <a:gd name="T18" fmla="*/ 20944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3" y="10799"/>
                </a:moveTo>
                <a:cubicBezTo>
                  <a:pt x="1313" y="5559"/>
                  <a:pt x="5560" y="1312"/>
                  <a:pt x="10800" y="1313"/>
                </a:cubicBezTo>
                <a:cubicBezTo>
                  <a:pt x="16039" y="1313"/>
                  <a:pt x="20286" y="5559"/>
                  <a:pt x="20286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7" name="AutoShape 9"/>
          <p:cNvSpPr>
            <a:spLocks noChangeArrowheads="1"/>
          </p:cNvSpPr>
          <p:nvPr/>
        </p:nvSpPr>
        <p:spPr bwMode="gray">
          <a:xfrm flipV="1">
            <a:off x="524310" y="3096179"/>
            <a:ext cx="3803818" cy="528291"/>
          </a:xfrm>
          <a:custGeom>
            <a:avLst/>
            <a:gdLst>
              <a:gd name="G0" fmla="+- 9487 0 0"/>
              <a:gd name="G1" fmla="+- -11796085 0 0"/>
              <a:gd name="G2" fmla="+- 0 0 -11796085"/>
              <a:gd name="T0" fmla="*/ 0 256 1"/>
              <a:gd name="T1" fmla="*/ 180 256 1"/>
              <a:gd name="G3" fmla="+- -11796085 T0 T1"/>
              <a:gd name="T2" fmla="*/ 0 256 1"/>
              <a:gd name="T3" fmla="*/ 90 256 1"/>
              <a:gd name="G4" fmla="+- -11796085 T2 T3"/>
              <a:gd name="G5" fmla="*/ G4 2 1"/>
              <a:gd name="T4" fmla="*/ 90 256 1"/>
              <a:gd name="T5" fmla="*/ 0 256 1"/>
              <a:gd name="G6" fmla="+- -11796085 T4 T5"/>
              <a:gd name="G7" fmla="*/ G6 2 1"/>
              <a:gd name="G8" fmla="abs -11796085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7"/>
              <a:gd name="G18" fmla="*/ 9487 1 2"/>
              <a:gd name="G19" fmla="+- G18 5400 0"/>
              <a:gd name="G20" fmla="cos G19 -11796085"/>
              <a:gd name="G21" fmla="sin G19 -11796085"/>
              <a:gd name="G22" fmla="+- G20 10800 0"/>
              <a:gd name="G23" fmla="+- G21 10800 0"/>
              <a:gd name="G24" fmla="+- 10800 0 G20"/>
              <a:gd name="G25" fmla="+- 9487 10800 0"/>
              <a:gd name="G26" fmla="?: G9 G17 G25"/>
              <a:gd name="G27" fmla="?: G9 0 21600"/>
              <a:gd name="G28" fmla="cos 10800 -11796085"/>
              <a:gd name="G29" fmla="sin 10800 -11796085"/>
              <a:gd name="G30" fmla="sin 9487 -11796085"/>
              <a:gd name="G31" fmla="+- G28 10800 0"/>
              <a:gd name="G32" fmla="+- G29 10800 0"/>
              <a:gd name="G33" fmla="+- G30 10800 0"/>
              <a:gd name="G34" fmla="?: G4 0 G31"/>
              <a:gd name="G35" fmla="?: -11796085 G34 0"/>
              <a:gd name="G36" fmla="?: G6 G35 G31"/>
              <a:gd name="G37" fmla="+- 21600 0 G36"/>
              <a:gd name="G38" fmla="?: G4 0 G33"/>
              <a:gd name="G39" fmla="?: -11796085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6 w 21600"/>
              <a:gd name="T15" fmla="*/ 10798 h 21600"/>
              <a:gd name="T16" fmla="*/ 10800 w 21600"/>
              <a:gd name="T17" fmla="*/ 1313 h 21600"/>
              <a:gd name="T18" fmla="*/ 20944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3" y="10799"/>
                </a:moveTo>
                <a:cubicBezTo>
                  <a:pt x="1313" y="5559"/>
                  <a:pt x="5560" y="1312"/>
                  <a:pt x="10800" y="1313"/>
                </a:cubicBezTo>
                <a:cubicBezTo>
                  <a:pt x="16039" y="1313"/>
                  <a:pt x="20286" y="5559"/>
                  <a:pt x="20286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8" name="AutoShape 10"/>
          <p:cNvSpPr>
            <a:spLocks noChangeArrowheads="1"/>
          </p:cNvSpPr>
          <p:nvPr/>
        </p:nvSpPr>
        <p:spPr bwMode="gray">
          <a:xfrm flipH="1" flipV="1">
            <a:off x="6363684" y="3096179"/>
            <a:ext cx="3803818" cy="528291"/>
          </a:xfrm>
          <a:custGeom>
            <a:avLst/>
            <a:gdLst>
              <a:gd name="G0" fmla="+- 9487 0 0"/>
              <a:gd name="G1" fmla="+- -11796085 0 0"/>
              <a:gd name="G2" fmla="+- 0 0 -11796085"/>
              <a:gd name="T0" fmla="*/ 0 256 1"/>
              <a:gd name="T1" fmla="*/ 180 256 1"/>
              <a:gd name="G3" fmla="+- -11796085 T0 T1"/>
              <a:gd name="T2" fmla="*/ 0 256 1"/>
              <a:gd name="T3" fmla="*/ 90 256 1"/>
              <a:gd name="G4" fmla="+- -11796085 T2 T3"/>
              <a:gd name="G5" fmla="*/ G4 2 1"/>
              <a:gd name="T4" fmla="*/ 90 256 1"/>
              <a:gd name="T5" fmla="*/ 0 256 1"/>
              <a:gd name="G6" fmla="+- -11796085 T4 T5"/>
              <a:gd name="G7" fmla="*/ G6 2 1"/>
              <a:gd name="G8" fmla="abs -11796085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9487"/>
              <a:gd name="G18" fmla="*/ 9487 1 2"/>
              <a:gd name="G19" fmla="+- G18 5400 0"/>
              <a:gd name="G20" fmla="cos G19 -11796085"/>
              <a:gd name="G21" fmla="sin G19 -11796085"/>
              <a:gd name="G22" fmla="+- G20 10800 0"/>
              <a:gd name="G23" fmla="+- G21 10800 0"/>
              <a:gd name="G24" fmla="+- 10800 0 G20"/>
              <a:gd name="G25" fmla="+- 9487 10800 0"/>
              <a:gd name="G26" fmla="?: G9 G17 G25"/>
              <a:gd name="G27" fmla="?: G9 0 21600"/>
              <a:gd name="G28" fmla="cos 10800 -11796085"/>
              <a:gd name="G29" fmla="sin 10800 -11796085"/>
              <a:gd name="G30" fmla="sin 9487 -11796085"/>
              <a:gd name="G31" fmla="+- G28 10800 0"/>
              <a:gd name="G32" fmla="+- G29 10800 0"/>
              <a:gd name="G33" fmla="+- G30 10800 0"/>
              <a:gd name="G34" fmla="?: G4 0 G31"/>
              <a:gd name="G35" fmla="?: -11796085 G34 0"/>
              <a:gd name="G36" fmla="?: G6 G35 G31"/>
              <a:gd name="G37" fmla="+- 21600 0 G36"/>
              <a:gd name="G38" fmla="?: G4 0 G33"/>
              <a:gd name="G39" fmla="?: -11796085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656 w 21600"/>
              <a:gd name="T15" fmla="*/ 10798 h 21600"/>
              <a:gd name="T16" fmla="*/ 10800 w 21600"/>
              <a:gd name="T17" fmla="*/ 1313 h 21600"/>
              <a:gd name="T18" fmla="*/ 20944 w 21600"/>
              <a:gd name="T19" fmla="*/ 1079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313" y="10799"/>
                </a:moveTo>
                <a:cubicBezTo>
                  <a:pt x="1313" y="5559"/>
                  <a:pt x="5560" y="1312"/>
                  <a:pt x="10800" y="1313"/>
                </a:cubicBezTo>
                <a:cubicBezTo>
                  <a:pt x="16039" y="1313"/>
                  <a:pt x="20286" y="5559"/>
                  <a:pt x="20286" y="10799"/>
                </a:cubicBezTo>
                <a:lnTo>
                  <a:pt x="21599" y="10798"/>
                </a:lnTo>
                <a:cubicBezTo>
                  <a:pt x="21599" y="4834"/>
                  <a:pt x="16764" y="-1"/>
                  <a:pt x="10799" y="0"/>
                </a:cubicBezTo>
                <a:cubicBezTo>
                  <a:pt x="4835" y="0"/>
                  <a:pt x="0" y="4834"/>
                  <a:pt x="0" y="1079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miter lim="800000"/>
            <a:headEnd type="none" w="sm" len="sm"/>
            <a:tailEnd type="none" w="sm" len="sm"/>
          </a:ln>
          <a:effectLst>
            <a:outerShdw dist="53882" dir="2700000" algn="ctr" rotWithShape="0">
              <a:schemeClr val="accent6"/>
            </a:outerShdw>
          </a:effectLst>
        </p:spPr>
        <p:txBody>
          <a:bodyPr lIns="0" tIns="0" rIns="0" bIns="0">
            <a:spAutoFit/>
          </a:bodyPr>
          <a:lstStyle/>
          <a:p>
            <a:endParaRPr lang="pt-BR" sz="2159" dirty="0"/>
          </a:p>
        </p:txBody>
      </p:sp>
      <p:sp>
        <p:nvSpPr>
          <p:cNvPr id="744459" name="Rectangle 1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/>
              <a:t>Corrente</a:t>
            </a:r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112543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625" name="AutoShape 33"/>
          <p:cNvSpPr>
            <a:spLocks noChangeArrowheads="1"/>
          </p:cNvSpPr>
          <p:nvPr/>
        </p:nvSpPr>
        <p:spPr bwMode="auto">
          <a:xfrm>
            <a:off x="6744066" y="2326847"/>
            <a:ext cx="2385097" cy="2549586"/>
          </a:xfrm>
          <a:prstGeom prst="rightArrow">
            <a:avLst>
              <a:gd name="adj1" fmla="val 64519"/>
              <a:gd name="adj2" fmla="val 36755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19" name="AutoShape 27"/>
          <p:cNvSpPr>
            <a:spLocks noChangeArrowheads="1"/>
          </p:cNvSpPr>
          <p:nvPr/>
        </p:nvSpPr>
        <p:spPr bwMode="auto">
          <a:xfrm>
            <a:off x="4297286" y="1394740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20" name="AutoShape 28"/>
          <p:cNvSpPr>
            <a:spLocks noChangeArrowheads="1"/>
          </p:cNvSpPr>
          <p:nvPr/>
        </p:nvSpPr>
        <p:spPr bwMode="auto">
          <a:xfrm>
            <a:off x="1562649" y="2409092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21" name="AutoShape 29"/>
          <p:cNvSpPr>
            <a:spLocks noChangeArrowheads="1"/>
          </p:cNvSpPr>
          <p:nvPr/>
        </p:nvSpPr>
        <p:spPr bwMode="auto">
          <a:xfrm>
            <a:off x="3536522" y="2491336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22" name="AutoShape 30"/>
          <p:cNvSpPr>
            <a:spLocks noChangeArrowheads="1"/>
          </p:cNvSpPr>
          <p:nvPr/>
        </p:nvSpPr>
        <p:spPr bwMode="auto">
          <a:xfrm>
            <a:off x="3865501" y="3560518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23" name="AutoShape 31"/>
          <p:cNvSpPr>
            <a:spLocks noChangeArrowheads="1"/>
          </p:cNvSpPr>
          <p:nvPr/>
        </p:nvSpPr>
        <p:spPr bwMode="auto">
          <a:xfrm>
            <a:off x="4358969" y="4711944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624" name="AutoShape 32"/>
          <p:cNvSpPr>
            <a:spLocks noChangeArrowheads="1"/>
          </p:cNvSpPr>
          <p:nvPr/>
        </p:nvSpPr>
        <p:spPr bwMode="auto">
          <a:xfrm>
            <a:off x="2138362" y="3642762"/>
            <a:ext cx="1377599" cy="1261086"/>
          </a:xfrm>
          <a:prstGeom prst="rightArrow">
            <a:avLst>
              <a:gd name="adj1" fmla="val 60204"/>
              <a:gd name="adj2" fmla="val 34916"/>
            </a:avLst>
          </a:prstGeom>
          <a:solidFill>
            <a:schemeClr val="accent6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7712" tIns="0" rIns="77712" bIns="0" anchor="ctr"/>
          <a:lstStyle/>
          <a:p>
            <a:pPr marL="205607" indent="-205607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2259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ilter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2597" name="Rectangle 5"/>
          <p:cNvSpPr>
            <a:spLocks noChangeArrowheads="1"/>
          </p:cNvSpPr>
          <p:nvPr/>
        </p:nvSpPr>
        <p:spPr bwMode="blackWhite">
          <a:xfrm>
            <a:off x="5906199" y="1437577"/>
            <a:ext cx="603128" cy="4508038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defTabSz="1055447">
              <a:buFont typeface="Arial" pitchFamily="34" charset="0"/>
              <a:buChar char="•"/>
            </a:pPr>
            <a:endParaRPr lang="pt-BR" sz="1835" dirty="0"/>
          </a:p>
        </p:txBody>
      </p:sp>
      <p:sp>
        <p:nvSpPr>
          <p:cNvPr id="16" name="15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1532315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7"/>
          <p:cNvSpPr>
            <a:spLocks noChangeArrowheads="1"/>
          </p:cNvSpPr>
          <p:nvPr/>
        </p:nvSpPr>
        <p:spPr bwMode="auto">
          <a:xfrm>
            <a:off x="5638700" y="2302722"/>
            <a:ext cx="4653884" cy="4293997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28224" tIns="43053" rIns="128224" bIns="43053" anchor="ctr"/>
          <a:lstStyle/>
          <a:p>
            <a:pPr marL="310124" indent="-310124" defTabSz="738471">
              <a:lnSpc>
                <a:spcPct val="95000"/>
              </a:lnSpc>
              <a:spcBef>
                <a:spcPct val="5000"/>
              </a:spcBef>
              <a:buFont typeface="Wingdings" pitchFamily="2" charset="2"/>
              <a:buChar char="Ø"/>
            </a:pPr>
            <a:endParaRPr lang="pt-BR" sz="1727" dirty="0">
              <a:solidFill>
                <a:srgbClr val="000099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scritivo de várias áreas e divisões internas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i="1" dirty="0" smtClean="0"/>
          </a:p>
        </p:txBody>
      </p:sp>
      <p:sp>
        <p:nvSpPr>
          <p:cNvPr id="19" name="CaixaDeTexto 18"/>
          <p:cNvSpPr txBox="1"/>
          <p:nvPr/>
        </p:nvSpPr>
        <p:spPr>
          <a:xfrm>
            <a:off x="562554" y="1786226"/>
            <a:ext cx="524503" cy="1992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295" b="1" dirty="0">
                <a:solidFill>
                  <a:schemeClr val="accent2"/>
                </a:solidFill>
              </a:rPr>
              <a:t>Área 1</a:t>
            </a: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 flipV="1">
            <a:off x="2566183" y="201157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pt-BR" sz="971" dirty="0"/>
              <a:t>...</a:t>
            </a: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 flipV="1">
            <a:off x="1482706" y="201157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pt-BR" sz="971" dirty="0"/>
              <a:t>Divisão 2</a:t>
            </a: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auto">
          <a:xfrm>
            <a:off x="399230" y="2302722"/>
            <a:ext cx="4653884" cy="4293997"/>
          </a:xfrm>
          <a:prstGeom prst="rect">
            <a:avLst/>
          </a:pr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28224" tIns="43053" rIns="128224" bIns="43053" anchor="ctr"/>
          <a:lstStyle/>
          <a:p>
            <a:pPr marL="310124" indent="-310124" defTabSz="738471">
              <a:lnSpc>
                <a:spcPct val="95000"/>
              </a:lnSpc>
              <a:spcBef>
                <a:spcPct val="5000"/>
              </a:spcBef>
              <a:buFont typeface="Wingdings" pitchFamily="2" charset="2"/>
              <a:buChar char="Ø"/>
            </a:pPr>
            <a:endParaRPr lang="pt-BR" sz="1727" dirty="0">
              <a:solidFill>
                <a:srgbClr val="000099"/>
              </a:solidFill>
            </a:endParaRPr>
          </a:p>
        </p:txBody>
      </p:sp>
      <p:sp>
        <p:nvSpPr>
          <p:cNvPr id="15" name="AutoShape 6"/>
          <p:cNvSpPr>
            <a:spLocks noChangeArrowheads="1"/>
          </p:cNvSpPr>
          <p:nvPr/>
        </p:nvSpPr>
        <p:spPr bwMode="auto">
          <a:xfrm flipV="1">
            <a:off x="399230" y="202185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0 w 21600"/>
              <a:gd name="connsiteY4" fmla="*/ 0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1861 w 21600"/>
              <a:gd name="connsiteY4" fmla="*/ 7322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</a:path>
            </a:pathLst>
          </a:cu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defTabSz="822427"/>
            <a:r>
              <a:rPr lang="pt-BR" sz="1187" b="1" dirty="0"/>
              <a:t>Divisão 1</a:t>
            </a:r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auto">
          <a:xfrm flipV="1">
            <a:off x="7788722" y="201157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pt-BR" sz="971" dirty="0"/>
              <a:t>...</a:t>
            </a:r>
          </a:p>
        </p:txBody>
      </p:sp>
      <p:sp>
        <p:nvSpPr>
          <p:cNvPr id="18" name="AutoShape 5"/>
          <p:cNvSpPr>
            <a:spLocks noChangeArrowheads="1"/>
          </p:cNvSpPr>
          <p:nvPr/>
        </p:nvSpPr>
        <p:spPr bwMode="auto">
          <a:xfrm flipV="1">
            <a:off x="6705245" y="201157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pt-BR" sz="971" dirty="0"/>
              <a:t>Divisão 2</a:t>
            </a:r>
          </a:p>
        </p:txBody>
      </p:sp>
      <p:sp>
        <p:nvSpPr>
          <p:cNvPr id="21" name="AutoShape 6"/>
          <p:cNvSpPr>
            <a:spLocks noChangeArrowheads="1"/>
          </p:cNvSpPr>
          <p:nvPr/>
        </p:nvSpPr>
        <p:spPr bwMode="auto">
          <a:xfrm flipV="1">
            <a:off x="5621769" y="2021856"/>
            <a:ext cx="1286424" cy="29114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0 w 21600"/>
              <a:gd name="connsiteY4" fmla="*/ 0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1861 w 21600"/>
              <a:gd name="connsiteY4" fmla="*/ 7322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</a:path>
            </a:pathLst>
          </a:custGeom>
          <a:solidFill>
            <a:schemeClr val="bg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defTabSz="822427"/>
            <a:r>
              <a:rPr lang="pt-BR" sz="1187" b="1" dirty="0"/>
              <a:t>Divisão 1</a:t>
            </a:r>
          </a:p>
        </p:txBody>
      </p:sp>
      <p:sp>
        <p:nvSpPr>
          <p:cNvPr id="23" name="CaixaDeTexto 18"/>
          <p:cNvSpPr txBox="1"/>
          <p:nvPr/>
        </p:nvSpPr>
        <p:spPr>
          <a:xfrm>
            <a:off x="5812508" y="1786226"/>
            <a:ext cx="524503" cy="1992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295" b="1" dirty="0">
                <a:solidFill>
                  <a:schemeClr val="accent2"/>
                </a:solidFill>
              </a:rPr>
              <a:t>Área 2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606874" y="2507729"/>
          <a:ext cx="4284029" cy="39282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996"/>
                <a:gridCol w="1235727"/>
                <a:gridCol w="1860306"/>
              </a:tblGrid>
              <a:tr h="240333">
                <a:tc>
                  <a:txBody>
                    <a:bodyPr/>
                    <a:lstStyle/>
                    <a:p>
                      <a:pPr algn="ctr"/>
                      <a:r>
                        <a:rPr lang="pt-BR" sz="900" dirty="0" err="1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r>
                        <a:rPr lang="pt-BR" sz="900" smtClean="0"/>
                        <a:t>x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900" smtClean="0"/>
                        <a:t>x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pt-BR" sz="900" smtClean="0"/>
                        <a:t>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pt-BR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2" name="36 Rectángulo"/>
          <p:cNvSpPr>
            <a:spLocks noChangeArrowheads="1"/>
          </p:cNvSpPr>
          <p:nvPr/>
        </p:nvSpPr>
        <p:spPr bwMode="auto">
          <a:xfrm>
            <a:off x="421504" y="6893719"/>
            <a:ext cx="9036638" cy="1154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dirty="0"/>
              <a:t>Fonte</a:t>
            </a:r>
            <a:r>
              <a:rPr lang="pt-BR" sz="863"/>
              <a:t>: xxxxx</a:t>
            </a:r>
            <a:endParaRPr lang="pt-BR" sz="863" i="1" dirty="0"/>
          </a:p>
        </p:txBody>
      </p:sp>
      <p:graphicFrame>
        <p:nvGraphicFramePr>
          <p:cNvPr id="82" name="Table 81"/>
          <p:cNvGraphicFramePr>
            <a:graphicFrameLocks noGrp="1"/>
          </p:cNvGraphicFramePr>
          <p:nvPr>
            <p:extLst/>
          </p:nvPr>
        </p:nvGraphicFramePr>
        <p:xfrm>
          <a:off x="5849654" y="2507729"/>
          <a:ext cx="4284029" cy="39282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7996"/>
                <a:gridCol w="1235727"/>
                <a:gridCol w="1860306"/>
              </a:tblGrid>
              <a:tr h="240333">
                <a:tc>
                  <a:txBody>
                    <a:bodyPr/>
                    <a:lstStyle/>
                    <a:p>
                      <a:pPr algn="ctr"/>
                      <a:r>
                        <a:rPr lang="pt-BR" sz="900" dirty="0" err="1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smtClean="0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pt-BR" sz="900" dirty="0">
                        <a:solidFill>
                          <a:schemeClr val="bg1"/>
                        </a:solidFill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r>
                        <a:rPr lang="pt-BR" sz="900" smtClean="0"/>
                        <a:t>x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pt-BR" sz="900" smtClean="0"/>
                        <a:t>x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>
                        <a:buFont typeface="Arial" pitchFamily="34" charset="0"/>
                        <a:buChar char="•"/>
                      </a:pPr>
                      <a:r>
                        <a:rPr lang="pt-BR" sz="900" smtClean="0"/>
                        <a:t>xxxx</a:t>
                      </a: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pt-BR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14650">
                <a:tc>
                  <a:txBody>
                    <a:bodyPr/>
                    <a:lstStyle/>
                    <a:p>
                      <a:pPr algn="l"/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pt-BR" sz="900" dirty="0"/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-92075" algn="l" defTabSz="914400" rtl="0" eaLnBrk="1" latinLnBrk="0" hangingPunct="1">
                        <a:buFont typeface="Arial" pitchFamily="34" charset="0"/>
                        <a:buChar char="•"/>
                      </a:pPr>
                      <a:endParaRPr lang="pt-BR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999" marR="102999" marT="51500" marB="51500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20" name="25 Grupo"/>
          <p:cNvGrpSpPr/>
          <p:nvPr>
            <p:custDataLst>
              <p:tags r:id="rId1"/>
            </p:custDataLst>
          </p:nvPr>
        </p:nvGrpSpPr>
        <p:grpSpPr>
          <a:xfrm>
            <a:off x="403268" y="1281346"/>
            <a:ext cx="9885278" cy="322326"/>
            <a:chOff x="559574" y="1151056"/>
            <a:chExt cx="8857922" cy="261720"/>
          </a:xfrm>
        </p:grpSpPr>
        <p:sp>
          <p:nvSpPr>
            <p:cNvPr id="22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4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684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646" name="AutoShape 30"/>
          <p:cNvSpPr>
            <a:spLocks noChangeArrowheads="1"/>
          </p:cNvSpPr>
          <p:nvPr/>
        </p:nvSpPr>
        <p:spPr bwMode="auto">
          <a:xfrm>
            <a:off x="2467341" y="3121879"/>
            <a:ext cx="5757130" cy="1096596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 b="1"/>
              <a:t>Texto </a:t>
            </a:r>
            <a:endParaRPr lang="pt-BR" sz="1511" b="1" dirty="0"/>
          </a:p>
        </p:txBody>
      </p:sp>
      <p:sp>
        <p:nvSpPr>
          <p:cNvPr id="62361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Level</a:t>
            </a:r>
            <a:r>
              <a:rPr lang="pt-BR" dirty="0" smtClean="0"/>
              <a:t> 1</a:t>
            </a:r>
            <a:endParaRPr lang="pt-BR" dirty="0"/>
          </a:p>
        </p:txBody>
      </p:sp>
      <p:sp>
        <p:nvSpPr>
          <p:cNvPr id="29" name="Espaço Reservado para Texto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3620" name="Line 4"/>
          <p:cNvSpPr>
            <a:spLocks noChangeShapeType="1"/>
          </p:cNvSpPr>
          <p:nvPr/>
        </p:nvSpPr>
        <p:spPr bwMode="blackWhite">
          <a:xfrm>
            <a:off x="3142433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1" name="Line 5"/>
          <p:cNvSpPr>
            <a:spLocks noChangeShapeType="1"/>
          </p:cNvSpPr>
          <p:nvPr/>
        </p:nvSpPr>
        <p:spPr bwMode="blackWhite">
          <a:xfrm>
            <a:off x="4012856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2" name="Line 6"/>
          <p:cNvSpPr>
            <a:spLocks noChangeShapeType="1"/>
          </p:cNvSpPr>
          <p:nvPr/>
        </p:nvSpPr>
        <p:spPr bwMode="blackWhite">
          <a:xfrm>
            <a:off x="4883279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3" name="Line 7"/>
          <p:cNvSpPr>
            <a:spLocks noChangeShapeType="1"/>
          </p:cNvSpPr>
          <p:nvPr/>
        </p:nvSpPr>
        <p:spPr bwMode="blackWhite">
          <a:xfrm>
            <a:off x="5755417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4" name="Line 8"/>
          <p:cNvSpPr>
            <a:spLocks noChangeShapeType="1"/>
          </p:cNvSpPr>
          <p:nvPr/>
        </p:nvSpPr>
        <p:spPr bwMode="blackWhite">
          <a:xfrm>
            <a:off x="6625840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5" name="Line 9"/>
          <p:cNvSpPr>
            <a:spLocks noChangeShapeType="1"/>
          </p:cNvSpPr>
          <p:nvPr/>
        </p:nvSpPr>
        <p:spPr bwMode="blackWhite">
          <a:xfrm>
            <a:off x="7497976" y="4278447"/>
            <a:ext cx="0" cy="122853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7" name="Line 11"/>
          <p:cNvSpPr>
            <a:spLocks noChangeShapeType="1"/>
          </p:cNvSpPr>
          <p:nvPr/>
        </p:nvSpPr>
        <p:spPr bwMode="blackWhite">
          <a:xfrm>
            <a:off x="3142433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8" name="Line 12"/>
          <p:cNvSpPr>
            <a:spLocks noChangeShapeType="1"/>
          </p:cNvSpPr>
          <p:nvPr/>
        </p:nvSpPr>
        <p:spPr bwMode="blackWhite">
          <a:xfrm>
            <a:off x="3411442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29" name="Line 13"/>
          <p:cNvSpPr>
            <a:spLocks noChangeShapeType="1"/>
          </p:cNvSpPr>
          <p:nvPr/>
        </p:nvSpPr>
        <p:spPr bwMode="blackWhite">
          <a:xfrm>
            <a:off x="3682165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0" name="Line 14"/>
          <p:cNvSpPr>
            <a:spLocks noChangeShapeType="1"/>
          </p:cNvSpPr>
          <p:nvPr/>
        </p:nvSpPr>
        <p:spPr bwMode="blackWhite">
          <a:xfrm>
            <a:off x="3952887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1" name="Line 15"/>
          <p:cNvSpPr>
            <a:spLocks noChangeShapeType="1"/>
          </p:cNvSpPr>
          <p:nvPr/>
        </p:nvSpPr>
        <p:spPr bwMode="blackWhite">
          <a:xfrm>
            <a:off x="4223609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2" name="Line 16"/>
          <p:cNvSpPr>
            <a:spLocks noChangeShapeType="1"/>
          </p:cNvSpPr>
          <p:nvPr/>
        </p:nvSpPr>
        <p:spPr bwMode="blackWhite">
          <a:xfrm>
            <a:off x="4494331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3" name="Line 17"/>
          <p:cNvSpPr>
            <a:spLocks noChangeShapeType="1"/>
          </p:cNvSpPr>
          <p:nvPr/>
        </p:nvSpPr>
        <p:spPr bwMode="blackWhite">
          <a:xfrm>
            <a:off x="5035775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4" name="Line 18"/>
          <p:cNvSpPr>
            <a:spLocks noChangeShapeType="1"/>
          </p:cNvSpPr>
          <p:nvPr/>
        </p:nvSpPr>
        <p:spPr bwMode="blackWhite">
          <a:xfrm>
            <a:off x="4765053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5" name="Line 19"/>
          <p:cNvSpPr>
            <a:spLocks noChangeShapeType="1"/>
          </p:cNvSpPr>
          <p:nvPr/>
        </p:nvSpPr>
        <p:spPr bwMode="blackWhite">
          <a:xfrm>
            <a:off x="5306498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6" name="Line 20"/>
          <p:cNvSpPr>
            <a:spLocks noChangeShapeType="1"/>
          </p:cNvSpPr>
          <p:nvPr/>
        </p:nvSpPr>
        <p:spPr bwMode="blackWhite">
          <a:xfrm>
            <a:off x="5575506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7" name="Line 21"/>
          <p:cNvSpPr>
            <a:spLocks noChangeShapeType="1"/>
          </p:cNvSpPr>
          <p:nvPr/>
        </p:nvSpPr>
        <p:spPr bwMode="blackWhite">
          <a:xfrm>
            <a:off x="5846228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8" name="Line 22"/>
          <p:cNvSpPr>
            <a:spLocks noChangeShapeType="1"/>
          </p:cNvSpPr>
          <p:nvPr/>
        </p:nvSpPr>
        <p:spPr bwMode="blackWhite">
          <a:xfrm>
            <a:off x="6116950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39" name="Line 23"/>
          <p:cNvSpPr>
            <a:spLocks noChangeShapeType="1"/>
          </p:cNvSpPr>
          <p:nvPr/>
        </p:nvSpPr>
        <p:spPr bwMode="blackWhite">
          <a:xfrm>
            <a:off x="6387672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40" name="Line 24"/>
          <p:cNvSpPr>
            <a:spLocks noChangeShapeType="1"/>
          </p:cNvSpPr>
          <p:nvPr/>
        </p:nvSpPr>
        <p:spPr bwMode="blackWhite">
          <a:xfrm>
            <a:off x="6658395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41" name="Line 25"/>
          <p:cNvSpPr>
            <a:spLocks noChangeShapeType="1"/>
          </p:cNvSpPr>
          <p:nvPr/>
        </p:nvSpPr>
        <p:spPr bwMode="blackWhite">
          <a:xfrm>
            <a:off x="6929117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42" name="Line 26"/>
          <p:cNvSpPr>
            <a:spLocks noChangeShapeType="1"/>
          </p:cNvSpPr>
          <p:nvPr/>
        </p:nvSpPr>
        <p:spPr bwMode="blackWhite">
          <a:xfrm>
            <a:off x="7199839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23643" name="Line 27"/>
          <p:cNvSpPr>
            <a:spLocks noChangeShapeType="1"/>
          </p:cNvSpPr>
          <p:nvPr/>
        </p:nvSpPr>
        <p:spPr bwMode="blackWhite">
          <a:xfrm>
            <a:off x="7470561" y="1805964"/>
            <a:ext cx="0" cy="1228531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2" name="3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119302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Level</a:t>
            </a:r>
            <a:r>
              <a:rPr lang="pt-BR" dirty="0" smtClean="0"/>
              <a:t> 2</a:t>
            </a:r>
            <a:endParaRPr lang="pt-BR" dirty="0"/>
          </a:p>
        </p:txBody>
      </p:sp>
      <p:sp>
        <p:nvSpPr>
          <p:cNvPr id="33" name="Espaço Reservado para Texto 3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4679" name="AutoShape 39"/>
          <p:cNvSpPr>
            <a:spLocks noChangeArrowheads="1"/>
          </p:cNvSpPr>
          <p:nvPr/>
        </p:nvSpPr>
        <p:spPr bwMode="auto">
          <a:xfrm>
            <a:off x="2467341" y="2628411"/>
            <a:ext cx="5757130" cy="1014351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624680" name="AutoShape 40"/>
          <p:cNvSpPr>
            <a:spLocks noChangeArrowheads="1"/>
          </p:cNvSpPr>
          <p:nvPr/>
        </p:nvSpPr>
        <p:spPr bwMode="auto">
          <a:xfrm>
            <a:off x="2467341" y="4355550"/>
            <a:ext cx="5757130" cy="1014351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3142434" y="1805964"/>
            <a:ext cx="4328128" cy="740202"/>
            <a:chOff x="1834" y="1152"/>
            <a:chExt cx="2526" cy="717"/>
          </a:xfrm>
        </p:grpSpPr>
        <p:sp>
          <p:nvSpPr>
            <p:cNvPr id="624681" name="Line 41"/>
            <p:cNvSpPr>
              <a:spLocks noChangeShapeType="1"/>
            </p:cNvSpPr>
            <p:nvPr/>
          </p:nvSpPr>
          <p:spPr bwMode="blackWhite">
            <a:xfrm>
              <a:off x="183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2" name="Line 42"/>
            <p:cNvSpPr>
              <a:spLocks noChangeShapeType="1"/>
            </p:cNvSpPr>
            <p:nvPr/>
          </p:nvSpPr>
          <p:spPr bwMode="blackWhite">
            <a:xfrm>
              <a:off x="199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3" name="Line 43"/>
            <p:cNvSpPr>
              <a:spLocks noChangeShapeType="1"/>
            </p:cNvSpPr>
            <p:nvPr/>
          </p:nvSpPr>
          <p:spPr bwMode="blackWhite">
            <a:xfrm>
              <a:off x="214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4" name="Line 44"/>
            <p:cNvSpPr>
              <a:spLocks noChangeShapeType="1"/>
            </p:cNvSpPr>
            <p:nvPr/>
          </p:nvSpPr>
          <p:spPr bwMode="blackWhite">
            <a:xfrm>
              <a:off x="230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5" name="Line 45"/>
            <p:cNvSpPr>
              <a:spLocks noChangeShapeType="1"/>
            </p:cNvSpPr>
            <p:nvPr/>
          </p:nvSpPr>
          <p:spPr bwMode="blackWhite">
            <a:xfrm>
              <a:off x="2465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6" name="Line 46"/>
            <p:cNvSpPr>
              <a:spLocks noChangeShapeType="1"/>
            </p:cNvSpPr>
            <p:nvPr/>
          </p:nvSpPr>
          <p:spPr bwMode="blackWhite">
            <a:xfrm>
              <a:off x="2623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7" name="Line 47"/>
            <p:cNvSpPr>
              <a:spLocks noChangeShapeType="1"/>
            </p:cNvSpPr>
            <p:nvPr/>
          </p:nvSpPr>
          <p:spPr bwMode="blackWhite">
            <a:xfrm>
              <a:off x="293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8" name="Line 48"/>
            <p:cNvSpPr>
              <a:spLocks noChangeShapeType="1"/>
            </p:cNvSpPr>
            <p:nvPr/>
          </p:nvSpPr>
          <p:spPr bwMode="blackWhite">
            <a:xfrm>
              <a:off x="278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89" name="Line 49"/>
            <p:cNvSpPr>
              <a:spLocks noChangeShapeType="1"/>
            </p:cNvSpPr>
            <p:nvPr/>
          </p:nvSpPr>
          <p:spPr bwMode="blackWhite">
            <a:xfrm>
              <a:off x="309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0" name="Line 50"/>
            <p:cNvSpPr>
              <a:spLocks noChangeShapeType="1"/>
            </p:cNvSpPr>
            <p:nvPr/>
          </p:nvSpPr>
          <p:spPr bwMode="blackWhite">
            <a:xfrm>
              <a:off x="325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1" name="Line 51"/>
            <p:cNvSpPr>
              <a:spLocks noChangeShapeType="1"/>
            </p:cNvSpPr>
            <p:nvPr/>
          </p:nvSpPr>
          <p:spPr bwMode="blackWhite">
            <a:xfrm>
              <a:off x="341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2" name="Line 52"/>
            <p:cNvSpPr>
              <a:spLocks noChangeShapeType="1"/>
            </p:cNvSpPr>
            <p:nvPr/>
          </p:nvSpPr>
          <p:spPr bwMode="blackWhite">
            <a:xfrm>
              <a:off x="357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3" name="Line 53"/>
            <p:cNvSpPr>
              <a:spLocks noChangeShapeType="1"/>
            </p:cNvSpPr>
            <p:nvPr/>
          </p:nvSpPr>
          <p:spPr bwMode="blackWhite">
            <a:xfrm>
              <a:off x="3728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4" name="Line 54"/>
            <p:cNvSpPr>
              <a:spLocks noChangeShapeType="1"/>
            </p:cNvSpPr>
            <p:nvPr/>
          </p:nvSpPr>
          <p:spPr bwMode="blackWhite">
            <a:xfrm>
              <a:off x="3886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5" name="Line 55"/>
            <p:cNvSpPr>
              <a:spLocks noChangeShapeType="1"/>
            </p:cNvSpPr>
            <p:nvPr/>
          </p:nvSpPr>
          <p:spPr bwMode="blackWhite">
            <a:xfrm>
              <a:off x="404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6" name="Line 56"/>
            <p:cNvSpPr>
              <a:spLocks noChangeShapeType="1"/>
            </p:cNvSpPr>
            <p:nvPr/>
          </p:nvSpPr>
          <p:spPr bwMode="blackWhite">
            <a:xfrm>
              <a:off x="420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697" name="Line 57"/>
            <p:cNvSpPr>
              <a:spLocks noChangeShapeType="1"/>
            </p:cNvSpPr>
            <p:nvPr/>
          </p:nvSpPr>
          <p:spPr bwMode="blackWhite">
            <a:xfrm>
              <a:off x="436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</p:grpSp>
      <p:grpSp>
        <p:nvGrpSpPr>
          <p:cNvPr id="3" name="Group 65"/>
          <p:cNvGrpSpPr>
            <a:grpSpLocks/>
          </p:cNvGrpSpPr>
          <p:nvPr/>
        </p:nvGrpSpPr>
        <p:grpSpPr bwMode="auto">
          <a:xfrm>
            <a:off x="3142434" y="3697592"/>
            <a:ext cx="4355543" cy="575713"/>
            <a:chOff x="1834" y="2425"/>
            <a:chExt cx="2542" cy="717"/>
          </a:xfrm>
        </p:grpSpPr>
        <p:sp>
          <p:nvSpPr>
            <p:cNvPr id="624699" name="Line 59"/>
            <p:cNvSpPr>
              <a:spLocks noChangeShapeType="1"/>
            </p:cNvSpPr>
            <p:nvPr/>
          </p:nvSpPr>
          <p:spPr bwMode="blackWhite">
            <a:xfrm>
              <a:off x="1834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700" name="Line 60"/>
            <p:cNvSpPr>
              <a:spLocks noChangeShapeType="1"/>
            </p:cNvSpPr>
            <p:nvPr/>
          </p:nvSpPr>
          <p:spPr bwMode="blackWhite">
            <a:xfrm>
              <a:off x="2342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701" name="Line 61"/>
            <p:cNvSpPr>
              <a:spLocks noChangeShapeType="1"/>
            </p:cNvSpPr>
            <p:nvPr/>
          </p:nvSpPr>
          <p:spPr bwMode="blackWhite">
            <a:xfrm>
              <a:off x="2850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702" name="Line 62"/>
            <p:cNvSpPr>
              <a:spLocks noChangeShapeType="1"/>
            </p:cNvSpPr>
            <p:nvPr/>
          </p:nvSpPr>
          <p:spPr bwMode="blackWhite">
            <a:xfrm>
              <a:off x="3359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703" name="Line 63"/>
            <p:cNvSpPr>
              <a:spLocks noChangeShapeType="1"/>
            </p:cNvSpPr>
            <p:nvPr/>
          </p:nvSpPr>
          <p:spPr bwMode="blackWhite">
            <a:xfrm>
              <a:off x="3867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624704" name="Line 64"/>
            <p:cNvSpPr>
              <a:spLocks noChangeShapeType="1"/>
            </p:cNvSpPr>
            <p:nvPr/>
          </p:nvSpPr>
          <p:spPr bwMode="blackWhite">
            <a:xfrm>
              <a:off x="4376" y="2425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</p:grpSp>
      <p:sp>
        <p:nvSpPr>
          <p:cNvPr id="624710" name="Line 70"/>
          <p:cNvSpPr>
            <a:spLocks noChangeShapeType="1"/>
          </p:cNvSpPr>
          <p:nvPr/>
        </p:nvSpPr>
        <p:spPr bwMode="blackWhite">
          <a:xfrm>
            <a:off x="5345906" y="5506976"/>
            <a:ext cx="0" cy="57571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6" name="35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40234261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8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Level</a:t>
            </a:r>
            <a:r>
              <a:rPr lang="pt-BR" dirty="0" smtClean="0"/>
              <a:t> 3</a:t>
            </a:r>
            <a:endParaRPr lang="pt-BR" dirty="0"/>
          </a:p>
        </p:txBody>
      </p:sp>
      <p:sp>
        <p:nvSpPr>
          <p:cNvPr id="35" name="Espaço Reservado para Texto 3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44805" name="AutoShape 5"/>
          <p:cNvSpPr>
            <a:spLocks noChangeArrowheads="1"/>
          </p:cNvSpPr>
          <p:nvPr/>
        </p:nvSpPr>
        <p:spPr bwMode="auto">
          <a:xfrm>
            <a:off x="2467341" y="2242890"/>
            <a:ext cx="5757130" cy="740202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844806" name="AutoShape 6"/>
          <p:cNvSpPr>
            <a:spLocks noChangeArrowheads="1"/>
          </p:cNvSpPr>
          <p:nvPr/>
        </p:nvSpPr>
        <p:spPr bwMode="auto">
          <a:xfrm>
            <a:off x="2467341" y="3503976"/>
            <a:ext cx="5757130" cy="741915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42434" y="1641475"/>
            <a:ext cx="4328128" cy="541444"/>
            <a:chOff x="1834" y="1152"/>
            <a:chExt cx="2526" cy="717"/>
          </a:xfrm>
        </p:grpSpPr>
        <p:sp>
          <p:nvSpPr>
            <p:cNvPr id="844808" name="Line 8"/>
            <p:cNvSpPr>
              <a:spLocks noChangeShapeType="1"/>
            </p:cNvSpPr>
            <p:nvPr/>
          </p:nvSpPr>
          <p:spPr bwMode="blackWhite">
            <a:xfrm>
              <a:off x="183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09" name="Line 9"/>
            <p:cNvSpPr>
              <a:spLocks noChangeShapeType="1"/>
            </p:cNvSpPr>
            <p:nvPr/>
          </p:nvSpPr>
          <p:spPr bwMode="blackWhite">
            <a:xfrm>
              <a:off x="199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0" name="Line 10"/>
            <p:cNvSpPr>
              <a:spLocks noChangeShapeType="1"/>
            </p:cNvSpPr>
            <p:nvPr/>
          </p:nvSpPr>
          <p:spPr bwMode="blackWhite">
            <a:xfrm>
              <a:off x="214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1" name="Line 11"/>
            <p:cNvSpPr>
              <a:spLocks noChangeShapeType="1"/>
            </p:cNvSpPr>
            <p:nvPr/>
          </p:nvSpPr>
          <p:spPr bwMode="blackWhite">
            <a:xfrm>
              <a:off x="230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2" name="Line 12"/>
            <p:cNvSpPr>
              <a:spLocks noChangeShapeType="1"/>
            </p:cNvSpPr>
            <p:nvPr/>
          </p:nvSpPr>
          <p:spPr bwMode="blackWhite">
            <a:xfrm>
              <a:off x="2465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3" name="Line 13"/>
            <p:cNvSpPr>
              <a:spLocks noChangeShapeType="1"/>
            </p:cNvSpPr>
            <p:nvPr/>
          </p:nvSpPr>
          <p:spPr bwMode="blackWhite">
            <a:xfrm>
              <a:off x="2623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4" name="Line 14"/>
            <p:cNvSpPr>
              <a:spLocks noChangeShapeType="1"/>
            </p:cNvSpPr>
            <p:nvPr/>
          </p:nvSpPr>
          <p:spPr bwMode="blackWhite">
            <a:xfrm>
              <a:off x="293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5" name="Line 15"/>
            <p:cNvSpPr>
              <a:spLocks noChangeShapeType="1"/>
            </p:cNvSpPr>
            <p:nvPr/>
          </p:nvSpPr>
          <p:spPr bwMode="blackWhite">
            <a:xfrm>
              <a:off x="278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6" name="Line 16"/>
            <p:cNvSpPr>
              <a:spLocks noChangeShapeType="1"/>
            </p:cNvSpPr>
            <p:nvPr/>
          </p:nvSpPr>
          <p:spPr bwMode="blackWhite">
            <a:xfrm>
              <a:off x="309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7" name="Line 17"/>
            <p:cNvSpPr>
              <a:spLocks noChangeShapeType="1"/>
            </p:cNvSpPr>
            <p:nvPr/>
          </p:nvSpPr>
          <p:spPr bwMode="blackWhite">
            <a:xfrm>
              <a:off x="325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8" name="Line 18"/>
            <p:cNvSpPr>
              <a:spLocks noChangeShapeType="1"/>
            </p:cNvSpPr>
            <p:nvPr/>
          </p:nvSpPr>
          <p:spPr bwMode="blackWhite">
            <a:xfrm>
              <a:off x="341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19" name="Line 19"/>
            <p:cNvSpPr>
              <a:spLocks noChangeShapeType="1"/>
            </p:cNvSpPr>
            <p:nvPr/>
          </p:nvSpPr>
          <p:spPr bwMode="blackWhite">
            <a:xfrm>
              <a:off x="357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20" name="Line 20"/>
            <p:cNvSpPr>
              <a:spLocks noChangeShapeType="1"/>
            </p:cNvSpPr>
            <p:nvPr/>
          </p:nvSpPr>
          <p:spPr bwMode="blackWhite">
            <a:xfrm>
              <a:off x="3728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21" name="Line 21"/>
            <p:cNvSpPr>
              <a:spLocks noChangeShapeType="1"/>
            </p:cNvSpPr>
            <p:nvPr/>
          </p:nvSpPr>
          <p:spPr bwMode="blackWhite">
            <a:xfrm>
              <a:off x="3886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22" name="Line 22"/>
            <p:cNvSpPr>
              <a:spLocks noChangeShapeType="1"/>
            </p:cNvSpPr>
            <p:nvPr/>
          </p:nvSpPr>
          <p:spPr bwMode="blackWhite">
            <a:xfrm>
              <a:off x="404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23" name="Line 23"/>
            <p:cNvSpPr>
              <a:spLocks noChangeShapeType="1"/>
            </p:cNvSpPr>
            <p:nvPr/>
          </p:nvSpPr>
          <p:spPr bwMode="blackWhite">
            <a:xfrm>
              <a:off x="420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4824" name="Line 24"/>
            <p:cNvSpPr>
              <a:spLocks noChangeShapeType="1"/>
            </p:cNvSpPr>
            <p:nvPr/>
          </p:nvSpPr>
          <p:spPr bwMode="blackWhite">
            <a:xfrm>
              <a:off x="436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</p:grpSp>
      <p:sp>
        <p:nvSpPr>
          <p:cNvPr id="844826" name="Line 26"/>
          <p:cNvSpPr>
            <a:spLocks noChangeShapeType="1"/>
          </p:cNvSpPr>
          <p:nvPr/>
        </p:nvSpPr>
        <p:spPr bwMode="blackWhite">
          <a:xfrm>
            <a:off x="3142433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27" name="Line 27"/>
          <p:cNvSpPr>
            <a:spLocks noChangeShapeType="1"/>
          </p:cNvSpPr>
          <p:nvPr/>
        </p:nvSpPr>
        <p:spPr bwMode="blackWhite">
          <a:xfrm>
            <a:off x="4012856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28" name="Line 28"/>
          <p:cNvSpPr>
            <a:spLocks noChangeShapeType="1"/>
          </p:cNvSpPr>
          <p:nvPr/>
        </p:nvSpPr>
        <p:spPr bwMode="blackWhite">
          <a:xfrm>
            <a:off x="4883279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29" name="Line 29"/>
          <p:cNvSpPr>
            <a:spLocks noChangeShapeType="1"/>
          </p:cNvSpPr>
          <p:nvPr/>
        </p:nvSpPr>
        <p:spPr bwMode="blackWhite">
          <a:xfrm>
            <a:off x="5755417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30" name="Line 30"/>
          <p:cNvSpPr>
            <a:spLocks noChangeShapeType="1"/>
          </p:cNvSpPr>
          <p:nvPr/>
        </p:nvSpPr>
        <p:spPr bwMode="blackWhite">
          <a:xfrm>
            <a:off x="6625840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31" name="Line 31"/>
          <p:cNvSpPr>
            <a:spLocks noChangeShapeType="1"/>
          </p:cNvSpPr>
          <p:nvPr/>
        </p:nvSpPr>
        <p:spPr bwMode="blackWhite">
          <a:xfrm>
            <a:off x="7497976" y="3024215"/>
            <a:ext cx="0" cy="41979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32" name="Line 32"/>
          <p:cNvSpPr>
            <a:spLocks noChangeShapeType="1"/>
          </p:cNvSpPr>
          <p:nvPr/>
        </p:nvSpPr>
        <p:spPr bwMode="blackWhite">
          <a:xfrm>
            <a:off x="4448068" y="4345270"/>
            <a:ext cx="0" cy="42150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34" name="AutoShape 34"/>
          <p:cNvSpPr>
            <a:spLocks noChangeArrowheads="1"/>
          </p:cNvSpPr>
          <p:nvPr/>
        </p:nvSpPr>
        <p:spPr bwMode="auto">
          <a:xfrm>
            <a:off x="2467341" y="4849018"/>
            <a:ext cx="5757130" cy="741916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844835" name="Line 35"/>
          <p:cNvSpPr>
            <a:spLocks noChangeShapeType="1"/>
          </p:cNvSpPr>
          <p:nvPr/>
        </p:nvSpPr>
        <p:spPr bwMode="blackWhite">
          <a:xfrm>
            <a:off x="5345906" y="5690314"/>
            <a:ext cx="0" cy="42150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4836" name="Line 36"/>
          <p:cNvSpPr>
            <a:spLocks noChangeShapeType="1"/>
          </p:cNvSpPr>
          <p:nvPr/>
        </p:nvSpPr>
        <p:spPr bwMode="blackWhite">
          <a:xfrm>
            <a:off x="6190628" y="4345270"/>
            <a:ext cx="0" cy="42150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8" name="3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34045502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8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Level</a:t>
            </a:r>
            <a:r>
              <a:rPr lang="pt-BR" dirty="0" smtClean="0"/>
              <a:t> 4</a:t>
            </a:r>
            <a:endParaRPr lang="pt-BR" dirty="0"/>
          </a:p>
        </p:txBody>
      </p:sp>
      <p:sp>
        <p:nvSpPr>
          <p:cNvPr id="40" name="Espaço Reservado para Texto 3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46853" name="AutoShape 5"/>
          <p:cNvSpPr>
            <a:spLocks noChangeArrowheads="1"/>
          </p:cNvSpPr>
          <p:nvPr/>
        </p:nvSpPr>
        <p:spPr bwMode="auto">
          <a:xfrm>
            <a:off x="2467341" y="1953319"/>
            <a:ext cx="5757130" cy="584281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846854" name="AutoShape 6"/>
          <p:cNvSpPr>
            <a:spLocks noChangeArrowheads="1"/>
          </p:cNvSpPr>
          <p:nvPr/>
        </p:nvSpPr>
        <p:spPr bwMode="auto">
          <a:xfrm>
            <a:off x="2467341" y="2950536"/>
            <a:ext cx="5757130" cy="585994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42434" y="1476986"/>
            <a:ext cx="4328128" cy="428358"/>
            <a:chOff x="1834" y="1152"/>
            <a:chExt cx="2526" cy="717"/>
          </a:xfrm>
        </p:grpSpPr>
        <p:sp>
          <p:nvSpPr>
            <p:cNvPr id="846856" name="Line 8"/>
            <p:cNvSpPr>
              <a:spLocks noChangeShapeType="1"/>
            </p:cNvSpPr>
            <p:nvPr/>
          </p:nvSpPr>
          <p:spPr bwMode="blackWhite">
            <a:xfrm>
              <a:off x="183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57" name="Line 9"/>
            <p:cNvSpPr>
              <a:spLocks noChangeShapeType="1"/>
            </p:cNvSpPr>
            <p:nvPr/>
          </p:nvSpPr>
          <p:spPr bwMode="blackWhite">
            <a:xfrm>
              <a:off x="199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58" name="Line 10"/>
            <p:cNvSpPr>
              <a:spLocks noChangeShapeType="1"/>
            </p:cNvSpPr>
            <p:nvPr/>
          </p:nvSpPr>
          <p:spPr bwMode="blackWhite">
            <a:xfrm>
              <a:off x="214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59" name="Line 11"/>
            <p:cNvSpPr>
              <a:spLocks noChangeShapeType="1"/>
            </p:cNvSpPr>
            <p:nvPr/>
          </p:nvSpPr>
          <p:spPr bwMode="blackWhite">
            <a:xfrm>
              <a:off x="230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0" name="Line 12"/>
            <p:cNvSpPr>
              <a:spLocks noChangeShapeType="1"/>
            </p:cNvSpPr>
            <p:nvPr/>
          </p:nvSpPr>
          <p:spPr bwMode="blackWhite">
            <a:xfrm>
              <a:off x="2465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1" name="Line 13"/>
            <p:cNvSpPr>
              <a:spLocks noChangeShapeType="1"/>
            </p:cNvSpPr>
            <p:nvPr/>
          </p:nvSpPr>
          <p:spPr bwMode="blackWhite">
            <a:xfrm>
              <a:off x="2623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2" name="Line 14"/>
            <p:cNvSpPr>
              <a:spLocks noChangeShapeType="1"/>
            </p:cNvSpPr>
            <p:nvPr/>
          </p:nvSpPr>
          <p:spPr bwMode="blackWhite">
            <a:xfrm>
              <a:off x="293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3" name="Line 15"/>
            <p:cNvSpPr>
              <a:spLocks noChangeShapeType="1"/>
            </p:cNvSpPr>
            <p:nvPr/>
          </p:nvSpPr>
          <p:spPr bwMode="blackWhite">
            <a:xfrm>
              <a:off x="278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4" name="Line 16"/>
            <p:cNvSpPr>
              <a:spLocks noChangeShapeType="1"/>
            </p:cNvSpPr>
            <p:nvPr/>
          </p:nvSpPr>
          <p:spPr bwMode="blackWhite">
            <a:xfrm>
              <a:off x="309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5" name="Line 17"/>
            <p:cNvSpPr>
              <a:spLocks noChangeShapeType="1"/>
            </p:cNvSpPr>
            <p:nvPr/>
          </p:nvSpPr>
          <p:spPr bwMode="blackWhite">
            <a:xfrm>
              <a:off x="325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6" name="Line 18"/>
            <p:cNvSpPr>
              <a:spLocks noChangeShapeType="1"/>
            </p:cNvSpPr>
            <p:nvPr/>
          </p:nvSpPr>
          <p:spPr bwMode="blackWhite">
            <a:xfrm>
              <a:off x="341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7" name="Line 19"/>
            <p:cNvSpPr>
              <a:spLocks noChangeShapeType="1"/>
            </p:cNvSpPr>
            <p:nvPr/>
          </p:nvSpPr>
          <p:spPr bwMode="blackWhite">
            <a:xfrm>
              <a:off x="357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8" name="Line 20"/>
            <p:cNvSpPr>
              <a:spLocks noChangeShapeType="1"/>
            </p:cNvSpPr>
            <p:nvPr/>
          </p:nvSpPr>
          <p:spPr bwMode="blackWhite">
            <a:xfrm>
              <a:off x="3728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69" name="Line 21"/>
            <p:cNvSpPr>
              <a:spLocks noChangeShapeType="1"/>
            </p:cNvSpPr>
            <p:nvPr/>
          </p:nvSpPr>
          <p:spPr bwMode="blackWhite">
            <a:xfrm>
              <a:off x="3886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70" name="Line 22"/>
            <p:cNvSpPr>
              <a:spLocks noChangeShapeType="1"/>
            </p:cNvSpPr>
            <p:nvPr/>
          </p:nvSpPr>
          <p:spPr bwMode="blackWhite">
            <a:xfrm>
              <a:off x="404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71" name="Line 23"/>
            <p:cNvSpPr>
              <a:spLocks noChangeShapeType="1"/>
            </p:cNvSpPr>
            <p:nvPr/>
          </p:nvSpPr>
          <p:spPr bwMode="blackWhite">
            <a:xfrm>
              <a:off x="420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6872" name="Line 24"/>
            <p:cNvSpPr>
              <a:spLocks noChangeShapeType="1"/>
            </p:cNvSpPr>
            <p:nvPr/>
          </p:nvSpPr>
          <p:spPr bwMode="blackWhite">
            <a:xfrm>
              <a:off x="436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</p:grpSp>
      <p:sp>
        <p:nvSpPr>
          <p:cNvPr id="846873" name="Line 25"/>
          <p:cNvSpPr>
            <a:spLocks noChangeShapeType="1"/>
          </p:cNvSpPr>
          <p:nvPr/>
        </p:nvSpPr>
        <p:spPr bwMode="blackWhite">
          <a:xfrm>
            <a:off x="3142433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4" name="Line 26"/>
          <p:cNvSpPr>
            <a:spLocks noChangeShapeType="1"/>
          </p:cNvSpPr>
          <p:nvPr/>
        </p:nvSpPr>
        <p:spPr bwMode="blackWhite">
          <a:xfrm>
            <a:off x="4012856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5" name="Line 27"/>
          <p:cNvSpPr>
            <a:spLocks noChangeShapeType="1"/>
          </p:cNvSpPr>
          <p:nvPr/>
        </p:nvSpPr>
        <p:spPr bwMode="blackWhite">
          <a:xfrm>
            <a:off x="4883279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6" name="Line 28"/>
          <p:cNvSpPr>
            <a:spLocks noChangeShapeType="1"/>
          </p:cNvSpPr>
          <p:nvPr/>
        </p:nvSpPr>
        <p:spPr bwMode="blackWhite">
          <a:xfrm>
            <a:off x="5755417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7" name="Line 29"/>
          <p:cNvSpPr>
            <a:spLocks noChangeShapeType="1"/>
          </p:cNvSpPr>
          <p:nvPr/>
        </p:nvSpPr>
        <p:spPr bwMode="blackWhite">
          <a:xfrm>
            <a:off x="6625840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8" name="Line 30"/>
          <p:cNvSpPr>
            <a:spLocks noChangeShapeType="1"/>
          </p:cNvSpPr>
          <p:nvPr/>
        </p:nvSpPr>
        <p:spPr bwMode="blackWhite">
          <a:xfrm>
            <a:off x="7497976" y="2570155"/>
            <a:ext cx="0" cy="332406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79" name="Line 31"/>
          <p:cNvSpPr>
            <a:spLocks noChangeShapeType="1"/>
          </p:cNvSpPr>
          <p:nvPr/>
        </p:nvSpPr>
        <p:spPr bwMode="blackWhite">
          <a:xfrm>
            <a:off x="3142433" y="3615348"/>
            <a:ext cx="0" cy="33412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0" name="AutoShape 32"/>
          <p:cNvSpPr>
            <a:spLocks noChangeArrowheads="1"/>
          </p:cNvSpPr>
          <p:nvPr/>
        </p:nvSpPr>
        <p:spPr bwMode="auto">
          <a:xfrm>
            <a:off x="2467341" y="4014578"/>
            <a:ext cx="5757130" cy="587706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846881" name="Line 33"/>
          <p:cNvSpPr>
            <a:spLocks noChangeShapeType="1"/>
          </p:cNvSpPr>
          <p:nvPr/>
        </p:nvSpPr>
        <p:spPr bwMode="blackWhite">
          <a:xfrm>
            <a:off x="4593710" y="3615348"/>
            <a:ext cx="0" cy="33412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2" name="Line 34"/>
          <p:cNvSpPr>
            <a:spLocks noChangeShapeType="1"/>
          </p:cNvSpPr>
          <p:nvPr/>
        </p:nvSpPr>
        <p:spPr bwMode="blackWhite">
          <a:xfrm>
            <a:off x="7497976" y="3615348"/>
            <a:ext cx="0" cy="33412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4" name="Line 36"/>
          <p:cNvSpPr>
            <a:spLocks noChangeShapeType="1"/>
          </p:cNvSpPr>
          <p:nvPr/>
        </p:nvSpPr>
        <p:spPr bwMode="blackWhite">
          <a:xfrm>
            <a:off x="4593710" y="4696523"/>
            <a:ext cx="0" cy="33411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5" name="AutoShape 37"/>
          <p:cNvSpPr>
            <a:spLocks noChangeArrowheads="1"/>
          </p:cNvSpPr>
          <p:nvPr/>
        </p:nvSpPr>
        <p:spPr bwMode="auto">
          <a:xfrm>
            <a:off x="2467341" y="5095753"/>
            <a:ext cx="5757130" cy="587708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511"/>
              <a:t>Texto </a:t>
            </a:r>
            <a:endParaRPr lang="pt-BR" sz="1511" dirty="0"/>
          </a:p>
        </p:txBody>
      </p:sp>
      <p:sp>
        <p:nvSpPr>
          <p:cNvPr id="846886" name="Line 38"/>
          <p:cNvSpPr>
            <a:spLocks noChangeShapeType="1"/>
          </p:cNvSpPr>
          <p:nvPr/>
        </p:nvSpPr>
        <p:spPr bwMode="blackWhite">
          <a:xfrm>
            <a:off x="5345906" y="5760564"/>
            <a:ext cx="0" cy="33412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7" name="Line 39"/>
          <p:cNvSpPr>
            <a:spLocks noChangeShapeType="1"/>
          </p:cNvSpPr>
          <p:nvPr/>
        </p:nvSpPr>
        <p:spPr bwMode="blackWhite">
          <a:xfrm>
            <a:off x="6044986" y="4696523"/>
            <a:ext cx="0" cy="334119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6888" name="Line 40"/>
          <p:cNvSpPr>
            <a:spLocks noChangeShapeType="1"/>
          </p:cNvSpPr>
          <p:nvPr/>
        </p:nvSpPr>
        <p:spPr bwMode="blackWhite">
          <a:xfrm>
            <a:off x="6044986" y="3615348"/>
            <a:ext cx="0" cy="33412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43" name="42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35881344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8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Level</a:t>
            </a:r>
            <a:r>
              <a:rPr lang="pt-BR" dirty="0" smtClean="0"/>
              <a:t> 5</a:t>
            </a:r>
            <a:endParaRPr lang="pt-BR" dirty="0"/>
          </a:p>
        </p:txBody>
      </p:sp>
      <p:sp>
        <p:nvSpPr>
          <p:cNvPr id="50" name="Espaço Reservado para Texto 4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48901" name="AutoShape 5"/>
          <p:cNvSpPr>
            <a:spLocks noChangeArrowheads="1"/>
          </p:cNvSpPr>
          <p:nvPr/>
        </p:nvSpPr>
        <p:spPr bwMode="auto">
          <a:xfrm>
            <a:off x="2467341" y="1739141"/>
            <a:ext cx="5757130" cy="421504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848902" name="AutoShape 6"/>
          <p:cNvSpPr>
            <a:spLocks noChangeArrowheads="1"/>
          </p:cNvSpPr>
          <p:nvPr/>
        </p:nvSpPr>
        <p:spPr bwMode="auto">
          <a:xfrm>
            <a:off x="2467341" y="2458782"/>
            <a:ext cx="5757130" cy="423217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3142434" y="1394740"/>
            <a:ext cx="4328128" cy="310132"/>
            <a:chOff x="1834" y="1152"/>
            <a:chExt cx="2526" cy="717"/>
          </a:xfrm>
        </p:grpSpPr>
        <p:sp>
          <p:nvSpPr>
            <p:cNvPr id="848904" name="Line 8"/>
            <p:cNvSpPr>
              <a:spLocks noChangeShapeType="1"/>
            </p:cNvSpPr>
            <p:nvPr/>
          </p:nvSpPr>
          <p:spPr bwMode="blackWhite">
            <a:xfrm>
              <a:off x="183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05" name="Line 9"/>
            <p:cNvSpPr>
              <a:spLocks noChangeShapeType="1"/>
            </p:cNvSpPr>
            <p:nvPr/>
          </p:nvSpPr>
          <p:spPr bwMode="blackWhite">
            <a:xfrm>
              <a:off x="199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06" name="Line 10"/>
            <p:cNvSpPr>
              <a:spLocks noChangeShapeType="1"/>
            </p:cNvSpPr>
            <p:nvPr/>
          </p:nvSpPr>
          <p:spPr bwMode="blackWhite">
            <a:xfrm>
              <a:off x="214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07" name="Line 11"/>
            <p:cNvSpPr>
              <a:spLocks noChangeShapeType="1"/>
            </p:cNvSpPr>
            <p:nvPr/>
          </p:nvSpPr>
          <p:spPr bwMode="blackWhite">
            <a:xfrm>
              <a:off x="230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08" name="Line 12"/>
            <p:cNvSpPr>
              <a:spLocks noChangeShapeType="1"/>
            </p:cNvSpPr>
            <p:nvPr/>
          </p:nvSpPr>
          <p:spPr bwMode="blackWhite">
            <a:xfrm>
              <a:off x="2465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09" name="Line 13"/>
            <p:cNvSpPr>
              <a:spLocks noChangeShapeType="1"/>
            </p:cNvSpPr>
            <p:nvPr/>
          </p:nvSpPr>
          <p:spPr bwMode="blackWhite">
            <a:xfrm>
              <a:off x="2623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0" name="Line 14"/>
            <p:cNvSpPr>
              <a:spLocks noChangeShapeType="1"/>
            </p:cNvSpPr>
            <p:nvPr/>
          </p:nvSpPr>
          <p:spPr bwMode="blackWhite">
            <a:xfrm>
              <a:off x="2939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1" name="Line 15"/>
            <p:cNvSpPr>
              <a:spLocks noChangeShapeType="1"/>
            </p:cNvSpPr>
            <p:nvPr/>
          </p:nvSpPr>
          <p:spPr bwMode="blackWhite">
            <a:xfrm>
              <a:off x="2781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2" name="Line 16"/>
            <p:cNvSpPr>
              <a:spLocks noChangeShapeType="1"/>
            </p:cNvSpPr>
            <p:nvPr/>
          </p:nvSpPr>
          <p:spPr bwMode="blackWhite">
            <a:xfrm>
              <a:off x="3097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3" name="Line 17"/>
            <p:cNvSpPr>
              <a:spLocks noChangeShapeType="1"/>
            </p:cNvSpPr>
            <p:nvPr/>
          </p:nvSpPr>
          <p:spPr bwMode="blackWhite">
            <a:xfrm>
              <a:off x="325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4" name="Line 18"/>
            <p:cNvSpPr>
              <a:spLocks noChangeShapeType="1"/>
            </p:cNvSpPr>
            <p:nvPr/>
          </p:nvSpPr>
          <p:spPr bwMode="blackWhite">
            <a:xfrm>
              <a:off x="341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5" name="Line 19"/>
            <p:cNvSpPr>
              <a:spLocks noChangeShapeType="1"/>
            </p:cNvSpPr>
            <p:nvPr/>
          </p:nvSpPr>
          <p:spPr bwMode="blackWhite">
            <a:xfrm>
              <a:off x="357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6" name="Line 20"/>
            <p:cNvSpPr>
              <a:spLocks noChangeShapeType="1"/>
            </p:cNvSpPr>
            <p:nvPr/>
          </p:nvSpPr>
          <p:spPr bwMode="blackWhite">
            <a:xfrm>
              <a:off x="3728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7" name="Line 21"/>
            <p:cNvSpPr>
              <a:spLocks noChangeShapeType="1"/>
            </p:cNvSpPr>
            <p:nvPr/>
          </p:nvSpPr>
          <p:spPr bwMode="blackWhite">
            <a:xfrm>
              <a:off x="3886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8" name="Line 22"/>
            <p:cNvSpPr>
              <a:spLocks noChangeShapeType="1"/>
            </p:cNvSpPr>
            <p:nvPr/>
          </p:nvSpPr>
          <p:spPr bwMode="blackWhite">
            <a:xfrm>
              <a:off x="4044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19" name="Line 23"/>
            <p:cNvSpPr>
              <a:spLocks noChangeShapeType="1"/>
            </p:cNvSpPr>
            <p:nvPr/>
          </p:nvSpPr>
          <p:spPr bwMode="blackWhite">
            <a:xfrm>
              <a:off x="4202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848920" name="Line 24"/>
            <p:cNvSpPr>
              <a:spLocks noChangeShapeType="1"/>
            </p:cNvSpPr>
            <p:nvPr/>
          </p:nvSpPr>
          <p:spPr bwMode="blackWhite">
            <a:xfrm>
              <a:off x="4360" y="1152"/>
              <a:ext cx="0" cy="717"/>
            </a:xfrm>
            <a:prstGeom prst="line">
              <a:avLst/>
            </a:prstGeom>
            <a:noFill/>
            <a:ln w="25400">
              <a:solidFill>
                <a:schemeClr val="accent2"/>
              </a:solidFill>
              <a:round/>
              <a:headEnd type="none" w="sm" len="sm"/>
              <a:tailEnd type="triangle" w="med" len="med"/>
            </a:ln>
            <a:effectLst/>
          </p:spPr>
          <p:txBody>
            <a:bodyPr wrap="none" anchor="ctr"/>
            <a:lstStyle/>
            <a:p>
              <a:endParaRPr lang="ca-ES" sz="2159"/>
            </a:p>
          </p:txBody>
        </p:sp>
      </p:grpSp>
      <p:sp>
        <p:nvSpPr>
          <p:cNvPr id="848921" name="Line 25"/>
          <p:cNvSpPr>
            <a:spLocks noChangeShapeType="1"/>
          </p:cNvSpPr>
          <p:nvPr/>
        </p:nvSpPr>
        <p:spPr bwMode="blackWhite">
          <a:xfrm>
            <a:off x="3142433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2" name="Line 26"/>
          <p:cNvSpPr>
            <a:spLocks noChangeShapeType="1"/>
          </p:cNvSpPr>
          <p:nvPr/>
        </p:nvSpPr>
        <p:spPr bwMode="blackWhite">
          <a:xfrm>
            <a:off x="4012856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3" name="Line 27"/>
          <p:cNvSpPr>
            <a:spLocks noChangeShapeType="1"/>
          </p:cNvSpPr>
          <p:nvPr/>
        </p:nvSpPr>
        <p:spPr bwMode="blackWhite">
          <a:xfrm>
            <a:off x="4883279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4" name="Line 28"/>
          <p:cNvSpPr>
            <a:spLocks noChangeShapeType="1"/>
          </p:cNvSpPr>
          <p:nvPr/>
        </p:nvSpPr>
        <p:spPr bwMode="blackWhite">
          <a:xfrm>
            <a:off x="5755417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5" name="Line 29"/>
          <p:cNvSpPr>
            <a:spLocks noChangeShapeType="1"/>
          </p:cNvSpPr>
          <p:nvPr/>
        </p:nvSpPr>
        <p:spPr bwMode="blackWhite">
          <a:xfrm>
            <a:off x="6625840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6" name="Line 30"/>
          <p:cNvSpPr>
            <a:spLocks noChangeShapeType="1"/>
          </p:cNvSpPr>
          <p:nvPr/>
        </p:nvSpPr>
        <p:spPr bwMode="blackWhite">
          <a:xfrm>
            <a:off x="7497976" y="2184633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7" name="Line 31"/>
          <p:cNvSpPr>
            <a:spLocks noChangeShapeType="1"/>
          </p:cNvSpPr>
          <p:nvPr/>
        </p:nvSpPr>
        <p:spPr bwMode="blackWhite">
          <a:xfrm>
            <a:off x="3142433" y="2938543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28" name="AutoShape 32"/>
          <p:cNvSpPr>
            <a:spLocks noChangeArrowheads="1"/>
          </p:cNvSpPr>
          <p:nvPr/>
        </p:nvSpPr>
        <p:spPr bwMode="auto">
          <a:xfrm>
            <a:off x="2467341" y="3214405"/>
            <a:ext cx="5757130" cy="423218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848929" name="Line 33"/>
          <p:cNvSpPr>
            <a:spLocks noChangeShapeType="1"/>
          </p:cNvSpPr>
          <p:nvPr/>
        </p:nvSpPr>
        <p:spPr bwMode="blackWhite">
          <a:xfrm>
            <a:off x="4230463" y="2938543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30" name="Line 34"/>
          <p:cNvSpPr>
            <a:spLocks noChangeShapeType="1"/>
          </p:cNvSpPr>
          <p:nvPr/>
        </p:nvSpPr>
        <p:spPr bwMode="blackWhite">
          <a:xfrm>
            <a:off x="7497976" y="2938543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32" name="AutoShape 36"/>
          <p:cNvSpPr>
            <a:spLocks noChangeArrowheads="1"/>
          </p:cNvSpPr>
          <p:nvPr/>
        </p:nvSpPr>
        <p:spPr bwMode="auto">
          <a:xfrm>
            <a:off x="2467341" y="3970028"/>
            <a:ext cx="5757130" cy="424931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848935" name="Line 39"/>
          <p:cNvSpPr>
            <a:spLocks noChangeShapeType="1"/>
          </p:cNvSpPr>
          <p:nvPr/>
        </p:nvSpPr>
        <p:spPr bwMode="blackWhite">
          <a:xfrm>
            <a:off x="5320205" y="2938543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37" name="Line 41"/>
          <p:cNvSpPr>
            <a:spLocks noChangeShapeType="1"/>
          </p:cNvSpPr>
          <p:nvPr/>
        </p:nvSpPr>
        <p:spPr bwMode="blackWhite">
          <a:xfrm>
            <a:off x="3867215" y="4478917"/>
            <a:ext cx="0" cy="24159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38" name="AutoShape 42"/>
          <p:cNvSpPr>
            <a:spLocks noChangeArrowheads="1"/>
          </p:cNvSpPr>
          <p:nvPr/>
        </p:nvSpPr>
        <p:spPr bwMode="auto">
          <a:xfrm>
            <a:off x="2467341" y="4741073"/>
            <a:ext cx="5757130" cy="423217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848940" name="Line 44"/>
          <p:cNvSpPr>
            <a:spLocks noChangeShapeType="1"/>
          </p:cNvSpPr>
          <p:nvPr/>
        </p:nvSpPr>
        <p:spPr bwMode="blackWhite">
          <a:xfrm>
            <a:off x="6771481" y="4478917"/>
            <a:ext cx="0" cy="24159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1" name="Line 45"/>
          <p:cNvSpPr>
            <a:spLocks noChangeShapeType="1"/>
          </p:cNvSpPr>
          <p:nvPr/>
        </p:nvSpPr>
        <p:spPr bwMode="blackWhite">
          <a:xfrm>
            <a:off x="4593710" y="5208839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2" name="AutoShape 46"/>
          <p:cNvSpPr>
            <a:spLocks noChangeArrowheads="1"/>
          </p:cNvSpPr>
          <p:nvPr/>
        </p:nvSpPr>
        <p:spPr bwMode="auto">
          <a:xfrm>
            <a:off x="2467341" y="5496695"/>
            <a:ext cx="5757130" cy="424931"/>
          </a:xfrm>
          <a:prstGeom prst="cube">
            <a:avLst>
              <a:gd name="adj" fmla="val 25000"/>
            </a:avLst>
          </a:prstGeom>
          <a:solidFill>
            <a:schemeClr val="accent6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7712" tIns="0" rIns="77712" bIns="0" anchor="ctr" anchorCtr="1"/>
          <a:lstStyle/>
          <a:p>
            <a:pPr defTabSz="738471"/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848943" name="Line 47"/>
          <p:cNvSpPr>
            <a:spLocks noChangeShapeType="1"/>
          </p:cNvSpPr>
          <p:nvPr/>
        </p:nvSpPr>
        <p:spPr bwMode="blackWhite">
          <a:xfrm>
            <a:off x="5345906" y="5976456"/>
            <a:ext cx="0" cy="24159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4" name="Line 48"/>
          <p:cNvSpPr>
            <a:spLocks noChangeShapeType="1"/>
          </p:cNvSpPr>
          <p:nvPr/>
        </p:nvSpPr>
        <p:spPr bwMode="blackWhite">
          <a:xfrm>
            <a:off x="6044986" y="5208839"/>
            <a:ext cx="0" cy="23988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5" name="Line 49"/>
          <p:cNvSpPr>
            <a:spLocks noChangeShapeType="1"/>
          </p:cNvSpPr>
          <p:nvPr/>
        </p:nvSpPr>
        <p:spPr bwMode="blackWhite">
          <a:xfrm>
            <a:off x="5320205" y="4478917"/>
            <a:ext cx="0" cy="241594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6" name="Line 50"/>
          <p:cNvSpPr>
            <a:spLocks noChangeShapeType="1"/>
          </p:cNvSpPr>
          <p:nvPr/>
        </p:nvSpPr>
        <p:spPr bwMode="blackWhite">
          <a:xfrm>
            <a:off x="6408234" y="2938543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49" name="Line 53"/>
          <p:cNvSpPr>
            <a:spLocks noChangeShapeType="1"/>
          </p:cNvSpPr>
          <p:nvPr/>
        </p:nvSpPr>
        <p:spPr bwMode="blackWhite">
          <a:xfrm>
            <a:off x="3142433" y="3695880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50" name="Line 54"/>
          <p:cNvSpPr>
            <a:spLocks noChangeShapeType="1"/>
          </p:cNvSpPr>
          <p:nvPr/>
        </p:nvSpPr>
        <p:spPr bwMode="blackWhite">
          <a:xfrm>
            <a:off x="4593710" y="3695880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51" name="Line 55"/>
          <p:cNvSpPr>
            <a:spLocks noChangeShapeType="1"/>
          </p:cNvSpPr>
          <p:nvPr/>
        </p:nvSpPr>
        <p:spPr bwMode="blackWhite">
          <a:xfrm>
            <a:off x="7497976" y="3695880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848953" name="Line 57"/>
          <p:cNvSpPr>
            <a:spLocks noChangeShapeType="1"/>
          </p:cNvSpPr>
          <p:nvPr/>
        </p:nvSpPr>
        <p:spPr bwMode="blackWhite">
          <a:xfrm>
            <a:off x="6044986" y="3695880"/>
            <a:ext cx="0" cy="241593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triangl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53" name="52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2480380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922" name="Rectangle 18"/>
          <p:cNvSpPr>
            <a:spLocks noChangeArrowheads="1"/>
          </p:cNvSpPr>
          <p:nvPr/>
        </p:nvSpPr>
        <p:spPr bwMode="auto">
          <a:xfrm>
            <a:off x="1727139" y="1065761"/>
            <a:ext cx="3372033" cy="23028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/>
          <a:lstStyle/>
          <a:p>
            <a:pPr marL="90810" indent="-90810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35923" name="Rectangle 19"/>
          <p:cNvSpPr>
            <a:spLocks noChangeArrowheads="1"/>
          </p:cNvSpPr>
          <p:nvPr/>
        </p:nvSpPr>
        <p:spPr bwMode="auto">
          <a:xfrm>
            <a:off x="5674885" y="1065761"/>
            <a:ext cx="3372033" cy="23028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/>
          <a:lstStyle/>
          <a:p>
            <a:pPr marL="90810" indent="-90810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35924" name="Rectangle 20"/>
          <p:cNvSpPr>
            <a:spLocks noChangeArrowheads="1"/>
          </p:cNvSpPr>
          <p:nvPr/>
        </p:nvSpPr>
        <p:spPr bwMode="auto">
          <a:xfrm>
            <a:off x="1727139" y="3779837"/>
            <a:ext cx="3372033" cy="23028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 anchor="b"/>
          <a:lstStyle/>
          <a:p>
            <a:pPr marL="90810" indent="-90810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35925" name="Rectangle 21"/>
          <p:cNvSpPr>
            <a:spLocks noChangeArrowheads="1"/>
          </p:cNvSpPr>
          <p:nvPr/>
        </p:nvSpPr>
        <p:spPr bwMode="auto">
          <a:xfrm>
            <a:off x="5674885" y="3779837"/>
            <a:ext cx="3372033" cy="230285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 anchor="b"/>
          <a:lstStyle/>
          <a:p>
            <a:pPr marL="90810" indent="-90810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sp>
        <p:nvSpPr>
          <p:cNvPr id="63590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Box </a:t>
            </a:r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35914" name="Freeform 10"/>
          <p:cNvSpPr>
            <a:spLocks/>
          </p:cNvSpPr>
          <p:nvPr/>
        </p:nvSpPr>
        <p:spPr bwMode="auto">
          <a:xfrm>
            <a:off x="3613628" y="1617486"/>
            <a:ext cx="2100667" cy="1735707"/>
          </a:xfrm>
          <a:custGeom>
            <a:avLst/>
            <a:gdLst/>
            <a:ahLst/>
            <a:cxnLst>
              <a:cxn ang="0">
                <a:pos x="455" y="879"/>
              </a:cxn>
              <a:cxn ang="0">
                <a:pos x="471" y="838"/>
              </a:cxn>
              <a:cxn ang="0">
                <a:pos x="490" y="799"/>
              </a:cxn>
              <a:cxn ang="0">
                <a:pos x="514" y="762"/>
              </a:cxn>
              <a:cxn ang="0">
                <a:pos x="541" y="728"/>
              </a:cxn>
              <a:cxn ang="0">
                <a:pos x="570" y="696"/>
              </a:cxn>
              <a:cxn ang="0">
                <a:pos x="603" y="667"/>
              </a:cxn>
              <a:cxn ang="0">
                <a:pos x="639" y="642"/>
              </a:cxn>
              <a:cxn ang="0">
                <a:pos x="676" y="621"/>
              </a:cxn>
              <a:cxn ang="0">
                <a:pos x="713" y="605"/>
              </a:cxn>
              <a:cxn ang="0">
                <a:pos x="753" y="591"/>
              </a:cxn>
              <a:cxn ang="0">
                <a:pos x="793" y="581"/>
              </a:cxn>
              <a:cxn ang="0">
                <a:pos x="834" y="575"/>
              </a:cxn>
              <a:cxn ang="0">
                <a:pos x="833" y="711"/>
              </a:cxn>
              <a:cxn ang="0">
                <a:pos x="1056" y="374"/>
              </a:cxn>
              <a:cxn ang="0">
                <a:pos x="818" y="0"/>
              </a:cxn>
              <a:cxn ang="0">
                <a:pos x="819" y="137"/>
              </a:cxn>
              <a:cxn ang="0">
                <a:pos x="757" y="143"/>
              </a:cxn>
              <a:cxn ang="0">
                <a:pos x="694" y="154"/>
              </a:cxn>
              <a:cxn ang="0">
                <a:pos x="634" y="168"/>
              </a:cxn>
              <a:cxn ang="0">
                <a:pos x="574" y="188"/>
              </a:cxn>
              <a:cxn ang="0">
                <a:pos x="516" y="211"/>
              </a:cxn>
              <a:cxn ang="0">
                <a:pos x="460" y="238"/>
              </a:cxn>
              <a:cxn ang="0">
                <a:pos x="405" y="270"/>
              </a:cxn>
              <a:cxn ang="0">
                <a:pos x="352" y="306"/>
              </a:cxn>
              <a:cxn ang="0">
                <a:pos x="302" y="346"/>
              </a:cxn>
              <a:cxn ang="0">
                <a:pos x="255" y="390"/>
              </a:cxn>
              <a:cxn ang="0">
                <a:pos x="211" y="437"/>
              </a:cxn>
              <a:cxn ang="0">
                <a:pos x="170" y="486"/>
              </a:cxn>
              <a:cxn ang="0">
                <a:pos x="134" y="539"/>
              </a:cxn>
              <a:cxn ang="0">
                <a:pos x="101" y="595"/>
              </a:cxn>
              <a:cxn ang="0">
                <a:pos x="72" y="653"/>
              </a:cxn>
              <a:cxn ang="0">
                <a:pos x="47" y="711"/>
              </a:cxn>
              <a:cxn ang="0">
                <a:pos x="27" y="773"/>
              </a:cxn>
              <a:cxn ang="0">
                <a:pos x="11" y="835"/>
              </a:cxn>
              <a:cxn ang="0">
                <a:pos x="0" y="899"/>
              </a:cxn>
              <a:cxn ang="0">
                <a:pos x="238" y="741"/>
              </a:cxn>
              <a:cxn ang="0">
                <a:pos x="455" y="879"/>
              </a:cxn>
            </a:cxnLst>
            <a:rect l="0" t="0" r="r" b="b"/>
            <a:pathLst>
              <a:path w="1057" h="900">
                <a:moveTo>
                  <a:pt x="455" y="879"/>
                </a:moveTo>
                <a:lnTo>
                  <a:pt x="471" y="838"/>
                </a:lnTo>
                <a:lnTo>
                  <a:pt x="490" y="799"/>
                </a:lnTo>
                <a:lnTo>
                  <a:pt x="514" y="762"/>
                </a:lnTo>
                <a:lnTo>
                  <a:pt x="541" y="728"/>
                </a:lnTo>
                <a:lnTo>
                  <a:pt x="570" y="696"/>
                </a:lnTo>
                <a:lnTo>
                  <a:pt x="603" y="667"/>
                </a:lnTo>
                <a:lnTo>
                  <a:pt x="639" y="642"/>
                </a:lnTo>
                <a:lnTo>
                  <a:pt x="676" y="621"/>
                </a:lnTo>
                <a:lnTo>
                  <a:pt x="713" y="605"/>
                </a:lnTo>
                <a:lnTo>
                  <a:pt x="753" y="591"/>
                </a:lnTo>
                <a:lnTo>
                  <a:pt x="793" y="581"/>
                </a:lnTo>
                <a:lnTo>
                  <a:pt x="834" y="575"/>
                </a:lnTo>
                <a:lnTo>
                  <a:pt x="833" y="711"/>
                </a:lnTo>
                <a:lnTo>
                  <a:pt x="1056" y="374"/>
                </a:lnTo>
                <a:lnTo>
                  <a:pt x="818" y="0"/>
                </a:lnTo>
                <a:lnTo>
                  <a:pt x="819" y="137"/>
                </a:lnTo>
                <a:lnTo>
                  <a:pt x="757" y="143"/>
                </a:lnTo>
                <a:lnTo>
                  <a:pt x="694" y="154"/>
                </a:lnTo>
                <a:lnTo>
                  <a:pt x="634" y="168"/>
                </a:lnTo>
                <a:lnTo>
                  <a:pt x="574" y="188"/>
                </a:lnTo>
                <a:lnTo>
                  <a:pt x="516" y="211"/>
                </a:lnTo>
                <a:lnTo>
                  <a:pt x="460" y="238"/>
                </a:lnTo>
                <a:lnTo>
                  <a:pt x="405" y="270"/>
                </a:lnTo>
                <a:lnTo>
                  <a:pt x="352" y="306"/>
                </a:lnTo>
                <a:lnTo>
                  <a:pt x="302" y="346"/>
                </a:lnTo>
                <a:lnTo>
                  <a:pt x="255" y="390"/>
                </a:lnTo>
                <a:lnTo>
                  <a:pt x="211" y="437"/>
                </a:lnTo>
                <a:lnTo>
                  <a:pt x="170" y="486"/>
                </a:lnTo>
                <a:lnTo>
                  <a:pt x="134" y="539"/>
                </a:lnTo>
                <a:lnTo>
                  <a:pt x="101" y="595"/>
                </a:lnTo>
                <a:lnTo>
                  <a:pt x="72" y="653"/>
                </a:lnTo>
                <a:lnTo>
                  <a:pt x="47" y="711"/>
                </a:lnTo>
                <a:lnTo>
                  <a:pt x="27" y="773"/>
                </a:lnTo>
                <a:lnTo>
                  <a:pt x="11" y="835"/>
                </a:lnTo>
                <a:lnTo>
                  <a:pt x="0" y="899"/>
                </a:lnTo>
                <a:lnTo>
                  <a:pt x="238" y="741"/>
                </a:lnTo>
                <a:lnTo>
                  <a:pt x="455" y="879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635915" name="Freeform 11"/>
          <p:cNvSpPr>
            <a:spLocks/>
          </p:cNvSpPr>
          <p:nvPr/>
        </p:nvSpPr>
        <p:spPr bwMode="auto">
          <a:xfrm>
            <a:off x="5018642" y="3786691"/>
            <a:ext cx="2050977" cy="1744273"/>
          </a:xfrm>
          <a:custGeom>
            <a:avLst/>
            <a:gdLst/>
            <a:ahLst/>
            <a:cxnLst>
              <a:cxn ang="0">
                <a:pos x="585" y="1"/>
              </a:cxn>
              <a:cxn ang="0">
                <a:pos x="573" y="41"/>
              </a:cxn>
              <a:cxn ang="0">
                <a:pos x="556" y="78"/>
              </a:cxn>
              <a:cxn ang="0">
                <a:pos x="537" y="116"/>
              </a:cxn>
              <a:cxn ang="0">
                <a:pos x="514" y="150"/>
              </a:cxn>
              <a:cxn ang="0">
                <a:pos x="488" y="182"/>
              </a:cxn>
              <a:cxn ang="0">
                <a:pos x="459" y="212"/>
              </a:cxn>
              <a:cxn ang="0">
                <a:pos x="427" y="239"/>
              </a:cxn>
              <a:cxn ang="0">
                <a:pos x="393" y="262"/>
              </a:cxn>
              <a:cxn ang="0">
                <a:pos x="356" y="283"/>
              </a:cxn>
              <a:cxn ang="0">
                <a:pos x="317" y="301"/>
              </a:cxn>
              <a:cxn ang="0">
                <a:pos x="277" y="314"/>
              </a:cxn>
              <a:cxn ang="0">
                <a:pos x="236" y="323"/>
              </a:cxn>
              <a:cxn ang="0">
                <a:pos x="235" y="187"/>
              </a:cxn>
              <a:cxn ang="0">
                <a:pos x="159" y="298"/>
              </a:cxn>
              <a:cxn ang="0">
                <a:pos x="80" y="409"/>
              </a:cxn>
              <a:cxn ang="0">
                <a:pos x="0" y="517"/>
              </a:cxn>
              <a:cxn ang="0">
                <a:pos x="236" y="903"/>
              </a:cxn>
              <a:cxn ang="0">
                <a:pos x="236" y="766"/>
              </a:cxn>
              <a:cxn ang="0">
                <a:pos x="295" y="759"/>
              </a:cxn>
              <a:cxn ang="0">
                <a:pos x="353" y="747"/>
              </a:cxn>
              <a:cxn ang="0">
                <a:pos x="411" y="733"/>
              </a:cxn>
              <a:cxn ang="0">
                <a:pos x="467" y="713"/>
              </a:cxn>
              <a:cxn ang="0">
                <a:pos x="522" y="691"/>
              </a:cxn>
              <a:cxn ang="0">
                <a:pos x="575" y="665"/>
              </a:cxn>
              <a:cxn ang="0">
                <a:pos x="626" y="635"/>
              </a:cxn>
              <a:cxn ang="0">
                <a:pos x="676" y="601"/>
              </a:cxn>
              <a:cxn ang="0">
                <a:pos x="724" y="564"/>
              </a:cxn>
              <a:cxn ang="0">
                <a:pos x="768" y="525"/>
              </a:cxn>
              <a:cxn ang="0">
                <a:pos x="811" y="481"/>
              </a:cxn>
              <a:cxn ang="0">
                <a:pos x="849" y="435"/>
              </a:cxn>
              <a:cxn ang="0">
                <a:pos x="884" y="387"/>
              </a:cxn>
              <a:cxn ang="0">
                <a:pos x="916" y="337"/>
              </a:cxn>
              <a:cxn ang="0">
                <a:pos x="945" y="284"/>
              </a:cxn>
              <a:cxn ang="0">
                <a:pos x="970" y="231"/>
              </a:cxn>
              <a:cxn ang="0">
                <a:pos x="991" y="174"/>
              </a:cxn>
              <a:cxn ang="0">
                <a:pos x="1009" y="117"/>
              </a:cxn>
              <a:cxn ang="0">
                <a:pos x="1023" y="58"/>
              </a:cxn>
              <a:cxn ang="0">
                <a:pos x="1032" y="0"/>
              </a:cxn>
              <a:cxn ang="0">
                <a:pos x="812" y="132"/>
              </a:cxn>
              <a:cxn ang="0">
                <a:pos x="585" y="1"/>
              </a:cxn>
            </a:cxnLst>
            <a:rect l="0" t="0" r="r" b="b"/>
            <a:pathLst>
              <a:path w="1033" h="904">
                <a:moveTo>
                  <a:pt x="585" y="1"/>
                </a:moveTo>
                <a:lnTo>
                  <a:pt x="573" y="41"/>
                </a:lnTo>
                <a:lnTo>
                  <a:pt x="556" y="78"/>
                </a:lnTo>
                <a:lnTo>
                  <a:pt x="537" y="116"/>
                </a:lnTo>
                <a:lnTo>
                  <a:pt x="514" y="150"/>
                </a:lnTo>
                <a:lnTo>
                  <a:pt x="488" y="182"/>
                </a:lnTo>
                <a:lnTo>
                  <a:pt x="459" y="212"/>
                </a:lnTo>
                <a:lnTo>
                  <a:pt x="427" y="239"/>
                </a:lnTo>
                <a:lnTo>
                  <a:pt x="393" y="262"/>
                </a:lnTo>
                <a:lnTo>
                  <a:pt x="356" y="283"/>
                </a:lnTo>
                <a:lnTo>
                  <a:pt x="317" y="301"/>
                </a:lnTo>
                <a:lnTo>
                  <a:pt x="277" y="314"/>
                </a:lnTo>
                <a:lnTo>
                  <a:pt x="236" y="323"/>
                </a:lnTo>
                <a:lnTo>
                  <a:pt x="235" y="187"/>
                </a:lnTo>
                <a:lnTo>
                  <a:pt x="159" y="298"/>
                </a:lnTo>
                <a:lnTo>
                  <a:pt x="80" y="409"/>
                </a:lnTo>
                <a:lnTo>
                  <a:pt x="0" y="517"/>
                </a:lnTo>
                <a:lnTo>
                  <a:pt x="236" y="903"/>
                </a:lnTo>
                <a:lnTo>
                  <a:pt x="236" y="766"/>
                </a:lnTo>
                <a:lnTo>
                  <a:pt x="295" y="759"/>
                </a:lnTo>
                <a:lnTo>
                  <a:pt x="353" y="747"/>
                </a:lnTo>
                <a:lnTo>
                  <a:pt x="411" y="733"/>
                </a:lnTo>
                <a:lnTo>
                  <a:pt x="467" y="713"/>
                </a:lnTo>
                <a:lnTo>
                  <a:pt x="522" y="691"/>
                </a:lnTo>
                <a:lnTo>
                  <a:pt x="575" y="665"/>
                </a:lnTo>
                <a:lnTo>
                  <a:pt x="626" y="635"/>
                </a:lnTo>
                <a:lnTo>
                  <a:pt x="676" y="601"/>
                </a:lnTo>
                <a:lnTo>
                  <a:pt x="724" y="564"/>
                </a:lnTo>
                <a:lnTo>
                  <a:pt x="768" y="525"/>
                </a:lnTo>
                <a:lnTo>
                  <a:pt x="811" y="481"/>
                </a:lnTo>
                <a:lnTo>
                  <a:pt x="849" y="435"/>
                </a:lnTo>
                <a:lnTo>
                  <a:pt x="884" y="387"/>
                </a:lnTo>
                <a:lnTo>
                  <a:pt x="916" y="337"/>
                </a:lnTo>
                <a:lnTo>
                  <a:pt x="945" y="284"/>
                </a:lnTo>
                <a:lnTo>
                  <a:pt x="970" y="231"/>
                </a:lnTo>
                <a:lnTo>
                  <a:pt x="991" y="174"/>
                </a:lnTo>
                <a:lnTo>
                  <a:pt x="1009" y="117"/>
                </a:lnTo>
                <a:lnTo>
                  <a:pt x="1023" y="58"/>
                </a:lnTo>
                <a:lnTo>
                  <a:pt x="1032" y="0"/>
                </a:lnTo>
                <a:lnTo>
                  <a:pt x="812" y="132"/>
                </a:lnTo>
                <a:lnTo>
                  <a:pt x="585" y="1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635916" name="Freeform 12"/>
          <p:cNvSpPr>
            <a:spLocks/>
          </p:cNvSpPr>
          <p:nvPr/>
        </p:nvSpPr>
        <p:spPr bwMode="auto">
          <a:xfrm>
            <a:off x="3372034" y="3152722"/>
            <a:ext cx="1847079" cy="2073252"/>
          </a:xfrm>
          <a:custGeom>
            <a:avLst/>
            <a:gdLst/>
            <a:ahLst/>
            <a:cxnLst>
              <a:cxn ang="0">
                <a:pos x="929" y="645"/>
              </a:cxn>
              <a:cxn ang="0">
                <a:pos x="887" y="634"/>
              </a:cxn>
              <a:cxn ang="0">
                <a:pos x="847" y="620"/>
              </a:cxn>
              <a:cxn ang="0">
                <a:pos x="807" y="603"/>
              </a:cxn>
              <a:cxn ang="0">
                <a:pos x="771" y="582"/>
              </a:cxn>
              <a:cxn ang="0">
                <a:pos x="735" y="557"/>
              </a:cxn>
              <a:cxn ang="0">
                <a:pos x="703" y="529"/>
              </a:cxn>
              <a:cxn ang="0">
                <a:pos x="673" y="497"/>
              </a:cxn>
              <a:cxn ang="0">
                <a:pos x="648" y="465"/>
              </a:cxn>
              <a:cxn ang="0">
                <a:pos x="624" y="428"/>
              </a:cxn>
              <a:cxn ang="0">
                <a:pos x="607" y="398"/>
              </a:cxn>
              <a:cxn ang="0">
                <a:pos x="594" y="366"/>
              </a:cxn>
              <a:cxn ang="0">
                <a:pos x="583" y="332"/>
              </a:cxn>
              <a:cxn ang="0">
                <a:pos x="577" y="298"/>
              </a:cxn>
              <a:cxn ang="0">
                <a:pos x="575" y="264"/>
              </a:cxn>
              <a:cxn ang="0">
                <a:pos x="576" y="229"/>
              </a:cxn>
              <a:cxn ang="0">
                <a:pos x="748" y="229"/>
              </a:cxn>
              <a:cxn ang="0">
                <a:pos x="360" y="0"/>
              </a:cxn>
              <a:cxn ang="0">
                <a:pos x="0" y="236"/>
              </a:cxn>
              <a:cxn ang="0">
                <a:pos x="136" y="237"/>
              </a:cxn>
              <a:cxn ang="0">
                <a:pos x="141" y="299"/>
              </a:cxn>
              <a:cxn ang="0">
                <a:pos x="150" y="362"/>
              </a:cxn>
              <a:cxn ang="0">
                <a:pos x="165" y="422"/>
              </a:cxn>
              <a:cxn ang="0">
                <a:pos x="182" y="483"/>
              </a:cxn>
              <a:cxn ang="0">
                <a:pos x="204" y="541"/>
              </a:cxn>
              <a:cxn ang="0">
                <a:pos x="231" y="598"/>
              </a:cxn>
              <a:cxn ang="0">
                <a:pos x="262" y="653"/>
              </a:cxn>
              <a:cxn ang="0">
                <a:pos x="296" y="704"/>
              </a:cxn>
              <a:cxn ang="0">
                <a:pos x="333" y="752"/>
              </a:cxn>
              <a:cxn ang="0">
                <a:pos x="374" y="797"/>
              </a:cxn>
              <a:cxn ang="0">
                <a:pos x="419" y="841"/>
              </a:cxn>
              <a:cxn ang="0">
                <a:pos x="465" y="880"/>
              </a:cxn>
              <a:cxn ang="0">
                <a:pos x="514" y="917"/>
              </a:cxn>
              <a:cxn ang="0">
                <a:pos x="566" y="951"/>
              </a:cxn>
              <a:cxn ang="0">
                <a:pos x="620" y="980"/>
              </a:cxn>
              <a:cxn ang="0">
                <a:pos x="675" y="1007"/>
              </a:cxn>
              <a:cxn ang="0">
                <a:pos x="732" y="1029"/>
              </a:cxn>
              <a:cxn ang="0">
                <a:pos x="790" y="1048"/>
              </a:cxn>
              <a:cxn ang="0">
                <a:pos x="849" y="1062"/>
              </a:cxn>
              <a:cxn ang="0">
                <a:pos x="910" y="1074"/>
              </a:cxn>
              <a:cxn ang="0">
                <a:pos x="772" y="845"/>
              </a:cxn>
              <a:cxn ang="0">
                <a:pos x="929" y="645"/>
              </a:cxn>
            </a:cxnLst>
            <a:rect l="0" t="0" r="r" b="b"/>
            <a:pathLst>
              <a:path w="930" h="1075">
                <a:moveTo>
                  <a:pt x="929" y="645"/>
                </a:moveTo>
                <a:lnTo>
                  <a:pt x="887" y="634"/>
                </a:lnTo>
                <a:lnTo>
                  <a:pt x="847" y="620"/>
                </a:lnTo>
                <a:lnTo>
                  <a:pt x="807" y="603"/>
                </a:lnTo>
                <a:lnTo>
                  <a:pt x="771" y="582"/>
                </a:lnTo>
                <a:lnTo>
                  <a:pt x="735" y="557"/>
                </a:lnTo>
                <a:lnTo>
                  <a:pt x="703" y="529"/>
                </a:lnTo>
                <a:lnTo>
                  <a:pt x="673" y="497"/>
                </a:lnTo>
                <a:lnTo>
                  <a:pt x="648" y="465"/>
                </a:lnTo>
                <a:lnTo>
                  <a:pt x="624" y="428"/>
                </a:lnTo>
                <a:lnTo>
                  <a:pt x="607" y="398"/>
                </a:lnTo>
                <a:lnTo>
                  <a:pt x="594" y="366"/>
                </a:lnTo>
                <a:lnTo>
                  <a:pt x="583" y="332"/>
                </a:lnTo>
                <a:lnTo>
                  <a:pt x="577" y="298"/>
                </a:lnTo>
                <a:lnTo>
                  <a:pt x="575" y="264"/>
                </a:lnTo>
                <a:lnTo>
                  <a:pt x="576" y="229"/>
                </a:lnTo>
                <a:lnTo>
                  <a:pt x="748" y="229"/>
                </a:lnTo>
                <a:lnTo>
                  <a:pt x="360" y="0"/>
                </a:lnTo>
                <a:lnTo>
                  <a:pt x="0" y="236"/>
                </a:lnTo>
                <a:lnTo>
                  <a:pt x="136" y="237"/>
                </a:lnTo>
                <a:lnTo>
                  <a:pt x="141" y="299"/>
                </a:lnTo>
                <a:lnTo>
                  <a:pt x="150" y="362"/>
                </a:lnTo>
                <a:lnTo>
                  <a:pt x="165" y="422"/>
                </a:lnTo>
                <a:lnTo>
                  <a:pt x="182" y="483"/>
                </a:lnTo>
                <a:lnTo>
                  <a:pt x="204" y="541"/>
                </a:lnTo>
                <a:lnTo>
                  <a:pt x="231" y="598"/>
                </a:lnTo>
                <a:lnTo>
                  <a:pt x="262" y="653"/>
                </a:lnTo>
                <a:lnTo>
                  <a:pt x="296" y="704"/>
                </a:lnTo>
                <a:lnTo>
                  <a:pt x="333" y="752"/>
                </a:lnTo>
                <a:lnTo>
                  <a:pt x="374" y="797"/>
                </a:lnTo>
                <a:lnTo>
                  <a:pt x="419" y="841"/>
                </a:lnTo>
                <a:lnTo>
                  <a:pt x="465" y="880"/>
                </a:lnTo>
                <a:lnTo>
                  <a:pt x="514" y="917"/>
                </a:lnTo>
                <a:lnTo>
                  <a:pt x="566" y="951"/>
                </a:lnTo>
                <a:lnTo>
                  <a:pt x="620" y="980"/>
                </a:lnTo>
                <a:lnTo>
                  <a:pt x="675" y="1007"/>
                </a:lnTo>
                <a:lnTo>
                  <a:pt x="732" y="1029"/>
                </a:lnTo>
                <a:lnTo>
                  <a:pt x="790" y="1048"/>
                </a:lnTo>
                <a:lnTo>
                  <a:pt x="849" y="1062"/>
                </a:lnTo>
                <a:lnTo>
                  <a:pt x="910" y="1074"/>
                </a:lnTo>
                <a:lnTo>
                  <a:pt x="772" y="845"/>
                </a:lnTo>
                <a:lnTo>
                  <a:pt x="929" y="645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635917" name="Freeform 13"/>
          <p:cNvSpPr>
            <a:spLocks/>
          </p:cNvSpPr>
          <p:nvPr/>
        </p:nvSpPr>
        <p:spPr bwMode="auto">
          <a:xfrm>
            <a:off x="5529244" y="1891636"/>
            <a:ext cx="1872780" cy="2054405"/>
          </a:xfrm>
          <a:custGeom>
            <a:avLst/>
            <a:gdLst/>
            <a:ahLst/>
            <a:cxnLst>
              <a:cxn ang="0">
                <a:pos x="554" y="1064"/>
              </a:cxn>
              <a:cxn ang="0">
                <a:pos x="942" y="840"/>
              </a:cxn>
              <a:cxn ang="0">
                <a:pos x="781" y="840"/>
              </a:cxn>
              <a:cxn ang="0">
                <a:pos x="776" y="778"/>
              </a:cxn>
              <a:cxn ang="0">
                <a:pos x="767" y="716"/>
              </a:cxn>
              <a:cxn ang="0">
                <a:pos x="754" y="655"/>
              </a:cxn>
              <a:cxn ang="0">
                <a:pos x="737" y="595"/>
              </a:cxn>
              <a:cxn ang="0">
                <a:pos x="714" y="536"/>
              </a:cxn>
              <a:cxn ang="0">
                <a:pos x="688" y="480"/>
              </a:cxn>
              <a:cxn ang="0">
                <a:pos x="658" y="425"/>
              </a:cxn>
              <a:cxn ang="0">
                <a:pos x="624" y="372"/>
              </a:cxn>
              <a:cxn ang="0">
                <a:pos x="586" y="323"/>
              </a:cxn>
              <a:cxn ang="0">
                <a:pos x="547" y="275"/>
              </a:cxn>
              <a:cxn ang="0">
                <a:pos x="502" y="232"/>
              </a:cxn>
              <a:cxn ang="0">
                <a:pos x="455" y="191"/>
              </a:cxn>
              <a:cxn ang="0">
                <a:pos x="405" y="153"/>
              </a:cxn>
              <a:cxn ang="0">
                <a:pos x="352" y="120"/>
              </a:cxn>
              <a:cxn ang="0">
                <a:pos x="298" y="89"/>
              </a:cxn>
              <a:cxn ang="0">
                <a:pos x="241" y="63"/>
              </a:cxn>
              <a:cxn ang="0">
                <a:pos x="182" y="41"/>
              </a:cxn>
              <a:cxn ang="0">
                <a:pos x="122" y="23"/>
              </a:cxn>
              <a:cxn ang="0">
                <a:pos x="61" y="9"/>
              </a:cxn>
              <a:cxn ang="0">
                <a:pos x="0" y="0"/>
              </a:cxn>
              <a:cxn ang="0">
                <a:pos x="137" y="226"/>
              </a:cxn>
              <a:cxn ang="0">
                <a:pos x="5" y="451"/>
              </a:cxn>
              <a:cxn ang="0">
                <a:pos x="48" y="465"/>
              </a:cxn>
              <a:cxn ang="0">
                <a:pos x="90" y="483"/>
              </a:cxn>
              <a:cxn ang="0">
                <a:pos x="130" y="505"/>
              </a:cxn>
              <a:cxn ang="0">
                <a:pos x="168" y="531"/>
              </a:cxn>
              <a:cxn ang="0">
                <a:pos x="202" y="561"/>
              </a:cxn>
              <a:cxn ang="0">
                <a:pos x="233" y="594"/>
              </a:cxn>
              <a:cxn ang="0">
                <a:pos x="262" y="629"/>
              </a:cxn>
              <a:cxn ang="0">
                <a:pos x="285" y="668"/>
              </a:cxn>
              <a:cxn ang="0">
                <a:pos x="305" y="709"/>
              </a:cxn>
              <a:cxn ang="0">
                <a:pos x="321" y="751"/>
              </a:cxn>
              <a:cxn ang="0">
                <a:pos x="333" y="795"/>
              </a:cxn>
              <a:cxn ang="0">
                <a:pos x="340" y="840"/>
              </a:cxn>
              <a:cxn ang="0">
                <a:pos x="188" y="841"/>
              </a:cxn>
              <a:cxn ang="0">
                <a:pos x="554" y="1064"/>
              </a:cxn>
            </a:cxnLst>
            <a:rect l="0" t="0" r="r" b="b"/>
            <a:pathLst>
              <a:path w="943" h="1065">
                <a:moveTo>
                  <a:pt x="554" y="1064"/>
                </a:moveTo>
                <a:lnTo>
                  <a:pt x="942" y="840"/>
                </a:lnTo>
                <a:lnTo>
                  <a:pt x="781" y="840"/>
                </a:lnTo>
                <a:lnTo>
                  <a:pt x="776" y="778"/>
                </a:lnTo>
                <a:lnTo>
                  <a:pt x="767" y="716"/>
                </a:lnTo>
                <a:lnTo>
                  <a:pt x="754" y="655"/>
                </a:lnTo>
                <a:lnTo>
                  <a:pt x="737" y="595"/>
                </a:lnTo>
                <a:lnTo>
                  <a:pt x="714" y="536"/>
                </a:lnTo>
                <a:lnTo>
                  <a:pt x="688" y="480"/>
                </a:lnTo>
                <a:lnTo>
                  <a:pt x="658" y="425"/>
                </a:lnTo>
                <a:lnTo>
                  <a:pt x="624" y="372"/>
                </a:lnTo>
                <a:lnTo>
                  <a:pt x="586" y="323"/>
                </a:lnTo>
                <a:lnTo>
                  <a:pt x="547" y="275"/>
                </a:lnTo>
                <a:lnTo>
                  <a:pt x="502" y="232"/>
                </a:lnTo>
                <a:lnTo>
                  <a:pt x="455" y="191"/>
                </a:lnTo>
                <a:lnTo>
                  <a:pt x="405" y="153"/>
                </a:lnTo>
                <a:lnTo>
                  <a:pt x="352" y="120"/>
                </a:lnTo>
                <a:lnTo>
                  <a:pt x="298" y="89"/>
                </a:lnTo>
                <a:lnTo>
                  <a:pt x="241" y="63"/>
                </a:lnTo>
                <a:lnTo>
                  <a:pt x="182" y="41"/>
                </a:lnTo>
                <a:lnTo>
                  <a:pt x="122" y="23"/>
                </a:lnTo>
                <a:lnTo>
                  <a:pt x="61" y="9"/>
                </a:lnTo>
                <a:lnTo>
                  <a:pt x="0" y="0"/>
                </a:lnTo>
                <a:lnTo>
                  <a:pt x="137" y="226"/>
                </a:lnTo>
                <a:lnTo>
                  <a:pt x="5" y="451"/>
                </a:lnTo>
                <a:lnTo>
                  <a:pt x="48" y="465"/>
                </a:lnTo>
                <a:lnTo>
                  <a:pt x="90" y="483"/>
                </a:lnTo>
                <a:lnTo>
                  <a:pt x="130" y="505"/>
                </a:lnTo>
                <a:lnTo>
                  <a:pt x="168" y="531"/>
                </a:lnTo>
                <a:lnTo>
                  <a:pt x="202" y="561"/>
                </a:lnTo>
                <a:lnTo>
                  <a:pt x="233" y="594"/>
                </a:lnTo>
                <a:lnTo>
                  <a:pt x="262" y="629"/>
                </a:lnTo>
                <a:lnTo>
                  <a:pt x="285" y="668"/>
                </a:lnTo>
                <a:lnTo>
                  <a:pt x="305" y="709"/>
                </a:lnTo>
                <a:lnTo>
                  <a:pt x="321" y="751"/>
                </a:lnTo>
                <a:lnTo>
                  <a:pt x="333" y="795"/>
                </a:lnTo>
                <a:lnTo>
                  <a:pt x="340" y="840"/>
                </a:lnTo>
                <a:lnTo>
                  <a:pt x="188" y="841"/>
                </a:lnTo>
                <a:lnTo>
                  <a:pt x="554" y="1064"/>
                </a:ln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15" name="1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4169271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028" name="Freeform 12"/>
          <p:cNvSpPr>
            <a:spLocks/>
          </p:cNvSpPr>
          <p:nvPr/>
        </p:nvSpPr>
        <p:spPr bwMode="auto">
          <a:xfrm>
            <a:off x="1727139" y="1065761"/>
            <a:ext cx="3385741" cy="2284005"/>
          </a:xfrm>
          <a:custGeom>
            <a:avLst/>
            <a:gdLst/>
            <a:ahLst/>
            <a:cxnLst>
              <a:cxn ang="0">
                <a:pos x="1704" y="0"/>
              </a:cxn>
              <a:cxn ang="0">
                <a:pos x="1704" y="1285"/>
              </a:cxn>
              <a:cxn ang="0">
                <a:pos x="1118" y="1285"/>
              </a:cxn>
              <a:cxn ang="0">
                <a:pos x="1538" y="735"/>
              </a:cxn>
              <a:cxn ang="0">
                <a:pos x="1572" y="826"/>
              </a:cxn>
              <a:cxn ang="0">
                <a:pos x="1648" y="567"/>
              </a:cxn>
              <a:cxn ang="0">
                <a:pos x="1422" y="426"/>
              </a:cxn>
              <a:cxn ang="0">
                <a:pos x="1452" y="515"/>
              </a:cxn>
              <a:cxn ang="0">
                <a:pos x="885" y="1283"/>
              </a:cxn>
              <a:cxn ang="0">
                <a:pos x="0" y="1283"/>
              </a:cxn>
              <a:cxn ang="0">
                <a:pos x="0" y="0"/>
              </a:cxn>
              <a:cxn ang="0">
                <a:pos x="1704" y="0"/>
              </a:cxn>
            </a:cxnLst>
            <a:rect l="0" t="0" r="r" b="b"/>
            <a:pathLst>
              <a:path w="1704" h="1285">
                <a:moveTo>
                  <a:pt x="1704" y="0"/>
                </a:moveTo>
                <a:lnTo>
                  <a:pt x="1704" y="1285"/>
                </a:lnTo>
                <a:lnTo>
                  <a:pt x="1118" y="1285"/>
                </a:lnTo>
                <a:cubicBezTo>
                  <a:pt x="1180" y="870"/>
                  <a:pt x="1538" y="735"/>
                  <a:pt x="1538" y="735"/>
                </a:cubicBezTo>
                <a:lnTo>
                  <a:pt x="1572" y="826"/>
                </a:lnTo>
                <a:lnTo>
                  <a:pt x="1648" y="567"/>
                </a:lnTo>
                <a:lnTo>
                  <a:pt x="1422" y="426"/>
                </a:lnTo>
                <a:lnTo>
                  <a:pt x="1452" y="515"/>
                </a:lnTo>
                <a:cubicBezTo>
                  <a:pt x="1452" y="515"/>
                  <a:pt x="948" y="718"/>
                  <a:pt x="885" y="1283"/>
                </a:cubicBezTo>
                <a:cubicBezTo>
                  <a:pt x="442" y="1283"/>
                  <a:pt x="0" y="1283"/>
                  <a:pt x="0" y="1283"/>
                </a:cubicBezTo>
                <a:lnTo>
                  <a:pt x="0" y="0"/>
                </a:lnTo>
                <a:lnTo>
                  <a:pt x="1704" y="0"/>
                </a:ln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/>
          <a:lstStyle/>
          <a:p>
            <a:pPr marL="90810" indent="-90810" defTabSz="738471">
              <a:buFont typeface="Arial" pitchFamily="34" charset="0"/>
              <a:buChar char="•"/>
            </a:pPr>
            <a:endParaRPr lang="pt-BR" sz="1295" dirty="0"/>
          </a:p>
        </p:txBody>
      </p:sp>
      <p:sp>
        <p:nvSpPr>
          <p:cNvPr id="854018" name="Rectangle 2"/>
          <p:cNvSpPr>
            <a:spLocks noChangeArrowheads="1"/>
          </p:cNvSpPr>
          <p:nvPr/>
        </p:nvSpPr>
        <p:spPr bwMode="auto">
          <a:xfrm>
            <a:off x="1727139" y="1093177"/>
            <a:ext cx="3372033" cy="43472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116567" tIns="116567" rIns="116567" bIns="116567"/>
          <a:lstStyle/>
          <a:p>
            <a:pPr marL="90810" indent="-90810" defTabSz="738471">
              <a:buFont typeface="Arial" pitchFamily="34" charset="0"/>
              <a:buChar char="•"/>
            </a:pPr>
            <a:r>
              <a:rPr lang="pt-BR" sz="1295"/>
              <a:t>Texto </a:t>
            </a:r>
            <a:endParaRPr lang="pt-BR" sz="1295" dirty="0"/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5647470" y="1065762"/>
            <a:ext cx="3399448" cy="2299425"/>
            <a:chOff x="3248" y="816"/>
            <a:chExt cx="1984" cy="1342"/>
          </a:xfrm>
          <a:effectLst/>
        </p:grpSpPr>
        <p:sp>
          <p:nvSpPr>
            <p:cNvPr id="854029" name="Freeform 13"/>
            <p:cNvSpPr>
              <a:spLocks/>
            </p:cNvSpPr>
            <p:nvPr/>
          </p:nvSpPr>
          <p:spPr bwMode="auto">
            <a:xfrm>
              <a:off x="3248" y="816"/>
              <a:ext cx="1984" cy="13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11" y="0"/>
                </a:cxn>
                <a:cxn ang="0">
                  <a:pos x="1711" y="44"/>
                </a:cxn>
                <a:cxn ang="0">
                  <a:pos x="1711" y="1294"/>
                </a:cxn>
                <a:cxn ang="0">
                  <a:pos x="1" y="1294"/>
                </a:cxn>
                <a:cxn ang="0">
                  <a:pos x="1" y="685"/>
                </a:cxn>
                <a:cxn ang="0">
                  <a:pos x="540" y="1141"/>
                </a:cxn>
                <a:cxn ang="0">
                  <a:pos x="450" y="1175"/>
                </a:cxn>
                <a:cxn ang="0">
                  <a:pos x="704" y="1251"/>
                </a:cxn>
                <a:cxn ang="0">
                  <a:pos x="845" y="1024"/>
                </a:cxn>
                <a:cxn ang="0">
                  <a:pos x="759" y="1055"/>
                </a:cxn>
                <a:cxn ang="0">
                  <a:pos x="0" y="448"/>
                </a:cxn>
                <a:cxn ang="0">
                  <a:pos x="0" y="0"/>
                </a:cxn>
              </a:cxnLst>
              <a:rect l="0" t="0" r="r" b="b"/>
              <a:pathLst>
                <a:path w="1711" h="1294">
                  <a:moveTo>
                    <a:pt x="0" y="0"/>
                  </a:moveTo>
                  <a:lnTo>
                    <a:pt x="1711" y="0"/>
                  </a:lnTo>
                  <a:lnTo>
                    <a:pt x="1711" y="44"/>
                  </a:lnTo>
                  <a:lnTo>
                    <a:pt x="1711" y="1294"/>
                  </a:lnTo>
                  <a:lnTo>
                    <a:pt x="1" y="1294"/>
                  </a:lnTo>
                  <a:lnTo>
                    <a:pt x="1" y="685"/>
                  </a:lnTo>
                  <a:cubicBezTo>
                    <a:pt x="420" y="764"/>
                    <a:pt x="540" y="1141"/>
                    <a:pt x="540" y="1141"/>
                  </a:cubicBezTo>
                  <a:lnTo>
                    <a:pt x="450" y="1175"/>
                  </a:lnTo>
                  <a:lnTo>
                    <a:pt x="704" y="1251"/>
                  </a:lnTo>
                  <a:lnTo>
                    <a:pt x="845" y="1024"/>
                  </a:lnTo>
                  <a:lnTo>
                    <a:pt x="759" y="1055"/>
                  </a:lnTo>
                  <a:cubicBezTo>
                    <a:pt x="759" y="1055"/>
                    <a:pt x="583" y="541"/>
                    <a:pt x="0" y="448"/>
                  </a:cubicBezTo>
                  <a:cubicBezTo>
                    <a:pt x="0" y="224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endParaRPr lang="ca-ES" sz="1295"/>
            </a:p>
          </p:txBody>
        </p:sp>
        <p:sp>
          <p:nvSpPr>
            <p:cNvPr id="854019" name="Rectangle 3"/>
            <p:cNvSpPr>
              <a:spLocks noChangeArrowheads="1"/>
            </p:cNvSpPr>
            <p:nvPr/>
          </p:nvSpPr>
          <p:spPr bwMode="auto">
            <a:xfrm>
              <a:off x="3264" y="832"/>
              <a:ext cx="1968" cy="25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r>
                <a:rPr lang="es-ES" sz="1295"/>
                <a:t>Texto </a:t>
              </a:r>
              <a:endParaRPr lang="es-ES" sz="1295" dirty="0"/>
            </a:p>
          </p:txBody>
        </p: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1727139" y="3784978"/>
            <a:ext cx="3401162" cy="2297711"/>
            <a:chOff x="960" y="2403"/>
            <a:chExt cx="1985" cy="1341"/>
          </a:xfrm>
          <a:effectLst/>
        </p:grpSpPr>
        <p:sp>
          <p:nvSpPr>
            <p:cNvPr id="854031" name="Freeform 15"/>
            <p:cNvSpPr>
              <a:spLocks/>
            </p:cNvSpPr>
            <p:nvPr/>
          </p:nvSpPr>
          <p:spPr bwMode="auto">
            <a:xfrm>
              <a:off x="960" y="2403"/>
              <a:ext cx="1985" cy="1341"/>
            </a:xfrm>
            <a:custGeom>
              <a:avLst/>
              <a:gdLst/>
              <a:ahLst/>
              <a:cxnLst>
                <a:cxn ang="0">
                  <a:pos x="1712" y="1293"/>
                </a:cxn>
                <a:cxn ang="0">
                  <a:pos x="0" y="1293"/>
                </a:cxn>
                <a:cxn ang="0">
                  <a:pos x="0" y="1248"/>
                </a:cxn>
                <a:cxn ang="0">
                  <a:pos x="0" y="0"/>
                </a:cxn>
                <a:cxn ang="0">
                  <a:pos x="1709" y="0"/>
                </a:cxn>
                <a:cxn ang="0">
                  <a:pos x="1709" y="581"/>
                </a:cxn>
                <a:cxn ang="0">
                  <a:pos x="1185" y="181"/>
                </a:cxn>
                <a:cxn ang="0">
                  <a:pos x="1275" y="145"/>
                </a:cxn>
                <a:cxn ang="0">
                  <a:pos x="1019" y="67"/>
                </a:cxn>
                <a:cxn ang="0">
                  <a:pos x="881" y="297"/>
                </a:cxn>
                <a:cxn ang="0">
                  <a:pos x="969" y="264"/>
                </a:cxn>
                <a:cxn ang="0">
                  <a:pos x="1711" y="817"/>
                </a:cxn>
                <a:cxn ang="0">
                  <a:pos x="1712" y="1293"/>
                </a:cxn>
              </a:cxnLst>
              <a:rect l="0" t="0" r="r" b="b"/>
              <a:pathLst>
                <a:path w="1712" h="1293">
                  <a:moveTo>
                    <a:pt x="1712" y="1293"/>
                  </a:moveTo>
                  <a:lnTo>
                    <a:pt x="0" y="1293"/>
                  </a:lnTo>
                  <a:lnTo>
                    <a:pt x="0" y="1248"/>
                  </a:lnTo>
                  <a:lnTo>
                    <a:pt x="0" y="0"/>
                  </a:lnTo>
                  <a:lnTo>
                    <a:pt x="1709" y="0"/>
                  </a:lnTo>
                  <a:cubicBezTo>
                    <a:pt x="1709" y="0"/>
                    <a:pt x="1709" y="290"/>
                    <a:pt x="1709" y="581"/>
                  </a:cubicBezTo>
                  <a:cubicBezTo>
                    <a:pt x="1315" y="517"/>
                    <a:pt x="1185" y="181"/>
                    <a:pt x="1185" y="181"/>
                  </a:cubicBezTo>
                  <a:lnTo>
                    <a:pt x="1275" y="145"/>
                  </a:lnTo>
                  <a:lnTo>
                    <a:pt x="1019" y="67"/>
                  </a:lnTo>
                  <a:lnTo>
                    <a:pt x="881" y="297"/>
                  </a:lnTo>
                  <a:lnTo>
                    <a:pt x="969" y="264"/>
                  </a:lnTo>
                  <a:cubicBezTo>
                    <a:pt x="969" y="264"/>
                    <a:pt x="1151" y="741"/>
                    <a:pt x="1711" y="817"/>
                  </a:cubicBezTo>
                  <a:cubicBezTo>
                    <a:pt x="1711" y="1055"/>
                    <a:pt x="1712" y="1293"/>
                    <a:pt x="1712" y="1293"/>
                  </a:cubicBez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endParaRPr lang="ca-ES" sz="1295"/>
            </a:p>
          </p:txBody>
        </p:sp>
        <p:sp>
          <p:nvSpPr>
            <p:cNvPr id="854020" name="Rectangle 4"/>
            <p:cNvSpPr>
              <a:spLocks noChangeArrowheads="1"/>
            </p:cNvSpPr>
            <p:nvPr/>
          </p:nvSpPr>
          <p:spPr bwMode="auto">
            <a:xfrm>
              <a:off x="960" y="3474"/>
              <a:ext cx="1968" cy="25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r>
                <a:rPr lang="es-ES" sz="1295"/>
                <a:t>Texto </a:t>
              </a:r>
              <a:endParaRPr lang="es-ES" sz="1295" dirty="0"/>
            </a:p>
          </p:txBody>
        </p:sp>
      </p:grpSp>
      <p:grpSp>
        <p:nvGrpSpPr>
          <p:cNvPr id="22" name="Grupo 21"/>
          <p:cNvGrpSpPr/>
          <p:nvPr/>
        </p:nvGrpSpPr>
        <p:grpSpPr>
          <a:xfrm>
            <a:off x="5647470" y="3800398"/>
            <a:ext cx="3385741" cy="2282291"/>
            <a:chOff x="5232400" y="3448050"/>
            <a:chExt cx="3136900" cy="2114550"/>
          </a:xfrm>
        </p:grpSpPr>
        <p:sp>
          <p:nvSpPr>
            <p:cNvPr id="854030" name="Freeform 14"/>
            <p:cNvSpPr>
              <a:spLocks/>
            </p:cNvSpPr>
            <p:nvPr/>
          </p:nvSpPr>
          <p:spPr bwMode="auto">
            <a:xfrm>
              <a:off x="5232400" y="3448050"/>
              <a:ext cx="3136900" cy="2114550"/>
            </a:xfrm>
            <a:custGeom>
              <a:avLst/>
              <a:gdLst/>
              <a:ahLst/>
              <a:cxnLst>
                <a:cxn ang="0">
                  <a:pos x="0" y="1284"/>
                </a:cxn>
                <a:cxn ang="0">
                  <a:pos x="0" y="0"/>
                </a:cxn>
                <a:cxn ang="0">
                  <a:pos x="576" y="0"/>
                </a:cxn>
                <a:cxn ang="0">
                  <a:pos x="173" y="510"/>
                </a:cxn>
                <a:cxn ang="0">
                  <a:pos x="140" y="424"/>
                </a:cxn>
                <a:cxn ang="0">
                  <a:pos x="63" y="678"/>
                </a:cxn>
                <a:cxn ang="0">
                  <a:pos x="291" y="822"/>
                </a:cxn>
                <a:cxn ang="0">
                  <a:pos x="260" y="729"/>
                </a:cxn>
                <a:cxn ang="0">
                  <a:pos x="807" y="1"/>
                </a:cxn>
                <a:cxn ang="0">
                  <a:pos x="1704" y="1"/>
                </a:cxn>
                <a:cxn ang="0">
                  <a:pos x="1704" y="1284"/>
                </a:cxn>
                <a:cxn ang="0">
                  <a:pos x="0" y="1284"/>
                </a:cxn>
                <a:cxn ang="0">
                  <a:pos x="0" y="1284"/>
                </a:cxn>
              </a:cxnLst>
              <a:rect l="0" t="0" r="r" b="b"/>
              <a:pathLst>
                <a:path w="1704" h="1284">
                  <a:moveTo>
                    <a:pt x="0" y="1284"/>
                  </a:moveTo>
                  <a:lnTo>
                    <a:pt x="0" y="0"/>
                  </a:lnTo>
                  <a:lnTo>
                    <a:pt x="576" y="0"/>
                  </a:lnTo>
                  <a:cubicBezTo>
                    <a:pt x="479" y="406"/>
                    <a:pt x="173" y="510"/>
                    <a:pt x="173" y="510"/>
                  </a:cubicBezTo>
                  <a:lnTo>
                    <a:pt x="140" y="424"/>
                  </a:lnTo>
                  <a:lnTo>
                    <a:pt x="63" y="678"/>
                  </a:lnTo>
                  <a:lnTo>
                    <a:pt x="291" y="822"/>
                  </a:lnTo>
                  <a:lnTo>
                    <a:pt x="260" y="729"/>
                  </a:lnTo>
                  <a:cubicBezTo>
                    <a:pt x="260" y="729"/>
                    <a:pt x="722" y="546"/>
                    <a:pt x="807" y="1"/>
                  </a:cubicBezTo>
                  <a:cubicBezTo>
                    <a:pt x="1255" y="1"/>
                    <a:pt x="1704" y="1"/>
                    <a:pt x="1704" y="1"/>
                  </a:cubicBezTo>
                  <a:lnTo>
                    <a:pt x="1704" y="1284"/>
                  </a:lnTo>
                  <a:lnTo>
                    <a:pt x="0" y="1284"/>
                  </a:lnTo>
                  <a:lnTo>
                    <a:pt x="0" y="1284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endParaRPr lang="ca-ES" sz="1295"/>
            </a:p>
          </p:txBody>
        </p:sp>
        <p:sp>
          <p:nvSpPr>
            <p:cNvPr id="854021" name="Rectangle 5"/>
            <p:cNvSpPr>
              <a:spLocks noChangeArrowheads="1"/>
            </p:cNvSpPr>
            <p:nvPr/>
          </p:nvSpPr>
          <p:spPr bwMode="auto">
            <a:xfrm>
              <a:off x="5238750" y="5133975"/>
              <a:ext cx="3124200" cy="40322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16567" tIns="116567" rIns="116567" bIns="116567"/>
            <a:lstStyle/>
            <a:p>
              <a:pPr marL="90810" indent="-90810" defTabSz="738471">
                <a:buFont typeface="Arial" pitchFamily="34" charset="0"/>
                <a:buChar char="•"/>
              </a:pPr>
              <a:r>
                <a:rPr lang="es-ES" sz="1295"/>
                <a:t>Texto </a:t>
              </a:r>
              <a:endParaRPr lang="es-ES" sz="1295" dirty="0"/>
            </a:p>
          </p:txBody>
        </p:sp>
      </p:grpSp>
      <p:sp>
        <p:nvSpPr>
          <p:cNvPr id="854023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Box </a:t>
            </a:r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8" name="1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126993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7956" name="Freeform 4"/>
          <p:cNvSpPr>
            <a:spLocks/>
          </p:cNvSpPr>
          <p:nvPr/>
        </p:nvSpPr>
        <p:spPr bwMode="auto">
          <a:xfrm>
            <a:off x="543505" y="1634621"/>
            <a:ext cx="4413800" cy="4288720"/>
          </a:xfrm>
          <a:custGeom>
            <a:avLst/>
            <a:gdLst/>
            <a:ahLst/>
            <a:cxnLst>
              <a:cxn ang="0">
                <a:pos x="54" y="561"/>
              </a:cxn>
              <a:cxn ang="0">
                <a:pos x="9" y="739"/>
              </a:cxn>
              <a:cxn ang="0">
                <a:pos x="2" y="923"/>
              </a:cxn>
              <a:cxn ang="0">
                <a:pos x="35" y="1105"/>
              </a:cxn>
              <a:cxn ang="0">
                <a:pos x="106" y="1275"/>
              </a:cxn>
              <a:cxn ang="0">
                <a:pos x="211" y="1426"/>
              </a:cxn>
              <a:cxn ang="0">
                <a:pos x="346" y="1552"/>
              </a:cxn>
              <a:cxn ang="0">
                <a:pos x="504" y="1646"/>
              </a:cxn>
              <a:cxn ang="0">
                <a:pos x="679" y="1703"/>
              </a:cxn>
              <a:cxn ang="0">
                <a:pos x="862" y="1723"/>
              </a:cxn>
              <a:cxn ang="0">
                <a:pos x="1046" y="1703"/>
              </a:cxn>
              <a:cxn ang="0">
                <a:pos x="1220" y="1646"/>
              </a:cxn>
              <a:cxn ang="0">
                <a:pos x="1379" y="1552"/>
              </a:cxn>
              <a:cxn ang="0">
                <a:pos x="1514" y="1426"/>
              </a:cxn>
              <a:cxn ang="0">
                <a:pos x="1619" y="1275"/>
              </a:cxn>
              <a:cxn ang="0">
                <a:pos x="1689" y="1105"/>
              </a:cxn>
              <a:cxn ang="0">
                <a:pos x="1722" y="923"/>
              </a:cxn>
              <a:cxn ang="0">
                <a:pos x="1715" y="737"/>
              </a:cxn>
              <a:cxn ang="0">
                <a:pos x="1668" y="555"/>
              </a:cxn>
              <a:cxn ang="0">
                <a:pos x="1583" y="389"/>
              </a:cxn>
              <a:cxn ang="0">
                <a:pos x="1464" y="244"/>
              </a:cxn>
              <a:cxn ang="0">
                <a:pos x="1316" y="129"/>
              </a:cxn>
              <a:cxn ang="0">
                <a:pos x="1147" y="47"/>
              </a:cxn>
              <a:cxn ang="0">
                <a:pos x="964" y="6"/>
              </a:cxn>
              <a:cxn ang="0">
                <a:pos x="777" y="4"/>
              </a:cxn>
              <a:cxn ang="0">
                <a:pos x="594" y="43"/>
              </a:cxn>
              <a:cxn ang="0">
                <a:pos x="423" y="120"/>
              </a:cxn>
              <a:cxn ang="0">
                <a:pos x="273" y="232"/>
              </a:cxn>
              <a:cxn ang="0">
                <a:pos x="447" y="304"/>
              </a:cxn>
              <a:cxn ang="0">
                <a:pos x="660" y="484"/>
              </a:cxn>
              <a:cxn ang="0">
                <a:pos x="778" y="440"/>
              </a:cxn>
              <a:cxn ang="0">
                <a:pos x="904" y="432"/>
              </a:cxn>
              <a:cxn ang="0">
                <a:pos x="1027" y="462"/>
              </a:cxn>
              <a:cxn ang="0">
                <a:pos x="1137" y="528"/>
              </a:cxn>
              <a:cxn ang="0">
                <a:pos x="1222" y="621"/>
              </a:cxn>
              <a:cxn ang="0">
                <a:pos x="1276" y="736"/>
              </a:cxn>
              <a:cxn ang="0">
                <a:pos x="1293" y="861"/>
              </a:cxn>
              <a:cxn ang="0">
                <a:pos x="1273" y="991"/>
              </a:cxn>
              <a:cxn ang="0">
                <a:pos x="1216" y="1108"/>
              </a:cxn>
              <a:cxn ang="0">
                <a:pos x="1126" y="1202"/>
              </a:cxn>
              <a:cxn ang="0">
                <a:pos x="1012" y="1266"/>
              </a:cxn>
              <a:cxn ang="0">
                <a:pos x="884" y="1292"/>
              </a:cxn>
              <a:cxn ang="0">
                <a:pos x="754" y="1278"/>
              </a:cxn>
              <a:cxn ang="0">
                <a:pos x="634" y="1228"/>
              </a:cxn>
              <a:cxn ang="0">
                <a:pos x="535" y="1143"/>
              </a:cxn>
              <a:cxn ang="0">
                <a:pos x="466" y="1031"/>
              </a:cxn>
              <a:cxn ang="0">
                <a:pos x="433" y="905"/>
              </a:cxn>
              <a:cxn ang="0">
                <a:pos x="442" y="779"/>
              </a:cxn>
              <a:cxn ang="0">
                <a:pos x="481" y="661"/>
              </a:cxn>
              <a:cxn ang="0">
                <a:pos x="560" y="559"/>
              </a:cxn>
              <a:cxn ang="0">
                <a:pos x="285" y="350"/>
              </a:cxn>
              <a:cxn ang="0">
                <a:pos x="106" y="450"/>
              </a:cxn>
            </a:cxnLst>
            <a:rect l="0" t="0" r="r" b="b"/>
            <a:pathLst>
              <a:path w="1725" h="1724">
                <a:moveTo>
                  <a:pt x="106" y="450"/>
                </a:moveTo>
                <a:lnTo>
                  <a:pt x="78" y="504"/>
                </a:lnTo>
                <a:lnTo>
                  <a:pt x="54" y="561"/>
                </a:lnTo>
                <a:lnTo>
                  <a:pt x="35" y="619"/>
                </a:lnTo>
                <a:lnTo>
                  <a:pt x="19" y="678"/>
                </a:lnTo>
                <a:lnTo>
                  <a:pt x="9" y="739"/>
                </a:lnTo>
                <a:lnTo>
                  <a:pt x="2" y="800"/>
                </a:lnTo>
                <a:lnTo>
                  <a:pt x="0" y="861"/>
                </a:lnTo>
                <a:lnTo>
                  <a:pt x="2" y="923"/>
                </a:lnTo>
                <a:lnTo>
                  <a:pt x="9" y="984"/>
                </a:lnTo>
                <a:lnTo>
                  <a:pt x="21" y="1045"/>
                </a:lnTo>
                <a:lnTo>
                  <a:pt x="35" y="1105"/>
                </a:lnTo>
                <a:lnTo>
                  <a:pt x="55" y="1162"/>
                </a:lnTo>
                <a:lnTo>
                  <a:pt x="78" y="1220"/>
                </a:lnTo>
                <a:lnTo>
                  <a:pt x="106" y="1275"/>
                </a:lnTo>
                <a:lnTo>
                  <a:pt x="137" y="1328"/>
                </a:lnTo>
                <a:lnTo>
                  <a:pt x="172" y="1378"/>
                </a:lnTo>
                <a:lnTo>
                  <a:pt x="211" y="1426"/>
                </a:lnTo>
                <a:lnTo>
                  <a:pt x="253" y="1471"/>
                </a:lnTo>
                <a:lnTo>
                  <a:pt x="298" y="1513"/>
                </a:lnTo>
                <a:lnTo>
                  <a:pt x="346" y="1552"/>
                </a:lnTo>
                <a:lnTo>
                  <a:pt x="396" y="1586"/>
                </a:lnTo>
                <a:lnTo>
                  <a:pt x="449" y="1618"/>
                </a:lnTo>
                <a:lnTo>
                  <a:pt x="504" y="1646"/>
                </a:lnTo>
                <a:lnTo>
                  <a:pt x="561" y="1669"/>
                </a:lnTo>
                <a:lnTo>
                  <a:pt x="619" y="1689"/>
                </a:lnTo>
                <a:lnTo>
                  <a:pt x="679" y="1703"/>
                </a:lnTo>
                <a:lnTo>
                  <a:pt x="740" y="1715"/>
                </a:lnTo>
                <a:lnTo>
                  <a:pt x="801" y="1721"/>
                </a:lnTo>
                <a:lnTo>
                  <a:pt x="862" y="1723"/>
                </a:lnTo>
                <a:lnTo>
                  <a:pt x="924" y="1721"/>
                </a:lnTo>
                <a:lnTo>
                  <a:pt x="985" y="1715"/>
                </a:lnTo>
                <a:lnTo>
                  <a:pt x="1046" y="1703"/>
                </a:lnTo>
                <a:lnTo>
                  <a:pt x="1105" y="1689"/>
                </a:lnTo>
                <a:lnTo>
                  <a:pt x="1163" y="1669"/>
                </a:lnTo>
                <a:lnTo>
                  <a:pt x="1220" y="1646"/>
                </a:lnTo>
                <a:lnTo>
                  <a:pt x="1276" y="1618"/>
                </a:lnTo>
                <a:lnTo>
                  <a:pt x="1329" y="1586"/>
                </a:lnTo>
                <a:lnTo>
                  <a:pt x="1379" y="1552"/>
                </a:lnTo>
                <a:lnTo>
                  <a:pt x="1427" y="1513"/>
                </a:lnTo>
                <a:lnTo>
                  <a:pt x="1472" y="1471"/>
                </a:lnTo>
                <a:lnTo>
                  <a:pt x="1514" y="1426"/>
                </a:lnTo>
                <a:lnTo>
                  <a:pt x="1553" y="1378"/>
                </a:lnTo>
                <a:lnTo>
                  <a:pt x="1587" y="1328"/>
                </a:lnTo>
                <a:lnTo>
                  <a:pt x="1619" y="1275"/>
                </a:lnTo>
                <a:lnTo>
                  <a:pt x="1647" y="1220"/>
                </a:lnTo>
                <a:lnTo>
                  <a:pt x="1670" y="1162"/>
                </a:lnTo>
                <a:lnTo>
                  <a:pt x="1689" y="1105"/>
                </a:lnTo>
                <a:lnTo>
                  <a:pt x="1704" y="1045"/>
                </a:lnTo>
                <a:lnTo>
                  <a:pt x="1716" y="984"/>
                </a:lnTo>
                <a:lnTo>
                  <a:pt x="1722" y="923"/>
                </a:lnTo>
                <a:lnTo>
                  <a:pt x="1724" y="861"/>
                </a:lnTo>
                <a:lnTo>
                  <a:pt x="1722" y="799"/>
                </a:lnTo>
                <a:lnTo>
                  <a:pt x="1715" y="737"/>
                </a:lnTo>
                <a:lnTo>
                  <a:pt x="1704" y="675"/>
                </a:lnTo>
                <a:lnTo>
                  <a:pt x="1688" y="615"/>
                </a:lnTo>
                <a:lnTo>
                  <a:pt x="1668" y="555"/>
                </a:lnTo>
                <a:lnTo>
                  <a:pt x="1643" y="498"/>
                </a:lnTo>
                <a:lnTo>
                  <a:pt x="1616" y="442"/>
                </a:lnTo>
                <a:lnTo>
                  <a:pt x="1583" y="389"/>
                </a:lnTo>
                <a:lnTo>
                  <a:pt x="1547" y="337"/>
                </a:lnTo>
                <a:lnTo>
                  <a:pt x="1507" y="289"/>
                </a:lnTo>
                <a:lnTo>
                  <a:pt x="1464" y="244"/>
                </a:lnTo>
                <a:lnTo>
                  <a:pt x="1417" y="201"/>
                </a:lnTo>
                <a:lnTo>
                  <a:pt x="1367" y="163"/>
                </a:lnTo>
                <a:lnTo>
                  <a:pt x="1316" y="129"/>
                </a:lnTo>
                <a:lnTo>
                  <a:pt x="1262" y="98"/>
                </a:lnTo>
                <a:lnTo>
                  <a:pt x="1205" y="70"/>
                </a:lnTo>
                <a:lnTo>
                  <a:pt x="1147" y="47"/>
                </a:lnTo>
                <a:lnTo>
                  <a:pt x="1087" y="29"/>
                </a:lnTo>
                <a:lnTo>
                  <a:pt x="1026" y="15"/>
                </a:lnTo>
                <a:lnTo>
                  <a:pt x="964" y="6"/>
                </a:lnTo>
                <a:lnTo>
                  <a:pt x="902" y="0"/>
                </a:lnTo>
                <a:lnTo>
                  <a:pt x="839" y="0"/>
                </a:lnTo>
                <a:lnTo>
                  <a:pt x="777" y="4"/>
                </a:lnTo>
                <a:lnTo>
                  <a:pt x="715" y="12"/>
                </a:lnTo>
                <a:lnTo>
                  <a:pt x="654" y="26"/>
                </a:lnTo>
                <a:lnTo>
                  <a:pt x="594" y="43"/>
                </a:lnTo>
                <a:lnTo>
                  <a:pt x="534" y="64"/>
                </a:lnTo>
                <a:lnTo>
                  <a:pt x="478" y="90"/>
                </a:lnTo>
                <a:lnTo>
                  <a:pt x="423" y="120"/>
                </a:lnTo>
                <a:lnTo>
                  <a:pt x="370" y="154"/>
                </a:lnTo>
                <a:lnTo>
                  <a:pt x="321" y="191"/>
                </a:lnTo>
                <a:lnTo>
                  <a:pt x="273" y="232"/>
                </a:lnTo>
                <a:lnTo>
                  <a:pt x="229" y="277"/>
                </a:lnTo>
                <a:lnTo>
                  <a:pt x="188" y="324"/>
                </a:lnTo>
                <a:lnTo>
                  <a:pt x="447" y="304"/>
                </a:lnTo>
                <a:lnTo>
                  <a:pt x="591" y="532"/>
                </a:lnTo>
                <a:lnTo>
                  <a:pt x="624" y="507"/>
                </a:lnTo>
                <a:lnTo>
                  <a:pt x="660" y="484"/>
                </a:lnTo>
                <a:lnTo>
                  <a:pt x="697" y="466"/>
                </a:lnTo>
                <a:lnTo>
                  <a:pt x="738" y="451"/>
                </a:lnTo>
                <a:lnTo>
                  <a:pt x="778" y="440"/>
                </a:lnTo>
                <a:lnTo>
                  <a:pt x="821" y="433"/>
                </a:lnTo>
                <a:lnTo>
                  <a:pt x="863" y="431"/>
                </a:lnTo>
                <a:lnTo>
                  <a:pt x="904" y="432"/>
                </a:lnTo>
                <a:lnTo>
                  <a:pt x="947" y="438"/>
                </a:lnTo>
                <a:lnTo>
                  <a:pt x="988" y="448"/>
                </a:lnTo>
                <a:lnTo>
                  <a:pt x="1027" y="462"/>
                </a:lnTo>
                <a:lnTo>
                  <a:pt x="1066" y="481"/>
                </a:lnTo>
                <a:lnTo>
                  <a:pt x="1103" y="502"/>
                </a:lnTo>
                <a:lnTo>
                  <a:pt x="1137" y="528"/>
                </a:lnTo>
                <a:lnTo>
                  <a:pt x="1169" y="555"/>
                </a:lnTo>
                <a:lnTo>
                  <a:pt x="1196" y="587"/>
                </a:lnTo>
                <a:lnTo>
                  <a:pt x="1222" y="621"/>
                </a:lnTo>
                <a:lnTo>
                  <a:pt x="1243" y="658"/>
                </a:lnTo>
                <a:lnTo>
                  <a:pt x="1262" y="696"/>
                </a:lnTo>
                <a:lnTo>
                  <a:pt x="1276" y="736"/>
                </a:lnTo>
                <a:lnTo>
                  <a:pt x="1286" y="777"/>
                </a:lnTo>
                <a:lnTo>
                  <a:pt x="1292" y="820"/>
                </a:lnTo>
                <a:lnTo>
                  <a:pt x="1293" y="861"/>
                </a:lnTo>
                <a:lnTo>
                  <a:pt x="1291" y="905"/>
                </a:lnTo>
                <a:lnTo>
                  <a:pt x="1285" y="948"/>
                </a:lnTo>
                <a:lnTo>
                  <a:pt x="1273" y="991"/>
                </a:lnTo>
                <a:lnTo>
                  <a:pt x="1258" y="1031"/>
                </a:lnTo>
                <a:lnTo>
                  <a:pt x="1239" y="1070"/>
                </a:lnTo>
                <a:lnTo>
                  <a:pt x="1216" y="1108"/>
                </a:lnTo>
                <a:lnTo>
                  <a:pt x="1189" y="1143"/>
                </a:lnTo>
                <a:lnTo>
                  <a:pt x="1160" y="1174"/>
                </a:lnTo>
                <a:lnTo>
                  <a:pt x="1126" y="1202"/>
                </a:lnTo>
                <a:lnTo>
                  <a:pt x="1091" y="1228"/>
                </a:lnTo>
                <a:lnTo>
                  <a:pt x="1053" y="1248"/>
                </a:lnTo>
                <a:lnTo>
                  <a:pt x="1012" y="1266"/>
                </a:lnTo>
                <a:lnTo>
                  <a:pt x="970" y="1278"/>
                </a:lnTo>
                <a:lnTo>
                  <a:pt x="927" y="1287"/>
                </a:lnTo>
                <a:lnTo>
                  <a:pt x="884" y="1292"/>
                </a:lnTo>
                <a:lnTo>
                  <a:pt x="840" y="1292"/>
                </a:lnTo>
                <a:lnTo>
                  <a:pt x="797" y="1287"/>
                </a:lnTo>
                <a:lnTo>
                  <a:pt x="754" y="1278"/>
                </a:lnTo>
                <a:lnTo>
                  <a:pt x="712" y="1266"/>
                </a:lnTo>
                <a:lnTo>
                  <a:pt x="672" y="1248"/>
                </a:lnTo>
                <a:lnTo>
                  <a:pt x="634" y="1228"/>
                </a:lnTo>
                <a:lnTo>
                  <a:pt x="599" y="1202"/>
                </a:lnTo>
                <a:lnTo>
                  <a:pt x="565" y="1174"/>
                </a:lnTo>
                <a:lnTo>
                  <a:pt x="535" y="1143"/>
                </a:lnTo>
                <a:lnTo>
                  <a:pt x="509" y="1108"/>
                </a:lnTo>
                <a:lnTo>
                  <a:pt x="485" y="1070"/>
                </a:lnTo>
                <a:lnTo>
                  <a:pt x="466" y="1031"/>
                </a:lnTo>
                <a:lnTo>
                  <a:pt x="452" y="991"/>
                </a:lnTo>
                <a:lnTo>
                  <a:pt x="440" y="948"/>
                </a:lnTo>
                <a:lnTo>
                  <a:pt x="433" y="905"/>
                </a:lnTo>
                <a:lnTo>
                  <a:pt x="431" y="861"/>
                </a:lnTo>
                <a:lnTo>
                  <a:pt x="435" y="820"/>
                </a:lnTo>
                <a:lnTo>
                  <a:pt x="442" y="779"/>
                </a:lnTo>
                <a:lnTo>
                  <a:pt x="452" y="739"/>
                </a:lnTo>
                <a:lnTo>
                  <a:pt x="465" y="699"/>
                </a:lnTo>
                <a:lnTo>
                  <a:pt x="481" y="661"/>
                </a:lnTo>
                <a:lnTo>
                  <a:pt x="501" y="624"/>
                </a:lnTo>
                <a:lnTo>
                  <a:pt x="623" y="670"/>
                </a:lnTo>
                <a:lnTo>
                  <a:pt x="560" y="559"/>
                </a:lnTo>
                <a:lnTo>
                  <a:pt x="494" y="447"/>
                </a:lnTo>
                <a:lnTo>
                  <a:pt x="426" y="339"/>
                </a:lnTo>
                <a:lnTo>
                  <a:pt x="285" y="350"/>
                </a:lnTo>
                <a:lnTo>
                  <a:pt x="146" y="365"/>
                </a:lnTo>
                <a:lnTo>
                  <a:pt x="6" y="382"/>
                </a:lnTo>
                <a:lnTo>
                  <a:pt x="106" y="450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637957" name="Rectangle 5"/>
          <p:cNvSpPr>
            <a:spLocks noChangeArrowheads="1"/>
          </p:cNvSpPr>
          <p:nvPr/>
        </p:nvSpPr>
        <p:spPr bwMode="auto">
          <a:xfrm>
            <a:off x="646312" y="3468957"/>
            <a:ext cx="925253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marL="310124" indent="-310124"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37958" name="Rectangle 6"/>
          <p:cNvSpPr>
            <a:spLocks noChangeArrowheads="1"/>
          </p:cNvSpPr>
          <p:nvPr/>
        </p:nvSpPr>
        <p:spPr bwMode="auto">
          <a:xfrm>
            <a:off x="1941666" y="2043382"/>
            <a:ext cx="926967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marL="310124" indent="-310124"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37959" name="Rectangle 7"/>
          <p:cNvSpPr>
            <a:spLocks noChangeArrowheads="1"/>
          </p:cNvSpPr>
          <p:nvPr/>
        </p:nvSpPr>
        <p:spPr bwMode="auto">
          <a:xfrm>
            <a:off x="3586560" y="4624560"/>
            <a:ext cx="926967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marL="310124" indent="-310124"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grpSp>
        <p:nvGrpSpPr>
          <p:cNvPr id="10" name="Group 4"/>
          <p:cNvGrpSpPr>
            <a:grpSpLocks/>
          </p:cNvGrpSpPr>
          <p:nvPr/>
        </p:nvGrpSpPr>
        <p:grpSpPr bwMode="auto">
          <a:xfrm>
            <a:off x="5812227" y="1300503"/>
            <a:ext cx="4334982" cy="4896987"/>
            <a:chOff x="1560" y="686"/>
            <a:chExt cx="2530" cy="2858"/>
          </a:xfrm>
        </p:grpSpPr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2673" y="887"/>
              <a:ext cx="1417" cy="2657"/>
            </a:xfrm>
            <a:custGeom>
              <a:avLst/>
              <a:gdLst/>
              <a:ahLst/>
              <a:cxnLst>
                <a:cxn ang="0">
                  <a:pos x="338" y="1654"/>
                </a:cxn>
                <a:cxn ang="0">
                  <a:pos x="449" y="1612"/>
                </a:cxn>
                <a:cxn ang="0">
                  <a:pos x="553" y="1555"/>
                </a:cxn>
                <a:cxn ang="0">
                  <a:pos x="651" y="1485"/>
                </a:cxn>
                <a:cxn ang="0">
                  <a:pos x="741" y="1405"/>
                </a:cxn>
                <a:cxn ang="0">
                  <a:pos x="818" y="1313"/>
                </a:cxn>
                <a:cxn ang="0">
                  <a:pos x="882" y="1210"/>
                </a:cxn>
                <a:cxn ang="0">
                  <a:pos x="929" y="1100"/>
                </a:cxn>
                <a:cxn ang="0">
                  <a:pos x="961" y="984"/>
                </a:cxn>
                <a:cxn ang="0">
                  <a:pos x="975" y="865"/>
                </a:cxn>
                <a:cxn ang="0">
                  <a:pos x="972" y="744"/>
                </a:cxn>
                <a:cxn ang="0">
                  <a:pos x="950" y="625"/>
                </a:cxn>
                <a:cxn ang="0">
                  <a:pos x="913" y="511"/>
                </a:cxn>
                <a:cxn ang="0">
                  <a:pos x="859" y="403"/>
                </a:cxn>
                <a:cxn ang="0">
                  <a:pos x="790" y="304"/>
                </a:cxn>
                <a:cxn ang="0">
                  <a:pos x="708" y="216"/>
                </a:cxn>
                <a:cxn ang="0">
                  <a:pos x="614" y="142"/>
                </a:cxn>
                <a:cxn ang="0">
                  <a:pos x="510" y="81"/>
                </a:cxn>
                <a:cxn ang="0">
                  <a:pos x="398" y="36"/>
                </a:cxn>
                <a:cxn ang="0">
                  <a:pos x="281" y="8"/>
                </a:cxn>
                <a:cxn ang="0">
                  <a:pos x="294" y="112"/>
                </a:cxn>
                <a:cxn ang="0">
                  <a:pos x="226" y="434"/>
                </a:cxn>
                <a:cxn ang="0">
                  <a:pos x="306" y="463"/>
                </a:cxn>
                <a:cxn ang="0">
                  <a:pos x="379" y="508"/>
                </a:cxn>
                <a:cxn ang="0">
                  <a:pos x="440" y="567"/>
                </a:cxn>
                <a:cxn ang="0">
                  <a:pos x="489" y="637"/>
                </a:cxn>
                <a:cxn ang="0">
                  <a:pos x="521" y="716"/>
                </a:cxn>
                <a:cxn ang="0">
                  <a:pos x="538" y="801"/>
                </a:cxn>
                <a:cxn ang="0">
                  <a:pos x="536" y="886"/>
                </a:cxn>
                <a:cxn ang="0">
                  <a:pos x="517" y="969"/>
                </a:cxn>
                <a:cxn ang="0">
                  <a:pos x="482" y="1046"/>
                </a:cxn>
                <a:cxn ang="0">
                  <a:pos x="431" y="1115"/>
                </a:cxn>
                <a:cxn ang="0">
                  <a:pos x="367" y="1172"/>
                </a:cxn>
                <a:cxn ang="0">
                  <a:pos x="293" y="1215"/>
                </a:cxn>
                <a:cxn ang="0">
                  <a:pos x="253" y="1093"/>
                </a:cxn>
                <a:cxn ang="0">
                  <a:pos x="279" y="1810"/>
                </a:cxn>
              </a:cxnLst>
              <a:rect l="0" t="0" r="r" b="b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1560" y="686"/>
              <a:ext cx="1573" cy="2675"/>
            </a:xfrm>
            <a:custGeom>
              <a:avLst/>
              <a:gdLst/>
              <a:ahLst/>
              <a:cxnLst>
                <a:cxn ang="0">
                  <a:pos x="789" y="1389"/>
                </a:cxn>
                <a:cxn ang="0">
                  <a:pos x="705" y="1367"/>
                </a:cxn>
                <a:cxn ang="0">
                  <a:pos x="628" y="1327"/>
                </a:cxn>
                <a:cxn ang="0">
                  <a:pos x="559" y="1273"/>
                </a:cxn>
                <a:cxn ang="0">
                  <a:pos x="504" y="1206"/>
                </a:cxn>
                <a:cxn ang="0">
                  <a:pos x="464" y="1129"/>
                </a:cxn>
                <a:cxn ang="0">
                  <a:pos x="440" y="1044"/>
                </a:cxn>
                <a:cxn ang="0">
                  <a:pos x="434" y="958"/>
                </a:cxn>
                <a:cxn ang="0">
                  <a:pos x="446" y="872"/>
                </a:cxn>
                <a:cxn ang="0">
                  <a:pos x="475" y="790"/>
                </a:cxn>
                <a:cxn ang="0">
                  <a:pos x="520" y="716"/>
                </a:cxn>
                <a:cxn ang="0">
                  <a:pos x="580" y="653"/>
                </a:cxn>
                <a:cxn ang="0">
                  <a:pos x="651" y="603"/>
                </a:cxn>
                <a:cxn ang="0">
                  <a:pos x="727" y="569"/>
                </a:cxn>
                <a:cxn ang="0">
                  <a:pos x="809" y="552"/>
                </a:cxn>
                <a:cxn ang="0">
                  <a:pos x="851" y="675"/>
                </a:cxn>
                <a:cxn ang="0">
                  <a:pos x="846" y="0"/>
                </a:cxn>
                <a:cxn ang="0">
                  <a:pos x="786" y="125"/>
                </a:cxn>
                <a:cxn ang="0">
                  <a:pos x="668" y="145"/>
                </a:cxn>
                <a:cxn ang="0">
                  <a:pos x="554" y="181"/>
                </a:cxn>
                <a:cxn ang="0">
                  <a:pos x="446" y="234"/>
                </a:cxn>
                <a:cxn ang="0">
                  <a:pos x="344" y="298"/>
                </a:cxn>
                <a:cxn ang="0">
                  <a:pos x="252" y="376"/>
                </a:cxn>
                <a:cxn ang="0">
                  <a:pos x="173" y="466"/>
                </a:cxn>
                <a:cxn ang="0">
                  <a:pos x="107" y="566"/>
                </a:cxn>
                <a:cxn ang="0">
                  <a:pos x="56" y="675"/>
                </a:cxn>
                <a:cxn ang="0">
                  <a:pos x="21" y="790"/>
                </a:cxn>
                <a:cxn ang="0">
                  <a:pos x="3" y="909"/>
                </a:cxn>
                <a:cxn ang="0">
                  <a:pos x="2" y="1029"/>
                </a:cxn>
                <a:cxn ang="0">
                  <a:pos x="18" y="1148"/>
                </a:cxn>
                <a:cxn ang="0">
                  <a:pos x="50" y="1264"/>
                </a:cxn>
                <a:cxn ang="0">
                  <a:pos x="99" y="1374"/>
                </a:cxn>
                <a:cxn ang="0">
                  <a:pos x="163" y="1476"/>
                </a:cxn>
                <a:cxn ang="0">
                  <a:pos x="241" y="1568"/>
                </a:cxn>
                <a:cxn ang="0">
                  <a:pos x="330" y="1647"/>
                </a:cxn>
                <a:cxn ang="0">
                  <a:pos x="431" y="1713"/>
                </a:cxn>
                <a:cxn ang="0">
                  <a:pos x="539" y="1765"/>
                </a:cxn>
                <a:cxn ang="0">
                  <a:pos x="654" y="1800"/>
                </a:cxn>
                <a:cxn ang="0">
                  <a:pos x="772" y="1819"/>
                </a:cxn>
                <a:cxn ang="0">
                  <a:pos x="893" y="1821"/>
                </a:cxn>
                <a:cxn ang="0">
                  <a:pos x="832" y="1394"/>
                </a:cxn>
              </a:cxnLst>
              <a:rect l="0" t="0" r="r" b="b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5812228" y="3617062"/>
            <a:ext cx="1077748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9090021" y="3617062"/>
            <a:ext cx="1070895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15" name="Título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8060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71815" y="1619200"/>
            <a:ext cx="4852438" cy="4283579"/>
            <a:chOff x="1372" y="845"/>
            <a:chExt cx="2832" cy="2500"/>
          </a:xfrm>
        </p:grpSpPr>
        <p:sp>
          <p:nvSpPr>
            <p:cNvPr id="640005" name="Freeform 5"/>
            <p:cNvSpPr>
              <a:spLocks/>
            </p:cNvSpPr>
            <p:nvPr/>
          </p:nvSpPr>
          <p:spPr bwMode="auto">
            <a:xfrm>
              <a:off x="1590" y="845"/>
              <a:ext cx="2614" cy="1304"/>
            </a:xfrm>
            <a:custGeom>
              <a:avLst/>
              <a:gdLst/>
              <a:ahLst/>
              <a:cxnLst>
                <a:cxn ang="0">
                  <a:pos x="1591" y="589"/>
                </a:cxn>
                <a:cxn ang="0">
                  <a:pos x="1551" y="480"/>
                </a:cxn>
                <a:cxn ang="0">
                  <a:pos x="1495" y="378"/>
                </a:cxn>
                <a:cxn ang="0">
                  <a:pos x="1426" y="284"/>
                </a:cxn>
                <a:cxn ang="0">
                  <a:pos x="1344" y="201"/>
                </a:cxn>
                <a:cxn ang="0">
                  <a:pos x="1251" y="131"/>
                </a:cxn>
                <a:cxn ang="0">
                  <a:pos x="1149" y="75"/>
                </a:cxn>
                <a:cxn ang="0">
                  <a:pos x="1039" y="34"/>
                </a:cxn>
                <a:cxn ang="0">
                  <a:pos x="926" y="9"/>
                </a:cxn>
                <a:cxn ang="0">
                  <a:pos x="809" y="0"/>
                </a:cxn>
                <a:cxn ang="0">
                  <a:pos x="694" y="9"/>
                </a:cxn>
                <a:cxn ang="0">
                  <a:pos x="579" y="33"/>
                </a:cxn>
                <a:cxn ang="0">
                  <a:pos x="470" y="74"/>
                </a:cxn>
                <a:cxn ang="0">
                  <a:pos x="367" y="130"/>
                </a:cxn>
                <a:cxn ang="0">
                  <a:pos x="275" y="199"/>
                </a:cxn>
                <a:cxn ang="0">
                  <a:pos x="192" y="282"/>
                </a:cxn>
                <a:cxn ang="0">
                  <a:pos x="122" y="374"/>
                </a:cxn>
                <a:cxn ang="0">
                  <a:pos x="66" y="477"/>
                </a:cxn>
                <a:cxn ang="0">
                  <a:pos x="25" y="586"/>
                </a:cxn>
                <a:cxn ang="0">
                  <a:pos x="0" y="699"/>
                </a:cxn>
                <a:cxn ang="0">
                  <a:pos x="237" y="543"/>
                </a:cxn>
                <a:cxn ang="0">
                  <a:pos x="442" y="660"/>
                </a:cxn>
                <a:cxn ang="0">
                  <a:pos x="484" y="591"/>
                </a:cxn>
                <a:cxn ang="0">
                  <a:pos x="540" y="531"/>
                </a:cxn>
                <a:cxn ang="0">
                  <a:pos x="605" y="485"/>
                </a:cxn>
                <a:cxn ang="0">
                  <a:pos x="679" y="451"/>
                </a:cxn>
                <a:cxn ang="0">
                  <a:pos x="758" y="432"/>
                </a:cxn>
                <a:cxn ang="0">
                  <a:pos x="839" y="430"/>
                </a:cxn>
                <a:cxn ang="0">
                  <a:pos x="919" y="444"/>
                </a:cxn>
                <a:cxn ang="0">
                  <a:pos x="995" y="473"/>
                </a:cxn>
                <a:cxn ang="0">
                  <a:pos x="1063" y="516"/>
                </a:cxn>
                <a:cxn ang="0">
                  <a:pos x="1121" y="573"/>
                </a:cxn>
                <a:cxn ang="0">
                  <a:pos x="1168" y="640"/>
                </a:cxn>
                <a:cxn ang="0">
                  <a:pos x="1041" y="646"/>
                </a:cxn>
                <a:cxn ang="0">
                  <a:pos x="1716" y="646"/>
                </a:cxn>
              </a:cxnLst>
              <a:rect l="0" t="0" r="r" b="b"/>
              <a:pathLst>
                <a:path w="1717" h="887">
                  <a:moveTo>
                    <a:pt x="1606" y="646"/>
                  </a:moveTo>
                  <a:lnTo>
                    <a:pt x="1591" y="589"/>
                  </a:lnTo>
                  <a:lnTo>
                    <a:pt x="1573" y="534"/>
                  </a:lnTo>
                  <a:lnTo>
                    <a:pt x="1551" y="480"/>
                  </a:lnTo>
                  <a:lnTo>
                    <a:pt x="1525" y="428"/>
                  </a:lnTo>
                  <a:lnTo>
                    <a:pt x="1495" y="378"/>
                  </a:lnTo>
                  <a:lnTo>
                    <a:pt x="1463" y="330"/>
                  </a:lnTo>
                  <a:lnTo>
                    <a:pt x="1426" y="284"/>
                  </a:lnTo>
                  <a:lnTo>
                    <a:pt x="1386" y="241"/>
                  </a:lnTo>
                  <a:lnTo>
                    <a:pt x="1344" y="201"/>
                  </a:lnTo>
                  <a:lnTo>
                    <a:pt x="1298" y="165"/>
                  </a:lnTo>
                  <a:lnTo>
                    <a:pt x="1251" y="131"/>
                  </a:lnTo>
                  <a:lnTo>
                    <a:pt x="1201" y="102"/>
                  </a:lnTo>
                  <a:lnTo>
                    <a:pt x="1149" y="75"/>
                  </a:lnTo>
                  <a:lnTo>
                    <a:pt x="1095" y="52"/>
                  </a:lnTo>
                  <a:lnTo>
                    <a:pt x="1039" y="34"/>
                  </a:lnTo>
                  <a:lnTo>
                    <a:pt x="983" y="20"/>
                  </a:lnTo>
                  <a:lnTo>
                    <a:pt x="926" y="9"/>
                  </a:lnTo>
                  <a:lnTo>
                    <a:pt x="867" y="2"/>
                  </a:lnTo>
                  <a:lnTo>
                    <a:pt x="809" y="0"/>
                  </a:lnTo>
                  <a:lnTo>
                    <a:pt x="752" y="2"/>
                  </a:lnTo>
                  <a:lnTo>
                    <a:pt x="694" y="9"/>
                  </a:lnTo>
                  <a:lnTo>
                    <a:pt x="636" y="19"/>
                  </a:lnTo>
                  <a:lnTo>
                    <a:pt x="579" y="33"/>
                  </a:lnTo>
                  <a:lnTo>
                    <a:pt x="523" y="51"/>
                  </a:lnTo>
                  <a:lnTo>
                    <a:pt x="470" y="74"/>
                  </a:lnTo>
                  <a:lnTo>
                    <a:pt x="418" y="99"/>
                  </a:lnTo>
                  <a:lnTo>
                    <a:pt x="367" y="130"/>
                  </a:lnTo>
                  <a:lnTo>
                    <a:pt x="320" y="163"/>
                  </a:lnTo>
                  <a:lnTo>
                    <a:pt x="275" y="199"/>
                  </a:lnTo>
                  <a:lnTo>
                    <a:pt x="231" y="239"/>
                  </a:lnTo>
                  <a:lnTo>
                    <a:pt x="192" y="282"/>
                  </a:lnTo>
                  <a:lnTo>
                    <a:pt x="155" y="326"/>
                  </a:lnTo>
                  <a:lnTo>
                    <a:pt x="122" y="374"/>
                  </a:lnTo>
                  <a:lnTo>
                    <a:pt x="93" y="425"/>
                  </a:lnTo>
                  <a:lnTo>
                    <a:pt x="66" y="477"/>
                  </a:lnTo>
                  <a:lnTo>
                    <a:pt x="44" y="530"/>
                  </a:lnTo>
                  <a:lnTo>
                    <a:pt x="25" y="586"/>
                  </a:lnTo>
                  <a:lnTo>
                    <a:pt x="11" y="643"/>
                  </a:lnTo>
                  <a:lnTo>
                    <a:pt x="0" y="699"/>
                  </a:lnTo>
                  <a:lnTo>
                    <a:pt x="120" y="623"/>
                  </a:lnTo>
                  <a:lnTo>
                    <a:pt x="237" y="543"/>
                  </a:lnTo>
                  <a:lnTo>
                    <a:pt x="426" y="697"/>
                  </a:lnTo>
                  <a:lnTo>
                    <a:pt x="442" y="660"/>
                  </a:lnTo>
                  <a:lnTo>
                    <a:pt x="461" y="624"/>
                  </a:lnTo>
                  <a:lnTo>
                    <a:pt x="484" y="591"/>
                  </a:lnTo>
                  <a:lnTo>
                    <a:pt x="510" y="560"/>
                  </a:lnTo>
                  <a:lnTo>
                    <a:pt x="540" y="531"/>
                  </a:lnTo>
                  <a:lnTo>
                    <a:pt x="572" y="506"/>
                  </a:lnTo>
                  <a:lnTo>
                    <a:pt x="605" y="485"/>
                  </a:lnTo>
                  <a:lnTo>
                    <a:pt x="641" y="466"/>
                  </a:lnTo>
                  <a:lnTo>
                    <a:pt x="679" y="451"/>
                  </a:lnTo>
                  <a:lnTo>
                    <a:pt x="718" y="440"/>
                  </a:lnTo>
                  <a:lnTo>
                    <a:pt x="758" y="432"/>
                  </a:lnTo>
                  <a:lnTo>
                    <a:pt x="798" y="429"/>
                  </a:lnTo>
                  <a:lnTo>
                    <a:pt x="839" y="430"/>
                  </a:lnTo>
                  <a:lnTo>
                    <a:pt x="879" y="435"/>
                  </a:lnTo>
                  <a:lnTo>
                    <a:pt x="919" y="444"/>
                  </a:lnTo>
                  <a:lnTo>
                    <a:pt x="958" y="456"/>
                  </a:lnTo>
                  <a:lnTo>
                    <a:pt x="995" y="473"/>
                  </a:lnTo>
                  <a:lnTo>
                    <a:pt x="1030" y="493"/>
                  </a:lnTo>
                  <a:lnTo>
                    <a:pt x="1063" y="516"/>
                  </a:lnTo>
                  <a:lnTo>
                    <a:pt x="1094" y="543"/>
                  </a:lnTo>
                  <a:lnTo>
                    <a:pt x="1121" y="573"/>
                  </a:lnTo>
                  <a:lnTo>
                    <a:pt x="1146" y="605"/>
                  </a:lnTo>
                  <a:lnTo>
                    <a:pt x="1168" y="640"/>
                  </a:lnTo>
                  <a:lnTo>
                    <a:pt x="1171" y="646"/>
                  </a:lnTo>
                  <a:lnTo>
                    <a:pt x="1041" y="646"/>
                  </a:lnTo>
                  <a:lnTo>
                    <a:pt x="1382" y="886"/>
                  </a:lnTo>
                  <a:lnTo>
                    <a:pt x="1716" y="646"/>
                  </a:lnTo>
                  <a:lnTo>
                    <a:pt x="1606" y="64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0006" name="Freeform 6"/>
            <p:cNvSpPr>
              <a:spLocks/>
            </p:cNvSpPr>
            <p:nvPr/>
          </p:nvSpPr>
          <p:spPr bwMode="auto">
            <a:xfrm>
              <a:off x="1372" y="1735"/>
              <a:ext cx="2704" cy="1610"/>
            </a:xfrm>
            <a:custGeom>
              <a:avLst/>
              <a:gdLst/>
              <a:ahLst/>
              <a:cxnLst>
                <a:cxn ang="0">
                  <a:pos x="1365" y="265"/>
                </a:cxn>
                <a:cxn ang="0">
                  <a:pos x="1360" y="349"/>
                </a:cxn>
                <a:cxn ang="0">
                  <a:pos x="1337" y="429"/>
                </a:cxn>
                <a:cxn ang="0">
                  <a:pos x="1299" y="504"/>
                </a:cxn>
                <a:cxn ang="0">
                  <a:pos x="1247" y="569"/>
                </a:cxn>
                <a:cxn ang="0">
                  <a:pos x="1183" y="624"/>
                </a:cxn>
                <a:cxn ang="0">
                  <a:pos x="1108" y="663"/>
                </a:cxn>
                <a:cxn ang="0">
                  <a:pos x="1028" y="686"/>
                </a:cxn>
                <a:cxn ang="0">
                  <a:pos x="945" y="692"/>
                </a:cxn>
                <a:cxn ang="0">
                  <a:pos x="861" y="682"/>
                </a:cxn>
                <a:cxn ang="0">
                  <a:pos x="782" y="655"/>
                </a:cxn>
                <a:cxn ang="0">
                  <a:pos x="709" y="613"/>
                </a:cxn>
                <a:cxn ang="0">
                  <a:pos x="647" y="556"/>
                </a:cxn>
                <a:cxn ang="0">
                  <a:pos x="598" y="488"/>
                </a:cxn>
                <a:cxn ang="0">
                  <a:pos x="563" y="412"/>
                </a:cxn>
                <a:cxn ang="0">
                  <a:pos x="544" y="330"/>
                </a:cxn>
                <a:cxn ang="0">
                  <a:pos x="543" y="246"/>
                </a:cxn>
                <a:cxn ang="0">
                  <a:pos x="379" y="0"/>
                </a:cxn>
                <a:cxn ang="0">
                  <a:pos x="134" y="238"/>
                </a:cxn>
                <a:cxn ang="0">
                  <a:pos x="138" y="357"/>
                </a:cxn>
                <a:cxn ang="0">
                  <a:pos x="158" y="473"/>
                </a:cxn>
                <a:cxn ang="0">
                  <a:pos x="195" y="585"/>
                </a:cxn>
                <a:cxn ang="0">
                  <a:pos x="248" y="691"/>
                </a:cxn>
                <a:cxn ang="0">
                  <a:pos x="315" y="788"/>
                </a:cxn>
                <a:cxn ang="0">
                  <a:pos x="396" y="875"/>
                </a:cxn>
                <a:cxn ang="0">
                  <a:pos x="489" y="949"/>
                </a:cxn>
                <a:cxn ang="0">
                  <a:pos x="590" y="1009"/>
                </a:cxn>
                <a:cxn ang="0">
                  <a:pos x="699" y="1053"/>
                </a:cxn>
                <a:cxn ang="0">
                  <a:pos x="815" y="1082"/>
                </a:cxn>
                <a:cxn ang="0">
                  <a:pos x="932" y="1094"/>
                </a:cxn>
                <a:cxn ang="0">
                  <a:pos x="1051" y="1088"/>
                </a:cxn>
                <a:cxn ang="0">
                  <a:pos x="1166" y="1067"/>
                </a:cxn>
                <a:cxn ang="0">
                  <a:pos x="1279" y="1027"/>
                </a:cxn>
                <a:cxn ang="0">
                  <a:pos x="1383" y="973"/>
                </a:cxn>
                <a:cxn ang="0">
                  <a:pos x="1479" y="904"/>
                </a:cxn>
                <a:cxn ang="0">
                  <a:pos x="1564" y="822"/>
                </a:cxn>
                <a:cxn ang="0">
                  <a:pos x="1636" y="728"/>
                </a:cxn>
                <a:cxn ang="0">
                  <a:pos x="1695" y="626"/>
                </a:cxn>
                <a:cxn ang="0">
                  <a:pos x="1738" y="516"/>
                </a:cxn>
                <a:cxn ang="0">
                  <a:pos x="1765" y="400"/>
                </a:cxn>
                <a:cxn ang="0">
                  <a:pos x="1775" y="282"/>
                </a:cxn>
                <a:cxn ang="0">
                  <a:pos x="1767" y="164"/>
                </a:cxn>
                <a:cxn ang="0">
                  <a:pos x="1361" y="222"/>
                </a:cxn>
              </a:cxnLst>
              <a:rect l="0" t="0" r="r" b="b"/>
              <a:pathLst>
                <a:path w="1776" h="1095">
                  <a:moveTo>
                    <a:pt x="1361" y="222"/>
                  </a:moveTo>
                  <a:lnTo>
                    <a:pt x="1365" y="265"/>
                  </a:lnTo>
                  <a:lnTo>
                    <a:pt x="1365" y="306"/>
                  </a:lnTo>
                  <a:lnTo>
                    <a:pt x="1360" y="349"/>
                  </a:lnTo>
                  <a:lnTo>
                    <a:pt x="1351" y="389"/>
                  </a:lnTo>
                  <a:lnTo>
                    <a:pt x="1337" y="429"/>
                  </a:lnTo>
                  <a:lnTo>
                    <a:pt x="1321" y="468"/>
                  </a:lnTo>
                  <a:lnTo>
                    <a:pt x="1299" y="504"/>
                  </a:lnTo>
                  <a:lnTo>
                    <a:pt x="1275" y="539"/>
                  </a:lnTo>
                  <a:lnTo>
                    <a:pt x="1247" y="569"/>
                  </a:lnTo>
                  <a:lnTo>
                    <a:pt x="1216" y="597"/>
                  </a:lnTo>
                  <a:lnTo>
                    <a:pt x="1183" y="624"/>
                  </a:lnTo>
                  <a:lnTo>
                    <a:pt x="1146" y="644"/>
                  </a:lnTo>
                  <a:lnTo>
                    <a:pt x="1108" y="663"/>
                  </a:lnTo>
                  <a:lnTo>
                    <a:pt x="1069" y="676"/>
                  </a:lnTo>
                  <a:lnTo>
                    <a:pt x="1028" y="686"/>
                  </a:lnTo>
                  <a:lnTo>
                    <a:pt x="986" y="691"/>
                  </a:lnTo>
                  <a:lnTo>
                    <a:pt x="945" y="692"/>
                  </a:lnTo>
                  <a:lnTo>
                    <a:pt x="902" y="689"/>
                  </a:lnTo>
                  <a:lnTo>
                    <a:pt x="861" y="682"/>
                  </a:lnTo>
                  <a:lnTo>
                    <a:pt x="820" y="670"/>
                  </a:lnTo>
                  <a:lnTo>
                    <a:pt x="782" y="655"/>
                  </a:lnTo>
                  <a:lnTo>
                    <a:pt x="744" y="636"/>
                  </a:lnTo>
                  <a:lnTo>
                    <a:pt x="709" y="613"/>
                  </a:lnTo>
                  <a:lnTo>
                    <a:pt x="676" y="585"/>
                  </a:lnTo>
                  <a:lnTo>
                    <a:pt x="647" y="556"/>
                  </a:lnTo>
                  <a:lnTo>
                    <a:pt x="621" y="523"/>
                  </a:lnTo>
                  <a:lnTo>
                    <a:pt x="598" y="488"/>
                  </a:lnTo>
                  <a:lnTo>
                    <a:pt x="578" y="451"/>
                  </a:lnTo>
                  <a:lnTo>
                    <a:pt x="563" y="412"/>
                  </a:lnTo>
                  <a:lnTo>
                    <a:pt x="552" y="372"/>
                  </a:lnTo>
                  <a:lnTo>
                    <a:pt x="544" y="330"/>
                  </a:lnTo>
                  <a:lnTo>
                    <a:pt x="542" y="288"/>
                  </a:lnTo>
                  <a:lnTo>
                    <a:pt x="543" y="246"/>
                  </a:lnTo>
                  <a:lnTo>
                    <a:pt x="680" y="246"/>
                  </a:lnTo>
                  <a:lnTo>
                    <a:pt x="379" y="0"/>
                  </a:lnTo>
                  <a:lnTo>
                    <a:pt x="0" y="237"/>
                  </a:lnTo>
                  <a:lnTo>
                    <a:pt x="134" y="238"/>
                  </a:lnTo>
                  <a:lnTo>
                    <a:pt x="134" y="297"/>
                  </a:lnTo>
                  <a:lnTo>
                    <a:pt x="138" y="357"/>
                  </a:lnTo>
                  <a:lnTo>
                    <a:pt x="146" y="415"/>
                  </a:lnTo>
                  <a:lnTo>
                    <a:pt x="158" y="473"/>
                  </a:lnTo>
                  <a:lnTo>
                    <a:pt x="175" y="530"/>
                  </a:lnTo>
                  <a:lnTo>
                    <a:pt x="195" y="585"/>
                  </a:lnTo>
                  <a:lnTo>
                    <a:pt x="219" y="640"/>
                  </a:lnTo>
                  <a:lnTo>
                    <a:pt x="248" y="691"/>
                  </a:lnTo>
                  <a:lnTo>
                    <a:pt x="280" y="741"/>
                  </a:lnTo>
                  <a:lnTo>
                    <a:pt x="315" y="788"/>
                  </a:lnTo>
                  <a:lnTo>
                    <a:pt x="355" y="833"/>
                  </a:lnTo>
                  <a:lnTo>
                    <a:pt x="396" y="875"/>
                  </a:lnTo>
                  <a:lnTo>
                    <a:pt x="441" y="914"/>
                  </a:lnTo>
                  <a:lnTo>
                    <a:pt x="489" y="949"/>
                  </a:lnTo>
                  <a:lnTo>
                    <a:pt x="538" y="980"/>
                  </a:lnTo>
                  <a:lnTo>
                    <a:pt x="590" y="1009"/>
                  </a:lnTo>
                  <a:lnTo>
                    <a:pt x="645" y="1033"/>
                  </a:lnTo>
                  <a:lnTo>
                    <a:pt x="699" y="1053"/>
                  </a:lnTo>
                  <a:lnTo>
                    <a:pt x="757" y="1070"/>
                  </a:lnTo>
                  <a:lnTo>
                    <a:pt x="815" y="1082"/>
                  </a:lnTo>
                  <a:lnTo>
                    <a:pt x="873" y="1089"/>
                  </a:lnTo>
                  <a:lnTo>
                    <a:pt x="932" y="1094"/>
                  </a:lnTo>
                  <a:lnTo>
                    <a:pt x="992" y="1093"/>
                  </a:lnTo>
                  <a:lnTo>
                    <a:pt x="1051" y="1088"/>
                  </a:lnTo>
                  <a:lnTo>
                    <a:pt x="1108" y="1080"/>
                  </a:lnTo>
                  <a:lnTo>
                    <a:pt x="1166" y="1067"/>
                  </a:lnTo>
                  <a:lnTo>
                    <a:pt x="1223" y="1049"/>
                  </a:lnTo>
                  <a:lnTo>
                    <a:pt x="1279" y="1027"/>
                  </a:lnTo>
                  <a:lnTo>
                    <a:pt x="1332" y="1002"/>
                  </a:lnTo>
                  <a:lnTo>
                    <a:pt x="1383" y="973"/>
                  </a:lnTo>
                  <a:lnTo>
                    <a:pt x="1432" y="940"/>
                  </a:lnTo>
                  <a:lnTo>
                    <a:pt x="1479" y="904"/>
                  </a:lnTo>
                  <a:lnTo>
                    <a:pt x="1523" y="865"/>
                  </a:lnTo>
                  <a:lnTo>
                    <a:pt x="1564" y="822"/>
                  </a:lnTo>
                  <a:lnTo>
                    <a:pt x="1602" y="776"/>
                  </a:lnTo>
                  <a:lnTo>
                    <a:pt x="1636" y="728"/>
                  </a:lnTo>
                  <a:lnTo>
                    <a:pt x="1668" y="678"/>
                  </a:lnTo>
                  <a:lnTo>
                    <a:pt x="1695" y="626"/>
                  </a:lnTo>
                  <a:lnTo>
                    <a:pt x="1719" y="571"/>
                  </a:lnTo>
                  <a:lnTo>
                    <a:pt x="1738" y="516"/>
                  </a:lnTo>
                  <a:lnTo>
                    <a:pt x="1754" y="459"/>
                  </a:lnTo>
                  <a:lnTo>
                    <a:pt x="1765" y="400"/>
                  </a:lnTo>
                  <a:lnTo>
                    <a:pt x="1772" y="342"/>
                  </a:lnTo>
                  <a:lnTo>
                    <a:pt x="1775" y="282"/>
                  </a:lnTo>
                  <a:lnTo>
                    <a:pt x="1774" y="223"/>
                  </a:lnTo>
                  <a:lnTo>
                    <a:pt x="1767" y="164"/>
                  </a:lnTo>
                  <a:lnTo>
                    <a:pt x="1529" y="342"/>
                  </a:lnTo>
                  <a:lnTo>
                    <a:pt x="1361" y="22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640007" name="Rectangle 7"/>
          <p:cNvSpPr>
            <a:spLocks noChangeArrowheads="1"/>
          </p:cNvSpPr>
          <p:nvPr/>
        </p:nvSpPr>
        <p:spPr bwMode="auto">
          <a:xfrm>
            <a:off x="1778543" y="2030425"/>
            <a:ext cx="204069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40008" name="Rectangle 8"/>
          <p:cNvSpPr>
            <a:spLocks noChangeArrowheads="1"/>
          </p:cNvSpPr>
          <p:nvPr/>
        </p:nvSpPr>
        <p:spPr bwMode="auto">
          <a:xfrm>
            <a:off x="1778543" y="5260243"/>
            <a:ext cx="204069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grpSp>
        <p:nvGrpSpPr>
          <p:cNvPr id="12" name="Group 4"/>
          <p:cNvGrpSpPr>
            <a:grpSpLocks/>
          </p:cNvGrpSpPr>
          <p:nvPr/>
        </p:nvGrpSpPr>
        <p:grpSpPr bwMode="auto">
          <a:xfrm>
            <a:off x="5552616" y="1538669"/>
            <a:ext cx="4689661" cy="4482337"/>
            <a:chOff x="1359" y="837"/>
            <a:chExt cx="2737" cy="2616"/>
          </a:xfrm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1563" y="837"/>
              <a:ext cx="2278" cy="1109"/>
            </a:xfrm>
            <a:custGeom>
              <a:avLst/>
              <a:gdLst/>
              <a:ahLst/>
              <a:cxnLst>
                <a:cxn ang="0">
                  <a:pos x="983" y="584"/>
                </a:cxn>
                <a:cxn ang="0">
                  <a:pos x="1417" y="541"/>
                </a:cxn>
                <a:cxn ang="0">
                  <a:pos x="1552" y="150"/>
                </a:cxn>
                <a:cxn ang="0">
                  <a:pos x="1447" y="227"/>
                </a:cxn>
                <a:cxn ang="0">
                  <a:pos x="1398" y="186"/>
                </a:cxn>
                <a:cxn ang="0">
                  <a:pos x="1347" y="149"/>
                </a:cxn>
                <a:cxn ang="0">
                  <a:pos x="1294" y="116"/>
                </a:cxn>
                <a:cxn ang="0">
                  <a:pos x="1238" y="87"/>
                </a:cxn>
                <a:cxn ang="0">
                  <a:pos x="1181" y="61"/>
                </a:cxn>
                <a:cxn ang="0">
                  <a:pos x="1122" y="41"/>
                </a:cxn>
                <a:cxn ang="0">
                  <a:pos x="1060" y="23"/>
                </a:cxn>
                <a:cxn ang="0">
                  <a:pos x="999" y="12"/>
                </a:cxn>
                <a:cxn ang="0">
                  <a:pos x="936" y="4"/>
                </a:cxn>
                <a:cxn ang="0">
                  <a:pos x="873" y="0"/>
                </a:cxn>
                <a:cxn ang="0">
                  <a:pos x="810" y="2"/>
                </a:cxn>
                <a:cxn ang="0">
                  <a:pos x="748" y="8"/>
                </a:cxn>
                <a:cxn ang="0">
                  <a:pos x="685" y="19"/>
                </a:cxn>
                <a:cxn ang="0">
                  <a:pos x="624" y="34"/>
                </a:cxn>
                <a:cxn ang="0">
                  <a:pos x="564" y="53"/>
                </a:cxn>
                <a:cxn ang="0">
                  <a:pos x="506" y="76"/>
                </a:cxn>
                <a:cxn ang="0">
                  <a:pos x="449" y="104"/>
                </a:cxn>
                <a:cxn ang="0">
                  <a:pos x="395" y="137"/>
                </a:cxn>
                <a:cxn ang="0">
                  <a:pos x="342" y="172"/>
                </a:cxn>
                <a:cxn ang="0">
                  <a:pos x="294" y="212"/>
                </a:cxn>
                <a:cxn ang="0">
                  <a:pos x="248" y="254"/>
                </a:cxn>
                <a:cxn ang="0">
                  <a:pos x="205" y="301"/>
                </a:cxn>
                <a:cxn ang="0">
                  <a:pos x="165" y="350"/>
                </a:cxn>
                <a:cxn ang="0">
                  <a:pos x="130" y="401"/>
                </a:cxn>
                <a:cxn ang="0">
                  <a:pos x="98" y="456"/>
                </a:cxn>
                <a:cxn ang="0">
                  <a:pos x="71" y="512"/>
                </a:cxn>
                <a:cxn ang="0">
                  <a:pos x="46" y="570"/>
                </a:cxn>
                <a:cxn ang="0">
                  <a:pos x="27" y="631"/>
                </a:cxn>
                <a:cxn ang="0">
                  <a:pos x="11" y="692"/>
                </a:cxn>
                <a:cxn ang="0">
                  <a:pos x="0" y="752"/>
                </a:cxn>
                <a:cxn ang="0">
                  <a:pos x="222" y="608"/>
                </a:cxn>
                <a:cxn ang="0">
                  <a:pos x="440" y="749"/>
                </a:cxn>
                <a:cxn ang="0">
                  <a:pos x="455" y="710"/>
                </a:cxn>
                <a:cxn ang="0">
                  <a:pos x="474" y="670"/>
                </a:cxn>
                <a:cxn ang="0">
                  <a:pos x="498" y="632"/>
                </a:cxn>
                <a:cxn ang="0">
                  <a:pos x="525" y="596"/>
                </a:cxn>
                <a:cxn ang="0">
                  <a:pos x="556" y="563"/>
                </a:cxn>
                <a:cxn ang="0">
                  <a:pos x="589" y="533"/>
                </a:cxn>
                <a:cxn ang="0">
                  <a:pos x="626" y="507"/>
                </a:cxn>
                <a:cxn ang="0">
                  <a:pos x="665" y="485"/>
                </a:cxn>
                <a:cxn ang="0">
                  <a:pos x="706" y="467"/>
                </a:cxn>
                <a:cxn ang="0">
                  <a:pos x="749" y="453"/>
                </a:cxn>
                <a:cxn ang="0">
                  <a:pos x="793" y="443"/>
                </a:cxn>
                <a:cxn ang="0">
                  <a:pos x="837" y="438"/>
                </a:cxn>
                <a:cxn ang="0">
                  <a:pos x="882" y="438"/>
                </a:cxn>
                <a:cxn ang="0">
                  <a:pos x="927" y="442"/>
                </a:cxn>
                <a:cxn ang="0">
                  <a:pos x="971" y="450"/>
                </a:cxn>
                <a:cxn ang="0">
                  <a:pos x="1014" y="464"/>
                </a:cxn>
                <a:cxn ang="0">
                  <a:pos x="1055" y="480"/>
                </a:cxn>
                <a:cxn ang="0">
                  <a:pos x="1095" y="502"/>
                </a:cxn>
                <a:cxn ang="0">
                  <a:pos x="983" y="584"/>
                </a:cxn>
              </a:cxnLst>
              <a:rect l="0" t="0" r="r" b="b"/>
              <a:pathLst>
                <a:path w="1553" h="753">
                  <a:moveTo>
                    <a:pt x="983" y="584"/>
                  </a:moveTo>
                  <a:lnTo>
                    <a:pt x="1417" y="541"/>
                  </a:lnTo>
                  <a:lnTo>
                    <a:pt x="1552" y="150"/>
                  </a:lnTo>
                  <a:lnTo>
                    <a:pt x="1447" y="227"/>
                  </a:lnTo>
                  <a:lnTo>
                    <a:pt x="1398" y="186"/>
                  </a:lnTo>
                  <a:lnTo>
                    <a:pt x="1347" y="149"/>
                  </a:lnTo>
                  <a:lnTo>
                    <a:pt x="1294" y="116"/>
                  </a:lnTo>
                  <a:lnTo>
                    <a:pt x="1238" y="87"/>
                  </a:lnTo>
                  <a:lnTo>
                    <a:pt x="1181" y="61"/>
                  </a:lnTo>
                  <a:lnTo>
                    <a:pt x="1122" y="41"/>
                  </a:lnTo>
                  <a:lnTo>
                    <a:pt x="1060" y="23"/>
                  </a:lnTo>
                  <a:lnTo>
                    <a:pt x="999" y="12"/>
                  </a:lnTo>
                  <a:lnTo>
                    <a:pt x="936" y="4"/>
                  </a:lnTo>
                  <a:lnTo>
                    <a:pt x="873" y="0"/>
                  </a:lnTo>
                  <a:lnTo>
                    <a:pt x="810" y="2"/>
                  </a:lnTo>
                  <a:lnTo>
                    <a:pt x="748" y="8"/>
                  </a:lnTo>
                  <a:lnTo>
                    <a:pt x="685" y="19"/>
                  </a:lnTo>
                  <a:lnTo>
                    <a:pt x="624" y="34"/>
                  </a:lnTo>
                  <a:lnTo>
                    <a:pt x="564" y="53"/>
                  </a:lnTo>
                  <a:lnTo>
                    <a:pt x="506" y="76"/>
                  </a:lnTo>
                  <a:lnTo>
                    <a:pt x="449" y="104"/>
                  </a:lnTo>
                  <a:lnTo>
                    <a:pt x="395" y="137"/>
                  </a:lnTo>
                  <a:lnTo>
                    <a:pt x="342" y="172"/>
                  </a:lnTo>
                  <a:lnTo>
                    <a:pt x="294" y="212"/>
                  </a:lnTo>
                  <a:lnTo>
                    <a:pt x="248" y="254"/>
                  </a:lnTo>
                  <a:lnTo>
                    <a:pt x="205" y="301"/>
                  </a:lnTo>
                  <a:lnTo>
                    <a:pt x="165" y="350"/>
                  </a:lnTo>
                  <a:lnTo>
                    <a:pt x="130" y="401"/>
                  </a:lnTo>
                  <a:lnTo>
                    <a:pt x="98" y="456"/>
                  </a:lnTo>
                  <a:lnTo>
                    <a:pt x="71" y="512"/>
                  </a:lnTo>
                  <a:lnTo>
                    <a:pt x="46" y="570"/>
                  </a:lnTo>
                  <a:lnTo>
                    <a:pt x="27" y="631"/>
                  </a:lnTo>
                  <a:lnTo>
                    <a:pt x="11" y="692"/>
                  </a:lnTo>
                  <a:lnTo>
                    <a:pt x="0" y="752"/>
                  </a:lnTo>
                  <a:lnTo>
                    <a:pt x="222" y="608"/>
                  </a:lnTo>
                  <a:lnTo>
                    <a:pt x="440" y="749"/>
                  </a:lnTo>
                  <a:lnTo>
                    <a:pt x="455" y="710"/>
                  </a:lnTo>
                  <a:lnTo>
                    <a:pt x="474" y="670"/>
                  </a:lnTo>
                  <a:lnTo>
                    <a:pt x="498" y="632"/>
                  </a:lnTo>
                  <a:lnTo>
                    <a:pt x="525" y="596"/>
                  </a:lnTo>
                  <a:lnTo>
                    <a:pt x="556" y="563"/>
                  </a:lnTo>
                  <a:lnTo>
                    <a:pt x="589" y="533"/>
                  </a:lnTo>
                  <a:lnTo>
                    <a:pt x="626" y="507"/>
                  </a:lnTo>
                  <a:lnTo>
                    <a:pt x="665" y="485"/>
                  </a:lnTo>
                  <a:lnTo>
                    <a:pt x="706" y="467"/>
                  </a:lnTo>
                  <a:lnTo>
                    <a:pt x="749" y="453"/>
                  </a:lnTo>
                  <a:lnTo>
                    <a:pt x="793" y="443"/>
                  </a:lnTo>
                  <a:lnTo>
                    <a:pt x="837" y="438"/>
                  </a:lnTo>
                  <a:lnTo>
                    <a:pt x="882" y="438"/>
                  </a:lnTo>
                  <a:lnTo>
                    <a:pt x="927" y="442"/>
                  </a:lnTo>
                  <a:lnTo>
                    <a:pt x="971" y="450"/>
                  </a:lnTo>
                  <a:lnTo>
                    <a:pt x="1014" y="464"/>
                  </a:lnTo>
                  <a:lnTo>
                    <a:pt x="1055" y="480"/>
                  </a:lnTo>
                  <a:lnTo>
                    <a:pt x="1095" y="502"/>
                  </a:lnTo>
                  <a:lnTo>
                    <a:pt x="983" y="58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1359" y="1815"/>
              <a:ext cx="1791" cy="1575"/>
            </a:xfrm>
            <a:custGeom>
              <a:avLst/>
              <a:gdLst/>
              <a:ahLst/>
              <a:cxnLst>
                <a:cxn ang="0">
                  <a:pos x="1220" y="1042"/>
                </a:cxn>
                <a:cxn ang="0">
                  <a:pos x="1002" y="847"/>
                </a:cxn>
                <a:cxn ang="0">
                  <a:pos x="1081" y="630"/>
                </a:cxn>
                <a:cxn ang="0">
                  <a:pos x="1038" y="635"/>
                </a:cxn>
                <a:cxn ang="0">
                  <a:pos x="994" y="636"/>
                </a:cxn>
                <a:cxn ang="0">
                  <a:pos x="950" y="634"/>
                </a:cxn>
                <a:cxn ang="0">
                  <a:pos x="906" y="626"/>
                </a:cxn>
                <a:cxn ang="0">
                  <a:pos x="865" y="614"/>
                </a:cxn>
                <a:cxn ang="0">
                  <a:pos x="823" y="599"/>
                </a:cxn>
                <a:cxn ang="0">
                  <a:pos x="784" y="579"/>
                </a:cxn>
                <a:cxn ang="0">
                  <a:pos x="747" y="556"/>
                </a:cxn>
                <a:cxn ang="0">
                  <a:pos x="713" y="528"/>
                </a:cxn>
                <a:cxn ang="0">
                  <a:pos x="682" y="496"/>
                </a:cxn>
                <a:cxn ang="0">
                  <a:pos x="653" y="463"/>
                </a:cxn>
                <a:cxn ang="0">
                  <a:pos x="629" y="427"/>
                </a:cxn>
                <a:cxn ang="0">
                  <a:pos x="609" y="390"/>
                </a:cxn>
                <a:cxn ang="0">
                  <a:pos x="594" y="352"/>
                </a:cxn>
                <a:cxn ang="0">
                  <a:pos x="581" y="314"/>
                </a:cxn>
                <a:cxn ang="0">
                  <a:pos x="573" y="273"/>
                </a:cxn>
                <a:cxn ang="0">
                  <a:pos x="568" y="232"/>
                </a:cxn>
                <a:cxn ang="0">
                  <a:pos x="712" y="232"/>
                </a:cxn>
                <a:cxn ang="0">
                  <a:pos x="368" y="0"/>
                </a:cxn>
                <a:cxn ang="0">
                  <a:pos x="0" y="235"/>
                </a:cxn>
                <a:cxn ang="0">
                  <a:pos x="134" y="234"/>
                </a:cxn>
                <a:cxn ang="0">
                  <a:pos x="139" y="296"/>
                </a:cxn>
                <a:cxn ang="0">
                  <a:pos x="148" y="358"/>
                </a:cxn>
                <a:cxn ang="0">
                  <a:pos x="161" y="419"/>
                </a:cxn>
                <a:cxn ang="0">
                  <a:pos x="178" y="479"/>
                </a:cxn>
                <a:cxn ang="0">
                  <a:pos x="200" y="538"/>
                </a:cxn>
                <a:cxn ang="0">
                  <a:pos x="227" y="595"/>
                </a:cxn>
                <a:cxn ang="0">
                  <a:pos x="257" y="650"/>
                </a:cxn>
                <a:cxn ang="0">
                  <a:pos x="291" y="702"/>
                </a:cxn>
                <a:cxn ang="0">
                  <a:pos x="328" y="751"/>
                </a:cxn>
                <a:cxn ang="0">
                  <a:pos x="369" y="797"/>
                </a:cxn>
                <a:cxn ang="0">
                  <a:pos x="413" y="841"/>
                </a:cxn>
                <a:cxn ang="0">
                  <a:pos x="459" y="882"/>
                </a:cxn>
                <a:cxn ang="0">
                  <a:pos x="509" y="919"/>
                </a:cxn>
                <a:cxn ang="0">
                  <a:pos x="562" y="951"/>
                </a:cxn>
                <a:cxn ang="0">
                  <a:pos x="617" y="981"/>
                </a:cxn>
                <a:cxn ang="0">
                  <a:pos x="673" y="1007"/>
                </a:cxn>
                <a:cxn ang="0">
                  <a:pos x="732" y="1027"/>
                </a:cxn>
                <a:cxn ang="0">
                  <a:pos x="791" y="1045"/>
                </a:cxn>
                <a:cxn ang="0">
                  <a:pos x="852" y="1057"/>
                </a:cxn>
                <a:cxn ang="0">
                  <a:pos x="913" y="1067"/>
                </a:cxn>
                <a:cxn ang="0">
                  <a:pos x="975" y="1070"/>
                </a:cxn>
                <a:cxn ang="0">
                  <a:pos x="1037" y="1070"/>
                </a:cxn>
                <a:cxn ang="0">
                  <a:pos x="1098" y="1066"/>
                </a:cxn>
                <a:cxn ang="0">
                  <a:pos x="1160" y="1056"/>
                </a:cxn>
                <a:cxn ang="0">
                  <a:pos x="1220" y="1042"/>
                </a:cxn>
              </a:cxnLst>
              <a:rect l="0" t="0" r="r" b="b"/>
              <a:pathLst>
                <a:path w="1221" h="1071">
                  <a:moveTo>
                    <a:pt x="1220" y="1042"/>
                  </a:moveTo>
                  <a:lnTo>
                    <a:pt x="1002" y="847"/>
                  </a:lnTo>
                  <a:lnTo>
                    <a:pt x="1081" y="630"/>
                  </a:lnTo>
                  <a:lnTo>
                    <a:pt x="1038" y="635"/>
                  </a:lnTo>
                  <a:lnTo>
                    <a:pt x="994" y="636"/>
                  </a:lnTo>
                  <a:lnTo>
                    <a:pt x="950" y="634"/>
                  </a:lnTo>
                  <a:lnTo>
                    <a:pt x="906" y="626"/>
                  </a:lnTo>
                  <a:lnTo>
                    <a:pt x="865" y="614"/>
                  </a:lnTo>
                  <a:lnTo>
                    <a:pt x="823" y="599"/>
                  </a:lnTo>
                  <a:lnTo>
                    <a:pt x="784" y="579"/>
                  </a:lnTo>
                  <a:lnTo>
                    <a:pt x="747" y="556"/>
                  </a:lnTo>
                  <a:lnTo>
                    <a:pt x="713" y="528"/>
                  </a:lnTo>
                  <a:lnTo>
                    <a:pt x="682" y="496"/>
                  </a:lnTo>
                  <a:lnTo>
                    <a:pt x="653" y="463"/>
                  </a:lnTo>
                  <a:lnTo>
                    <a:pt x="629" y="427"/>
                  </a:lnTo>
                  <a:lnTo>
                    <a:pt x="609" y="390"/>
                  </a:lnTo>
                  <a:lnTo>
                    <a:pt x="594" y="352"/>
                  </a:lnTo>
                  <a:lnTo>
                    <a:pt x="581" y="314"/>
                  </a:lnTo>
                  <a:lnTo>
                    <a:pt x="573" y="273"/>
                  </a:lnTo>
                  <a:lnTo>
                    <a:pt x="568" y="232"/>
                  </a:lnTo>
                  <a:lnTo>
                    <a:pt x="712" y="232"/>
                  </a:lnTo>
                  <a:lnTo>
                    <a:pt x="368" y="0"/>
                  </a:lnTo>
                  <a:lnTo>
                    <a:pt x="0" y="235"/>
                  </a:lnTo>
                  <a:lnTo>
                    <a:pt x="134" y="234"/>
                  </a:lnTo>
                  <a:lnTo>
                    <a:pt x="139" y="296"/>
                  </a:lnTo>
                  <a:lnTo>
                    <a:pt x="148" y="358"/>
                  </a:lnTo>
                  <a:lnTo>
                    <a:pt x="161" y="419"/>
                  </a:lnTo>
                  <a:lnTo>
                    <a:pt x="178" y="479"/>
                  </a:lnTo>
                  <a:lnTo>
                    <a:pt x="200" y="538"/>
                  </a:lnTo>
                  <a:lnTo>
                    <a:pt x="227" y="595"/>
                  </a:lnTo>
                  <a:lnTo>
                    <a:pt x="257" y="650"/>
                  </a:lnTo>
                  <a:lnTo>
                    <a:pt x="291" y="702"/>
                  </a:lnTo>
                  <a:lnTo>
                    <a:pt x="328" y="751"/>
                  </a:lnTo>
                  <a:lnTo>
                    <a:pt x="369" y="797"/>
                  </a:lnTo>
                  <a:lnTo>
                    <a:pt x="413" y="841"/>
                  </a:lnTo>
                  <a:lnTo>
                    <a:pt x="459" y="882"/>
                  </a:lnTo>
                  <a:lnTo>
                    <a:pt x="509" y="919"/>
                  </a:lnTo>
                  <a:lnTo>
                    <a:pt x="562" y="951"/>
                  </a:lnTo>
                  <a:lnTo>
                    <a:pt x="617" y="981"/>
                  </a:lnTo>
                  <a:lnTo>
                    <a:pt x="673" y="1007"/>
                  </a:lnTo>
                  <a:lnTo>
                    <a:pt x="732" y="1027"/>
                  </a:lnTo>
                  <a:lnTo>
                    <a:pt x="791" y="1045"/>
                  </a:lnTo>
                  <a:lnTo>
                    <a:pt x="852" y="1057"/>
                  </a:lnTo>
                  <a:lnTo>
                    <a:pt x="913" y="1067"/>
                  </a:lnTo>
                  <a:lnTo>
                    <a:pt x="975" y="1070"/>
                  </a:lnTo>
                  <a:lnTo>
                    <a:pt x="1037" y="1070"/>
                  </a:lnTo>
                  <a:lnTo>
                    <a:pt x="1098" y="1066"/>
                  </a:lnTo>
                  <a:lnTo>
                    <a:pt x="1160" y="1056"/>
                  </a:lnTo>
                  <a:lnTo>
                    <a:pt x="1220" y="104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2933" y="1334"/>
              <a:ext cx="1163" cy="2119"/>
            </a:xfrm>
            <a:custGeom>
              <a:avLst/>
              <a:gdLst/>
              <a:ahLst/>
              <a:cxnLst>
                <a:cxn ang="0">
                  <a:pos x="286" y="1316"/>
                </a:cxn>
                <a:cxn ang="0">
                  <a:pos x="340" y="1290"/>
                </a:cxn>
                <a:cxn ang="0">
                  <a:pos x="392" y="1260"/>
                </a:cxn>
                <a:cxn ang="0">
                  <a:pos x="442" y="1225"/>
                </a:cxn>
                <a:cxn ang="0">
                  <a:pos x="490" y="1187"/>
                </a:cxn>
                <a:cxn ang="0">
                  <a:pos x="535" y="1146"/>
                </a:cxn>
                <a:cxn ang="0">
                  <a:pos x="576" y="1102"/>
                </a:cxn>
                <a:cxn ang="0">
                  <a:pos x="616" y="1055"/>
                </a:cxn>
                <a:cxn ang="0">
                  <a:pos x="650" y="1005"/>
                </a:cxn>
                <a:cxn ang="0">
                  <a:pos x="682" y="953"/>
                </a:cxn>
                <a:cxn ang="0">
                  <a:pos x="709" y="900"/>
                </a:cxn>
                <a:cxn ang="0">
                  <a:pos x="734" y="844"/>
                </a:cxn>
                <a:cxn ang="0">
                  <a:pos x="753" y="786"/>
                </a:cxn>
                <a:cxn ang="0">
                  <a:pos x="770" y="727"/>
                </a:cxn>
                <a:cxn ang="0">
                  <a:pos x="781" y="668"/>
                </a:cxn>
                <a:cxn ang="0">
                  <a:pos x="789" y="608"/>
                </a:cxn>
                <a:cxn ang="0">
                  <a:pos x="792" y="547"/>
                </a:cxn>
                <a:cxn ang="0">
                  <a:pos x="790" y="487"/>
                </a:cxn>
                <a:cxn ang="0">
                  <a:pos x="786" y="427"/>
                </a:cxn>
                <a:cxn ang="0">
                  <a:pos x="775" y="367"/>
                </a:cxn>
                <a:cxn ang="0">
                  <a:pos x="762" y="308"/>
                </a:cxn>
                <a:cxn ang="0">
                  <a:pos x="744" y="249"/>
                </a:cxn>
                <a:cxn ang="0">
                  <a:pos x="722" y="193"/>
                </a:cxn>
                <a:cxn ang="0">
                  <a:pos x="697" y="137"/>
                </a:cxn>
                <a:cxn ang="0">
                  <a:pos x="667" y="84"/>
                </a:cxn>
                <a:cxn ang="0">
                  <a:pos x="639" y="41"/>
                </a:cxn>
                <a:cxn ang="0">
                  <a:pos x="609" y="0"/>
                </a:cxn>
                <a:cxn ang="0">
                  <a:pos x="521" y="247"/>
                </a:cxn>
                <a:cxn ang="0">
                  <a:pos x="277" y="280"/>
                </a:cxn>
                <a:cxn ang="0">
                  <a:pos x="294" y="308"/>
                </a:cxn>
                <a:cxn ang="0">
                  <a:pos x="316" y="347"/>
                </a:cxn>
                <a:cxn ang="0">
                  <a:pos x="332" y="389"/>
                </a:cxn>
                <a:cxn ang="0">
                  <a:pos x="345" y="431"/>
                </a:cxn>
                <a:cxn ang="0">
                  <a:pos x="353" y="475"/>
                </a:cxn>
                <a:cxn ang="0">
                  <a:pos x="357" y="519"/>
                </a:cxn>
                <a:cxn ang="0">
                  <a:pos x="355" y="564"/>
                </a:cxn>
                <a:cxn ang="0">
                  <a:pos x="350" y="608"/>
                </a:cxn>
                <a:cxn ang="0">
                  <a:pos x="339" y="652"/>
                </a:cxn>
                <a:cxn ang="0">
                  <a:pos x="325" y="694"/>
                </a:cxn>
                <a:cxn ang="0">
                  <a:pos x="306" y="734"/>
                </a:cxn>
                <a:cxn ang="0">
                  <a:pos x="284" y="772"/>
                </a:cxn>
                <a:cxn ang="0">
                  <a:pos x="257" y="808"/>
                </a:cxn>
                <a:cxn ang="0">
                  <a:pos x="227" y="841"/>
                </a:cxn>
                <a:cxn ang="0">
                  <a:pos x="193" y="871"/>
                </a:cxn>
                <a:cxn ang="0">
                  <a:pos x="156" y="896"/>
                </a:cxn>
                <a:cxn ang="0">
                  <a:pos x="113" y="761"/>
                </a:cxn>
                <a:cxn ang="0">
                  <a:pos x="0" y="1169"/>
                </a:cxn>
                <a:cxn ang="0">
                  <a:pos x="321" y="1439"/>
                </a:cxn>
                <a:cxn ang="0">
                  <a:pos x="286" y="1316"/>
                </a:cxn>
              </a:cxnLst>
              <a:rect l="0" t="0" r="r" b="b"/>
              <a:pathLst>
                <a:path w="793" h="1440">
                  <a:moveTo>
                    <a:pt x="286" y="1316"/>
                  </a:moveTo>
                  <a:lnTo>
                    <a:pt x="340" y="1290"/>
                  </a:lnTo>
                  <a:lnTo>
                    <a:pt x="392" y="1260"/>
                  </a:lnTo>
                  <a:lnTo>
                    <a:pt x="442" y="1225"/>
                  </a:lnTo>
                  <a:lnTo>
                    <a:pt x="490" y="1187"/>
                  </a:lnTo>
                  <a:lnTo>
                    <a:pt x="535" y="1146"/>
                  </a:lnTo>
                  <a:lnTo>
                    <a:pt x="576" y="1102"/>
                  </a:lnTo>
                  <a:lnTo>
                    <a:pt x="616" y="1055"/>
                  </a:lnTo>
                  <a:lnTo>
                    <a:pt x="650" y="1005"/>
                  </a:lnTo>
                  <a:lnTo>
                    <a:pt x="682" y="953"/>
                  </a:lnTo>
                  <a:lnTo>
                    <a:pt x="709" y="900"/>
                  </a:lnTo>
                  <a:lnTo>
                    <a:pt x="734" y="844"/>
                  </a:lnTo>
                  <a:lnTo>
                    <a:pt x="753" y="786"/>
                  </a:lnTo>
                  <a:lnTo>
                    <a:pt x="770" y="727"/>
                  </a:lnTo>
                  <a:lnTo>
                    <a:pt x="781" y="668"/>
                  </a:lnTo>
                  <a:lnTo>
                    <a:pt x="789" y="608"/>
                  </a:lnTo>
                  <a:lnTo>
                    <a:pt x="792" y="547"/>
                  </a:lnTo>
                  <a:lnTo>
                    <a:pt x="790" y="487"/>
                  </a:lnTo>
                  <a:lnTo>
                    <a:pt x="786" y="427"/>
                  </a:lnTo>
                  <a:lnTo>
                    <a:pt x="775" y="367"/>
                  </a:lnTo>
                  <a:lnTo>
                    <a:pt x="762" y="308"/>
                  </a:lnTo>
                  <a:lnTo>
                    <a:pt x="744" y="249"/>
                  </a:lnTo>
                  <a:lnTo>
                    <a:pt x="722" y="193"/>
                  </a:lnTo>
                  <a:lnTo>
                    <a:pt x="697" y="137"/>
                  </a:lnTo>
                  <a:lnTo>
                    <a:pt x="667" y="84"/>
                  </a:lnTo>
                  <a:lnTo>
                    <a:pt x="639" y="41"/>
                  </a:lnTo>
                  <a:lnTo>
                    <a:pt x="609" y="0"/>
                  </a:lnTo>
                  <a:lnTo>
                    <a:pt x="521" y="247"/>
                  </a:lnTo>
                  <a:lnTo>
                    <a:pt x="277" y="280"/>
                  </a:lnTo>
                  <a:lnTo>
                    <a:pt x="294" y="308"/>
                  </a:lnTo>
                  <a:lnTo>
                    <a:pt x="316" y="347"/>
                  </a:lnTo>
                  <a:lnTo>
                    <a:pt x="332" y="389"/>
                  </a:lnTo>
                  <a:lnTo>
                    <a:pt x="345" y="431"/>
                  </a:lnTo>
                  <a:lnTo>
                    <a:pt x="353" y="475"/>
                  </a:lnTo>
                  <a:lnTo>
                    <a:pt x="357" y="519"/>
                  </a:lnTo>
                  <a:lnTo>
                    <a:pt x="355" y="564"/>
                  </a:lnTo>
                  <a:lnTo>
                    <a:pt x="350" y="608"/>
                  </a:lnTo>
                  <a:lnTo>
                    <a:pt x="339" y="652"/>
                  </a:lnTo>
                  <a:lnTo>
                    <a:pt x="325" y="694"/>
                  </a:lnTo>
                  <a:lnTo>
                    <a:pt x="306" y="734"/>
                  </a:lnTo>
                  <a:lnTo>
                    <a:pt x="284" y="772"/>
                  </a:lnTo>
                  <a:lnTo>
                    <a:pt x="257" y="808"/>
                  </a:lnTo>
                  <a:lnTo>
                    <a:pt x="227" y="841"/>
                  </a:lnTo>
                  <a:lnTo>
                    <a:pt x="193" y="871"/>
                  </a:lnTo>
                  <a:lnTo>
                    <a:pt x="156" y="896"/>
                  </a:lnTo>
                  <a:lnTo>
                    <a:pt x="113" y="761"/>
                  </a:lnTo>
                  <a:lnTo>
                    <a:pt x="0" y="1169"/>
                  </a:lnTo>
                  <a:lnTo>
                    <a:pt x="321" y="1439"/>
                  </a:lnTo>
                  <a:lnTo>
                    <a:pt x="286" y="131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6717749" y="2023571"/>
            <a:ext cx="2508464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9037735" y="4187634"/>
            <a:ext cx="1124011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18" name="Rectangle 10"/>
          <p:cNvSpPr>
            <a:spLocks noChangeArrowheads="1"/>
          </p:cNvSpPr>
          <p:nvPr/>
        </p:nvSpPr>
        <p:spPr bwMode="auto">
          <a:xfrm>
            <a:off x="6227707" y="4557736"/>
            <a:ext cx="110173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19" name="Título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9474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38655" y="1065762"/>
            <a:ext cx="5119733" cy="5066617"/>
            <a:chOff x="1357" y="640"/>
            <a:chExt cx="2988" cy="2957"/>
          </a:xfrm>
        </p:grpSpPr>
        <p:sp>
          <p:nvSpPr>
            <p:cNvPr id="642053" name="Freeform 5"/>
            <p:cNvSpPr>
              <a:spLocks/>
            </p:cNvSpPr>
            <p:nvPr/>
          </p:nvSpPr>
          <p:spPr bwMode="auto">
            <a:xfrm>
              <a:off x="1537" y="640"/>
              <a:ext cx="1556" cy="1312"/>
            </a:xfrm>
            <a:custGeom>
              <a:avLst/>
              <a:gdLst/>
              <a:ahLst/>
              <a:cxnLst>
                <a:cxn ang="0">
                  <a:pos x="455" y="879"/>
                </a:cxn>
                <a:cxn ang="0">
                  <a:pos x="471" y="838"/>
                </a:cxn>
                <a:cxn ang="0">
                  <a:pos x="490" y="799"/>
                </a:cxn>
                <a:cxn ang="0">
                  <a:pos x="514" y="762"/>
                </a:cxn>
                <a:cxn ang="0">
                  <a:pos x="541" y="728"/>
                </a:cxn>
                <a:cxn ang="0">
                  <a:pos x="570" y="696"/>
                </a:cxn>
                <a:cxn ang="0">
                  <a:pos x="603" y="667"/>
                </a:cxn>
                <a:cxn ang="0">
                  <a:pos x="639" y="642"/>
                </a:cxn>
                <a:cxn ang="0">
                  <a:pos x="676" y="621"/>
                </a:cxn>
                <a:cxn ang="0">
                  <a:pos x="713" y="605"/>
                </a:cxn>
                <a:cxn ang="0">
                  <a:pos x="753" y="591"/>
                </a:cxn>
                <a:cxn ang="0">
                  <a:pos x="793" y="581"/>
                </a:cxn>
                <a:cxn ang="0">
                  <a:pos x="834" y="575"/>
                </a:cxn>
                <a:cxn ang="0">
                  <a:pos x="833" y="711"/>
                </a:cxn>
                <a:cxn ang="0">
                  <a:pos x="1056" y="374"/>
                </a:cxn>
                <a:cxn ang="0">
                  <a:pos x="818" y="0"/>
                </a:cxn>
                <a:cxn ang="0">
                  <a:pos x="819" y="137"/>
                </a:cxn>
                <a:cxn ang="0">
                  <a:pos x="757" y="143"/>
                </a:cxn>
                <a:cxn ang="0">
                  <a:pos x="694" y="154"/>
                </a:cxn>
                <a:cxn ang="0">
                  <a:pos x="634" y="168"/>
                </a:cxn>
                <a:cxn ang="0">
                  <a:pos x="574" y="188"/>
                </a:cxn>
                <a:cxn ang="0">
                  <a:pos x="516" y="211"/>
                </a:cxn>
                <a:cxn ang="0">
                  <a:pos x="460" y="238"/>
                </a:cxn>
                <a:cxn ang="0">
                  <a:pos x="405" y="270"/>
                </a:cxn>
                <a:cxn ang="0">
                  <a:pos x="352" y="306"/>
                </a:cxn>
                <a:cxn ang="0">
                  <a:pos x="302" y="346"/>
                </a:cxn>
                <a:cxn ang="0">
                  <a:pos x="255" y="390"/>
                </a:cxn>
                <a:cxn ang="0">
                  <a:pos x="211" y="437"/>
                </a:cxn>
                <a:cxn ang="0">
                  <a:pos x="170" y="486"/>
                </a:cxn>
                <a:cxn ang="0">
                  <a:pos x="134" y="539"/>
                </a:cxn>
                <a:cxn ang="0">
                  <a:pos x="101" y="595"/>
                </a:cxn>
                <a:cxn ang="0">
                  <a:pos x="72" y="653"/>
                </a:cxn>
                <a:cxn ang="0">
                  <a:pos x="47" y="711"/>
                </a:cxn>
                <a:cxn ang="0">
                  <a:pos x="27" y="773"/>
                </a:cxn>
                <a:cxn ang="0">
                  <a:pos x="11" y="835"/>
                </a:cxn>
                <a:cxn ang="0">
                  <a:pos x="0" y="899"/>
                </a:cxn>
                <a:cxn ang="0">
                  <a:pos x="238" y="741"/>
                </a:cxn>
                <a:cxn ang="0">
                  <a:pos x="455" y="879"/>
                </a:cxn>
              </a:cxnLst>
              <a:rect l="0" t="0" r="r" b="b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2054" name="Freeform 6"/>
            <p:cNvSpPr>
              <a:spLocks/>
            </p:cNvSpPr>
            <p:nvPr/>
          </p:nvSpPr>
          <p:spPr bwMode="auto">
            <a:xfrm>
              <a:off x="2578" y="2280"/>
              <a:ext cx="1521" cy="1317"/>
            </a:xfrm>
            <a:custGeom>
              <a:avLst/>
              <a:gdLst/>
              <a:ahLst/>
              <a:cxnLst>
                <a:cxn ang="0">
                  <a:pos x="585" y="1"/>
                </a:cxn>
                <a:cxn ang="0">
                  <a:pos x="573" y="41"/>
                </a:cxn>
                <a:cxn ang="0">
                  <a:pos x="556" y="78"/>
                </a:cxn>
                <a:cxn ang="0">
                  <a:pos x="537" y="116"/>
                </a:cxn>
                <a:cxn ang="0">
                  <a:pos x="514" y="150"/>
                </a:cxn>
                <a:cxn ang="0">
                  <a:pos x="488" y="182"/>
                </a:cxn>
                <a:cxn ang="0">
                  <a:pos x="459" y="212"/>
                </a:cxn>
                <a:cxn ang="0">
                  <a:pos x="427" y="239"/>
                </a:cxn>
                <a:cxn ang="0">
                  <a:pos x="393" y="262"/>
                </a:cxn>
                <a:cxn ang="0">
                  <a:pos x="356" y="283"/>
                </a:cxn>
                <a:cxn ang="0">
                  <a:pos x="317" y="301"/>
                </a:cxn>
                <a:cxn ang="0">
                  <a:pos x="277" y="314"/>
                </a:cxn>
                <a:cxn ang="0">
                  <a:pos x="236" y="323"/>
                </a:cxn>
                <a:cxn ang="0">
                  <a:pos x="235" y="187"/>
                </a:cxn>
                <a:cxn ang="0">
                  <a:pos x="159" y="298"/>
                </a:cxn>
                <a:cxn ang="0">
                  <a:pos x="80" y="409"/>
                </a:cxn>
                <a:cxn ang="0">
                  <a:pos x="0" y="517"/>
                </a:cxn>
                <a:cxn ang="0">
                  <a:pos x="236" y="903"/>
                </a:cxn>
                <a:cxn ang="0">
                  <a:pos x="236" y="766"/>
                </a:cxn>
                <a:cxn ang="0">
                  <a:pos x="295" y="759"/>
                </a:cxn>
                <a:cxn ang="0">
                  <a:pos x="353" y="747"/>
                </a:cxn>
                <a:cxn ang="0">
                  <a:pos x="411" y="733"/>
                </a:cxn>
                <a:cxn ang="0">
                  <a:pos x="467" y="713"/>
                </a:cxn>
                <a:cxn ang="0">
                  <a:pos x="522" y="691"/>
                </a:cxn>
                <a:cxn ang="0">
                  <a:pos x="575" y="665"/>
                </a:cxn>
                <a:cxn ang="0">
                  <a:pos x="626" y="635"/>
                </a:cxn>
                <a:cxn ang="0">
                  <a:pos x="676" y="601"/>
                </a:cxn>
                <a:cxn ang="0">
                  <a:pos x="724" y="564"/>
                </a:cxn>
                <a:cxn ang="0">
                  <a:pos x="768" y="525"/>
                </a:cxn>
                <a:cxn ang="0">
                  <a:pos x="811" y="481"/>
                </a:cxn>
                <a:cxn ang="0">
                  <a:pos x="849" y="435"/>
                </a:cxn>
                <a:cxn ang="0">
                  <a:pos x="884" y="387"/>
                </a:cxn>
                <a:cxn ang="0">
                  <a:pos x="916" y="337"/>
                </a:cxn>
                <a:cxn ang="0">
                  <a:pos x="945" y="284"/>
                </a:cxn>
                <a:cxn ang="0">
                  <a:pos x="970" y="231"/>
                </a:cxn>
                <a:cxn ang="0">
                  <a:pos x="991" y="174"/>
                </a:cxn>
                <a:cxn ang="0">
                  <a:pos x="1009" y="117"/>
                </a:cxn>
                <a:cxn ang="0">
                  <a:pos x="1023" y="58"/>
                </a:cxn>
                <a:cxn ang="0">
                  <a:pos x="1032" y="0"/>
                </a:cxn>
                <a:cxn ang="0">
                  <a:pos x="812" y="132"/>
                </a:cxn>
                <a:cxn ang="0">
                  <a:pos x="585" y="1"/>
                </a:cxn>
              </a:cxnLst>
              <a:rect l="0" t="0" r="r" b="b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2055" name="Freeform 7"/>
            <p:cNvSpPr>
              <a:spLocks/>
            </p:cNvSpPr>
            <p:nvPr/>
          </p:nvSpPr>
          <p:spPr bwMode="auto">
            <a:xfrm>
              <a:off x="1357" y="1800"/>
              <a:ext cx="1370" cy="1567"/>
            </a:xfrm>
            <a:custGeom>
              <a:avLst/>
              <a:gdLst/>
              <a:ahLst/>
              <a:cxnLst>
                <a:cxn ang="0">
                  <a:pos x="929" y="645"/>
                </a:cxn>
                <a:cxn ang="0">
                  <a:pos x="887" y="634"/>
                </a:cxn>
                <a:cxn ang="0">
                  <a:pos x="847" y="620"/>
                </a:cxn>
                <a:cxn ang="0">
                  <a:pos x="807" y="603"/>
                </a:cxn>
                <a:cxn ang="0">
                  <a:pos x="771" y="582"/>
                </a:cxn>
                <a:cxn ang="0">
                  <a:pos x="735" y="557"/>
                </a:cxn>
                <a:cxn ang="0">
                  <a:pos x="703" y="529"/>
                </a:cxn>
                <a:cxn ang="0">
                  <a:pos x="673" y="497"/>
                </a:cxn>
                <a:cxn ang="0">
                  <a:pos x="648" y="465"/>
                </a:cxn>
                <a:cxn ang="0">
                  <a:pos x="624" y="428"/>
                </a:cxn>
                <a:cxn ang="0">
                  <a:pos x="607" y="398"/>
                </a:cxn>
                <a:cxn ang="0">
                  <a:pos x="594" y="366"/>
                </a:cxn>
                <a:cxn ang="0">
                  <a:pos x="583" y="332"/>
                </a:cxn>
                <a:cxn ang="0">
                  <a:pos x="577" y="298"/>
                </a:cxn>
                <a:cxn ang="0">
                  <a:pos x="575" y="264"/>
                </a:cxn>
                <a:cxn ang="0">
                  <a:pos x="576" y="229"/>
                </a:cxn>
                <a:cxn ang="0">
                  <a:pos x="748" y="229"/>
                </a:cxn>
                <a:cxn ang="0">
                  <a:pos x="360" y="0"/>
                </a:cxn>
                <a:cxn ang="0">
                  <a:pos x="0" y="236"/>
                </a:cxn>
                <a:cxn ang="0">
                  <a:pos x="136" y="237"/>
                </a:cxn>
                <a:cxn ang="0">
                  <a:pos x="141" y="299"/>
                </a:cxn>
                <a:cxn ang="0">
                  <a:pos x="150" y="362"/>
                </a:cxn>
                <a:cxn ang="0">
                  <a:pos x="165" y="422"/>
                </a:cxn>
                <a:cxn ang="0">
                  <a:pos x="182" y="483"/>
                </a:cxn>
                <a:cxn ang="0">
                  <a:pos x="204" y="541"/>
                </a:cxn>
                <a:cxn ang="0">
                  <a:pos x="231" y="598"/>
                </a:cxn>
                <a:cxn ang="0">
                  <a:pos x="262" y="653"/>
                </a:cxn>
                <a:cxn ang="0">
                  <a:pos x="296" y="704"/>
                </a:cxn>
                <a:cxn ang="0">
                  <a:pos x="333" y="752"/>
                </a:cxn>
                <a:cxn ang="0">
                  <a:pos x="374" y="797"/>
                </a:cxn>
                <a:cxn ang="0">
                  <a:pos x="419" y="841"/>
                </a:cxn>
                <a:cxn ang="0">
                  <a:pos x="465" y="880"/>
                </a:cxn>
                <a:cxn ang="0">
                  <a:pos x="514" y="917"/>
                </a:cxn>
                <a:cxn ang="0">
                  <a:pos x="566" y="951"/>
                </a:cxn>
                <a:cxn ang="0">
                  <a:pos x="620" y="980"/>
                </a:cxn>
                <a:cxn ang="0">
                  <a:pos x="675" y="1007"/>
                </a:cxn>
                <a:cxn ang="0">
                  <a:pos x="732" y="1029"/>
                </a:cxn>
                <a:cxn ang="0">
                  <a:pos x="790" y="1048"/>
                </a:cxn>
                <a:cxn ang="0">
                  <a:pos x="849" y="1062"/>
                </a:cxn>
                <a:cxn ang="0">
                  <a:pos x="910" y="1074"/>
                </a:cxn>
                <a:cxn ang="0">
                  <a:pos x="772" y="845"/>
                </a:cxn>
                <a:cxn ang="0">
                  <a:pos x="929" y="645"/>
                </a:cxn>
              </a:cxnLst>
              <a:rect l="0" t="0" r="r" b="b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2056" name="Freeform 8"/>
            <p:cNvSpPr>
              <a:spLocks/>
            </p:cNvSpPr>
            <p:nvPr/>
          </p:nvSpPr>
          <p:spPr bwMode="auto">
            <a:xfrm>
              <a:off x="2956" y="847"/>
              <a:ext cx="1389" cy="1552"/>
            </a:xfrm>
            <a:custGeom>
              <a:avLst/>
              <a:gdLst/>
              <a:ahLst/>
              <a:cxnLst>
                <a:cxn ang="0">
                  <a:pos x="554" y="1064"/>
                </a:cxn>
                <a:cxn ang="0">
                  <a:pos x="942" y="840"/>
                </a:cxn>
                <a:cxn ang="0">
                  <a:pos x="781" y="840"/>
                </a:cxn>
                <a:cxn ang="0">
                  <a:pos x="776" y="778"/>
                </a:cxn>
                <a:cxn ang="0">
                  <a:pos x="767" y="716"/>
                </a:cxn>
                <a:cxn ang="0">
                  <a:pos x="754" y="655"/>
                </a:cxn>
                <a:cxn ang="0">
                  <a:pos x="737" y="595"/>
                </a:cxn>
                <a:cxn ang="0">
                  <a:pos x="714" y="536"/>
                </a:cxn>
                <a:cxn ang="0">
                  <a:pos x="688" y="480"/>
                </a:cxn>
                <a:cxn ang="0">
                  <a:pos x="658" y="425"/>
                </a:cxn>
                <a:cxn ang="0">
                  <a:pos x="624" y="372"/>
                </a:cxn>
                <a:cxn ang="0">
                  <a:pos x="586" y="323"/>
                </a:cxn>
                <a:cxn ang="0">
                  <a:pos x="547" y="275"/>
                </a:cxn>
                <a:cxn ang="0">
                  <a:pos x="502" y="232"/>
                </a:cxn>
                <a:cxn ang="0">
                  <a:pos x="455" y="191"/>
                </a:cxn>
                <a:cxn ang="0">
                  <a:pos x="405" y="153"/>
                </a:cxn>
                <a:cxn ang="0">
                  <a:pos x="352" y="120"/>
                </a:cxn>
                <a:cxn ang="0">
                  <a:pos x="298" y="89"/>
                </a:cxn>
                <a:cxn ang="0">
                  <a:pos x="241" y="63"/>
                </a:cxn>
                <a:cxn ang="0">
                  <a:pos x="182" y="41"/>
                </a:cxn>
                <a:cxn ang="0">
                  <a:pos x="122" y="23"/>
                </a:cxn>
                <a:cxn ang="0">
                  <a:pos x="61" y="9"/>
                </a:cxn>
                <a:cxn ang="0">
                  <a:pos x="0" y="0"/>
                </a:cxn>
                <a:cxn ang="0">
                  <a:pos x="137" y="226"/>
                </a:cxn>
                <a:cxn ang="0">
                  <a:pos x="5" y="451"/>
                </a:cxn>
                <a:cxn ang="0">
                  <a:pos x="48" y="465"/>
                </a:cxn>
                <a:cxn ang="0">
                  <a:pos x="90" y="483"/>
                </a:cxn>
                <a:cxn ang="0">
                  <a:pos x="130" y="505"/>
                </a:cxn>
                <a:cxn ang="0">
                  <a:pos x="168" y="531"/>
                </a:cxn>
                <a:cxn ang="0">
                  <a:pos x="202" y="561"/>
                </a:cxn>
                <a:cxn ang="0">
                  <a:pos x="233" y="594"/>
                </a:cxn>
                <a:cxn ang="0">
                  <a:pos x="262" y="629"/>
                </a:cxn>
                <a:cxn ang="0">
                  <a:pos x="285" y="668"/>
                </a:cxn>
                <a:cxn ang="0">
                  <a:pos x="305" y="709"/>
                </a:cxn>
                <a:cxn ang="0">
                  <a:pos x="321" y="751"/>
                </a:cxn>
                <a:cxn ang="0">
                  <a:pos x="333" y="795"/>
                </a:cxn>
                <a:cxn ang="0">
                  <a:pos x="340" y="840"/>
                </a:cxn>
                <a:cxn ang="0">
                  <a:pos x="188" y="841"/>
                </a:cxn>
                <a:cxn ang="0">
                  <a:pos x="554" y="1064"/>
                </a:cxn>
              </a:cxnLst>
              <a:rect l="0" t="0" r="r" b="b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642057" name="Rectangle 9"/>
          <p:cNvSpPr>
            <a:spLocks noChangeArrowheads="1"/>
          </p:cNvSpPr>
          <p:nvPr/>
        </p:nvSpPr>
        <p:spPr bwMode="auto">
          <a:xfrm>
            <a:off x="1209549" y="2172639"/>
            <a:ext cx="91154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42058" name="Rectangle 10"/>
          <p:cNvSpPr>
            <a:spLocks noChangeArrowheads="1"/>
          </p:cNvSpPr>
          <p:nvPr/>
        </p:nvSpPr>
        <p:spPr bwMode="auto">
          <a:xfrm>
            <a:off x="3539816" y="2556448"/>
            <a:ext cx="91154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42059" name="Rectangle 11"/>
          <p:cNvSpPr>
            <a:spLocks noChangeArrowheads="1"/>
          </p:cNvSpPr>
          <p:nvPr/>
        </p:nvSpPr>
        <p:spPr bwMode="auto">
          <a:xfrm>
            <a:off x="3191990" y="4718798"/>
            <a:ext cx="914972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642060" name="Rectangle 12"/>
          <p:cNvSpPr>
            <a:spLocks noChangeArrowheads="1"/>
          </p:cNvSpPr>
          <p:nvPr/>
        </p:nvSpPr>
        <p:spPr bwMode="auto">
          <a:xfrm>
            <a:off x="810320" y="4280160"/>
            <a:ext cx="909833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511"/>
              <a:t>Texto</a:t>
            </a:r>
            <a:endParaRPr lang="pt-BR" sz="1511" dirty="0"/>
          </a:p>
        </p:txBody>
      </p:sp>
      <p:grpSp>
        <p:nvGrpSpPr>
          <p:cNvPr id="16" name="Group 4"/>
          <p:cNvGrpSpPr>
            <a:grpSpLocks/>
          </p:cNvGrpSpPr>
          <p:nvPr/>
        </p:nvGrpSpPr>
        <p:grpSpPr bwMode="auto">
          <a:xfrm>
            <a:off x="5678446" y="1059631"/>
            <a:ext cx="4874712" cy="4694802"/>
            <a:chOff x="1379" y="656"/>
            <a:chExt cx="2845" cy="274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1669" y="656"/>
              <a:ext cx="1424" cy="1170"/>
            </a:xfrm>
            <a:custGeom>
              <a:avLst/>
              <a:gdLst/>
              <a:ahLst/>
              <a:cxnLst>
                <a:cxn ang="0">
                  <a:pos x="402" y="804"/>
                </a:cxn>
                <a:cxn ang="0">
                  <a:pos x="424" y="765"/>
                </a:cxn>
                <a:cxn ang="0">
                  <a:pos x="450" y="730"/>
                </a:cxn>
                <a:cxn ang="0">
                  <a:pos x="479" y="698"/>
                </a:cxn>
                <a:cxn ang="0">
                  <a:pos x="512" y="668"/>
                </a:cxn>
                <a:cxn ang="0">
                  <a:pos x="548" y="642"/>
                </a:cxn>
                <a:cxn ang="0">
                  <a:pos x="583" y="621"/>
                </a:cxn>
                <a:cxn ang="0">
                  <a:pos x="620" y="603"/>
                </a:cxn>
                <a:cxn ang="0">
                  <a:pos x="660" y="589"/>
                </a:cxn>
                <a:cxn ang="0">
                  <a:pos x="699" y="579"/>
                </a:cxn>
                <a:cxn ang="0">
                  <a:pos x="740" y="572"/>
                </a:cxn>
                <a:cxn ang="0">
                  <a:pos x="752" y="722"/>
                </a:cxn>
                <a:cxn ang="0">
                  <a:pos x="972" y="356"/>
                </a:cxn>
                <a:cxn ang="0">
                  <a:pos x="712" y="0"/>
                </a:cxn>
                <a:cxn ang="0">
                  <a:pos x="713" y="134"/>
                </a:cxn>
                <a:cxn ang="0">
                  <a:pos x="651" y="142"/>
                </a:cxn>
                <a:cxn ang="0">
                  <a:pos x="590" y="154"/>
                </a:cxn>
                <a:cxn ang="0">
                  <a:pos x="530" y="170"/>
                </a:cxn>
                <a:cxn ang="0">
                  <a:pos x="471" y="191"/>
                </a:cxn>
                <a:cxn ang="0">
                  <a:pos x="414" y="216"/>
                </a:cxn>
                <a:cxn ang="0">
                  <a:pos x="359" y="245"/>
                </a:cxn>
                <a:cxn ang="0">
                  <a:pos x="305" y="278"/>
                </a:cxn>
                <a:cxn ang="0">
                  <a:pos x="257" y="312"/>
                </a:cxn>
                <a:cxn ang="0">
                  <a:pos x="212" y="349"/>
                </a:cxn>
                <a:cxn ang="0">
                  <a:pos x="170" y="390"/>
                </a:cxn>
                <a:cxn ang="0">
                  <a:pos x="129" y="432"/>
                </a:cxn>
                <a:cxn ang="0">
                  <a:pos x="92" y="478"/>
                </a:cxn>
                <a:cxn ang="0">
                  <a:pos x="58" y="526"/>
                </a:cxn>
                <a:cxn ang="0">
                  <a:pos x="27" y="576"/>
                </a:cxn>
                <a:cxn ang="0">
                  <a:pos x="0" y="628"/>
                </a:cxn>
                <a:cxn ang="0">
                  <a:pos x="264" y="607"/>
                </a:cxn>
                <a:cxn ang="0">
                  <a:pos x="402" y="804"/>
                </a:cxn>
              </a:cxnLst>
              <a:rect l="0" t="0" r="r" b="b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2935" y="851"/>
              <a:ext cx="1289" cy="1190"/>
            </a:xfrm>
            <a:custGeom>
              <a:avLst/>
              <a:gdLst/>
              <a:ahLst/>
              <a:cxnLst>
                <a:cxn ang="0">
                  <a:pos x="583" y="818"/>
                </a:cxn>
                <a:cxn ang="0">
                  <a:pos x="685" y="715"/>
                </a:cxn>
                <a:cxn ang="0">
                  <a:pos x="784" y="609"/>
                </a:cxn>
                <a:cxn ang="0">
                  <a:pos x="880" y="502"/>
                </a:cxn>
                <a:cxn ang="0">
                  <a:pos x="734" y="542"/>
                </a:cxn>
                <a:cxn ang="0">
                  <a:pos x="709" y="487"/>
                </a:cxn>
                <a:cxn ang="0">
                  <a:pos x="681" y="433"/>
                </a:cxn>
                <a:cxn ang="0">
                  <a:pos x="650" y="383"/>
                </a:cxn>
                <a:cxn ang="0">
                  <a:pos x="615" y="334"/>
                </a:cxn>
                <a:cxn ang="0">
                  <a:pos x="576" y="288"/>
                </a:cxn>
                <a:cxn ang="0">
                  <a:pos x="534" y="245"/>
                </a:cxn>
                <a:cxn ang="0">
                  <a:pos x="490" y="204"/>
                </a:cxn>
                <a:cxn ang="0">
                  <a:pos x="443" y="168"/>
                </a:cxn>
                <a:cxn ang="0">
                  <a:pos x="393" y="133"/>
                </a:cxn>
                <a:cxn ang="0">
                  <a:pos x="342" y="103"/>
                </a:cxn>
                <a:cxn ang="0">
                  <a:pos x="288" y="76"/>
                </a:cxn>
                <a:cxn ang="0">
                  <a:pos x="233" y="54"/>
                </a:cxn>
                <a:cxn ang="0">
                  <a:pos x="176" y="34"/>
                </a:cxn>
                <a:cxn ang="0">
                  <a:pos x="118" y="19"/>
                </a:cxn>
                <a:cxn ang="0">
                  <a:pos x="60" y="8"/>
                </a:cxn>
                <a:cxn ang="0">
                  <a:pos x="0" y="0"/>
                </a:cxn>
                <a:cxn ang="0">
                  <a:pos x="147" y="218"/>
                </a:cxn>
                <a:cxn ang="0">
                  <a:pos x="27" y="444"/>
                </a:cxn>
                <a:cxn ang="0">
                  <a:pos x="70" y="456"/>
                </a:cxn>
                <a:cxn ang="0">
                  <a:pos x="111" y="474"/>
                </a:cxn>
                <a:cxn ang="0">
                  <a:pos x="149" y="496"/>
                </a:cxn>
                <a:cxn ang="0">
                  <a:pos x="187" y="522"/>
                </a:cxn>
                <a:cxn ang="0">
                  <a:pos x="220" y="551"/>
                </a:cxn>
                <a:cxn ang="0">
                  <a:pos x="252" y="584"/>
                </a:cxn>
                <a:cxn ang="0">
                  <a:pos x="279" y="618"/>
                </a:cxn>
                <a:cxn ang="0">
                  <a:pos x="302" y="657"/>
                </a:cxn>
                <a:cxn ang="0">
                  <a:pos x="146" y="699"/>
                </a:cxn>
                <a:cxn ang="0">
                  <a:pos x="583" y="818"/>
                </a:cxn>
              </a:cxnLst>
              <a:rect l="0" t="0" r="r" b="b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31" y="1826"/>
              <a:ext cx="974" cy="1502"/>
            </a:xfrm>
            <a:custGeom>
              <a:avLst/>
              <a:gdLst/>
              <a:ahLst/>
              <a:cxnLst>
                <a:cxn ang="0">
                  <a:pos x="217" y="121"/>
                </a:cxn>
                <a:cxn ang="0">
                  <a:pos x="223" y="164"/>
                </a:cxn>
                <a:cxn ang="0">
                  <a:pos x="224" y="209"/>
                </a:cxn>
                <a:cxn ang="0">
                  <a:pos x="222" y="253"/>
                </a:cxn>
                <a:cxn ang="0">
                  <a:pos x="214" y="296"/>
                </a:cxn>
                <a:cxn ang="0">
                  <a:pos x="202" y="339"/>
                </a:cxn>
                <a:cxn ang="0">
                  <a:pos x="187" y="380"/>
                </a:cxn>
                <a:cxn ang="0">
                  <a:pos x="166" y="420"/>
                </a:cxn>
                <a:cxn ang="0">
                  <a:pos x="142" y="457"/>
                </a:cxn>
                <a:cxn ang="0">
                  <a:pos x="114" y="492"/>
                </a:cxn>
                <a:cxn ang="0">
                  <a:pos x="84" y="524"/>
                </a:cxn>
                <a:cxn ang="0">
                  <a:pos x="0" y="371"/>
                </a:cxn>
                <a:cxn ang="0">
                  <a:pos x="0" y="819"/>
                </a:cxn>
                <a:cxn ang="0">
                  <a:pos x="378" y="1032"/>
                </a:cxn>
                <a:cxn ang="0">
                  <a:pos x="306" y="909"/>
                </a:cxn>
                <a:cxn ang="0">
                  <a:pos x="354" y="871"/>
                </a:cxn>
                <a:cxn ang="0">
                  <a:pos x="398" y="831"/>
                </a:cxn>
                <a:cxn ang="0">
                  <a:pos x="440" y="787"/>
                </a:cxn>
                <a:cxn ang="0">
                  <a:pos x="480" y="741"/>
                </a:cxn>
                <a:cxn ang="0">
                  <a:pos x="515" y="692"/>
                </a:cxn>
                <a:cxn ang="0">
                  <a:pos x="547" y="641"/>
                </a:cxn>
                <a:cxn ang="0">
                  <a:pos x="575" y="588"/>
                </a:cxn>
                <a:cxn ang="0">
                  <a:pos x="600" y="533"/>
                </a:cxn>
                <a:cxn ang="0">
                  <a:pos x="621" y="476"/>
                </a:cxn>
                <a:cxn ang="0">
                  <a:pos x="638" y="419"/>
                </a:cxn>
                <a:cxn ang="0">
                  <a:pos x="651" y="359"/>
                </a:cxn>
                <a:cxn ang="0">
                  <a:pos x="659" y="300"/>
                </a:cxn>
                <a:cxn ang="0">
                  <a:pos x="664" y="239"/>
                </a:cxn>
                <a:cxn ang="0">
                  <a:pos x="665" y="180"/>
                </a:cxn>
                <a:cxn ang="0">
                  <a:pos x="662" y="119"/>
                </a:cxn>
                <a:cxn ang="0">
                  <a:pos x="654" y="59"/>
                </a:cxn>
                <a:cxn ang="0">
                  <a:pos x="642" y="0"/>
                </a:cxn>
                <a:cxn ang="0">
                  <a:pos x="454" y="190"/>
                </a:cxn>
                <a:cxn ang="0">
                  <a:pos x="217" y="121"/>
                </a:cxn>
              </a:cxnLst>
              <a:rect l="0" t="0" r="r" b="b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1913" y="2470"/>
              <a:ext cx="1508" cy="926"/>
            </a:xfrm>
            <a:custGeom>
              <a:avLst/>
              <a:gdLst/>
              <a:ahLst/>
              <a:cxnLst>
                <a:cxn ang="0">
                  <a:pos x="792" y="161"/>
                </a:cxn>
                <a:cxn ang="0">
                  <a:pos x="753" y="175"/>
                </a:cxn>
                <a:cxn ang="0">
                  <a:pos x="712" y="187"/>
                </a:cxn>
                <a:cxn ang="0">
                  <a:pos x="670" y="193"/>
                </a:cxn>
                <a:cxn ang="0">
                  <a:pos x="628" y="196"/>
                </a:cxn>
                <a:cxn ang="0">
                  <a:pos x="586" y="194"/>
                </a:cxn>
                <a:cxn ang="0">
                  <a:pos x="544" y="188"/>
                </a:cxn>
                <a:cxn ang="0">
                  <a:pos x="502" y="179"/>
                </a:cxn>
                <a:cxn ang="0">
                  <a:pos x="462" y="166"/>
                </a:cxn>
                <a:cxn ang="0">
                  <a:pos x="424" y="148"/>
                </a:cxn>
                <a:cxn ang="0">
                  <a:pos x="388" y="127"/>
                </a:cxn>
                <a:cxn ang="0">
                  <a:pos x="493" y="0"/>
                </a:cxn>
                <a:cxn ang="0">
                  <a:pos x="73" y="152"/>
                </a:cxn>
                <a:cxn ang="0">
                  <a:pos x="31" y="403"/>
                </a:cxn>
                <a:cxn ang="0">
                  <a:pos x="33" y="405"/>
                </a:cxn>
                <a:cxn ang="0">
                  <a:pos x="0" y="588"/>
                </a:cxn>
                <a:cxn ang="0">
                  <a:pos x="104" y="463"/>
                </a:cxn>
                <a:cxn ang="0">
                  <a:pos x="155" y="498"/>
                </a:cxn>
                <a:cxn ang="0">
                  <a:pos x="208" y="530"/>
                </a:cxn>
                <a:cxn ang="0">
                  <a:pos x="262" y="557"/>
                </a:cxn>
                <a:cxn ang="0">
                  <a:pos x="319" y="580"/>
                </a:cxn>
                <a:cxn ang="0">
                  <a:pos x="377" y="600"/>
                </a:cxn>
                <a:cxn ang="0">
                  <a:pos x="435" y="615"/>
                </a:cxn>
                <a:cxn ang="0">
                  <a:pos x="496" y="627"/>
                </a:cxn>
                <a:cxn ang="0">
                  <a:pos x="557" y="634"/>
                </a:cxn>
                <a:cxn ang="0">
                  <a:pos x="618" y="636"/>
                </a:cxn>
                <a:cxn ang="0">
                  <a:pos x="679" y="634"/>
                </a:cxn>
                <a:cxn ang="0">
                  <a:pos x="740" y="628"/>
                </a:cxn>
                <a:cxn ang="0">
                  <a:pos x="801" y="617"/>
                </a:cxn>
                <a:cxn ang="0">
                  <a:pos x="859" y="603"/>
                </a:cxn>
                <a:cxn ang="0">
                  <a:pos x="917" y="585"/>
                </a:cxn>
                <a:cxn ang="0">
                  <a:pos x="974" y="561"/>
                </a:cxn>
                <a:cxn ang="0">
                  <a:pos x="1029" y="534"/>
                </a:cxn>
                <a:cxn ang="0">
                  <a:pos x="795" y="398"/>
                </a:cxn>
                <a:cxn ang="0">
                  <a:pos x="792" y="161"/>
                </a:cxn>
              </a:cxnLst>
              <a:rect l="0" t="0" r="r" b="b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>
              <a:off x="1379" y="1591"/>
              <a:ext cx="1020" cy="1411"/>
            </a:xfrm>
            <a:custGeom>
              <a:avLst/>
              <a:gdLst/>
              <a:ahLst/>
              <a:cxnLst>
                <a:cxn ang="0">
                  <a:pos x="648" y="639"/>
                </a:cxn>
                <a:cxn ang="0">
                  <a:pos x="621" y="603"/>
                </a:cxn>
                <a:cxn ang="0">
                  <a:pos x="599" y="563"/>
                </a:cxn>
                <a:cxn ang="0">
                  <a:pos x="580" y="522"/>
                </a:cxn>
                <a:cxn ang="0">
                  <a:pos x="566" y="480"/>
                </a:cxn>
                <a:cxn ang="0">
                  <a:pos x="556" y="436"/>
                </a:cxn>
                <a:cxn ang="0">
                  <a:pos x="551" y="392"/>
                </a:cxn>
                <a:cxn ang="0">
                  <a:pos x="550" y="347"/>
                </a:cxn>
                <a:cxn ang="0">
                  <a:pos x="554" y="302"/>
                </a:cxn>
                <a:cxn ang="0">
                  <a:pos x="696" y="368"/>
                </a:cxn>
                <a:cxn ang="0">
                  <a:pos x="445" y="0"/>
                </a:cxn>
                <a:cxn ang="0">
                  <a:pos x="0" y="44"/>
                </a:cxn>
                <a:cxn ang="0">
                  <a:pos x="148" y="113"/>
                </a:cxn>
                <a:cxn ang="0">
                  <a:pos x="133" y="173"/>
                </a:cxn>
                <a:cxn ang="0">
                  <a:pos x="121" y="233"/>
                </a:cxn>
                <a:cxn ang="0">
                  <a:pos x="116" y="295"/>
                </a:cxn>
                <a:cxn ang="0">
                  <a:pos x="112" y="357"/>
                </a:cxn>
                <a:cxn ang="0">
                  <a:pos x="114" y="418"/>
                </a:cxn>
                <a:cxn ang="0">
                  <a:pos x="120" y="479"/>
                </a:cxn>
                <a:cxn ang="0">
                  <a:pos x="131" y="540"/>
                </a:cxn>
                <a:cxn ang="0">
                  <a:pos x="145" y="599"/>
                </a:cxn>
                <a:cxn ang="0">
                  <a:pos x="163" y="659"/>
                </a:cxn>
                <a:cxn ang="0">
                  <a:pos x="187" y="716"/>
                </a:cxn>
                <a:cxn ang="0">
                  <a:pos x="214" y="771"/>
                </a:cxn>
                <a:cxn ang="0">
                  <a:pos x="244" y="825"/>
                </a:cxn>
                <a:cxn ang="0">
                  <a:pos x="278" y="876"/>
                </a:cxn>
                <a:cxn ang="0">
                  <a:pos x="316" y="925"/>
                </a:cxn>
                <a:cxn ang="0">
                  <a:pos x="357" y="970"/>
                </a:cxn>
                <a:cxn ang="0">
                  <a:pos x="399" y="730"/>
                </a:cxn>
                <a:cxn ang="0">
                  <a:pos x="648" y="639"/>
                </a:cxn>
              </a:cxnLst>
              <a:rect l="0" t="0" r="r" b="b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6072535" y="3624639"/>
            <a:ext cx="906405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3" name="Rectangle 11"/>
          <p:cNvSpPr>
            <a:spLocks noChangeArrowheads="1"/>
          </p:cNvSpPr>
          <p:nvPr/>
        </p:nvSpPr>
        <p:spPr bwMode="auto">
          <a:xfrm>
            <a:off x="6961806" y="1996879"/>
            <a:ext cx="908119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4" name="Rectangle 12"/>
          <p:cNvSpPr>
            <a:spLocks noChangeArrowheads="1"/>
          </p:cNvSpPr>
          <p:nvPr/>
        </p:nvSpPr>
        <p:spPr bwMode="auto">
          <a:xfrm>
            <a:off x="8834586" y="2293302"/>
            <a:ext cx="904692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5" name="Rectangle 13"/>
          <p:cNvSpPr>
            <a:spLocks noChangeArrowheads="1"/>
          </p:cNvSpPr>
          <p:nvPr/>
        </p:nvSpPr>
        <p:spPr bwMode="auto">
          <a:xfrm>
            <a:off x="9218395" y="4166084"/>
            <a:ext cx="908119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6" name="Rectangle 14"/>
          <p:cNvSpPr>
            <a:spLocks noChangeArrowheads="1"/>
          </p:cNvSpPr>
          <p:nvPr/>
        </p:nvSpPr>
        <p:spPr bwMode="auto">
          <a:xfrm>
            <a:off x="7373029" y="5009092"/>
            <a:ext cx="908119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7" name="Título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8" name="Espaço Reservado para Texto 2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67443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Pestañas</a:t>
            </a:r>
            <a:endParaRPr lang="pt-BR" dirty="0"/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altLang="zh-CN" dirty="0" smtClean="0"/>
          </a:p>
        </p:txBody>
      </p:sp>
      <p:sp>
        <p:nvSpPr>
          <p:cNvPr id="625686" name="AutoShape 22"/>
          <p:cNvSpPr>
            <a:spLocks noChangeArrowheads="1"/>
          </p:cNvSpPr>
          <p:nvPr/>
        </p:nvSpPr>
        <p:spPr bwMode="auto">
          <a:xfrm flipV="1">
            <a:off x="8468081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85" name="AutoShape 21"/>
          <p:cNvSpPr>
            <a:spLocks noChangeArrowheads="1"/>
          </p:cNvSpPr>
          <p:nvPr/>
        </p:nvSpPr>
        <p:spPr bwMode="auto">
          <a:xfrm flipV="1">
            <a:off x="7338639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84" name="AutoShape 20"/>
          <p:cNvSpPr>
            <a:spLocks noChangeArrowheads="1"/>
          </p:cNvSpPr>
          <p:nvPr/>
        </p:nvSpPr>
        <p:spPr bwMode="auto">
          <a:xfrm flipV="1">
            <a:off x="6207488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83" name="AutoShape 19"/>
          <p:cNvSpPr>
            <a:spLocks noChangeArrowheads="1"/>
          </p:cNvSpPr>
          <p:nvPr/>
        </p:nvSpPr>
        <p:spPr bwMode="auto">
          <a:xfrm flipV="1">
            <a:off x="5076336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67" name="AutoShape 3"/>
          <p:cNvSpPr>
            <a:spLocks noChangeArrowheads="1"/>
          </p:cNvSpPr>
          <p:nvPr/>
        </p:nvSpPr>
        <p:spPr bwMode="auto">
          <a:xfrm flipV="1">
            <a:off x="3946894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68" name="AutoShape 4"/>
          <p:cNvSpPr>
            <a:spLocks noChangeArrowheads="1"/>
          </p:cNvSpPr>
          <p:nvPr/>
        </p:nvSpPr>
        <p:spPr bwMode="auto">
          <a:xfrm flipV="1">
            <a:off x="2815742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69" name="AutoShape 5"/>
          <p:cNvSpPr>
            <a:spLocks noChangeArrowheads="1"/>
          </p:cNvSpPr>
          <p:nvPr/>
        </p:nvSpPr>
        <p:spPr bwMode="auto">
          <a:xfrm flipV="1">
            <a:off x="1684591" y="1494120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71" name="Rectangle 7"/>
          <p:cNvSpPr>
            <a:spLocks noChangeArrowheads="1"/>
          </p:cNvSpPr>
          <p:nvPr/>
        </p:nvSpPr>
        <p:spPr bwMode="auto">
          <a:xfrm>
            <a:off x="553439" y="1821386"/>
            <a:ext cx="9257671" cy="4826736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28224" tIns="43053" rIns="128224" bIns="43053" anchor="ctr"/>
          <a:lstStyle/>
          <a:p>
            <a:pPr marL="310124" indent="-310124" defTabSz="738471">
              <a:lnSpc>
                <a:spcPct val="95000"/>
              </a:lnSpc>
              <a:spcBef>
                <a:spcPct val="5000"/>
              </a:spcBef>
              <a:buFont typeface="Wingdings" pitchFamily="2" charset="2"/>
              <a:buChar char="Ø"/>
            </a:pPr>
            <a:endParaRPr lang="pt-BR" sz="1727" dirty="0">
              <a:solidFill>
                <a:srgbClr val="000099"/>
              </a:solidFill>
            </a:endParaRPr>
          </a:p>
        </p:txBody>
      </p:sp>
      <p:sp>
        <p:nvSpPr>
          <p:cNvPr id="625687" name="AutoShape 23"/>
          <p:cNvSpPr>
            <a:spLocks noChangeArrowheads="1"/>
          </p:cNvSpPr>
          <p:nvPr/>
        </p:nvSpPr>
        <p:spPr bwMode="auto">
          <a:xfrm rot="5400000" flipV="1">
            <a:off x="9291403" y="5794297"/>
            <a:ext cx="1366676" cy="32726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88" name="AutoShape 24"/>
          <p:cNvSpPr>
            <a:spLocks noChangeArrowheads="1"/>
          </p:cNvSpPr>
          <p:nvPr/>
        </p:nvSpPr>
        <p:spPr bwMode="auto">
          <a:xfrm rot="5400000" flipV="1">
            <a:off x="9291403" y="4643228"/>
            <a:ext cx="1366676" cy="32726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89" name="AutoShape 25"/>
          <p:cNvSpPr>
            <a:spLocks noChangeArrowheads="1"/>
          </p:cNvSpPr>
          <p:nvPr/>
        </p:nvSpPr>
        <p:spPr bwMode="auto">
          <a:xfrm rot="5400000" flipV="1">
            <a:off x="9291403" y="3490422"/>
            <a:ext cx="1366676" cy="32726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lIns="0" tIns="0" rIns="0" bIns="0" anchor="ctr"/>
          <a:lstStyle/>
          <a:p>
            <a:pPr algn="ctr" defTabSz="822427"/>
            <a:r>
              <a:rPr lang="es-ES" sz="971"/>
              <a:t>xxx</a:t>
            </a:r>
            <a:endParaRPr lang="es-ES" sz="971" dirty="0"/>
          </a:p>
        </p:txBody>
      </p:sp>
      <p:sp>
        <p:nvSpPr>
          <p:cNvPr id="625690" name="AutoShape 26"/>
          <p:cNvSpPr>
            <a:spLocks noChangeArrowheads="1"/>
          </p:cNvSpPr>
          <p:nvPr/>
        </p:nvSpPr>
        <p:spPr bwMode="auto">
          <a:xfrm rot="5400000" flipV="1">
            <a:off x="9281121" y="2341092"/>
            <a:ext cx="1366676" cy="327265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1560 w 21600"/>
              <a:gd name="connsiteY4" fmla="*/ 651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</a:path>
            </a:pathLst>
          </a:cu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defTabSz="822427"/>
            <a:r>
              <a:rPr lang="es-ES" sz="1187" b="1" dirty="0" err="1"/>
              <a:t>xxx</a:t>
            </a:r>
            <a:endParaRPr lang="es-ES" sz="1187" b="1" dirty="0"/>
          </a:p>
        </p:txBody>
      </p:sp>
      <p:sp>
        <p:nvSpPr>
          <p:cNvPr id="625670" name="AutoShape 6"/>
          <p:cNvSpPr>
            <a:spLocks noChangeArrowheads="1"/>
          </p:cNvSpPr>
          <p:nvPr/>
        </p:nvSpPr>
        <p:spPr bwMode="auto">
          <a:xfrm flipV="1">
            <a:off x="553439" y="1504402"/>
            <a:ext cx="1343029" cy="327266"/>
          </a:xfrm>
          <a:custGeom>
            <a:avLst/>
            <a:gdLst>
              <a:gd name="G0" fmla="+- 3112 0 0"/>
              <a:gd name="G1" fmla="+- 21600 0 3112"/>
              <a:gd name="G2" fmla="*/ 3112 1 2"/>
              <a:gd name="G3" fmla="+- 21600 0 G2"/>
              <a:gd name="G4" fmla="+/ 3112 21600 2"/>
              <a:gd name="G5" fmla="+/ G1 0 2"/>
              <a:gd name="G6" fmla="*/ 21600 21600 3112"/>
              <a:gd name="G7" fmla="*/ G6 1 2"/>
              <a:gd name="G8" fmla="+- 21600 0 G7"/>
              <a:gd name="G9" fmla="*/ 21600 1 2"/>
              <a:gd name="G10" fmla="+- 3112 0 G9"/>
              <a:gd name="G11" fmla="?: G10 G8 0"/>
              <a:gd name="G12" fmla="?: G10 G7 21600"/>
              <a:gd name="T0" fmla="*/ 20044 w 21600"/>
              <a:gd name="T1" fmla="*/ 10800 h 21600"/>
              <a:gd name="T2" fmla="*/ 10800 w 21600"/>
              <a:gd name="T3" fmla="*/ 21600 h 21600"/>
              <a:gd name="T4" fmla="*/ 1556 w 21600"/>
              <a:gd name="T5" fmla="*/ 10800 h 21600"/>
              <a:gd name="T6" fmla="*/ 10800 w 21600"/>
              <a:gd name="T7" fmla="*/ 0 h 21600"/>
              <a:gd name="T8" fmla="*/ 3356 w 21600"/>
              <a:gd name="T9" fmla="*/ 3356 h 21600"/>
              <a:gd name="T10" fmla="*/ 18244 w 21600"/>
              <a:gd name="T11" fmla="*/ 1824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  <a:gd name="connsiteX4" fmla="*/ 1587 w 21600"/>
              <a:gd name="connsiteY4" fmla="*/ 6514 h 21600"/>
              <a:gd name="connsiteX0" fmla="*/ 0 w 21600"/>
              <a:gd name="connsiteY0" fmla="*/ 0 h 21600"/>
              <a:gd name="connsiteX1" fmla="*/ 3112 w 21600"/>
              <a:gd name="connsiteY1" fmla="*/ 21600 h 21600"/>
              <a:gd name="connsiteX2" fmla="*/ 18488 w 21600"/>
              <a:gd name="connsiteY2" fmla="*/ 21600 h 21600"/>
              <a:gd name="connsiteX3" fmla="*/ 21600 w 21600"/>
              <a:gd name="connsiteY3" fmla="*/ 0 h 2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00" h="21600">
                <a:moveTo>
                  <a:pt x="0" y="0"/>
                </a:moveTo>
                <a:lnTo>
                  <a:pt x="3112" y="21600"/>
                </a:lnTo>
                <a:lnTo>
                  <a:pt x="18488" y="21600"/>
                </a:lnTo>
                <a:lnTo>
                  <a:pt x="21600" y="0"/>
                </a:lnTo>
              </a:path>
            </a:pathLst>
          </a:cu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rot="10800000" wrap="none" lIns="0" tIns="0" rIns="0" bIns="0" anchor="ctr"/>
          <a:lstStyle/>
          <a:p>
            <a:pPr algn="ctr" defTabSz="822427"/>
            <a:r>
              <a:rPr lang="es-ES" sz="1187" b="1"/>
              <a:t>xxx</a:t>
            </a:r>
            <a:endParaRPr lang="es-ES" sz="1187" b="1" dirty="0"/>
          </a:p>
        </p:txBody>
      </p:sp>
    </p:spTree>
    <p:extLst>
      <p:ext uri="{BB962C8B-B14F-4D97-AF65-F5344CB8AC3E}">
        <p14:creationId xmlns:p14="http://schemas.microsoft.com/office/powerpoint/2010/main" val="124835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371815" y="1065762"/>
            <a:ext cx="4669101" cy="5126587"/>
            <a:chOff x="1436" y="649"/>
            <a:chExt cx="2725" cy="2992"/>
          </a:xfrm>
          <a:effectLst/>
        </p:grpSpPr>
        <p:sp>
          <p:nvSpPr>
            <p:cNvPr id="644101" name="Freeform 5"/>
            <p:cNvSpPr>
              <a:spLocks/>
            </p:cNvSpPr>
            <p:nvPr/>
          </p:nvSpPr>
          <p:spPr bwMode="auto">
            <a:xfrm>
              <a:off x="2831" y="844"/>
              <a:ext cx="1265" cy="1029"/>
            </a:xfrm>
            <a:custGeom>
              <a:avLst/>
              <a:gdLst/>
              <a:ahLst/>
              <a:cxnLst>
                <a:cxn ang="0">
                  <a:pos x="192" y="710"/>
                </a:cxn>
                <a:cxn ang="0">
                  <a:pos x="657" y="711"/>
                </a:cxn>
                <a:cxn ang="0">
                  <a:pos x="731" y="583"/>
                </a:cxn>
                <a:cxn ang="0">
                  <a:pos x="801" y="452"/>
                </a:cxn>
                <a:cxn ang="0">
                  <a:pos x="868" y="319"/>
                </a:cxn>
                <a:cxn ang="0">
                  <a:pos x="729" y="400"/>
                </a:cxn>
                <a:cxn ang="0">
                  <a:pos x="694" y="349"/>
                </a:cxn>
                <a:cxn ang="0">
                  <a:pos x="655" y="301"/>
                </a:cxn>
                <a:cxn ang="0">
                  <a:pos x="613" y="256"/>
                </a:cxn>
                <a:cxn ang="0">
                  <a:pos x="567" y="213"/>
                </a:cxn>
                <a:cxn ang="0">
                  <a:pos x="519" y="175"/>
                </a:cxn>
                <a:cxn ang="0">
                  <a:pos x="467" y="140"/>
                </a:cxn>
                <a:cxn ang="0">
                  <a:pos x="415" y="108"/>
                </a:cxn>
                <a:cxn ang="0">
                  <a:pos x="360" y="80"/>
                </a:cxn>
                <a:cxn ang="0">
                  <a:pos x="302" y="56"/>
                </a:cxn>
                <a:cxn ang="0">
                  <a:pos x="244" y="36"/>
                </a:cxn>
                <a:cxn ang="0">
                  <a:pos x="184" y="21"/>
                </a:cxn>
                <a:cxn ang="0">
                  <a:pos x="123" y="9"/>
                </a:cxn>
                <a:cxn ang="0">
                  <a:pos x="61" y="2"/>
                </a:cxn>
                <a:cxn ang="0">
                  <a:pos x="0" y="0"/>
                </a:cxn>
                <a:cxn ang="0">
                  <a:pos x="164" y="206"/>
                </a:cxn>
                <a:cxn ang="0">
                  <a:pos x="63" y="445"/>
                </a:cxn>
                <a:cxn ang="0">
                  <a:pos x="104" y="455"/>
                </a:cxn>
                <a:cxn ang="0">
                  <a:pos x="145" y="468"/>
                </a:cxn>
                <a:cxn ang="0">
                  <a:pos x="184" y="485"/>
                </a:cxn>
                <a:cxn ang="0">
                  <a:pos x="221" y="505"/>
                </a:cxn>
                <a:cxn ang="0">
                  <a:pos x="256" y="530"/>
                </a:cxn>
                <a:cxn ang="0">
                  <a:pos x="290" y="557"/>
                </a:cxn>
                <a:cxn ang="0">
                  <a:pos x="320" y="587"/>
                </a:cxn>
                <a:cxn ang="0">
                  <a:pos x="348" y="620"/>
                </a:cxn>
                <a:cxn ang="0">
                  <a:pos x="192" y="710"/>
                </a:cxn>
              </a:cxnLst>
              <a:rect l="0" t="0" r="r" b="b"/>
              <a:pathLst>
                <a:path w="869" h="712">
                  <a:moveTo>
                    <a:pt x="192" y="710"/>
                  </a:moveTo>
                  <a:lnTo>
                    <a:pt x="657" y="711"/>
                  </a:lnTo>
                  <a:lnTo>
                    <a:pt x="731" y="583"/>
                  </a:lnTo>
                  <a:lnTo>
                    <a:pt x="801" y="452"/>
                  </a:lnTo>
                  <a:lnTo>
                    <a:pt x="868" y="319"/>
                  </a:lnTo>
                  <a:lnTo>
                    <a:pt x="729" y="400"/>
                  </a:lnTo>
                  <a:lnTo>
                    <a:pt x="694" y="349"/>
                  </a:lnTo>
                  <a:lnTo>
                    <a:pt x="655" y="301"/>
                  </a:lnTo>
                  <a:lnTo>
                    <a:pt x="613" y="256"/>
                  </a:lnTo>
                  <a:lnTo>
                    <a:pt x="567" y="213"/>
                  </a:lnTo>
                  <a:lnTo>
                    <a:pt x="519" y="175"/>
                  </a:lnTo>
                  <a:lnTo>
                    <a:pt x="467" y="140"/>
                  </a:lnTo>
                  <a:lnTo>
                    <a:pt x="415" y="108"/>
                  </a:lnTo>
                  <a:lnTo>
                    <a:pt x="360" y="80"/>
                  </a:lnTo>
                  <a:lnTo>
                    <a:pt x="302" y="56"/>
                  </a:lnTo>
                  <a:lnTo>
                    <a:pt x="244" y="36"/>
                  </a:lnTo>
                  <a:lnTo>
                    <a:pt x="184" y="21"/>
                  </a:lnTo>
                  <a:lnTo>
                    <a:pt x="123" y="9"/>
                  </a:lnTo>
                  <a:lnTo>
                    <a:pt x="61" y="2"/>
                  </a:lnTo>
                  <a:lnTo>
                    <a:pt x="0" y="0"/>
                  </a:lnTo>
                  <a:lnTo>
                    <a:pt x="164" y="206"/>
                  </a:lnTo>
                  <a:lnTo>
                    <a:pt x="63" y="445"/>
                  </a:lnTo>
                  <a:lnTo>
                    <a:pt x="104" y="455"/>
                  </a:lnTo>
                  <a:lnTo>
                    <a:pt x="145" y="468"/>
                  </a:lnTo>
                  <a:lnTo>
                    <a:pt x="184" y="485"/>
                  </a:lnTo>
                  <a:lnTo>
                    <a:pt x="221" y="505"/>
                  </a:lnTo>
                  <a:lnTo>
                    <a:pt x="256" y="530"/>
                  </a:lnTo>
                  <a:lnTo>
                    <a:pt x="290" y="557"/>
                  </a:lnTo>
                  <a:lnTo>
                    <a:pt x="320" y="587"/>
                  </a:lnTo>
                  <a:lnTo>
                    <a:pt x="348" y="620"/>
                  </a:lnTo>
                  <a:lnTo>
                    <a:pt x="192" y="71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4102" name="Freeform 6"/>
            <p:cNvSpPr>
              <a:spLocks/>
            </p:cNvSpPr>
            <p:nvPr/>
          </p:nvSpPr>
          <p:spPr bwMode="auto">
            <a:xfrm>
              <a:off x="3191" y="1601"/>
              <a:ext cx="970" cy="1237"/>
            </a:xfrm>
            <a:custGeom>
              <a:avLst/>
              <a:gdLst/>
              <a:ahLst/>
              <a:cxnLst>
                <a:cxn ang="0">
                  <a:pos x="205" y="855"/>
                </a:cxn>
                <a:cxn ang="0">
                  <a:pos x="666" y="846"/>
                </a:cxn>
                <a:cxn ang="0">
                  <a:pos x="523" y="764"/>
                </a:cxn>
                <a:cxn ang="0">
                  <a:pos x="551" y="709"/>
                </a:cxn>
                <a:cxn ang="0">
                  <a:pos x="574" y="653"/>
                </a:cxn>
                <a:cxn ang="0">
                  <a:pos x="593" y="595"/>
                </a:cxn>
                <a:cxn ang="0">
                  <a:pos x="608" y="535"/>
                </a:cxn>
                <a:cxn ang="0">
                  <a:pos x="619" y="476"/>
                </a:cxn>
                <a:cxn ang="0">
                  <a:pos x="625" y="415"/>
                </a:cxn>
                <a:cxn ang="0">
                  <a:pos x="627" y="354"/>
                </a:cxn>
                <a:cxn ang="0">
                  <a:pos x="625" y="293"/>
                </a:cxn>
                <a:cxn ang="0">
                  <a:pos x="618" y="233"/>
                </a:cxn>
                <a:cxn ang="0">
                  <a:pos x="607" y="172"/>
                </a:cxn>
                <a:cxn ang="0">
                  <a:pos x="592" y="114"/>
                </a:cxn>
                <a:cxn ang="0">
                  <a:pos x="572" y="56"/>
                </a:cxn>
                <a:cxn ang="0">
                  <a:pos x="549" y="0"/>
                </a:cxn>
                <a:cxn ang="0">
                  <a:pos x="427" y="219"/>
                </a:cxn>
                <a:cxn ang="0">
                  <a:pos x="163" y="216"/>
                </a:cxn>
                <a:cxn ang="0">
                  <a:pos x="174" y="255"/>
                </a:cxn>
                <a:cxn ang="0">
                  <a:pos x="181" y="298"/>
                </a:cxn>
                <a:cxn ang="0">
                  <a:pos x="184" y="340"/>
                </a:cxn>
                <a:cxn ang="0">
                  <a:pos x="183" y="381"/>
                </a:cxn>
                <a:cxn ang="0">
                  <a:pos x="178" y="423"/>
                </a:cxn>
                <a:cxn ang="0">
                  <a:pos x="170" y="464"/>
                </a:cxn>
                <a:cxn ang="0">
                  <a:pos x="158" y="505"/>
                </a:cxn>
                <a:cxn ang="0">
                  <a:pos x="142" y="544"/>
                </a:cxn>
                <a:cxn ang="0">
                  <a:pos x="0" y="465"/>
                </a:cxn>
                <a:cxn ang="0">
                  <a:pos x="205" y="855"/>
                </a:cxn>
              </a:cxnLst>
              <a:rect l="0" t="0" r="r" b="b"/>
              <a:pathLst>
                <a:path w="667" h="856">
                  <a:moveTo>
                    <a:pt x="205" y="855"/>
                  </a:moveTo>
                  <a:lnTo>
                    <a:pt x="666" y="846"/>
                  </a:lnTo>
                  <a:lnTo>
                    <a:pt x="523" y="764"/>
                  </a:lnTo>
                  <a:lnTo>
                    <a:pt x="551" y="709"/>
                  </a:lnTo>
                  <a:lnTo>
                    <a:pt x="574" y="653"/>
                  </a:lnTo>
                  <a:lnTo>
                    <a:pt x="593" y="595"/>
                  </a:lnTo>
                  <a:lnTo>
                    <a:pt x="608" y="535"/>
                  </a:lnTo>
                  <a:lnTo>
                    <a:pt x="619" y="476"/>
                  </a:lnTo>
                  <a:lnTo>
                    <a:pt x="625" y="415"/>
                  </a:lnTo>
                  <a:lnTo>
                    <a:pt x="627" y="354"/>
                  </a:lnTo>
                  <a:lnTo>
                    <a:pt x="625" y="293"/>
                  </a:lnTo>
                  <a:lnTo>
                    <a:pt x="618" y="233"/>
                  </a:lnTo>
                  <a:lnTo>
                    <a:pt x="607" y="172"/>
                  </a:lnTo>
                  <a:lnTo>
                    <a:pt x="592" y="114"/>
                  </a:lnTo>
                  <a:lnTo>
                    <a:pt x="572" y="56"/>
                  </a:lnTo>
                  <a:lnTo>
                    <a:pt x="549" y="0"/>
                  </a:lnTo>
                  <a:lnTo>
                    <a:pt x="427" y="219"/>
                  </a:lnTo>
                  <a:lnTo>
                    <a:pt x="163" y="216"/>
                  </a:lnTo>
                  <a:lnTo>
                    <a:pt x="174" y="255"/>
                  </a:lnTo>
                  <a:lnTo>
                    <a:pt x="181" y="298"/>
                  </a:lnTo>
                  <a:lnTo>
                    <a:pt x="184" y="340"/>
                  </a:lnTo>
                  <a:lnTo>
                    <a:pt x="183" y="381"/>
                  </a:lnTo>
                  <a:lnTo>
                    <a:pt x="178" y="423"/>
                  </a:lnTo>
                  <a:lnTo>
                    <a:pt x="170" y="464"/>
                  </a:lnTo>
                  <a:lnTo>
                    <a:pt x="158" y="505"/>
                  </a:lnTo>
                  <a:lnTo>
                    <a:pt x="142" y="544"/>
                  </a:lnTo>
                  <a:lnTo>
                    <a:pt x="0" y="465"/>
                  </a:lnTo>
                  <a:lnTo>
                    <a:pt x="205" y="85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4103" name="Freeform 7"/>
            <p:cNvSpPr>
              <a:spLocks/>
            </p:cNvSpPr>
            <p:nvPr/>
          </p:nvSpPr>
          <p:spPr bwMode="auto">
            <a:xfrm>
              <a:off x="2578" y="2508"/>
              <a:ext cx="1276" cy="1133"/>
            </a:xfrm>
            <a:custGeom>
              <a:avLst/>
              <a:gdLst/>
              <a:ahLst/>
              <a:cxnLst>
                <a:cxn ang="0">
                  <a:pos x="0" y="391"/>
                </a:cxn>
                <a:cxn ang="0">
                  <a:pos x="220" y="783"/>
                </a:cxn>
                <a:cxn ang="0">
                  <a:pos x="220" y="603"/>
                </a:cxn>
                <a:cxn ang="0">
                  <a:pos x="279" y="599"/>
                </a:cxn>
                <a:cxn ang="0">
                  <a:pos x="337" y="588"/>
                </a:cxn>
                <a:cxn ang="0">
                  <a:pos x="394" y="575"/>
                </a:cxn>
                <a:cxn ang="0">
                  <a:pos x="450" y="558"/>
                </a:cxn>
                <a:cxn ang="0">
                  <a:pos x="505" y="537"/>
                </a:cxn>
                <a:cxn ang="0">
                  <a:pos x="559" y="513"/>
                </a:cxn>
                <a:cxn ang="0">
                  <a:pos x="611" y="485"/>
                </a:cxn>
                <a:cxn ang="0">
                  <a:pos x="661" y="454"/>
                </a:cxn>
                <a:cxn ang="0">
                  <a:pos x="708" y="418"/>
                </a:cxn>
                <a:cxn ang="0">
                  <a:pos x="755" y="380"/>
                </a:cxn>
                <a:cxn ang="0">
                  <a:pos x="799" y="338"/>
                </a:cxn>
                <a:cxn ang="0">
                  <a:pos x="838" y="293"/>
                </a:cxn>
                <a:cxn ang="0">
                  <a:pos x="876" y="246"/>
                </a:cxn>
                <a:cxn ang="0">
                  <a:pos x="610" y="260"/>
                </a:cxn>
                <a:cxn ang="0">
                  <a:pos x="489" y="27"/>
                </a:cxn>
                <a:cxn ang="0">
                  <a:pos x="464" y="50"/>
                </a:cxn>
                <a:cxn ang="0">
                  <a:pos x="438" y="73"/>
                </a:cxn>
                <a:cxn ang="0">
                  <a:pos x="405" y="95"/>
                </a:cxn>
                <a:cxn ang="0">
                  <a:pos x="371" y="116"/>
                </a:cxn>
                <a:cxn ang="0">
                  <a:pos x="336" y="132"/>
                </a:cxn>
                <a:cxn ang="0">
                  <a:pos x="298" y="147"/>
                </a:cxn>
                <a:cxn ang="0">
                  <a:pos x="259" y="156"/>
                </a:cxn>
                <a:cxn ang="0">
                  <a:pos x="220" y="163"/>
                </a:cxn>
                <a:cxn ang="0">
                  <a:pos x="220" y="0"/>
                </a:cxn>
                <a:cxn ang="0">
                  <a:pos x="0" y="391"/>
                </a:cxn>
              </a:cxnLst>
              <a:rect l="0" t="0" r="r" b="b"/>
              <a:pathLst>
                <a:path w="877" h="784">
                  <a:moveTo>
                    <a:pt x="0" y="391"/>
                  </a:moveTo>
                  <a:lnTo>
                    <a:pt x="220" y="783"/>
                  </a:lnTo>
                  <a:lnTo>
                    <a:pt x="220" y="603"/>
                  </a:lnTo>
                  <a:lnTo>
                    <a:pt x="279" y="599"/>
                  </a:lnTo>
                  <a:lnTo>
                    <a:pt x="337" y="588"/>
                  </a:lnTo>
                  <a:lnTo>
                    <a:pt x="394" y="575"/>
                  </a:lnTo>
                  <a:lnTo>
                    <a:pt x="450" y="558"/>
                  </a:lnTo>
                  <a:lnTo>
                    <a:pt x="505" y="537"/>
                  </a:lnTo>
                  <a:lnTo>
                    <a:pt x="559" y="513"/>
                  </a:lnTo>
                  <a:lnTo>
                    <a:pt x="611" y="485"/>
                  </a:lnTo>
                  <a:lnTo>
                    <a:pt x="661" y="454"/>
                  </a:lnTo>
                  <a:lnTo>
                    <a:pt x="708" y="418"/>
                  </a:lnTo>
                  <a:lnTo>
                    <a:pt x="755" y="380"/>
                  </a:lnTo>
                  <a:lnTo>
                    <a:pt x="799" y="338"/>
                  </a:lnTo>
                  <a:lnTo>
                    <a:pt x="838" y="293"/>
                  </a:lnTo>
                  <a:lnTo>
                    <a:pt x="876" y="246"/>
                  </a:lnTo>
                  <a:lnTo>
                    <a:pt x="610" y="260"/>
                  </a:lnTo>
                  <a:lnTo>
                    <a:pt x="489" y="27"/>
                  </a:lnTo>
                  <a:lnTo>
                    <a:pt x="464" y="50"/>
                  </a:lnTo>
                  <a:lnTo>
                    <a:pt x="438" y="73"/>
                  </a:lnTo>
                  <a:lnTo>
                    <a:pt x="405" y="95"/>
                  </a:lnTo>
                  <a:lnTo>
                    <a:pt x="371" y="116"/>
                  </a:lnTo>
                  <a:lnTo>
                    <a:pt x="336" y="132"/>
                  </a:lnTo>
                  <a:lnTo>
                    <a:pt x="298" y="147"/>
                  </a:lnTo>
                  <a:lnTo>
                    <a:pt x="259" y="156"/>
                  </a:lnTo>
                  <a:lnTo>
                    <a:pt x="220" y="163"/>
                  </a:lnTo>
                  <a:lnTo>
                    <a:pt x="220" y="0"/>
                  </a:lnTo>
                  <a:lnTo>
                    <a:pt x="0" y="39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4104" name="Freeform 8"/>
            <p:cNvSpPr>
              <a:spLocks/>
            </p:cNvSpPr>
            <p:nvPr/>
          </p:nvSpPr>
          <p:spPr bwMode="auto">
            <a:xfrm>
              <a:off x="1501" y="2368"/>
              <a:ext cx="1212" cy="1010"/>
            </a:xfrm>
            <a:custGeom>
              <a:avLst/>
              <a:gdLst/>
              <a:ahLst/>
              <a:cxnLst>
                <a:cxn ang="0">
                  <a:pos x="292" y="0"/>
                </a:cxn>
                <a:cxn ang="0">
                  <a:pos x="0" y="352"/>
                </a:cxn>
                <a:cxn ang="0">
                  <a:pos x="163" y="293"/>
                </a:cxn>
                <a:cxn ang="0">
                  <a:pos x="198" y="344"/>
                </a:cxn>
                <a:cxn ang="0">
                  <a:pos x="236" y="392"/>
                </a:cxn>
                <a:cxn ang="0">
                  <a:pos x="277" y="438"/>
                </a:cxn>
                <a:cxn ang="0">
                  <a:pos x="322" y="480"/>
                </a:cxn>
                <a:cxn ang="0">
                  <a:pos x="370" y="520"/>
                </a:cxn>
                <a:cxn ang="0">
                  <a:pos x="419" y="555"/>
                </a:cxn>
                <a:cxn ang="0">
                  <a:pos x="472" y="588"/>
                </a:cxn>
                <a:cxn ang="0">
                  <a:pos x="527" y="616"/>
                </a:cxn>
                <a:cxn ang="0">
                  <a:pos x="583" y="641"/>
                </a:cxn>
                <a:cxn ang="0">
                  <a:pos x="641" y="662"/>
                </a:cxn>
                <a:cxn ang="0">
                  <a:pos x="700" y="678"/>
                </a:cxn>
                <a:cxn ang="0">
                  <a:pos x="762" y="690"/>
                </a:cxn>
                <a:cxn ang="0">
                  <a:pos x="822" y="698"/>
                </a:cxn>
                <a:cxn ang="0">
                  <a:pos x="702" y="494"/>
                </a:cxn>
                <a:cxn ang="0">
                  <a:pos x="832" y="256"/>
                </a:cxn>
                <a:cxn ang="0">
                  <a:pos x="787" y="247"/>
                </a:cxn>
                <a:cxn ang="0">
                  <a:pos x="745" y="233"/>
                </a:cxn>
                <a:cxn ang="0">
                  <a:pos x="704" y="214"/>
                </a:cxn>
                <a:cxn ang="0">
                  <a:pos x="665" y="192"/>
                </a:cxn>
                <a:cxn ang="0">
                  <a:pos x="630" y="165"/>
                </a:cxn>
                <a:cxn ang="0">
                  <a:pos x="596" y="136"/>
                </a:cxn>
                <a:cxn ang="0">
                  <a:pos x="736" y="84"/>
                </a:cxn>
                <a:cxn ang="0">
                  <a:pos x="292" y="0"/>
                </a:cxn>
              </a:cxnLst>
              <a:rect l="0" t="0" r="r" b="b"/>
              <a:pathLst>
                <a:path w="833" h="699">
                  <a:moveTo>
                    <a:pt x="292" y="0"/>
                  </a:moveTo>
                  <a:lnTo>
                    <a:pt x="0" y="352"/>
                  </a:lnTo>
                  <a:lnTo>
                    <a:pt x="163" y="293"/>
                  </a:lnTo>
                  <a:lnTo>
                    <a:pt x="198" y="344"/>
                  </a:lnTo>
                  <a:lnTo>
                    <a:pt x="236" y="392"/>
                  </a:lnTo>
                  <a:lnTo>
                    <a:pt x="277" y="438"/>
                  </a:lnTo>
                  <a:lnTo>
                    <a:pt x="322" y="480"/>
                  </a:lnTo>
                  <a:lnTo>
                    <a:pt x="370" y="520"/>
                  </a:lnTo>
                  <a:lnTo>
                    <a:pt x="419" y="555"/>
                  </a:lnTo>
                  <a:lnTo>
                    <a:pt x="472" y="588"/>
                  </a:lnTo>
                  <a:lnTo>
                    <a:pt x="527" y="616"/>
                  </a:lnTo>
                  <a:lnTo>
                    <a:pt x="583" y="641"/>
                  </a:lnTo>
                  <a:lnTo>
                    <a:pt x="641" y="662"/>
                  </a:lnTo>
                  <a:lnTo>
                    <a:pt x="700" y="678"/>
                  </a:lnTo>
                  <a:lnTo>
                    <a:pt x="762" y="690"/>
                  </a:lnTo>
                  <a:lnTo>
                    <a:pt x="822" y="698"/>
                  </a:lnTo>
                  <a:lnTo>
                    <a:pt x="702" y="494"/>
                  </a:lnTo>
                  <a:lnTo>
                    <a:pt x="832" y="256"/>
                  </a:lnTo>
                  <a:lnTo>
                    <a:pt x="787" y="247"/>
                  </a:lnTo>
                  <a:lnTo>
                    <a:pt x="745" y="233"/>
                  </a:lnTo>
                  <a:lnTo>
                    <a:pt x="704" y="214"/>
                  </a:lnTo>
                  <a:lnTo>
                    <a:pt x="665" y="192"/>
                  </a:lnTo>
                  <a:lnTo>
                    <a:pt x="630" y="165"/>
                  </a:lnTo>
                  <a:lnTo>
                    <a:pt x="596" y="136"/>
                  </a:lnTo>
                  <a:lnTo>
                    <a:pt x="736" y="84"/>
                  </a:lnTo>
                  <a:lnTo>
                    <a:pt x="292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4105" name="Freeform 9"/>
            <p:cNvSpPr>
              <a:spLocks/>
            </p:cNvSpPr>
            <p:nvPr/>
          </p:nvSpPr>
          <p:spPr bwMode="auto">
            <a:xfrm>
              <a:off x="1750" y="649"/>
              <a:ext cx="1262" cy="1125"/>
            </a:xfrm>
            <a:custGeom>
              <a:avLst/>
              <a:gdLst/>
              <a:ahLst/>
              <a:cxnLst>
                <a:cxn ang="0">
                  <a:pos x="379" y="778"/>
                </a:cxn>
                <a:cxn ang="0">
                  <a:pos x="402" y="748"/>
                </a:cxn>
                <a:cxn ang="0">
                  <a:pos x="425" y="721"/>
                </a:cxn>
                <a:cxn ang="0">
                  <a:pos x="452" y="694"/>
                </a:cxn>
                <a:cxn ang="0">
                  <a:pos x="480" y="671"/>
                </a:cxn>
                <a:cxn ang="0">
                  <a:pos x="514" y="646"/>
                </a:cxn>
                <a:cxn ang="0">
                  <a:pos x="550" y="626"/>
                </a:cxn>
                <a:cxn ang="0">
                  <a:pos x="588" y="609"/>
                </a:cxn>
                <a:cxn ang="0">
                  <a:pos x="627" y="594"/>
                </a:cxn>
                <a:cxn ang="0">
                  <a:pos x="668" y="585"/>
                </a:cxn>
                <a:cxn ang="0">
                  <a:pos x="692" y="750"/>
                </a:cxn>
                <a:cxn ang="0">
                  <a:pos x="866" y="349"/>
                </a:cxn>
                <a:cxn ang="0">
                  <a:pos x="605" y="0"/>
                </a:cxn>
                <a:cxn ang="0">
                  <a:pos x="606" y="149"/>
                </a:cxn>
                <a:cxn ang="0">
                  <a:pos x="545" y="162"/>
                </a:cxn>
                <a:cxn ang="0">
                  <a:pos x="484" y="180"/>
                </a:cxn>
                <a:cxn ang="0">
                  <a:pos x="425" y="201"/>
                </a:cxn>
                <a:cxn ang="0">
                  <a:pos x="368" y="225"/>
                </a:cxn>
                <a:cxn ang="0">
                  <a:pos x="313" y="255"/>
                </a:cxn>
                <a:cxn ang="0">
                  <a:pos x="259" y="287"/>
                </a:cxn>
                <a:cxn ang="0">
                  <a:pos x="208" y="325"/>
                </a:cxn>
                <a:cxn ang="0">
                  <a:pos x="160" y="366"/>
                </a:cxn>
                <a:cxn ang="0">
                  <a:pos x="115" y="411"/>
                </a:cxn>
                <a:cxn ang="0">
                  <a:pos x="74" y="458"/>
                </a:cxn>
                <a:cxn ang="0">
                  <a:pos x="35" y="509"/>
                </a:cxn>
                <a:cxn ang="0">
                  <a:pos x="0" y="563"/>
                </a:cxn>
                <a:cxn ang="0">
                  <a:pos x="247" y="564"/>
                </a:cxn>
                <a:cxn ang="0">
                  <a:pos x="379" y="778"/>
                </a:cxn>
              </a:cxnLst>
              <a:rect l="0" t="0" r="r" b="b"/>
              <a:pathLst>
                <a:path w="867" h="779">
                  <a:moveTo>
                    <a:pt x="379" y="778"/>
                  </a:moveTo>
                  <a:lnTo>
                    <a:pt x="402" y="748"/>
                  </a:lnTo>
                  <a:lnTo>
                    <a:pt x="425" y="721"/>
                  </a:lnTo>
                  <a:lnTo>
                    <a:pt x="452" y="694"/>
                  </a:lnTo>
                  <a:lnTo>
                    <a:pt x="480" y="671"/>
                  </a:lnTo>
                  <a:lnTo>
                    <a:pt x="514" y="646"/>
                  </a:lnTo>
                  <a:lnTo>
                    <a:pt x="550" y="626"/>
                  </a:lnTo>
                  <a:lnTo>
                    <a:pt x="588" y="609"/>
                  </a:lnTo>
                  <a:lnTo>
                    <a:pt x="627" y="594"/>
                  </a:lnTo>
                  <a:lnTo>
                    <a:pt x="668" y="585"/>
                  </a:lnTo>
                  <a:lnTo>
                    <a:pt x="692" y="750"/>
                  </a:lnTo>
                  <a:lnTo>
                    <a:pt x="866" y="349"/>
                  </a:lnTo>
                  <a:lnTo>
                    <a:pt x="605" y="0"/>
                  </a:lnTo>
                  <a:lnTo>
                    <a:pt x="606" y="149"/>
                  </a:lnTo>
                  <a:lnTo>
                    <a:pt x="545" y="162"/>
                  </a:lnTo>
                  <a:lnTo>
                    <a:pt x="484" y="180"/>
                  </a:lnTo>
                  <a:lnTo>
                    <a:pt x="425" y="201"/>
                  </a:lnTo>
                  <a:lnTo>
                    <a:pt x="368" y="225"/>
                  </a:lnTo>
                  <a:lnTo>
                    <a:pt x="313" y="255"/>
                  </a:lnTo>
                  <a:lnTo>
                    <a:pt x="259" y="287"/>
                  </a:lnTo>
                  <a:lnTo>
                    <a:pt x="208" y="325"/>
                  </a:lnTo>
                  <a:lnTo>
                    <a:pt x="160" y="366"/>
                  </a:lnTo>
                  <a:lnTo>
                    <a:pt x="115" y="411"/>
                  </a:lnTo>
                  <a:lnTo>
                    <a:pt x="74" y="458"/>
                  </a:lnTo>
                  <a:lnTo>
                    <a:pt x="35" y="509"/>
                  </a:lnTo>
                  <a:lnTo>
                    <a:pt x="0" y="563"/>
                  </a:lnTo>
                  <a:lnTo>
                    <a:pt x="247" y="564"/>
                  </a:lnTo>
                  <a:lnTo>
                    <a:pt x="379" y="77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4106" name="Freeform 10"/>
            <p:cNvSpPr>
              <a:spLocks/>
            </p:cNvSpPr>
            <p:nvPr/>
          </p:nvSpPr>
          <p:spPr bwMode="auto">
            <a:xfrm>
              <a:off x="1436" y="1503"/>
              <a:ext cx="989" cy="1127"/>
            </a:xfrm>
            <a:custGeom>
              <a:avLst/>
              <a:gdLst/>
              <a:ahLst/>
              <a:cxnLst>
                <a:cxn ang="0">
                  <a:pos x="448" y="0"/>
                </a:cxn>
                <a:cxn ang="0">
                  <a:pos x="0" y="1"/>
                </a:cxn>
                <a:cxn ang="0">
                  <a:pos x="141" y="82"/>
                </a:cxn>
                <a:cxn ang="0">
                  <a:pos x="120" y="138"/>
                </a:cxn>
                <a:cxn ang="0">
                  <a:pos x="102" y="196"/>
                </a:cxn>
                <a:cxn ang="0">
                  <a:pos x="89" y="253"/>
                </a:cxn>
                <a:cxn ang="0">
                  <a:pos x="80" y="313"/>
                </a:cxn>
                <a:cxn ang="0">
                  <a:pos x="74" y="373"/>
                </a:cxn>
                <a:cxn ang="0">
                  <a:pos x="73" y="431"/>
                </a:cxn>
                <a:cxn ang="0">
                  <a:pos x="75" y="491"/>
                </a:cxn>
                <a:cxn ang="0">
                  <a:pos x="82" y="551"/>
                </a:cxn>
                <a:cxn ang="0">
                  <a:pos x="93" y="609"/>
                </a:cxn>
                <a:cxn ang="0">
                  <a:pos x="107" y="668"/>
                </a:cxn>
                <a:cxn ang="0">
                  <a:pos x="126" y="724"/>
                </a:cxn>
                <a:cxn ang="0">
                  <a:pos x="148" y="779"/>
                </a:cxn>
                <a:cxn ang="0">
                  <a:pos x="324" y="566"/>
                </a:cxn>
                <a:cxn ang="0">
                  <a:pos x="551" y="603"/>
                </a:cxn>
                <a:cxn ang="0">
                  <a:pos x="535" y="562"/>
                </a:cxn>
                <a:cxn ang="0">
                  <a:pos x="523" y="521"/>
                </a:cxn>
                <a:cxn ang="0">
                  <a:pos x="516" y="478"/>
                </a:cxn>
                <a:cxn ang="0">
                  <a:pos x="512" y="435"/>
                </a:cxn>
                <a:cxn ang="0">
                  <a:pos x="513" y="391"/>
                </a:cxn>
                <a:cxn ang="0">
                  <a:pos x="518" y="348"/>
                </a:cxn>
                <a:cxn ang="0">
                  <a:pos x="528" y="306"/>
                </a:cxn>
                <a:cxn ang="0">
                  <a:pos x="679" y="392"/>
                </a:cxn>
                <a:cxn ang="0">
                  <a:pos x="448" y="0"/>
                </a:cxn>
              </a:cxnLst>
              <a:rect l="0" t="0" r="r" b="b"/>
              <a:pathLst>
                <a:path w="680" h="780">
                  <a:moveTo>
                    <a:pt x="448" y="0"/>
                  </a:moveTo>
                  <a:lnTo>
                    <a:pt x="0" y="1"/>
                  </a:lnTo>
                  <a:lnTo>
                    <a:pt x="141" y="82"/>
                  </a:lnTo>
                  <a:lnTo>
                    <a:pt x="120" y="138"/>
                  </a:lnTo>
                  <a:lnTo>
                    <a:pt x="102" y="196"/>
                  </a:lnTo>
                  <a:lnTo>
                    <a:pt x="89" y="253"/>
                  </a:lnTo>
                  <a:lnTo>
                    <a:pt x="80" y="313"/>
                  </a:lnTo>
                  <a:lnTo>
                    <a:pt x="74" y="373"/>
                  </a:lnTo>
                  <a:lnTo>
                    <a:pt x="73" y="431"/>
                  </a:lnTo>
                  <a:lnTo>
                    <a:pt x="75" y="491"/>
                  </a:lnTo>
                  <a:lnTo>
                    <a:pt x="82" y="551"/>
                  </a:lnTo>
                  <a:lnTo>
                    <a:pt x="93" y="609"/>
                  </a:lnTo>
                  <a:lnTo>
                    <a:pt x="107" y="668"/>
                  </a:lnTo>
                  <a:lnTo>
                    <a:pt x="126" y="724"/>
                  </a:lnTo>
                  <a:lnTo>
                    <a:pt x="148" y="779"/>
                  </a:lnTo>
                  <a:lnTo>
                    <a:pt x="324" y="566"/>
                  </a:lnTo>
                  <a:lnTo>
                    <a:pt x="551" y="603"/>
                  </a:lnTo>
                  <a:lnTo>
                    <a:pt x="535" y="562"/>
                  </a:lnTo>
                  <a:lnTo>
                    <a:pt x="523" y="521"/>
                  </a:lnTo>
                  <a:lnTo>
                    <a:pt x="516" y="478"/>
                  </a:lnTo>
                  <a:lnTo>
                    <a:pt x="512" y="435"/>
                  </a:lnTo>
                  <a:lnTo>
                    <a:pt x="513" y="391"/>
                  </a:lnTo>
                  <a:lnTo>
                    <a:pt x="518" y="348"/>
                  </a:lnTo>
                  <a:lnTo>
                    <a:pt x="528" y="306"/>
                  </a:lnTo>
                  <a:lnTo>
                    <a:pt x="679" y="392"/>
                  </a:lnTo>
                  <a:lnTo>
                    <a:pt x="448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644107" name="Rectangle 11"/>
          <p:cNvSpPr>
            <a:spLocks noChangeArrowheads="1"/>
          </p:cNvSpPr>
          <p:nvPr/>
        </p:nvSpPr>
        <p:spPr bwMode="auto">
          <a:xfrm>
            <a:off x="609983" y="3339486"/>
            <a:ext cx="995503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44108" name="Rectangle 12"/>
          <p:cNvSpPr>
            <a:spLocks noChangeArrowheads="1"/>
          </p:cNvSpPr>
          <p:nvPr/>
        </p:nvSpPr>
        <p:spPr bwMode="auto">
          <a:xfrm>
            <a:off x="1607200" y="1987588"/>
            <a:ext cx="899551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44109" name="Rectangle 13"/>
          <p:cNvSpPr>
            <a:spLocks noChangeArrowheads="1"/>
          </p:cNvSpPr>
          <p:nvPr/>
        </p:nvSpPr>
        <p:spPr bwMode="auto">
          <a:xfrm>
            <a:off x="3306924" y="2215475"/>
            <a:ext cx="899551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44110" name="Rectangle 14"/>
          <p:cNvSpPr>
            <a:spLocks noChangeArrowheads="1"/>
          </p:cNvSpPr>
          <p:nvPr/>
        </p:nvSpPr>
        <p:spPr bwMode="auto">
          <a:xfrm>
            <a:off x="3853508" y="3677032"/>
            <a:ext cx="103148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44111" name="Rectangle 15"/>
          <p:cNvSpPr>
            <a:spLocks noChangeArrowheads="1"/>
          </p:cNvSpPr>
          <p:nvPr/>
        </p:nvSpPr>
        <p:spPr bwMode="auto">
          <a:xfrm>
            <a:off x="2893986" y="5006655"/>
            <a:ext cx="906406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44112" name="Rectangle 16"/>
          <p:cNvSpPr>
            <a:spLocks noChangeArrowheads="1"/>
          </p:cNvSpPr>
          <p:nvPr/>
        </p:nvSpPr>
        <p:spPr bwMode="auto">
          <a:xfrm>
            <a:off x="1266227" y="4758208"/>
            <a:ext cx="902979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20" name="Group 4"/>
          <p:cNvGrpSpPr>
            <a:grpSpLocks/>
          </p:cNvGrpSpPr>
          <p:nvPr/>
        </p:nvGrpSpPr>
        <p:grpSpPr bwMode="auto">
          <a:xfrm>
            <a:off x="5521425" y="901272"/>
            <a:ext cx="5109453" cy="5260235"/>
            <a:chOff x="1484" y="816"/>
            <a:chExt cx="2692" cy="2745"/>
          </a:xfrm>
          <a:effectLst/>
        </p:grpSpPr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3007" y="2345"/>
              <a:ext cx="1025" cy="967"/>
            </a:xfrm>
            <a:custGeom>
              <a:avLst/>
              <a:gdLst/>
              <a:ahLst/>
              <a:cxnLst>
                <a:cxn ang="0">
                  <a:pos x="89" y="315"/>
                </a:cxn>
                <a:cxn ang="0">
                  <a:pos x="116" y="292"/>
                </a:cxn>
                <a:cxn ang="0">
                  <a:pos x="143" y="266"/>
                </a:cxn>
                <a:cxn ang="0">
                  <a:pos x="168" y="241"/>
                </a:cxn>
                <a:cxn ang="0">
                  <a:pos x="192" y="213"/>
                </a:cxn>
                <a:cxn ang="0">
                  <a:pos x="214" y="185"/>
                </a:cxn>
                <a:cxn ang="0">
                  <a:pos x="234" y="155"/>
                </a:cxn>
                <a:cxn ang="0">
                  <a:pos x="253" y="125"/>
                </a:cxn>
                <a:cxn ang="0">
                  <a:pos x="270" y="93"/>
                </a:cxn>
                <a:cxn ang="0">
                  <a:pos x="285" y="61"/>
                </a:cxn>
                <a:cxn ang="0">
                  <a:pos x="299" y="28"/>
                </a:cxn>
                <a:cxn ang="0">
                  <a:pos x="310" y="0"/>
                </a:cxn>
                <a:cxn ang="0">
                  <a:pos x="667" y="233"/>
                </a:cxn>
                <a:cxn ang="0">
                  <a:pos x="1024" y="5"/>
                </a:cxn>
                <a:cxn ang="0">
                  <a:pos x="1010" y="75"/>
                </a:cxn>
                <a:cxn ang="0">
                  <a:pos x="993" y="146"/>
                </a:cxn>
                <a:cxn ang="0">
                  <a:pos x="972" y="214"/>
                </a:cxn>
                <a:cxn ang="0">
                  <a:pos x="947" y="282"/>
                </a:cxn>
                <a:cxn ang="0">
                  <a:pos x="920" y="348"/>
                </a:cxn>
                <a:cxn ang="0">
                  <a:pos x="888" y="412"/>
                </a:cxn>
                <a:cxn ang="0">
                  <a:pos x="854" y="474"/>
                </a:cxn>
                <a:cxn ang="0">
                  <a:pos x="816" y="536"/>
                </a:cxn>
                <a:cxn ang="0">
                  <a:pos x="776" y="594"/>
                </a:cxn>
                <a:cxn ang="0">
                  <a:pos x="732" y="651"/>
                </a:cxn>
                <a:cxn ang="0">
                  <a:pos x="685" y="706"/>
                </a:cxn>
                <a:cxn ang="0">
                  <a:pos x="635" y="759"/>
                </a:cxn>
                <a:cxn ang="0">
                  <a:pos x="583" y="809"/>
                </a:cxn>
                <a:cxn ang="0">
                  <a:pos x="527" y="856"/>
                </a:cxn>
                <a:cxn ang="0">
                  <a:pos x="616" y="966"/>
                </a:cxn>
                <a:cxn ang="0">
                  <a:pos x="58" y="777"/>
                </a:cxn>
                <a:cxn ang="0">
                  <a:pos x="0" y="206"/>
                </a:cxn>
                <a:cxn ang="0">
                  <a:pos x="89" y="315"/>
                </a:cxn>
              </a:cxnLst>
              <a:rect l="0" t="0" r="r" b="b"/>
              <a:pathLst>
                <a:path w="1025" h="967">
                  <a:moveTo>
                    <a:pt x="89" y="315"/>
                  </a:moveTo>
                  <a:lnTo>
                    <a:pt x="116" y="292"/>
                  </a:lnTo>
                  <a:lnTo>
                    <a:pt x="143" y="266"/>
                  </a:lnTo>
                  <a:lnTo>
                    <a:pt x="168" y="241"/>
                  </a:lnTo>
                  <a:lnTo>
                    <a:pt x="192" y="213"/>
                  </a:lnTo>
                  <a:lnTo>
                    <a:pt x="214" y="185"/>
                  </a:lnTo>
                  <a:lnTo>
                    <a:pt x="234" y="155"/>
                  </a:lnTo>
                  <a:lnTo>
                    <a:pt x="253" y="125"/>
                  </a:lnTo>
                  <a:lnTo>
                    <a:pt x="270" y="93"/>
                  </a:lnTo>
                  <a:lnTo>
                    <a:pt x="285" y="61"/>
                  </a:lnTo>
                  <a:lnTo>
                    <a:pt x="299" y="28"/>
                  </a:lnTo>
                  <a:lnTo>
                    <a:pt x="310" y="0"/>
                  </a:lnTo>
                  <a:lnTo>
                    <a:pt x="667" y="233"/>
                  </a:lnTo>
                  <a:lnTo>
                    <a:pt x="1024" y="5"/>
                  </a:lnTo>
                  <a:lnTo>
                    <a:pt x="1010" y="75"/>
                  </a:lnTo>
                  <a:lnTo>
                    <a:pt x="993" y="146"/>
                  </a:lnTo>
                  <a:lnTo>
                    <a:pt x="972" y="214"/>
                  </a:lnTo>
                  <a:lnTo>
                    <a:pt x="947" y="282"/>
                  </a:lnTo>
                  <a:lnTo>
                    <a:pt x="920" y="348"/>
                  </a:lnTo>
                  <a:lnTo>
                    <a:pt x="888" y="412"/>
                  </a:lnTo>
                  <a:lnTo>
                    <a:pt x="854" y="474"/>
                  </a:lnTo>
                  <a:lnTo>
                    <a:pt x="816" y="536"/>
                  </a:lnTo>
                  <a:lnTo>
                    <a:pt x="776" y="594"/>
                  </a:lnTo>
                  <a:lnTo>
                    <a:pt x="732" y="651"/>
                  </a:lnTo>
                  <a:lnTo>
                    <a:pt x="685" y="706"/>
                  </a:lnTo>
                  <a:lnTo>
                    <a:pt x="635" y="759"/>
                  </a:lnTo>
                  <a:lnTo>
                    <a:pt x="583" y="809"/>
                  </a:lnTo>
                  <a:lnTo>
                    <a:pt x="527" y="856"/>
                  </a:lnTo>
                  <a:lnTo>
                    <a:pt x="616" y="966"/>
                  </a:lnTo>
                  <a:lnTo>
                    <a:pt x="58" y="777"/>
                  </a:lnTo>
                  <a:lnTo>
                    <a:pt x="0" y="206"/>
                  </a:lnTo>
                  <a:lnTo>
                    <a:pt x="89" y="31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2227" y="2603"/>
              <a:ext cx="1209" cy="958"/>
            </a:xfrm>
            <a:custGeom>
              <a:avLst/>
              <a:gdLst/>
              <a:ahLst/>
              <a:cxnLst>
                <a:cxn ang="0">
                  <a:pos x="378" y="138"/>
                </a:cxn>
                <a:cxn ang="0">
                  <a:pos x="413" y="144"/>
                </a:cxn>
                <a:cxn ang="0">
                  <a:pos x="450" y="149"/>
                </a:cxn>
                <a:cxn ang="0">
                  <a:pos x="486" y="152"/>
                </a:cxn>
                <a:cxn ang="0">
                  <a:pos x="522" y="153"/>
                </a:cxn>
                <a:cxn ang="0">
                  <a:pos x="558" y="153"/>
                </a:cxn>
                <a:cxn ang="0">
                  <a:pos x="594" y="150"/>
                </a:cxn>
                <a:cxn ang="0">
                  <a:pos x="629" y="145"/>
                </a:cxn>
                <a:cxn ang="0">
                  <a:pos x="665" y="138"/>
                </a:cxn>
                <a:cxn ang="0">
                  <a:pos x="699" y="130"/>
                </a:cxn>
                <a:cxn ang="0">
                  <a:pos x="734" y="120"/>
                </a:cxn>
                <a:cxn ang="0">
                  <a:pos x="762" y="111"/>
                </a:cxn>
                <a:cxn ang="0">
                  <a:pos x="806" y="535"/>
                </a:cxn>
                <a:cxn ang="0">
                  <a:pos x="1208" y="669"/>
                </a:cxn>
                <a:cxn ang="0">
                  <a:pos x="1144" y="702"/>
                </a:cxn>
                <a:cxn ang="0">
                  <a:pos x="1079" y="734"/>
                </a:cxn>
                <a:cxn ang="0">
                  <a:pos x="1013" y="760"/>
                </a:cxn>
                <a:cxn ang="0">
                  <a:pos x="944" y="784"/>
                </a:cxn>
                <a:cxn ang="0">
                  <a:pos x="876" y="804"/>
                </a:cxn>
                <a:cxn ang="0">
                  <a:pos x="806" y="820"/>
                </a:cxn>
                <a:cxn ang="0">
                  <a:pos x="736" y="832"/>
                </a:cxn>
                <a:cxn ang="0">
                  <a:pos x="664" y="842"/>
                </a:cxn>
                <a:cxn ang="0">
                  <a:pos x="594" y="847"/>
                </a:cxn>
                <a:cxn ang="0">
                  <a:pos x="522" y="849"/>
                </a:cxn>
                <a:cxn ang="0">
                  <a:pos x="450" y="847"/>
                </a:cxn>
                <a:cxn ang="0">
                  <a:pos x="377" y="841"/>
                </a:cxn>
                <a:cxn ang="0">
                  <a:pos x="305" y="832"/>
                </a:cxn>
                <a:cxn ang="0">
                  <a:pos x="234" y="818"/>
                </a:cxn>
                <a:cxn ang="0">
                  <a:pos x="204" y="957"/>
                </a:cxn>
                <a:cxn ang="0">
                  <a:pos x="0" y="404"/>
                </a:cxn>
                <a:cxn ang="0">
                  <a:pos x="407" y="0"/>
                </a:cxn>
                <a:cxn ang="0">
                  <a:pos x="378" y="138"/>
                </a:cxn>
              </a:cxnLst>
              <a:rect l="0" t="0" r="r" b="b"/>
              <a:pathLst>
                <a:path w="1209" h="958">
                  <a:moveTo>
                    <a:pt x="378" y="138"/>
                  </a:moveTo>
                  <a:lnTo>
                    <a:pt x="413" y="144"/>
                  </a:lnTo>
                  <a:lnTo>
                    <a:pt x="450" y="149"/>
                  </a:lnTo>
                  <a:lnTo>
                    <a:pt x="486" y="152"/>
                  </a:lnTo>
                  <a:lnTo>
                    <a:pt x="522" y="153"/>
                  </a:lnTo>
                  <a:lnTo>
                    <a:pt x="558" y="153"/>
                  </a:lnTo>
                  <a:lnTo>
                    <a:pt x="594" y="150"/>
                  </a:lnTo>
                  <a:lnTo>
                    <a:pt x="629" y="145"/>
                  </a:lnTo>
                  <a:lnTo>
                    <a:pt x="665" y="138"/>
                  </a:lnTo>
                  <a:lnTo>
                    <a:pt x="699" y="130"/>
                  </a:lnTo>
                  <a:lnTo>
                    <a:pt x="734" y="120"/>
                  </a:lnTo>
                  <a:lnTo>
                    <a:pt x="762" y="111"/>
                  </a:lnTo>
                  <a:lnTo>
                    <a:pt x="806" y="535"/>
                  </a:lnTo>
                  <a:lnTo>
                    <a:pt x="1208" y="669"/>
                  </a:lnTo>
                  <a:lnTo>
                    <a:pt x="1144" y="702"/>
                  </a:lnTo>
                  <a:lnTo>
                    <a:pt x="1079" y="734"/>
                  </a:lnTo>
                  <a:lnTo>
                    <a:pt x="1013" y="760"/>
                  </a:lnTo>
                  <a:lnTo>
                    <a:pt x="944" y="784"/>
                  </a:lnTo>
                  <a:lnTo>
                    <a:pt x="876" y="804"/>
                  </a:lnTo>
                  <a:lnTo>
                    <a:pt x="806" y="820"/>
                  </a:lnTo>
                  <a:lnTo>
                    <a:pt x="736" y="832"/>
                  </a:lnTo>
                  <a:lnTo>
                    <a:pt x="664" y="842"/>
                  </a:lnTo>
                  <a:lnTo>
                    <a:pt x="594" y="847"/>
                  </a:lnTo>
                  <a:lnTo>
                    <a:pt x="522" y="849"/>
                  </a:lnTo>
                  <a:lnTo>
                    <a:pt x="450" y="847"/>
                  </a:lnTo>
                  <a:lnTo>
                    <a:pt x="377" y="841"/>
                  </a:lnTo>
                  <a:lnTo>
                    <a:pt x="305" y="832"/>
                  </a:lnTo>
                  <a:lnTo>
                    <a:pt x="234" y="818"/>
                  </a:lnTo>
                  <a:lnTo>
                    <a:pt x="204" y="957"/>
                  </a:lnTo>
                  <a:lnTo>
                    <a:pt x="0" y="404"/>
                  </a:lnTo>
                  <a:lnTo>
                    <a:pt x="407" y="0"/>
                  </a:lnTo>
                  <a:lnTo>
                    <a:pt x="378" y="13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1484" y="2284"/>
              <a:ext cx="1009" cy="1106"/>
            </a:xfrm>
            <a:custGeom>
              <a:avLst/>
              <a:gdLst/>
              <a:ahLst/>
              <a:cxnLst>
                <a:cxn ang="0">
                  <a:pos x="746" y="126"/>
                </a:cxn>
                <a:cxn ang="0">
                  <a:pos x="763" y="157"/>
                </a:cxn>
                <a:cxn ang="0">
                  <a:pos x="783" y="189"/>
                </a:cxn>
                <a:cxn ang="0">
                  <a:pos x="802" y="219"/>
                </a:cxn>
                <a:cxn ang="0">
                  <a:pos x="825" y="248"/>
                </a:cxn>
                <a:cxn ang="0">
                  <a:pos x="847" y="275"/>
                </a:cxn>
                <a:cxn ang="0">
                  <a:pos x="873" y="301"/>
                </a:cxn>
                <a:cxn ang="0">
                  <a:pos x="898" y="326"/>
                </a:cxn>
                <a:cxn ang="0">
                  <a:pos x="926" y="349"/>
                </a:cxn>
                <a:cxn ang="0">
                  <a:pos x="954" y="371"/>
                </a:cxn>
                <a:cxn ang="0">
                  <a:pos x="983" y="391"/>
                </a:cxn>
                <a:cxn ang="0">
                  <a:pos x="1008" y="408"/>
                </a:cxn>
                <a:cxn ang="0">
                  <a:pos x="706" y="709"/>
                </a:cxn>
                <a:cxn ang="0">
                  <a:pos x="855" y="1105"/>
                </a:cxn>
                <a:cxn ang="0">
                  <a:pos x="790" y="1077"/>
                </a:cxn>
                <a:cxn ang="0">
                  <a:pos x="724" y="1046"/>
                </a:cxn>
                <a:cxn ang="0">
                  <a:pos x="661" y="1011"/>
                </a:cxn>
                <a:cxn ang="0">
                  <a:pos x="600" y="972"/>
                </a:cxn>
                <a:cxn ang="0">
                  <a:pos x="541" y="932"/>
                </a:cxn>
                <a:cxn ang="0">
                  <a:pos x="485" y="888"/>
                </a:cxn>
                <a:cxn ang="0">
                  <a:pos x="432" y="841"/>
                </a:cxn>
                <a:cxn ang="0">
                  <a:pos x="379" y="791"/>
                </a:cxn>
                <a:cxn ang="0">
                  <a:pos x="331" y="740"/>
                </a:cxn>
                <a:cxn ang="0">
                  <a:pos x="284" y="685"/>
                </a:cxn>
                <a:cxn ang="0">
                  <a:pos x="240" y="628"/>
                </a:cxn>
                <a:cxn ang="0">
                  <a:pos x="198" y="568"/>
                </a:cxn>
                <a:cxn ang="0">
                  <a:pos x="160" y="507"/>
                </a:cxn>
                <a:cxn ang="0">
                  <a:pos x="126" y="442"/>
                </a:cxn>
                <a:cxn ang="0">
                  <a:pos x="0" y="506"/>
                </a:cxn>
                <a:cxn ang="0">
                  <a:pos x="301" y="0"/>
                </a:cxn>
                <a:cxn ang="0">
                  <a:pos x="871" y="62"/>
                </a:cxn>
                <a:cxn ang="0">
                  <a:pos x="746" y="126"/>
                </a:cxn>
              </a:cxnLst>
              <a:rect l="0" t="0" r="r" b="b"/>
              <a:pathLst>
                <a:path w="1009" h="1106">
                  <a:moveTo>
                    <a:pt x="746" y="126"/>
                  </a:moveTo>
                  <a:lnTo>
                    <a:pt x="763" y="157"/>
                  </a:lnTo>
                  <a:lnTo>
                    <a:pt x="783" y="189"/>
                  </a:lnTo>
                  <a:lnTo>
                    <a:pt x="802" y="219"/>
                  </a:lnTo>
                  <a:lnTo>
                    <a:pt x="825" y="248"/>
                  </a:lnTo>
                  <a:lnTo>
                    <a:pt x="847" y="275"/>
                  </a:lnTo>
                  <a:lnTo>
                    <a:pt x="873" y="301"/>
                  </a:lnTo>
                  <a:lnTo>
                    <a:pt x="898" y="326"/>
                  </a:lnTo>
                  <a:lnTo>
                    <a:pt x="926" y="349"/>
                  </a:lnTo>
                  <a:lnTo>
                    <a:pt x="954" y="371"/>
                  </a:lnTo>
                  <a:lnTo>
                    <a:pt x="983" y="391"/>
                  </a:lnTo>
                  <a:lnTo>
                    <a:pt x="1008" y="408"/>
                  </a:lnTo>
                  <a:lnTo>
                    <a:pt x="706" y="709"/>
                  </a:lnTo>
                  <a:lnTo>
                    <a:pt x="855" y="1105"/>
                  </a:lnTo>
                  <a:lnTo>
                    <a:pt x="790" y="1077"/>
                  </a:lnTo>
                  <a:lnTo>
                    <a:pt x="724" y="1046"/>
                  </a:lnTo>
                  <a:lnTo>
                    <a:pt x="661" y="1011"/>
                  </a:lnTo>
                  <a:lnTo>
                    <a:pt x="600" y="972"/>
                  </a:lnTo>
                  <a:lnTo>
                    <a:pt x="541" y="932"/>
                  </a:lnTo>
                  <a:lnTo>
                    <a:pt x="485" y="888"/>
                  </a:lnTo>
                  <a:lnTo>
                    <a:pt x="432" y="841"/>
                  </a:lnTo>
                  <a:lnTo>
                    <a:pt x="379" y="791"/>
                  </a:lnTo>
                  <a:lnTo>
                    <a:pt x="331" y="740"/>
                  </a:lnTo>
                  <a:lnTo>
                    <a:pt x="284" y="685"/>
                  </a:lnTo>
                  <a:lnTo>
                    <a:pt x="240" y="628"/>
                  </a:lnTo>
                  <a:lnTo>
                    <a:pt x="198" y="568"/>
                  </a:lnTo>
                  <a:lnTo>
                    <a:pt x="160" y="507"/>
                  </a:lnTo>
                  <a:lnTo>
                    <a:pt x="126" y="442"/>
                  </a:lnTo>
                  <a:lnTo>
                    <a:pt x="0" y="506"/>
                  </a:lnTo>
                  <a:lnTo>
                    <a:pt x="301" y="0"/>
                  </a:lnTo>
                  <a:lnTo>
                    <a:pt x="871" y="62"/>
                  </a:lnTo>
                  <a:lnTo>
                    <a:pt x="746" y="12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1487" y="1497"/>
              <a:ext cx="891" cy="1118"/>
            </a:xfrm>
            <a:custGeom>
              <a:avLst/>
              <a:gdLst/>
              <a:ahLst/>
              <a:cxnLst>
                <a:cxn ang="0">
                  <a:pos x="762" y="429"/>
                </a:cxn>
                <a:cxn ang="0">
                  <a:pos x="748" y="461"/>
                </a:cxn>
                <a:cxn ang="0">
                  <a:pos x="735" y="496"/>
                </a:cxn>
                <a:cxn ang="0">
                  <a:pos x="723" y="530"/>
                </a:cxn>
                <a:cxn ang="0">
                  <a:pos x="714" y="565"/>
                </a:cxn>
                <a:cxn ang="0">
                  <a:pos x="706" y="600"/>
                </a:cxn>
                <a:cxn ang="0">
                  <a:pos x="702" y="636"/>
                </a:cxn>
                <a:cxn ang="0">
                  <a:pos x="698" y="671"/>
                </a:cxn>
                <a:cxn ang="0">
                  <a:pos x="696" y="707"/>
                </a:cxn>
                <a:cxn ang="0">
                  <a:pos x="697" y="743"/>
                </a:cxn>
                <a:cxn ang="0">
                  <a:pos x="699" y="779"/>
                </a:cxn>
                <a:cxn ang="0">
                  <a:pos x="701" y="809"/>
                </a:cxn>
                <a:cxn ang="0">
                  <a:pos x="278" y="756"/>
                </a:cxn>
                <a:cxn ang="0">
                  <a:pos x="57" y="1117"/>
                </a:cxn>
                <a:cxn ang="0">
                  <a:pos x="39" y="1048"/>
                </a:cxn>
                <a:cxn ang="0">
                  <a:pos x="23" y="977"/>
                </a:cxn>
                <a:cxn ang="0">
                  <a:pos x="12" y="906"/>
                </a:cxn>
                <a:cxn ang="0">
                  <a:pos x="5" y="834"/>
                </a:cxn>
                <a:cxn ang="0">
                  <a:pos x="0" y="763"/>
                </a:cxn>
                <a:cxn ang="0">
                  <a:pos x="1" y="692"/>
                </a:cxn>
                <a:cxn ang="0">
                  <a:pos x="5" y="621"/>
                </a:cxn>
                <a:cxn ang="0">
                  <a:pos x="12" y="549"/>
                </a:cxn>
                <a:cxn ang="0">
                  <a:pos x="22" y="479"/>
                </a:cxn>
                <a:cxn ang="0">
                  <a:pos x="37" y="408"/>
                </a:cxn>
                <a:cxn ang="0">
                  <a:pos x="55" y="338"/>
                </a:cxn>
                <a:cxn ang="0">
                  <a:pos x="76" y="269"/>
                </a:cxn>
                <a:cxn ang="0">
                  <a:pos x="101" y="201"/>
                </a:cxn>
                <a:cxn ang="0">
                  <a:pos x="131" y="134"/>
                </a:cxn>
                <a:cxn ang="0">
                  <a:pos x="3" y="74"/>
                </a:cxn>
                <a:cxn ang="0">
                  <a:pos x="587" y="0"/>
                </a:cxn>
                <a:cxn ang="0">
                  <a:pos x="890" y="488"/>
                </a:cxn>
                <a:cxn ang="0">
                  <a:pos x="762" y="429"/>
                </a:cxn>
              </a:cxnLst>
              <a:rect l="0" t="0" r="r" b="b"/>
              <a:pathLst>
                <a:path w="891" h="1118">
                  <a:moveTo>
                    <a:pt x="762" y="429"/>
                  </a:moveTo>
                  <a:lnTo>
                    <a:pt x="748" y="461"/>
                  </a:lnTo>
                  <a:lnTo>
                    <a:pt x="735" y="496"/>
                  </a:lnTo>
                  <a:lnTo>
                    <a:pt x="723" y="530"/>
                  </a:lnTo>
                  <a:lnTo>
                    <a:pt x="714" y="565"/>
                  </a:lnTo>
                  <a:lnTo>
                    <a:pt x="706" y="600"/>
                  </a:lnTo>
                  <a:lnTo>
                    <a:pt x="702" y="636"/>
                  </a:lnTo>
                  <a:lnTo>
                    <a:pt x="698" y="671"/>
                  </a:lnTo>
                  <a:lnTo>
                    <a:pt x="696" y="707"/>
                  </a:lnTo>
                  <a:lnTo>
                    <a:pt x="697" y="743"/>
                  </a:lnTo>
                  <a:lnTo>
                    <a:pt x="699" y="779"/>
                  </a:lnTo>
                  <a:lnTo>
                    <a:pt x="701" y="809"/>
                  </a:lnTo>
                  <a:lnTo>
                    <a:pt x="278" y="756"/>
                  </a:lnTo>
                  <a:lnTo>
                    <a:pt x="57" y="1117"/>
                  </a:lnTo>
                  <a:lnTo>
                    <a:pt x="39" y="1048"/>
                  </a:lnTo>
                  <a:lnTo>
                    <a:pt x="23" y="977"/>
                  </a:lnTo>
                  <a:lnTo>
                    <a:pt x="12" y="906"/>
                  </a:lnTo>
                  <a:lnTo>
                    <a:pt x="5" y="834"/>
                  </a:lnTo>
                  <a:lnTo>
                    <a:pt x="0" y="763"/>
                  </a:lnTo>
                  <a:lnTo>
                    <a:pt x="1" y="692"/>
                  </a:lnTo>
                  <a:lnTo>
                    <a:pt x="5" y="621"/>
                  </a:lnTo>
                  <a:lnTo>
                    <a:pt x="12" y="549"/>
                  </a:lnTo>
                  <a:lnTo>
                    <a:pt x="22" y="479"/>
                  </a:lnTo>
                  <a:lnTo>
                    <a:pt x="37" y="408"/>
                  </a:lnTo>
                  <a:lnTo>
                    <a:pt x="55" y="338"/>
                  </a:lnTo>
                  <a:lnTo>
                    <a:pt x="76" y="269"/>
                  </a:lnTo>
                  <a:lnTo>
                    <a:pt x="101" y="201"/>
                  </a:lnTo>
                  <a:lnTo>
                    <a:pt x="131" y="134"/>
                  </a:lnTo>
                  <a:lnTo>
                    <a:pt x="3" y="74"/>
                  </a:lnTo>
                  <a:lnTo>
                    <a:pt x="587" y="0"/>
                  </a:lnTo>
                  <a:lnTo>
                    <a:pt x="890" y="488"/>
                  </a:lnTo>
                  <a:lnTo>
                    <a:pt x="762" y="42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1670" y="816"/>
              <a:ext cx="1203" cy="1006"/>
            </a:xfrm>
            <a:custGeom>
              <a:avLst/>
              <a:gdLst/>
              <a:ahLst/>
              <a:cxnLst>
                <a:cxn ang="0">
                  <a:pos x="978" y="813"/>
                </a:cxn>
                <a:cxn ang="0">
                  <a:pos x="944" y="822"/>
                </a:cxn>
                <a:cxn ang="0">
                  <a:pos x="909" y="835"/>
                </a:cxn>
                <a:cxn ang="0">
                  <a:pos x="875" y="847"/>
                </a:cxn>
                <a:cxn ang="0">
                  <a:pos x="842" y="862"/>
                </a:cxn>
                <a:cxn ang="0">
                  <a:pos x="810" y="878"/>
                </a:cxn>
                <a:cxn ang="0">
                  <a:pos x="779" y="897"/>
                </a:cxn>
                <a:cxn ang="0">
                  <a:pos x="749" y="916"/>
                </a:cxn>
                <a:cxn ang="0">
                  <a:pos x="721" y="938"/>
                </a:cxn>
                <a:cxn ang="0">
                  <a:pos x="693" y="960"/>
                </a:cxn>
                <a:cxn ang="0">
                  <a:pos x="667" y="984"/>
                </a:cxn>
                <a:cxn ang="0">
                  <a:pos x="645" y="1005"/>
                </a:cxn>
                <a:cxn ang="0">
                  <a:pos x="420" y="643"/>
                </a:cxn>
                <a:cxn ang="0">
                  <a:pos x="0" y="699"/>
                </a:cxn>
                <a:cxn ang="0">
                  <a:pos x="42" y="641"/>
                </a:cxn>
                <a:cxn ang="0">
                  <a:pos x="88" y="584"/>
                </a:cxn>
                <a:cxn ang="0">
                  <a:pos x="135" y="531"/>
                </a:cxn>
                <a:cxn ang="0">
                  <a:pos x="187" y="480"/>
                </a:cxn>
                <a:cxn ang="0">
                  <a:pos x="239" y="432"/>
                </a:cxn>
                <a:cxn ang="0">
                  <a:pos x="295" y="387"/>
                </a:cxn>
                <a:cxn ang="0">
                  <a:pos x="352" y="346"/>
                </a:cxn>
                <a:cxn ang="0">
                  <a:pos x="413" y="305"/>
                </a:cxn>
                <a:cxn ang="0">
                  <a:pos x="474" y="270"/>
                </a:cxn>
                <a:cxn ang="0">
                  <a:pos x="538" y="237"/>
                </a:cxn>
                <a:cxn ang="0">
                  <a:pos x="603" y="207"/>
                </a:cxn>
                <a:cxn ang="0">
                  <a:pos x="671" y="180"/>
                </a:cxn>
                <a:cxn ang="0">
                  <a:pos x="739" y="157"/>
                </a:cxn>
                <a:cxn ang="0">
                  <a:pos x="810" y="138"/>
                </a:cxn>
                <a:cxn ang="0">
                  <a:pos x="776" y="0"/>
                </a:cxn>
                <a:cxn ang="0">
                  <a:pos x="1202" y="407"/>
                </a:cxn>
                <a:cxn ang="0">
                  <a:pos x="1013" y="949"/>
                </a:cxn>
                <a:cxn ang="0">
                  <a:pos x="978" y="813"/>
                </a:cxn>
              </a:cxnLst>
              <a:rect l="0" t="0" r="r" b="b"/>
              <a:pathLst>
                <a:path w="1203" h="1006">
                  <a:moveTo>
                    <a:pt x="978" y="813"/>
                  </a:moveTo>
                  <a:lnTo>
                    <a:pt x="944" y="822"/>
                  </a:lnTo>
                  <a:lnTo>
                    <a:pt x="909" y="835"/>
                  </a:lnTo>
                  <a:lnTo>
                    <a:pt x="875" y="847"/>
                  </a:lnTo>
                  <a:lnTo>
                    <a:pt x="842" y="862"/>
                  </a:lnTo>
                  <a:lnTo>
                    <a:pt x="810" y="878"/>
                  </a:lnTo>
                  <a:lnTo>
                    <a:pt x="779" y="897"/>
                  </a:lnTo>
                  <a:lnTo>
                    <a:pt x="749" y="916"/>
                  </a:lnTo>
                  <a:lnTo>
                    <a:pt x="721" y="938"/>
                  </a:lnTo>
                  <a:lnTo>
                    <a:pt x="693" y="960"/>
                  </a:lnTo>
                  <a:lnTo>
                    <a:pt x="667" y="984"/>
                  </a:lnTo>
                  <a:lnTo>
                    <a:pt x="645" y="1005"/>
                  </a:lnTo>
                  <a:lnTo>
                    <a:pt x="420" y="643"/>
                  </a:lnTo>
                  <a:lnTo>
                    <a:pt x="0" y="699"/>
                  </a:lnTo>
                  <a:lnTo>
                    <a:pt x="42" y="641"/>
                  </a:lnTo>
                  <a:lnTo>
                    <a:pt x="88" y="584"/>
                  </a:lnTo>
                  <a:lnTo>
                    <a:pt x="135" y="531"/>
                  </a:lnTo>
                  <a:lnTo>
                    <a:pt x="187" y="480"/>
                  </a:lnTo>
                  <a:lnTo>
                    <a:pt x="239" y="432"/>
                  </a:lnTo>
                  <a:lnTo>
                    <a:pt x="295" y="387"/>
                  </a:lnTo>
                  <a:lnTo>
                    <a:pt x="352" y="346"/>
                  </a:lnTo>
                  <a:lnTo>
                    <a:pt x="413" y="305"/>
                  </a:lnTo>
                  <a:lnTo>
                    <a:pt x="474" y="270"/>
                  </a:lnTo>
                  <a:lnTo>
                    <a:pt x="538" y="237"/>
                  </a:lnTo>
                  <a:lnTo>
                    <a:pt x="603" y="207"/>
                  </a:lnTo>
                  <a:lnTo>
                    <a:pt x="671" y="180"/>
                  </a:lnTo>
                  <a:lnTo>
                    <a:pt x="739" y="157"/>
                  </a:lnTo>
                  <a:lnTo>
                    <a:pt x="810" y="138"/>
                  </a:lnTo>
                  <a:lnTo>
                    <a:pt x="776" y="0"/>
                  </a:lnTo>
                  <a:lnTo>
                    <a:pt x="1202" y="407"/>
                  </a:lnTo>
                  <a:lnTo>
                    <a:pt x="1013" y="949"/>
                  </a:lnTo>
                  <a:lnTo>
                    <a:pt x="978" y="813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2618" y="916"/>
              <a:ext cx="1029" cy="955"/>
            </a:xfrm>
            <a:custGeom>
              <a:avLst/>
              <a:gdLst/>
              <a:ahLst/>
              <a:cxnLst>
                <a:cxn ang="0">
                  <a:pos x="512" y="843"/>
                </a:cxn>
                <a:cxn ang="0">
                  <a:pos x="484" y="822"/>
                </a:cxn>
                <a:cxn ang="0">
                  <a:pos x="453" y="801"/>
                </a:cxn>
                <a:cxn ang="0">
                  <a:pos x="423" y="783"/>
                </a:cxn>
                <a:cxn ang="0">
                  <a:pos x="390" y="766"/>
                </a:cxn>
                <a:cxn ang="0">
                  <a:pos x="358" y="750"/>
                </a:cxn>
                <a:cxn ang="0">
                  <a:pos x="324" y="738"/>
                </a:cxn>
                <a:cxn ang="0">
                  <a:pos x="290" y="726"/>
                </a:cxn>
                <a:cxn ang="0">
                  <a:pos x="255" y="717"/>
                </a:cxn>
                <a:cxn ang="0">
                  <a:pos x="221" y="709"/>
                </a:cxn>
                <a:cxn ang="0">
                  <a:pos x="186" y="703"/>
                </a:cxn>
                <a:cxn ang="0">
                  <a:pos x="156" y="698"/>
                </a:cxn>
                <a:cxn ang="0">
                  <a:pos x="303" y="298"/>
                </a:cxn>
                <a:cxn ang="0">
                  <a:pos x="0" y="2"/>
                </a:cxn>
                <a:cxn ang="0">
                  <a:pos x="71" y="0"/>
                </a:cxn>
                <a:cxn ang="0">
                  <a:pos x="144" y="0"/>
                </a:cxn>
                <a:cxn ang="0">
                  <a:pos x="215" y="5"/>
                </a:cxn>
                <a:cxn ang="0">
                  <a:pos x="287" y="14"/>
                </a:cxn>
                <a:cxn ang="0">
                  <a:pos x="358" y="26"/>
                </a:cxn>
                <a:cxn ang="0">
                  <a:pos x="427" y="43"/>
                </a:cxn>
                <a:cxn ang="0">
                  <a:pos x="495" y="62"/>
                </a:cxn>
                <a:cxn ang="0">
                  <a:pos x="564" y="85"/>
                </a:cxn>
                <a:cxn ang="0">
                  <a:pos x="630" y="111"/>
                </a:cxn>
                <a:cxn ang="0">
                  <a:pos x="695" y="141"/>
                </a:cxn>
                <a:cxn ang="0">
                  <a:pos x="759" y="174"/>
                </a:cxn>
                <a:cxn ang="0">
                  <a:pos x="822" y="211"/>
                </a:cxn>
                <a:cxn ang="0">
                  <a:pos x="883" y="250"/>
                </a:cxn>
                <a:cxn ang="0">
                  <a:pos x="941" y="294"/>
                </a:cxn>
                <a:cxn ang="0">
                  <a:pos x="1028" y="183"/>
                </a:cxn>
                <a:cxn ang="0">
                  <a:pos x="970" y="769"/>
                </a:cxn>
                <a:cxn ang="0">
                  <a:pos x="426" y="954"/>
                </a:cxn>
                <a:cxn ang="0">
                  <a:pos x="512" y="843"/>
                </a:cxn>
              </a:cxnLst>
              <a:rect l="0" t="0" r="r" b="b"/>
              <a:pathLst>
                <a:path w="1029" h="955">
                  <a:moveTo>
                    <a:pt x="512" y="843"/>
                  </a:moveTo>
                  <a:lnTo>
                    <a:pt x="484" y="822"/>
                  </a:lnTo>
                  <a:lnTo>
                    <a:pt x="453" y="801"/>
                  </a:lnTo>
                  <a:lnTo>
                    <a:pt x="423" y="783"/>
                  </a:lnTo>
                  <a:lnTo>
                    <a:pt x="390" y="766"/>
                  </a:lnTo>
                  <a:lnTo>
                    <a:pt x="358" y="750"/>
                  </a:lnTo>
                  <a:lnTo>
                    <a:pt x="324" y="738"/>
                  </a:lnTo>
                  <a:lnTo>
                    <a:pt x="290" y="726"/>
                  </a:lnTo>
                  <a:lnTo>
                    <a:pt x="255" y="717"/>
                  </a:lnTo>
                  <a:lnTo>
                    <a:pt x="221" y="709"/>
                  </a:lnTo>
                  <a:lnTo>
                    <a:pt x="186" y="703"/>
                  </a:lnTo>
                  <a:lnTo>
                    <a:pt x="156" y="698"/>
                  </a:lnTo>
                  <a:lnTo>
                    <a:pt x="303" y="298"/>
                  </a:lnTo>
                  <a:lnTo>
                    <a:pt x="0" y="2"/>
                  </a:lnTo>
                  <a:lnTo>
                    <a:pt x="71" y="0"/>
                  </a:lnTo>
                  <a:lnTo>
                    <a:pt x="144" y="0"/>
                  </a:lnTo>
                  <a:lnTo>
                    <a:pt x="215" y="5"/>
                  </a:lnTo>
                  <a:lnTo>
                    <a:pt x="287" y="14"/>
                  </a:lnTo>
                  <a:lnTo>
                    <a:pt x="358" y="26"/>
                  </a:lnTo>
                  <a:lnTo>
                    <a:pt x="427" y="43"/>
                  </a:lnTo>
                  <a:lnTo>
                    <a:pt x="495" y="62"/>
                  </a:lnTo>
                  <a:lnTo>
                    <a:pt x="564" y="85"/>
                  </a:lnTo>
                  <a:lnTo>
                    <a:pt x="630" y="111"/>
                  </a:lnTo>
                  <a:lnTo>
                    <a:pt x="695" y="141"/>
                  </a:lnTo>
                  <a:lnTo>
                    <a:pt x="759" y="174"/>
                  </a:lnTo>
                  <a:lnTo>
                    <a:pt x="822" y="211"/>
                  </a:lnTo>
                  <a:lnTo>
                    <a:pt x="883" y="250"/>
                  </a:lnTo>
                  <a:lnTo>
                    <a:pt x="941" y="294"/>
                  </a:lnTo>
                  <a:lnTo>
                    <a:pt x="1028" y="183"/>
                  </a:lnTo>
                  <a:lnTo>
                    <a:pt x="970" y="769"/>
                  </a:lnTo>
                  <a:lnTo>
                    <a:pt x="426" y="954"/>
                  </a:lnTo>
                  <a:lnTo>
                    <a:pt x="512" y="843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3197" y="1297"/>
              <a:ext cx="979" cy="1238"/>
            </a:xfrm>
            <a:custGeom>
              <a:avLst/>
              <a:gdLst/>
              <a:ahLst/>
              <a:cxnLst>
                <a:cxn ang="0">
                  <a:pos x="140" y="928"/>
                </a:cxn>
                <a:cxn ang="0">
                  <a:pos x="139" y="892"/>
                </a:cxn>
                <a:cxn ang="0">
                  <a:pos x="135" y="855"/>
                </a:cxn>
                <a:cxn ang="0">
                  <a:pos x="131" y="820"/>
                </a:cxn>
                <a:cxn ang="0">
                  <a:pos x="123" y="784"/>
                </a:cxn>
                <a:cxn ang="0">
                  <a:pos x="115" y="749"/>
                </a:cxn>
                <a:cxn ang="0">
                  <a:pos x="103" y="715"/>
                </a:cxn>
                <a:cxn ang="0">
                  <a:pos x="91" y="682"/>
                </a:cxn>
                <a:cxn ang="0">
                  <a:pos x="77" y="649"/>
                </a:cxn>
                <a:cxn ang="0">
                  <a:pos x="61" y="617"/>
                </a:cxn>
                <a:cxn ang="0">
                  <a:pos x="43" y="586"/>
                </a:cxn>
                <a:cxn ang="0">
                  <a:pos x="28" y="560"/>
                </a:cxn>
                <a:cxn ang="0">
                  <a:pos x="431" y="422"/>
                </a:cxn>
                <a:cxn ang="0">
                  <a:pos x="472" y="0"/>
                </a:cxn>
                <a:cxn ang="0">
                  <a:pos x="518" y="54"/>
                </a:cxn>
                <a:cxn ang="0">
                  <a:pos x="564" y="111"/>
                </a:cxn>
                <a:cxn ang="0">
                  <a:pos x="604" y="170"/>
                </a:cxn>
                <a:cxn ang="0">
                  <a:pos x="642" y="231"/>
                </a:cxn>
                <a:cxn ang="0">
                  <a:pos x="678" y="293"/>
                </a:cxn>
                <a:cxn ang="0">
                  <a:pos x="709" y="358"/>
                </a:cxn>
                <a:cxn ang="0">
                  <a:pos x="736" y="423"/>
                </a:cxn>
                <a:cxn ang="0">
                  <a:pos x="762" y="491"/>
                </a:cxn>
                <a:cxn ang="0">
                  <a:pos x="783" y="558"/>
                </a:cxn>
                <a:cxn ang="0">
                  <a:pos x="801" y="628"/>
                </a:cxn>
                <a:cxn ang="0">
                  <a:pos x="815" y="699"/>
                </a:cxn>
                <a:cxn ang="0">
                  <a:pos x="826" y="771"/>
                </a:cxn>
                <a:cxn ang="0">
                  <a:pos x="834" y="843"/>
                </a:cxn>
                <a:cxn ang="0">
                  <a:pos x="836" y="916"/>
                </a:cxn>
                <a:cxn ang="0">
                  <a:pos x="978" y="913"/>
                </a:cxn>
                <a:cxn ang="0">
                  <a:pos x="485" y="1237"/>
                </a:cxn>
                <a:cxn ang="0">
                  <a:pos x="0" y="931"/>
                </a:cxn>
                <a:cxn ang="0">
                  <a:pos x="140" y="928"/>
                </a:cxn>
              </a:cxnLst>
              <a:rect l="0" t="0" r="r" b="b"/>
              <a:pathLst>
                <a:path w="979" h="1238">
                  <a:moveTo>
                    <a:pt x="140" y="928"/>
                  </a:moveTo>
                  <a:lnTo>
                    <a:pt x="139" y="892"/>
                  </a:lnTo>
                  <a:lnTo>
                    <a:pt x="135" y="855"/>
                  </a:lnTo>
                  <a:lnTo>
                    <a:pt x="131" y="820"/>
                  </a:lnTo>
                  <a:lnTo>
                    <a:pt x="123" y="784"/>
                  </a:lnTo>
                  <a:lnTo>
                    <a:pt x="115" y="749"/>
                  </a:lnTo>
                  <a:lnTo>
                    <a:pt x="103" y="715"/>
                  </a:lnTo>
                  <a:lnTo>
                    <a:pt x="91" y="682"/>
                  </a:lnTo>
                  <a:lnTo>
                    <a:pt x="77" y="649"/>
                  </a:lnTo>
                  <a:lnTo>
                    <a:pt x="61" y="617"/>
                  </a:lnTo>
                  <a:lnTo>
                    <a:pt x="43" y="586"/>
                  </a:lnTo>
                  <a:lnTo>
                    <a:pt x="28" y="560"/>
                  </a:lnTo>
                  <a:lnTo>
                    <a:pt x="431" y="422"/>
                  </a:lnTo>
                  <a:lnTo>
                    <a:pt x="472" y="0"/>
                  </a:lnTo>
                  <a:lnTo>
                    <a:pt x="518" y="54"/>
                  </a:lnTo>
                  <a:lnTo>
                    <a:pt x="564" y="111"/>
                  </a:lnTo>
                  <a:lnTo>
                    <a:pt x="604" y="170"/>
                  </a:lnTo>
                  <a:lnTo>
                    <a:pt x="642" y="231"/>
                  </a:lnTo>
                  <a:lnTo>
                    <a:pt x="678" y="293"/>
                  </a:lnTo>
                  <a:lnTo>
                    <a:pt x="709" y="358"/>
                  </a:lnTo>
                  <a:lnTo>
                    <a:pt x="736" y="423"/>
                  </a:lnTo>
                  <a:lnTo>
                    <a:pt x="762" y="491"/>
                  </a:lnTo>
                  <a:lnTo>
                    <a:pt x="783" y="558"/>
                  </a:lnTo>
                  <a:lnTo>
                    <a:pt x="801" y="628"/>
                  </a:lnTo>
                  <a:lnTo>
                    <a:pt x="815" y="699"/>
                  </a:lnTo>
                  <a:lnTo>
                    <a:pt x="826" y="771"/>
                  </a:lnTo>
                  <a:lnTo>
                    <a:pt x="834" y="843"/>
                  </a:lnTo>
                  <a:lnTo>
                    <a:pt x="836" y="916"/>
                  </a:lnTo>
                  <a:lnTo>
                    <a:pt x="978" y="913"/>
                  </a:lnTo>
                  <a:lnTo>
                    <a:pt x="485" y="1237"/>
                  </a:lnTo>
                  <a:lnTo>
                    <a:pt x="0" y="931"/>
                  </a:lnTo>
                  <a:lnTo>
                    <a:pt x="140" y="92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28" name="Rectangle 12"/>
          <p:cNvSpPr>
            <a:spLocks noChangeArrowheads="1"/>
          </p:cNvSpPr>
          <p:nvPr/>
        </p:nvSpPr>
        <p:spPr bwMode="auto">
          <a:xfrm>
            <a:off x="5697908" y="2861438"/>
            <a:ext cx="1098310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6677991" y="1716866"/>
            <a:ext cx="1021205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8288617" y="1816245"/>
            <a:ext cx="1019492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1" name="Rectangle 15"/>
          <p:cNvSpPr>
            <a:spLocks noChangeArrowheads="1"/>
          </p:cNvSpPr>
          <p:nvPr/>
        </p:nvSpPr>
        <p:spPr bwMode="auto">
          <a:xfrm>
            <a:off x="9075082" y="3116740"/>
            <a:ext cx="1228530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8746103" y="4603999"/>
            <a:ext cx="1026345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3" name="Rectangle 17"/>
          <p:cNvSpPr>
            <a:spLocks noChangeArrowheads="1"/>
          </p:cNvSpPr>
          <p:nvPr/>
        </p:nvSpPr>
        <p:spPr bwMode="auto">
          <a:xfrm>
            <a:off x="6002899" y="4370972"/>
            <a:ext cx="1022919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7279406" y="5150583"/>
            <a:ext cx="1022918" cy="2638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5" name="Título 3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6" name="Espaço Reservado para Texto 3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22386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46 Grupo"/>
          <p:cNvGrpSpPr/>
          <p:nvPr/>
        </p:nvGrpSpPr>
        <p:grpSpPr>
          <a:xfrm>
            <a:off x="-27548" y="78826"/>
            <a:ext cx="4686771" cy="4633654"/>
            <a:chOff x="-25524" y="0"/>
            <a:chExt cx="4762500" cy="4708525"/>
          </a:xfrm>
        </p:grpSpPr>
        <p:grpSp>
          <p:nvGrpSpPr>
            <p:cNvPr id="2" name="Group 4"/>
            <p:cNvGrpSpPr>
              <a:grpSpLocks/>
            </p:cNvGrpSpPr>
            <p:nvPr/>
          </p:nvGrpSpPr>
          <p:grpSpPr bwMode="auto">
            <a:xfrm>
              <a:off x="-25524" y="0"/>
              <a:ext cx="4762500" cy="4708525"/>
              <a:chOff x="1297" y="642"/>
              <a:chExt cx="3000" cy="2966"/>
            </a:xfrm>
            <a:effectLst/>
          </p:grpSpPr>
          <p:sp>
            <p:nvSpPr>
              <p:cNvPr id="646149" name="Freeform 5"/>
              <p:cNvSpPr>
                <a:spLocks/>
              </p:cNvSpPr>
              <p:nvPr/>
            </p:nvSpPr>
            <p:spPr bwMode="auto">
              <a:xfrm>
                <a:off x="1921" y="2543"/>
                <a:ext cx="903" cy="896"/>
              </a:xfrm>
              <a:custGeom>
                <a:avLst/>
                <a:gdLst/>
                <a:ahLst/>
                <a:cxnLst>
                  <a:cxn ang="0">
                    <a:pos x="0" y="158"/>
                  </a:cxn>
                  <a:cxn ang="0">
                    <a:pos x="0" y="498"/>
                  </a:cxn>
                  <a:cxn ang="0">
                    <a:pos x="54" y="407"/>
                  </a:cxn>
                  <a:cxn ang="0">
                    <a:pos x="56" y="402"/>
                  </a:cxn>
                  <a:cxn ang="0">
                    <a:pos x="107" y="439"/>
                  </a:cxn>
                  <a:cxn ang="0">
                    <a:pos x="160" y="473"/>
                  </a:cxn>
                  <a:cxn ang="0">
                    <a:pos x="217" y="503"/>
                  </a:cxn>
                  <a:cxn ang="0">
                    <a:pos x="275" y="528"/>
                  </a:cxn>
                  <a:cxn ang="0">
                    <a:pos x="334" y="549"/>
                  </a:cxn>
                  <a:cxn ang="0">
                    <a:pos x="396" y="565"/>
                  </a:cxn>
                  <a:cxn ang="0">
                    <a:pos x="457" y="578"/>
                  </a:cxn>
                  <a:cxn ang="0">
                    <a:pos x="520" y="586"/>
                  </a:cxn>
                  <a:cxn ang="0">
                    <a:pos x="583" y="589"/>
                  </a:cxn>
                  <a:cxn ang="0">
                    <a:pos x="465" y="417"/>
                  </a:cxn>
                  <a:cxn ang="0">
                    <a:pos x="580" y="241"/>
                  </a:cxn>
                  <a:cxn ang="0">
                    <a:pos x="532" y="238"/>
                  </a:cxn>
                  <a:cxn ang="0">
                    <a:pos x="485" y="231"/>
                  </a:cxn>
                  <a:cxn ang="0">
                    <a:pos x="438" y="218"/>
                  </a:cxn>
                  <a:cxn ang="0">
                    <a:pos x="393" y="202"/>
                  </a:cxn>
                  <a:cxn ang="0">
                    <a:pos x="349" y="182"/>
                  </a:cxn>
                  <a:cxn ang="0">
                    <a:pos x="307" y="157"/>
                  </a:cxn>
                  <a:cxn ang="0">
                    <a:pos x="269" y="129"/>
                  </a:cxn>
                  <a:cxn ang="0">
                    <a:pos x="233" y="96"/>
                  </a:cxn>
                  <a:cxn ang="0">
                    <a:pos x="289" y="0"/>
                  </a:cxn>
                  <a:cxn ang="0">
                    <a:pos x="0" y="158"/>
                  </a:cxn>
                </a:cxnLst>
                <a:rect l="0" t="0" r="r" b="b"/>
                <a:pathLst>
                  <a:path w="584" h="590">
                    <a:moveTo>
                      <a:pt x="0" y="158"/>
                    </a:moveTo>
                    <a:lnTo>
                      <a:pt x="0" y="498"/>
                    </a:lnTo>
                    <a:lnTo>
                      <a:pt x="54" y="407"/>
                    </a:lnTo>
                    <a:lnTo>
                      <a:pt x="56" y="402"/>
                    </a:lnTo>
                    <a:lnTo>
                      <a:pt x="107" y="439"/>
                    </a:lnTo>
                    <a:lnTo>
                      <a:pt x="160" y="473"/>
                    </a:lnTo>
                    <a:lnTo>
                      <a:pt x="217" y="503"/>
                    </a:lnTo>
                    <a:lnTo>
                      <a:pt x="275" y="528"/>
                    </a:lnTo>
                    <a:lnTo>
                      <a:pt x="334" y="549"/>
                    </a:lnTo>
                    <a:lnTo>
                      <a:pt x="396" y="565"/>
                    </a:lnTo>
                    <a:lnTo>
                      <a:pt x="457" y="578"/>
                    </a:lnTo>
                    <a:lnTo>
                      <a:pt x="520" y="586"/>
                    </a:lnTo>
                    <a:lnTo>
                      <a:pt x="583" y="589"/>
                    </a:lnTo>
                    <a:lnTo>
                      <a:pt x="465" y="417"/>
                    </a:lnTo>
                    <a:lnTo>
                      <a:pt x="580" y="241"/>
                    </a:lnTo>
                    <a:lnTo>
                      <a:pt x="532" y="238"/>
                    </a:lnTo>
                    <a:lnTo>
                      <a:pt x="485" y="231"/>
                    </a:lnTo>
                    <a:lnTo>
                      <a:pt x="438" y="218"/>
                    </a:lnTo>
                    <a:lnTo>
                      <a:pt x="393" y="202"/>
                    </a:lnTo>
                    <a:lnTo>
                      <a:pt x="349" y="182"/>
                    </a:lnTo>
                    <a:lnTo>
                      <a:pt x="307" y="157"/>
                    </a:lnTo>
                    <a:lnTo>
                      <a:pt x="269" y="129"/>
                    </a:lnTo>
                    <a:lnTo>
                      <a:pt x="233" y="96"/>
                    </a:lnTo>
                    <a:lnTo>
                      <a:pt x="289" y="0"/>
                    </a:lnTo>
                    <a:lnTo>
                      <a:pt x="0" y="158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0" name="Freeform 6"/>
              <p:cNvSpPr>
                <a:spLocks/>
              </p:cNvSpPr>
              <p:nvPr/>
            </p:nvSpPr>
            <p:spPr bwMode="auto">
              <a:xfrm>
                <a:off x="2703" y="2682"/>
                <a:ext cx="1073" cy="926"/>
              </a:xfrm>
              <a:custGeom>
                <a:avLst/>
                <a:gdLst/>
                <a:ahLst/>
                <a:cxnLst>
                  <a:cxn ang="0">
                    <a:pos x="692" y="238"/>
                  </a:cxn>
                  <a:cxn ang="0">
                    <a:pos x="482" y="190"/>
                  </a:cxn>
                  <a:cxn ang="0">
                    <a:pos x="441" y="0"/>
                  </a:cxn>
                  <a:cxn ang="0">
                    <a:pos x="409" y="27"/>
                  </a:cxn>
                  <a:cxn ang="0">
                    <a:pos x="374" y="52"/>
                  </a:cxn>
                  <a:cxn ang="0">
                    <a:pos x="337" y="74"/>
                  </a:cxn>
                  <a:cxn ang="0">
                    <a:pos x="299" y="93"/>
                  </a:cxn>
                  <a:cxn ang="0">
                    <a:pos x="259" y="110"/>
                  </a:cxn>
                  <a:cxn ang="0">
                    <a:pos x="219" y="121"/>
                  </a:cxn>
                  <a:cxn ang="0">
                    <a:pos x="177" y="130"/>
                  </a:cxn>
                  <a:cxn ang="0">
                    <a:pos x="177" y="29"/>
                  </a:cxn>
                  <a:cxn ang="0">
                    <a:pos x="0" y="326"/>
                  </a:cxn>
                  <a:cxn ang="0">
                    <a:pos x="177" y="609"/>
                  </a:cxn>
                  <a:cxn ang="0">
                    <a:pos x="177" y="486"/>
                  </a:cxn>
                  <a:cxn ang="0">
                    <a:pos x="177" y="480"/>
                  </a:cxn>
                  <a:cxn ang="0">
                    <a:pos x="233" y="473"/>
                  </a:cxn>
                  <a:cxn ang="0">
                    <a:pos x="288" y="462"/>
                  </a:cxn>
                  <a:cxn ang="0">
                    <a:pos x="343" y="447"/>
                  </a:cxn>
                  <a:cxn ang="0">
                    <a:pos x="396" y="428"/>
                  </a:cxn>
                  <a:cxn ang="0">
                    <a:pos x="448" y="406"/>
                  </a:cxn>
                  <a:cxn ang="0">
                    <a:pos x="498" y="382"/>
                  </a:cxn>
                  <a:cxn ang="0">
                    <a:pos x="547" y="353"/>
                  </a:cxn>
                  <a:cxn ang="0">
                    <a:pos x="598" y="318"/>
                  </a:cxn>
                  <a:cxn ang="0">
                    <a:pos x="646" y="280"/>
                  </a:cxn>
                  <a:cxn ang="0">
                    <a:pos x="692" y="238"/>
                  </a:cxn>
                </a:cxnLst>
                <a:rect l="0" t="0" r="r" b="b"/>
                <a:pathLst>
                  <a:path w="693" h="610">
                    <a:moveTo>
                      <a:pt x="692" y="238"/>
                    </a:moveTo>
                    <a:lnTo>
                      <a:pt x="482" y="190"/>
                    </a:lnTo>
                    <a:lnTo>
                      <a:pt x="441" y="0"/>
                    </a:lnTo>
                    <a:lnTo>
                      <a:pt x="409" y="27"/>
                    </a:lnTo>
                    <a:lnTo>
                      <a:pt x="374" y="52"/>
                    </a:lnTo>
                    <a:lnTo>
                      <a:pt x="337" y="74"/>
                    </a:lnTo>
                    <a:lnTo>
                      <a:pt x="299" y="93"/>
                    </a:lnTo>
                    <a:lnTo>
                      <a:pt x="259" y="110"/>
                    </a:lnTo>
                    <a:lnTo>
                      <a:pt x="219" y="121"/>
                    </a:lnTo>
                    <a:lnTo>
                      <a:pt x="177" y="130"/>
                    </a:lnTo>
                    <a:lnTo>
                      <a:pt x="177" y="29"/>
                    </a:lnTo>
                    <a:lnTo>
                      <a:pt x="0" y="326"/>
                    </a:lnTo>
                    <a:lnTo>
                      <a:pt x="177" y="609"/>
                    </a:lnTo>
                    <a:lnTo>
                      <a:pt x="177" y="486"/>
                    </a:lnTo>
                    <a:lnTo>
                      <a:pt x="177" y="480"/>
                    </a:lnTo>
                    <a:lnTo>
                      <a:pt x="233" y="473"/>
                    </a:lnTo>
                    <a:lnTo>
                      <a:pt x="288" y="462"/>
                    </a:lnTo>
                    <a:lnTo>
                      <a:pt x="343" y="447"/>
                    </a:lnTo>
                    <a:lnTo>
                      <a:pt x="396" y="428"/>
                    </a:lnTo>
                    <a:lnTo>
                      <a:pt x="448" y="406"/>
                    </a:lnTo>
                    <a:lnTo>
                      <a:pt x="498" y="382"/>
                    </a:lnTo>
                    <a:lnTo>
                      <a:pt x="547" y="353"/>
                    </a:lnTo>
                    <a:lnTo>
                      <a:pt x="598" y="318"/>
                    </a:lnTo>
                    <a:lnTo>
                      <a:pt x="646" y="280"/>
                    </a:lnTo>
                    <a:lnTo>
                      <a:pt x="692" y="238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1" name="Freeform 7"/>
              <p:cNvSpPr>
                <a:spLocks/>
              </p:cNvSpPr>
              <p:nvPr/>
            </p:nvSpPr>
            <p:spPr bwMode="auto">
              <a:xfrm>
                <a:off x="3359" y="2059"/>
                <a:ext cx="803" cy="1001"/>
              </a:xfrm>
              <a:custGeom>
                <a:avLst/>
                <a:gdLst/>
                <a:ahLst/>
                <a:cxnLst>
                  <a:cxn ang="0">
                    <a:pos x="171" y="85"/>
                  </a:cxn>
                  <a:cxn ang="0">
                    <a:pos x="165" y="128"/>
                  </a:cxn>
                  <a:cxn ang="0">
                    <a:pos x="154" y="170"/>
                  </a:cxn>
                  <a:cxn ang="0">
                    <a:pos x="140" y="212"/>
                  </a:cxn>
                  <a:cxn ang="0">
                    <a:pos x="124" y="251"/>
                  </a:cxn>
                  <a:cxn ang="0">
                    <a:pos x="103" y="289"/>
                  </a:cxn>
                  <a:cxn ang="0">
                    <a:pos x="80" y="326"/>
                  </a:cxn>
                  <a:cxn ang="0">
                    <a:pos x="0" y="246"/>
                  </a:cxn>
                  <a:cxn ang="0">
                    <a:pos x="89" y="573"/>
                  </a:cxn>
                  <a:cxn ang="0">
                    <a:pos x="411" y="658"/>
                  </a:cxn>
                  <a:cxn ang="0">
                    <a:pos x="333" y="577"/>
                  </a:cxn>
                  <a:cxn ang="0">
                    <a:pos x="327" y="573"/>
                  </a:cxn>
                  <a:cxn ang="0">
                    <a:pos x="364" y="523"/>
                  </a:cxn>
                  <a:cxn ang="0">
                    <a:pos x="397" y="471"/>
                  </a:cxn>
                  <a:cxn ang="0">
                    <a:pos x="427" y="417"/>
                  </a:cxn>
                  <a:cxn ang="0">
                    <a:pos x="452" y="361"/>
                  </a:cxn>
                  <a:cxn ang="0">
                    <a:pos x="474" y="303"/>
                  </a:cxn>
                  <a:cxn ang="0">
                    <a:pos x="491" y="244"/>
                  </a:cxn>
                  <a:cxn ang="0">
                    <a:pos x="504" y="184"/>
                  </a:cxn>
                  <a:cxn ang="0">
                    <a:pos x="513" y="122"/>
                  </a:cxn>
                  <a:cxn ang="0">
                    <a:pos x="518" y="61"/>
                  </a:cxn>
                  <a:cxn ang="0">
                    <a:pos x="518" y="0"/>
                  </a:cxn>
                  <a:cxn ang="0">
                    <a:pos x="380" y="136"/>
                  </a:cxn>
                  <a:cxn ang="0">
                    <a:pos x="171" y="85"/>
                  </a:cxn>
                </a:cxnLst>
                <a:rect l="0" t="0" r="r" b="b"/>
                <a:pathLst>
                  <a:path w="519" h="659">
                    <a:moveTo>
                      <a:pt x="171" y="85"/>
                    </a:moveTo>
                    <a:lnTo>
                      <a:pt x="165" y="128"/>
                    </a:lnTo>
                    <a:lnTo>
                      <a:pt x="154" y="170"/>
                    </a:lnTo>
                    <a:lnTo>
                      <a:pt x="140" y="212"/>
                    </a:lnTo>
                    <a:lnTo>
                      <a:pt x="124" y="251"/>
                    </a:lnTo>
                    <a:lnTo>
                      <a:pt x="103" y="289"/>
                    </a:lnTo>
                    <a:lnTo>
                      <a:pt x="80" y="326"/>
                    </a:lnTo>
                    <a:lnTo>
                      <a:pt x="0" y="246"/>
                    </a:lnTo>
                    <a:lnTo>
                      <a:pt x="89" y="573"/>
                    </a:lnTo>
                    <a:lnTo>
                      <a:pt x="411" y="658"/>
                    </a:lnTo>
                    <a:lnTo>
                      <a:pt x="333" y="577"/>
                    </a:lnTo>
                    <a:lnTo>
                      <a:pt x="327" y="573"/>
                    </a:lnTo>
                    <a:lnTo>
                      <a:pt x="364" y="523"/>
                    </a:lnTo>
                    <a:lnTo>
                      <a:pt x="397" y="471"/>
                    </a:lnTo>
                    <a:lnTo>
                      <a:pt x="427" y="417"/>
                    </a:lnTo>
                    <a:lnTo>
                      <a:pt x="452" y="361"/>
                    </a:lnTo>
                    <a:lnTo>
                      <a:pt x="474" y="303"/>
                    </a:lnTo>
                    <a:lnTo>
                      <a:pt x="491" y="244"/>
                    </a:lnTo>
                    <a:lnTo>
                      <a:pt x="504" y="184"/>
                    </a:lnTo>
                    <a:lnTo>
                      <a:pt x="513" y="122"/>
                    </a:lnTo>
                    <a:lnTo>
                      <a:pt x="518" y="61"/>
                    </a:lnTo>
                    <a:lnTo>
                      <a:pt x="518" y="0"/>
                    </a:lnTo>
                    <a:lnTo>
                      <a:pt x="380" y="136"/>
                    </a:lnTo>
                    <a:lnTo>
                      <a:pt x="171" y="85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2" name="Freeform 8"/>
              <p:cNvSpPr>
                <a:spLocks/>
              </p:cNvSpPr>
              <p:nvPr/>
            </p:nvSpPr>
            <p:spPr bwMode="auto">
              <a:xfrm>
                <a:off x="3414" y="1193"/>
                <a:ext cx="883" cy="1028"/>
              </a:xfrm>
              <a:custGeom>
                <a:avLst/>
                <a:gdLst/>
                <a:ahLst/>
                <a:cxnLst>
                  <a:cxn ang="0">
                    <a:pos x="0" y="245"/>
                  </a:cxn>
                  <a:cxn ang="0">
                    <a:pos x="28" y="279"/>
                  </a:cxn>
                  <a:cxn ang="0">
                    <a:pos x="52" y="315"/>
                  </a:cxn>
                  <a:cxn ang="0">
                    <a:pos x="74" y="352"/>
                  </a:cxn>
                  <a:cxn ang="0">
                    <a:pos x="93" y="391"/>
                  </a:cxn>
                  <a:cxn ang="0">
                    <a:pos x="107" y="432"/>
                  </a:cxn>
                  <a:cxn ang="0">
                    <a:pos x="119" y="475"/>
                  </a:cxn>
                  <a:cxn ang="0">
                    <a:pos x="128" y="516"/>
                  </a:cxn>
                  <a:cxn ang="0">
                    <a:pos x="133" y="560"/>
                  </a:cxn>
                  <a:cxn ang="0">
                    <a:pos x="127" y="561"/>
                  </a:cxn>
                  <a:cxn ang="0">
                    <a:pos x="8" y="594"/>
                  </a:cxn>
                  <a:cxn ang="0">
                    <a:pos x="337" y="676"/>
                  </a:cxn>
                  <a:cxn ang="0">
                    <a:pos x="570" y="443"/>
                  </a:cxn>
                  <a:cxn ang="0">
                    <a:pos x="469" y="470"/>
                  </a:cxn>
                  <a:cxn ang="0">
                    <a:pos x="459" y="412"/>
                  </a:cxn>
                  <a:cxn ang="0">
                    <a:pos x="444" y="354"/>
                  </a:cxn>
                  <a:cxn ang="0">
                    <a:pos x="425" y="299"/>
                  </a:cxn>
                  <a:cxn ang="0">
                    <a:pos x="403" y="244"/>
                  </a:cxn>
                  <a:cxn ang="0">
                    <a:pos x="378" y="191"/>
                  </a:cxn>
                  <a:cxn ang="0">
                    <a:pos x="347" y="140"/>
                  </a:cxn>
                  <a:cxn ang="0">
                    <a:pos x="315" y="90"/>
                  </a:cxn>
                  <a:cxn ang="0">
                    <a:pos x="279" y="44"/>
                  </a:cxn>
                  <a:cxn ang="0">
                    <a:pos x="240" y="0"/>
                  </a:cxn>
                  <a:cxn ang="0">
                    <a:pos x="191" y="200"/>
                  </a:cxn>
                  <a:cxn ang="0">
                    <a:pos x="0" y="245"/>
                  </a:cxn>
                </a:cxnLst>
                <a:rect l="0" t="0" r="r" b="b"/>
                <a:pathLst>
                  <a:path w="571" h="677">
                    <a:moveTo>
                      <a:pt x="0" y="245"/>
                    </a:moveTo>
                    <a:lnTo>
                      <a:pt x="28" y="279"/>
                    </a:lnTo>
                    <a:lnTo>
                      <a:pt x="52" y="315"/>
                    </a:lnTo>
                    <a:lnTo>
                      <a:pt x="74" y="352"/>
                    </a:lnTo>
                    <a:lnTo>
                      <a:pt x="93" y="391"/>
                    </a:lnTo>
                    <a:lnTo>
                      <a:pt x="107" y="432"/>
                    </a:lnTo>
                    <a:lnTo>
                      <a:pt x="119" y="475"/>
                    </a:lnTo>
                    <a:lnTo>
                      <a:pt x="128" y="516"/>
                    </a:lnTo>
                    <a:lnTo>
                      <a:pt x="133" y="560"/>
                    </a:lnTo>
                    <a:lnTo>
                      <a:pt x="127" y="561"/>
                    </a:lnTo>
                    <a:lnTo>
                      <a:pt x="8" y="594"/>
                    </a:lnTo>
                    <a:lnTo>
                      <a:pt x="337" y="676"/>
                    </a:lnTo>
                    <a:lnTo>
                      <a:pt x="570" y="443"/>
                    </a:lnTo>
                    <a:lnTo>
                      <a:pt x="469" y="470"/>
                    </a:lnTo>
                    <a:lnTo>
                      <a:pt x="459" y="412"/>
                    </a:lnTo>
                    <a:lnTo>
                      <a:pt x="444" y="354"/>
                    </a:lnTo>
                    <a:lnTo>
                      <a:pt x="425" y="299"/>
                    </a:lnTo>
                    <a:lnTo>
                      <a:pt x="403" y="244"/>
                    </a:lnTo>
                    <a:lnTo>
                      <a:pt x="378" y="191"/>
                    </a:lnTo>
                    <a:lnTo>
                      <a:pt x="347" y="140"/>
                    </a:lnTo>
                    <a:lnTo>
                      <a:pt x="315" y="90"/>
                    </a:lnTo>
                    <a:lnTo>
                      <a:pt x="279" y="44"/>
                    </a:lnTo>
                    <a:lnTo>
                      <a:pt x="240" y="0"/>
                    </a:lnTo>
                    <a:lnTo>
                      <a:pt x="191" y="200"/>
                    </a:lnTo>
                    <a:lnTo>
                      <a:pt x="0" y="245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3" name="Freeform 9"/>
              <p:cNvSpPr>
                <a:spLocks/>
              </p:cNvSpPr>
              <p:nvPr/>
            </p:nvSpPr>
            <p:spPr bwMode="auto">
              <a:xfrm>
                <a:off x="2830" y="786"/>
                <a:ext cx="969" cy="799"/>
              </a:xfrm>
              <a:custGeom>
                <a:avLst/>
                <a:gdLst/>
                <a:ahLst/>
                <a:cxnLst>
                  <a:cxn ang="0">
                    <a:pos x="213" y="525"/>
                  </a:cxn>
                  <a:cxn ang="0">
                    <a:pos x="545" y="445"/>
                  </a:cxn>
                  <a:cxn ang="0">
                    <a:pos x="625" y="115"/>
                  </a:cxn>
                  <a:cxn ang="0">
                    <a:pos x="545" y="193"/>
                  </a:cxn>
                  <a:cxn ang="0">
                    <a:pos x="536" y="203"/>
                  </a:cxn>
                  <a:cxn ang="0">
                    <a:pos x="489" y="167"/>
                  </a:cxn>
                  <a:cxn ang="0">
                    <a:pos x="442" y="134"/>
                  </a:cxn>
                  <a:cxn ang="0">
                    <a:pos x="391" y="104"/>
                  </a:cxn>
                  <a:cxn ang="0">
                    <a:pos x="338" y="79"/>
                  </a:cxn>
                  <a:cxn ang="0">
                    <a:pos x="285" y="57"/>
                  </a:cxn>
                  <a:cxn ang="0">
                    <a:pos x="230" y="37"/>
                  </a:cxn>
                  <a:cxn ang="0">
                    <a:pos x="173" y="22"/>
                  </a:cxn>
                  <a:cxn ang="0">
                    <a:pos x="116" y="12"/>
                  </a:cxn>
                  <a:cxn ang="0">
                    <a:pos x="58" y="4"/>
                  </a:cxn>
                  <a:cxn ang="0">
                    <a:pos x="0" y="0"/>
                  </a:cxn>
                  <a:cxn ang="0">
                    <a:pos x="130" y="196"/>
                  </a:cxn>
                  <a:cxn ang="0">
                    <a:pos x="32" y="348"/>
                  </a:cxn>
                  <a:cxn ang="0">
                    <a:pos x="79" y="355"/>
                  </a:cxn>
                  <a:cxn ang="0">
                    <a:pos x="124" y="365"/>
                  </a:cxn>
                  <a:cxn ang="0">
                    <a:pos x="168" y="380"/>
                  </a:cxn>
                  <a:cxn ang="0">
                    <a:pos x="211" y="398"/>
                  </a:cxn>
                  <a:cxn ang="0">
                    <a:pos x="251" y="422"/>
                  </a:cxn>
                  <a:cxn ang="0">
                    <a:pos x="291" y="447"/>
                  </a:cxn>
                  <a:cxn ang="0">
                    <a:pos x="213" y="525"/>
                  </a:cxn>
                </a:cxnLst>
                <a:rect l="0" t="0" r="r" b="b"/>
                <a:pathLst>
                  <a:path w="626" h="526">
                    <a:moveTo>
                      <a:pt x="213" y="525"/>
                    </a:moveTo>
                    <a:lnTo>
                      <a:pt x="545" y="445"/>
                    </a:lnTo>
                    <a:lnTo>
                      <a:pt x="625" y="115"/>
                    </a:lnTo>
                    <a:lnTo>
                      <a:pt x="545" y="193"/>
                    </a:lnTo>
                    <a:lnTo>
                      <a:pt x="536" y="203"/>
                    </a:lnTo>
                    <a:lnTo>
                      <a:pt x="489" y="167"/>
                    </a:lnTo>
                    <a:lnTo>
                      <a:pt x="442" y="134"/>
                    </a:lnTo>
                    <a:lnTo>
                      <a:pt x="391" y="104"/>
                    </a:lnTo>
                    <a:lnTo>
                      <a:pt x="338" y="79"/>
                    </a:lnTo>
                    <a:lnTo>
                      <a:pt x="285" y="57"/>
                    </a:lnTo>
                    <a:lnTo>
                      <a:pt x="230" y="37"/>
                    </a:lnTo>
                    <a:lnTo>
                      <a:pt x="173" y="22"/>
                    </a:lnTo>
                    <a:lnTo>
                      <a:pt x="116" y="12"/>
                    </a:lnTo>
                    <a:lnTo>
                      <a:pt x="58" y="4"/>
                    </a:lnTo>
                    <a:lnTo>
                      <a:pt x="0" y="0"/>
                    </a:lnTo>
                    <a:lnTo>
                      <a:pt x="130" y="196"/>
                    </a:lnTo>
                    <a:lnTo>
                      <a:pt x="32" y="348"/>
                    </a:lnTo>
                    <a:lnTo>
                      <a:pt x="79" y="355"/>
                    </a:lnTo>
                    <a:lnTo>
                      <a:pt x="124" y="365"/>
                    </a:lnTo>
                    <a:lnTo>
                      <a:pt x="168" y="380"/>
                    </a:lnTo>
                    <a:lnTo>
                      <a:pt x="211" y="398"/>
                    </a:lnTo>
                    <a:lnTo>
                      <a:pt x="251" y="422"/>
                    </a:lnTo>
                    <a:lnTo>
                      <a:pt x="291" y="447"/>
                    </a:lnTo>
                    <a:lnTo>
                      <a:pt x="213" y="525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4" name="Freeform 10"/>
              <p:cNvSpPr>
                <a:spLocks/>
              </p:cNvSpPr>
              <p:nvPr/>
            </p:nvSpPr>
            <p:spPr bwMode="auto">
              <a:xfrm>
                <a:off x="1953" y="642"/>
                <a:ext cx="1018" cy="885"/>
              </a:xfrm>
              <a:custGeom>
                <a:avLst/>
                <a:gdLst/>
                <a:ahLst/>
                <a:cxnLst>
                  <a:cxn ang="0">
                    <a:pos x="252" y="554"/>
                  </a:cxn>
                  <a:cxn ang="0">
                    <a:pos x="286" y="530"/>
                  </a:cxn>
                  <a:cxn ang="0">
                    <a:pos x="322" y="509"/>
                  </a:cxn>
                  <a:cxn ang="0">
                    <a:pos x="361" y="491"/>
                  </a:cxn>
                  <a:cxn ang="0">
                    <a:pos x="400" y="477"/>
                  </a:cxn>
                  <a:cxn ang="0">
                    <a:pos x="441" y="466"/>
                  </a:cxn>
                  <a:cxn ang="0">
                    <a:pos x="482" y="458"/>
                  </a:cxn>
                  <a:cxn ang="0">
                    <a:pos x="482" y="459"/>
                  </a:cxn>
                  <a:cxn ang="0">
                    <a:pos x="482" y="582"/>
                  </a:cxn>
                  <a:cxn ang="0">
                    <a:pos x="657" y="292"/>
                  </a:cxn>
                  <a:cxn ang="0">
                    <a:pos x="482" y="0"/>
                  </a:cxn>
                  <a:cxn ang="0">
                    <a:pos x="482" y="107"/>
                  </a:cxn>
                  <a:cxn ang="0">
                    <a:pos x="424" y="114"/>
                  </a:cxn>
                  <a:cxn ang="0">
                    <a:pos x="368" y="124"/>
                  </a:cxn>
                  <a:cxn ang="0">
                    <a:pos x="312" y="139"/>
                  </a:cxn>
                  <a:cxn ang="0">
                    <a:pos x="256" y="158"/>
                  </a:cxn>
                  <a:cxn ang="0">
                    <a:pos x="203" y="180"/>
                  </a:cxn>
                  <a:cxn ang="0">
                    <a:pos x="151" y="205"/>
                  </a:cxn>
                  <a:cxn ang="0">
                    <a:pos x="101" y="235"/>
                  </a:cxn>
                  <a:cxn ang="0">
                    <a:pos x="49" y="270"/>
                  </a:cxn>
                  <a:cxn ang="0">
                    <a:pos x="0" y="308"/>
                  </a:cxn>
                  <a:cxn ang="0">
                    <a:pos x="211" y="357"/>
                  </a:cxn>
                  <a:cxn ang="0">
                    <a:pos x="252" y="554"/>
                  </a:cxn>
                </a:cxnLst>
                <a:rect l="0" t="0" r="r" b="b"/>
                <a:pathLst>
                  <a:path w="658" h="583">
                    <a:moveTo>
                      <a:pt x="252" y="554"/>
                    </a:moveTo>
                    <a:lnTo>
                      <a:pt x="286" y="530"/>
                    </a:lnTo>
                    <a:lnTo>
                      <a:pt x="322" y="509"/>
                    </a:lnTo>
                    <a:lnTo>
                      <a:pt x="361" y="491"/>
                    </a:lnTo>
                    <a:lnTo>
                      <a:pt x="400" y="477"/>
                    </a:lnTo>
                    <a:lnTo>
                      <a:pt x="441" y="466"/>
                    </a:lnTo>
                    <a:lnTo>
                      <a:pt x="482" y="458"/>
                    </a:lnTo>
                    <a:lnTo>
                      <a:pt x="482" y="459"/>
                    </a:lnTo>
                    <a:lnTo>
                      <a:pt x="482" y="582"/>
                    </a:lnTo>
                    <a:lnTo>
                      <a:pt x="657" y="292"/>
                    </a:lnTo>
                    <a:lnTo>
                      <a:pt x="482" y="0"/>
                    </a:lnTo>
                    <a:lnTo>
                      <a:pt x="482" y="107"/>
                    </a:lnTo>
                    <a:lnTo>
                      <a:pt x="424" y="114"/>
                    </a:lnTo>
                    <a:lnTo>
                      <a:pt x="368" y="124"/>
                    </a:lnTo>
                    <a:lnTo>
                      <a:pt x="312" y="139"/>
                    </a:lnTo>
                    <a:lnTo>
                      <a:pt x="256" y="158"/>
                    </a:lnTo>
                    <a:lnTo>
                      <a:pt x="203" y="180"/>
                    </a:lnTo>
                    <a:lnTo>
                      <a:pt x="151" y="205"/>
                    </a:lnTo>
                    <a:lnTo>
                      <a:pt x="101" y="235"/>
                    </a:lnTo>
                    <a:lnTo>
                      <a:pt x="49" y="270"/>
                    </a:lnTo>
                    <a:lnTo>
                      <a:pt x="0" y="308"/>
                    </a:lnTo>
                    <a:lnTo>
                      <a:pt x="211" y="357"/>
                    </a:lnTo>
                    <a:lnTo>
                      <a:pt x="252" y="554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5" name="Freeform 11"/>
              <p:cNvSpPr>
                <a:spLocks/>
              </p:cNvSpPr>
              <p:nvPr/>
            </p:nvSpPr>
            <p:spPr bwMode="auto">
              <a:xfrm>
                <a:off x="1492" y="1096"/>
                <a:ext cx="869" cy="958"/>
              </a:xfrm>
              <a:custGeom>
                <a:avLst/>
                <a:gdLst/>
                <a:ahLst/>
                <a:cxnLst>
                  <a:cxn ang="0">
                    <a:pos x="350" y="629"/>
                  </a:cxn>
                  <a:cxn ang="0">
                    <a:pos x="357" y="583"/>
                  </a:cxn>
                  <a:cxn ang="0">
                    <a:pos x="368" y="536"/>
                  </a:cxn>
                  <a:cxn ang="0">
                    <a:pos x="383" y="491"/>
                  </a:cxn>
                  <a:cxn ang="0">
                    <a:pos x="401" y="447"/>
                  </a:cxn>
                  <a:cxn ang="0">
                    <a:pos x="423" y="405"/>
                  </a:cxn>
                  <a:cxn ang="0">
                    <a:pos x="450" y="367"/>
                  </a:cxn>
                  <a:cxn ang="0">
                    <a:pos x="480" y="330"/>
                  </a:cxn>
                  <a:cxn ang="0">
                    <a:pos x="561" y="411"/>
                  </a:cxn>
                  <a:cxn ang="0">
                    <a:pos x="487" y="86"/>
                  </a:cxn>
                  <a:cxn ang="0">
                    <a:pos x="487" y="85"/>
                  </a:cxn>
                  <a:cxn ang="0">
                    <a:pos x="151" y="0"/>
                  </a:cxn>
                  <a:cxn ang="0">
                    <a:pos x="230" y="80"/>
                  </a:cxn>
                  <a:cxn ang="0">
                    <a:pos x="234" y="83"/>
                  </a:cxn>
                  <a:cxn ang="0">
                    <a:pos x="194" y="130"/>
                  </a:cxn>
                  <a:cxn ang="0">
                    <a:pos x="158" y="177"/>
                  </a:cxn>
                  <a:cxn ang="0">
                    <a:pos x="124" y="228"/>
                  </a:cxn>
                  <a:cxn ang="0">
                    <a:pos x="94" y="281"/>
                  </a:cxn>
                  <a:cxn ang="0">
                    <a:pos x="69" y="336"/>
                  </a:cxn>
                  <a:cxn ang="0">
                    <a:pos x="47" y="393"/>
                  </a:cxn>
                  <a:cxn ang="0">
                    <a:pos x="29" y="450"/>
                  </a:cxn>
                  <a:cxn ang="0">
                    <a:pos x="15" y="510"/>
                  </a:cxn>
                  <a:cxn ang="0">
                    <a:pos x="5" y="570"/>
                  </a:cxn>
                  <a:cxn ang="0">
                    <a:pos x="0" y="630"/>
                  </a:cxn>
                  <a:cxn ang="0">
                    <a:pos x="168" y="518"/>
                  </a:cxn>
                  <a:cxn ang="0">
                    <a:pos x="350" y="629"/>
                  </a:cxn>
                </a:cxnLst>
                <a:rect l="0" t="0" r="r" b="b"/>
                <a:pathLst>
                  <a:path w="562" h="631">
                    <a:moveTo>
                      <a:pt x="350" y="629"/>
                    </a:moveTo>
                    <a:lnTo>
                      <a:pt x="357" y="583"/>
                    </a:lnTo>
                    <a:lnTo>
                      <a:pt x="368" y="536"/>
                    </a:lnTo>
                    <a:lnTo>
                      <a:pt x="383" y="491"/>
                    </a:lnTo>
                    <a:lnTo>
                      <a:pt x="401" y="447"/>
                    </a:lnTo>
                    <a:lnTo>
                      <a:pt x="423" y="405"/>
                    </a:lnTo>
                    <a:lnTo>
                      <a:pt x="450" y="367"/>
                    </a:lnTo>
                    <a:lnTo>
                      <a:pt x="480" y="330"/>
                    </a:lnTo>
                    <a:lnTo>
                      <a:pt x="561" y="411"/>
                    </a:lnTo>
                    <a:lnTo>
                      <a:pt x="487" y="86"/>
                    </a:lnTo>
                    <a:lnTo>
                      <a:pt x="487" y="85"/>
                    </a:lnTo>
                    <a:lnTo>
                      <a:pt x="151" y="0"/>
                    </a:lnTo>
                    <a:lnTo>
                      <a:pt x="230" y="80"/>
                    </a:lnTo>
                    <a:lnTo>
                      <a:pt x="234" y="83"/>
                    </a:lnTo>
                    <a:lnTo>
                      <a:pt x="194" y="130"/>
                    </a:lnTo>
                    <a:lnTo>
                      <a:pt x="158" y="177"/>
                    </a:lnTo>
                    <a:lnTo>
                      <a:pt x="124" y="228"/>
                    </a:lnTo>
                    <a:lnTo>
                      <a:pt x="94" y="281"/>
                    </a:lnTo>
                    <a:lnTo>
                      <a:pt x="69" y="336"/>
                    </a:lnTo>
                    <a:lnTo>
                      <a:pt x="47" y="393"/>
                    </a:lnTo>
                    <a:lnTo>
                      <a:pt x="29" y="450"/>
                    </a:lnTo>
                    <a:lnTo>
                      <a:pt x="15" y="510"/>
                    </a:lnTo>
                    <a:lnTo>
                      <a:pt x="5" y="570"/>
                    </a:lnTo>
                    <a:lnTo>
                      <a:pt x="0" y="630"/>
                    </a:lnTo>
                    <a:lnTo>
                      <a:pt x="168" y="518"/>
                    </a:lnTo>
                    <a:lnTo>
                      <a:pt x="350" y="629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646156" name="Freeform 12"/>
              <p:cNvSpPr>
                <a:spLocks/>
              </p:cNvSpPr>
              <p:nvPr/>
            </p:nvSpPr>
            <p:spPr bwMode="auto">
              <a:xfrm>
                <a:off x="1297" y="1931"/>
                <a:ext cx="902" cy="1121"/>
              </a:xfrm>
              <a:custGeom>
                <a:avLst/>
                <a:gdLst/>
                <a:ahLst/>
                <a:cxnLst>
                  <a:cxn ang="0">
                    <a:pos x="578" y="440"/>
                  </a:cxn>
                  <a:cxn ang="0">
                    <a:pos x="552" y="401"/>
                  </a:cxn>
                  <a:cxn ang="0">
                    <a:pos x="529" y="359"/>
                  </a:cxn>
                  <a:cxn ang="0">
                    <a:pos x="510" y="316"/>
                  </a:cxn>
                  <a:cxn ang="0">
                    <a:pos x="495" y="271"/>
                  </a:cxn>
                  <a:cxn ang="0">
                    <a:pos x="483" y="226"/>
                  </a:cxn>
                  <a:cxn ang="0">
                    <a:pos x="476" y="179"/>
                  </a:cxn>
                  <a:cxn ang="0">
                    <a:pos x="582" y="179"/>
                  </a:cxn>
                  <a:cxn ang="0">
                    <a:pos x="301" y="0"/>
                  </a:cxn>
                  <a:cxn ang="0">
                    <a:pos x="299" y="1"/>
                  </a:cxn>
                  <a:cxn ang="0">
                    <a:pos x="0" y="179"/>
                  </a:cxn>
                  <a:cxn ang="0">
                    <a:pos x="112" y="179"/>
                  </a:cxn>
                  <a:cxn ang="0">
                    <a:pos x="127" y="179"/>
                  </a:cxn>
                  <a:cxn ang="0">
                    <a:pos x="133" y="241"/>
                  </a:cxn>
                  <a:cxn ang="0">
                    <a:pos x="145" y="302"/>
                  </a:cxn>
                  <a:cxn ang="0">
                    <a:pos x="159" y="363"/>
                  </a:cxn>
                  <a:cxn ang="0">
                    <a:pos x="178" y="423"/>
                  </a:cxn>
                  <a:cxn ang="0">
                    <a:pos x="202" y="481"/>
                  </a:cxn>
                  <a:cxn ang="0">
                    <a:pos x="230" y="537"/>
                  </a:cxn>
                  <a:cxn ang="0">
                    <a:pos x="261" y="590"/>
                  </a:cxn>
                  <a:cxn ang="0">
                    <a:pos x="297" y="642"/>
                  </a:cxn>
                  <a:cxn ang="0">
                    <a:pos x="335" y="691"/>
                  </a:cxn>
                  <a:cxn ang="0">
                    <a:pos x="378" y="737"/>
                  </a:cxn>
                  <a:cxn ang="0">
                    <a:pos x="378" y="540"/>
                  </a:cxn>
                  <a:cxn ang="0">
                    <a:pos x="578" y="440"/>
                  </a:cxn>
                </a:cxnLst>
                <a:rect l="0" t="0" r="r" b="b"/>
                <a:pathLst>
                  <a:path w="583" h="738">
                    <a:moveTo>
                      <a:pt x="578" y="440"/>
                    </a:moveTo>
                    <a:lnTo>
                      <a:pt x="552" y="401"/>
                    </a:lnTo>
                    <a:lnTo>
                      <a:pt x="529" y="359"/>
                    </a:lnTo>
                    <a:lnTo>
                      <a:pt x="510" y="316"/>
                    </a:lnTo>
                    <a:lnTo>
                      <a:pt x="495" y="271"/>
                    </a:lnTo>
                    <a:lnTo>
                      <a:pt x="483" y="226"/>
                    </a:lnTo>
                    <a:lnTo>
                      <a:pt x="476" y="179"/>
                    </a:lnTo>
                    <a:lnTo>
                      <a:pt x="582" y="179"/>
                    </a:lnTo>
                    <a:lnTo>
                      <a:pt x="301" y="0"/>
                    </a:lnTo>
                    <a:lnTo>
                      <a:pt x="299" y="1"/>
                    </a:lnTo>
                    <a:lnTo>
                      <a:pt x="0" y="179"/>
                    </a:lnTo>
                    <a:lnTo>
                      <a:pt x="112" y="179"/>
                    </a:lnTo>
                    <a:lnTo>
                      <a:pt x="127" y="179"/>
                    </a:lnTo>
                    <a:lnTo>
                      <a:pt x="133" y="241"/>
                    </a:lnTo>
                    <a:lnTo>
                      <a:pt x="145" y="302"/>
                    </a:lnTo>
                    <a:lnTo>
                      <a:pt x="159" y="363"/>
                    </a:lnTo>
                    <a:lnTo>
                      <a:pt x="178" y="423"/>
                    </a:lnTo>
                    <a:lnTo>
                      <a:pt x="202" y="481"/>
                    </a:lnTo>
                    <a:lnTo>
                      <a:pt x="230" y="537"/>
                    </a:lnTo>
                    <a:lnTo>
                      <a:pt x="261" y="590"/>
                    </a:lnTo>
                    <a:lnTo>
                      <a:pt x="297" y="642"/>
                    </a:lnTo>
                    <a:lnTo>
                      <a:pt x="335" y="691"/>
                    </a:lnTo>
                    <a:lnTo>
                      <a:pt x="378" y="737"/>
                    </a:lnTo>
                    <a:lnTo>
                      <a:pt x="378" y="540"/>
                    </a:lnTo>
                    <a:lnTo>
                      <a:pt x="578" y="440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</p:grpSp>
        <p:sp>
          <p:nvSpPr>
            <p:cNvPr id="646157" name="Rectangle 13"/>
            <p:cNvSpPr>
              <a:spLocks noChangeArrowheads="1"/>
            </p:cNvSpPr>
            <p:nvPr/>
          </p:nvSpPr>
          <p:spPr bwMode="auto">
            <a:xfrm>
              <a:off x="561851" y="1439863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58" name="Rectangle 14"/>
            <p:cNvSpPr>
              <a:spLocks noChangeArrowheads="1"/>
            </p:cNvSpPr>
            <p:nvPr/>
          </p:nvSpPr>
          <p:spPr bwMode="auto">
            <a:xfrm>
              <a:off x="1566738" y="655638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59" name="Rectangle 15"/>
            <p:cNvSpPr>
              <a:spLocks noChangeArrowheads="1"/>
            </p:cNvSpPr>
            <p:nvPr/>
          </p:nvSpPr>
          <p:spPr bwMode="auto">
            <a:xfrm>
              <a:off x="2836738" y="719138"/>
              <a:ext cx="708025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60" name="Rectangle 16"/>
            <p:cNvSpPr>
              <a:spLocks noChangeArrowheads="1"/>
            </p:cNvSpPr>
            <p:nvPr/>
          </p:nvSpPr>
          <p:spPr bwMode="auto">
            <a:xfrm>
              <a:off x="3619376" y="1658938"/>
              <a:ext cx="708025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61" name="Rectangle 17"/>
            <p:cNvSpPr>
              <a:spLocks noChangeArrowheads="1"/>
            </p:cNvSpPr>
            <p:nvPr/>
          </p:nvSpPr>
          <p:spPr bwMode="auto">
            <a:xfrm>
              <a:off x="3592388" y="2894013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62" name="Rectangle 18"/>
            <p:cNvSpPr>
              <a:spLocks noChangeArrowheads="1"/>
            </p:cNvSpPr>
            <p:nvPr/>
          </p:nvSpPr>
          <p:spPr bwMode="auto">
            <a:xfrm>
              <a:off x="2636713" y="3816350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63" name="Rectangle 19"/>
            <p:cNvSpPr>
              <a:spLocks noChangeArrowheads="1"/>
            </p:cNvSpPr>
            <p:nvPr/>
          </p:nvSpPr>
          <p:spPr bwMode="auto">
            <a:xfrm>
              <a:off x="1293688" y="3697288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  <p:sp>
          <p:nvSpPr>
            <p:cNvPr id="646164" name="Rectangle 20"/>
            <p:cNvSpPr>
              <a:spLocks noChangeArrowheads="1"/>
            </p:cNvSpPr>
            <p:nvPr/>
          </p:nvSpPr>
          <p:spPr bwMode="auto">
            <a:xfrm>
              <a:off x="425326" y="2660650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133"/>
                <a:t>Texto</a:t>
              </a:r>
              <a:endParaRPr lang="en-US" sz="1133" dirty="0"/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4724145" y="904191"/>
            <a:ext cx="5892491" cy="6214615"/>
            <a:chOff x="2222500" y="764704"/>
            <a:chExt cx="5459413" cy="5757862"/>
          </a:xfrm>
        </p:grpSpPr>
        <p:grpSp>
          <p:nvGrpSpPr>
            <p:cNvPr id="24" name="Group 4"/>
            <p:cNvGrpSpPr>
              <a:grpSpLocks/>
            </p:cNvGrpSpPr>
            <p:nvPr/>
          </p:nvGrpSpPr>
          <p:grpSpPr bwMode="auto">
            <a:xfrm>
              <a:off x="2222500" y="764704"/>
              <a:ext cx="5459413" cy="5757862"/>
              <a:chOff x="1073" y="346"/>
              <a:chExt cx="3439" cy="3627"/>
            </a:xfrm>
            <a:effectLst/>
          </p:grpSpPr>
          <p:sp>
            <p:nvSpPr>
              <p:cNvPr id="35" name="Freeform 5"/>
              <p:cNvSpPr>
                <a:spLocks/>
              </p:cNvSpPr>
              <p:nvPr/>
            </p:nvSpPr>
            <p:spPr bwMode="auto">
              <a:xfrm>
                <a:off x="2456" y="1947"/>
                <a:ext cx="1052" cy="432"/>
              </a:xfrm>
              <a:custGeom>
                <a:avLst/>
                <a:gdLst/>
                <a:ahLst/>
                <a:cxnLst>
                  <a:cxn ang="0">
                    <a:pos x="0" y="403"/>
                  </a:cxn>
                  <a:cxn ang="0">
                    <a:pos x="883" y="403"/>
                  </a:cxn>
                  <a:cxn ang="0">
                    <a:pos x="982" y="201"/>
                  </a:cxn>
                  <a:cxn ang="0">
                    <a:pos x="882" y="0"/>
                  </a:cxn>
                  <a:cxn ang="0">
                    <a:pos x="0" y="1"/>
                  </a:cxn>
                  <a:cxn ang="0">
                    <a:pos x="0" y="403"/>
                  </a:cxn>
                </a:cxnLst>
                <a:rect l="0" t="0" r="r" b="b"/>
                <a:pathLst>
                  <a:path w="982" h="403">
                    <a:moveTo>
                      <a:pt x="0" y="403"/>
                    </a:moveTo>
                    <a:lnTo>
                      <a:pt x="883" y="403"/>
                    </a:lnTo>
                    <a:lnTo>
                      <a:pt x="982" y="201"/>
                    </a:lnTo>
                    <a:lnTo>
                      <a:pt x="882" y="0"/>
                    </a:lnTo>
                    <a:lnTo>
                      <a:pt x="0" y="1"/>
                    </a:lnTo>
                    <a:lnTo>
                      <a:pt x="0" y="403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36" name="Freeform 6"/>
              <p:cNvSpPr>
                <a:spLocks/>
              </p:cNvSpPr>
              <p:nvPr/>
            </p:nvSpPr>
            <p:spPr bwMode="auto">
              <a:xfrm>
                <a:off x="3450" y="1701"/>
                <a:ext cx="1062" cy="678"/>
              </a:xfrm>
              <a:custGeom>
                <a:avLst/>
                <a:gdLst/>
                <a:ahLst/>
                <a:cxnLst>
                  <a:cxn ang="0">
                    <a:pos x="0" y="632"/>
                  </a:cxn>
                  <a:cxn ang="0">
                    <a:pos x="949" y="632"/>
                  </a:cxn>
                  <a:cxn ang="0">
                    <a:pos x="976" y="96"/>
                  </a:cxn>
                  <a:cxn ang="0">
                    <a:pos x="722" y="0"/>
                  </a:cxn>
                  <a:cxn ang="0">
                    <a:pos x="491" y="117"/>
                  </a:cxn>
                  <a:cxn ang="0">
                    <a:pos x="491" y="231"/>
                  </a:cxn>
                  <a:cxn ang="0">
                    <a:pos x="0" y="230"/>
                  </a:cxn>
                  <a:cxn ang="0">
                    <a:pos x="108" y="432"/>
                  </a:cxn>
                  <a:cxn ang="0">
                    <a:pos x="0" y="632"/>
                  </a:cxn>
                </a:cxnLst>
                <a:rect l="0" t="0" r="r" b="b"/>
                <a:pathLst>
                  <a:path w="992" h="632">
                    <a:moveTo>
                      <a:pt x="0" y="632"/>
                    </a:moveTo>
                    <a:lnTo>
                      <a:pt x="949" y="632"/>
                    </a:lnTo>
                    <a:cubicBezTo>
                      <a:pt x="949" y="632"/>
                      <a:pt x="992" y="411"/>
                      <a:pt x="976" y="96"/>
                    </a:cubicBezTo>
                    <a:lnTo>
                      <a:pt x="722" y="0"/>
                    </a:lnTo>
                    <a:lnTo>
                      <a:pt x="491" y="117"/>
                    </a:lnTo>
                    <a:lnTo>
                      <a:pt x="491" y="231"/>
                    </a:lnTo>
                    <a:lnTo>
                      <a:pt x="0" y="230"/>
                    </a:lnTo>
                    <a:lnTo>
                      <a:pt x="108" y="432"/>
                    </a:lnTo>
                    <a:lnTo>
                      <a:pt x="0" y="63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37" name="Freeform 7"/>
              <p:cNvSpPr>
                <a:spLocks/>
              </p:cNvSpPr>
              <p:nvPr/>
            </p:nvSpPr>
            <p:spPr bwMode="auto">
              <a:xfrm>
                <a:off x="3724" y="1036"/>
                <a:ext cx="773" cy="723"/>
              </a:xfrm>
              <a:custGeom>
                <a:avLst/>
                <a:gdLst/>
                <a:ahLst/>
                <a:cxnLst>
                  <a:cxn ang="0">
                    <a:pos x="233" y="675"/>
                  </a:cxn>
                  <a:cxn ang="0">
                    <a:pos x="465" y="568"/>
                  </a:cxn>
                  <a:cxn ang="0">
                    <a:pos x="722" y="658"/>
                  </a:cxn>
                  <a:cxn ang="0">
                    <a:pos x="414" y="0"/>
                  </a:cxn>
                  <a:cxn ang="0">
                    <a:pos x="134" y="21"/>
                  </a:cxn>
                  <a:cxn ang="0">
                    <a:pos x="0" y="243"/>
                  </a:cxn>
                  <a:cxn ang="0">
                    <a:pos x="233" y="675"/>
                  </a:cxn>
                </a:cxnLst>
                <a:rect l="0" t="0" r="r" b="b"/>
                <a:pathLst>
                  <a:path w="722" h="675">
                    <a:moveTo>
                      <a:pt x="233" y="675"/>
                    </a:moveTo>
                    <a:cubicBezTo>
                      <a:pt x="349" y="621"/>
                      <a:pt x="465" y="568"/>
                      <a:pt x="465" y="568"/>
                    </a:cubicBezTo>
                    <a:lnTo>
                      <a:pt x="722" y="658"/>
                    </a:lnTo>
                    <a:cubicBezTo>
                      <a:pt x="722" y="658"/>
                      <a:pt x="687" y="267"/>
                      <a:pt x="414" y="0"/>
                    </a:cubicBezTo>
                    <a:lnTo>
                      <a:pt x="134" y="21"/>
                    </a:lnTo>
                    <a:lnTo>
                      <a:pt x="0" y="243"/>
                    </a:lnTo>
                    <a:cubicBezTo>
                      <a:pt x="189" y="394"/>
                      <a:pt x="224" y="651"/>
                      <a:pt x="233" y="675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38" name="Freeform 8"/>
              <p:cNvSpPr>
                <a:spLocks/>
              </p:cNvSpPr>
              <p:nvPr/>
            </p:nvSpPr>
            <p:spPr bwMode="auto">
              <a:xfrm>
                <a:off x="3094" y="455"/>
                <a:ext cx="1034" cy="800"/>
              </a:xfrm>
              <a:custGeom>
                <a:avLst/>
                <a:gdLst/>
                <a:ahLst/>
                <a:cxnLst>
                  <a:cxn ang="0">
                    <a:pos x="553" y="747"/>
                  </a:cxn>
                  <a:cxn ang="0">
                    <a:pos x="673" y="519"/>
                  </a:cxn>
                  <a:cxn ang="0">
                    <a:pos x="967" y="497"/>
                  </a:cxn>
                  <a:cxn ang="0">
                    <a:pos x="193" y="0"/>
                  </a:cxn>
                  <a:cxn ang="0">
                    <a:pos x="0" y="182"/>
                  </a:cxn>
                  <a:cxn ang="0">
                    <a:pos x="9" y="441"/>
                  </a:cxn>
                  <a:cxn ang="0">
                    <a:pos x="553" y="747"/>
                  </a:cxn>
                </a:cxnLst>
                <a:rect l="0" t="0" r="r" b="b"/>
                <a:pathLst>
                  <a:path w="967" h="747">
                    <a:moveTo>
                      <a:pt x="553" y="747"/>
                    </a:moveTo>
                    <a:cubicBezTo>
                      <a:pt x="613" y="633"/>
                      <a:pt x="673" y="519"/>
                      <a:pt x="673" y="519"/>
                    </a:cubicBezTo>
                    <a:lnTo>
                      <a:pt x="967" y="497"/>
                    </a:lnTo>
                    <a:cubicBezTo>
                      <a:pt x="855" y="383"/>
                      <a:pt x="667" y="150"/>
                      <a:pt x="193" y="0"/>
                    </a:cubicBezTo>
                    <a:cubicBezTo>
                      <a:pt x="96" y="91"/>
                      <a:pt x="0" y="182"/>
                      <a:pt x="0" y="182"/>
                    </a:cubicBezTo>
                    <a:cubicBezTo>
                      <a:pt x="0" y="182"/>
                      <a:pt x="5" y="312"/>
                      <a:pt x="9" y="441"/>
                    </a:cubicBezTo>
                    <a:cubicBezTo>
                      <a:pt x="349" y="546"/>
                      <a:pt x="393" y="609"/>
                      <a:pt x="553" y="747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39" name="Freeform 9"/>
              <p:cNvSpPr>
                <a:spLocks/>
              </p:cNvSpPr>
              <p:nvPr/>
            </p:nvSpPr>
            <p:spPr bwMode="auto">
              <a:xfrm>
                <a:off x="2167" y="346"/>
                <a:ext cx="1068" cy="636"/>
              </a:xfrm>
              <a:custGeom>
                <a:avLst/>
                <a:gdLst/>
                <a:ahLst/>
                <a:cxnLst>
                  <a:cxn ang="0">
                    <a:pos x="817" y="530"/>
                  </a:cxn>
                  <a:cxn ang="0">
                    <a:pos x="808" y="273"/>
                  </a:cxn>
                  <a:cxn ang="0">
                    <a:pos x="997" y="86"/>
                  </a:cxn>
                  <a:cxn ang="0">
                    <a:pos x="34" y="143"/>
                  </a:cxn>
                  <a:cxn ang="0">
                    <a:pos x="0" y="398"/>
                  </a:cxn>
                  <a:cxn ang="0">
                    <a:pos x="172" y="594"/>
                  </a:cxn>
                  <a:cxn ang="0">
                    <a:pos x="817" y="530"/>
                  </a:cxn>
                </a:cxnLst>
                <a:rect l="0" t="0" r="r" b="b"/>
                <a:pathLst>
                  <a:path w="997" h="594">
                    <a:moveTo>
                      <a:pt x="817" y="530"/>
                    </a:moveTo>
                    <a:lnTo>
                      <a:pt x="808" y="273"/>
                    </a:lnTo>
                    <a:lnTo>
                      <a:pt x="997" y="86"/>
                    </a:lnTo>
                    <a:cubicBezTo>
                      <a:pt x="602" y="0"/>
                      <a:pt x="346" y="27"/>
                      <a:pt x="34" y="143"/>
                    </a:cubicBezTo>
                    <a:lnTo>
                      <a:pt x="0" y="398"/>
                    </a:lnTo>
                    <a:lnTo>
                      <a:pt x="172" y="594"/>
                    </a:lnTo>
                    <a:cubicBezTo>
                      <a:pt x="172" y="594"/>
                      <a:pt x="541" y="477"/>
                      <a:pt x="817" y="530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0" name="Freeform 10"/>
              <p:cNvSpPr>
                <a:spLocks/>
              </p:cNvSpPr>
              <p:nvPr/>
            </p:nvSpPr>
            <p:spPr bwMode="auto">
              <a:xfrm>
                <a:off x="1396" y="519"/>
                <a:ext cx="898" cy="935"/>
              </a:xfrm>
              <a:custGeom>
                <a:avLst/>
                <a:gdLst/>
                <a:ahLst/>
                <a:cxnLst>
                  <a:cxn ang="0">
                    <a:pos x="838" y="456"/>
                  </a:cxn>
                  <a:cxn ang="0">
                    <a:pos x="676" y="259"/>
                  </a:cxn>
                  <a:cxn ang="0">
                    <a:pos x="709" y="0"/>
                  </a:cxn>
                  <a:cxn ang="0">
                    <a:pos x="0" y="564"/>
                  </a:cxn>
                  <a:cxn ang="0">
                    <a:pos x="103" y="823"/>
                  </a:cxn>
                  <a:cxn ang="0">
                    <a:pos x="361" y="874"/>
                  </a:cxn>
                  <a:cxn ang="0">
                    <a:pos x="838" y="456"/>
                  </a:cxn>
                </a:cxnLst>
                <a:rect l="0" t="0" r="r" b="b"/>
                <a:pathLst>
                  <a:path w="838" h="874">
                    <a:moveTo>
                      <a:pt x="838" y="456"/>
                    </a:moveTo>
                    <a:cubicBezTo>
                      <a:pt x="757" y="357"/>
                      <a:pt x="676" y="259"/>
                      <a:pt x="676" y="259"/>
                    </a:cubicBezTo>
                    <a:lnTo>
                      <a:pt x="709" y="0"/>
                    </a:lnTo>
                    <a:cubicBezTo>
                      <a:pt x="679" y="9"/>
                      <a:pt x="279" y="162"/>
                      <a:pt x="0" y="564"/>
                    </a:cubicBezTo>
                    <a:lnTo>
                      <a:pt x="103" y="823"/>
                    </a:lnTo>
                    <a:lnTo>
                      <a:pt x="361" y="874"/>
                    </a:lnTo>
                    <a:cubicBezTo>
                      <a:pt x="553" y="579"/>
                      <a:pt x="825" y="462"/>
                      <a:pt x="838" y="456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1" name="Freeform 11"/>
              <p:cNvSpPr>
                <a:spLocks/>
              </p:cNvSpPr>
              <p:nvPr/>
            </p:nvSpPr>
            <p:spPr bwMode="auto">
              <a:xfrm>
                <a:off x="1073" y="1189"/>
                <a:ext cx="680" cy="1077"/>
              </a:xfrm>
              <a:custGeom>
                <a:avLst/>
                <a:gdLst/>
                <a:ahLst/>
                <a:cxnLst>
                  <a:cxn ang="0">
                    <a:pos x="635" y="299"/>
                  </a:cxn>
                  <a:cxn ang="0">
                    <a:pos x="377" y="252"/>
                  </a:cxn>
                  <a:cxn ang="0">
                    <a:pos x="263" y="0"/>
                  </a:cxn>
                  <a:cxn ang="0">
                    <a:pos x="9" y="878"/>
                  </a:cxn>
                  <a:cxn ang="0">
                    <a:pos x="240" y="1007"/>
                  </a:cxn>
                  <a:cxn ang="0">
                    <a:pos x="482" y="890"/>
                  </a:cxn>
                  <a:cxn ang="0">
                    <a:pos x="635" y="299"/>
                  </a:cxn>
                </a:cxnLst>
                <a:rect l="0" t="0" r="r" b="b"/>
                <a:pathLst>
                  <a:path w="635" h="1007">
                    <a:moveTo>
                      <a:pt x="635" y="299"/>
                    </a:moveTo>
                    <a:cubicBezTo>
                      <a:pt x="506" y="275"/>
                      <a:pt x="377" y="252"/>
                      <a:pt x="377" y="252"/>
                    </a:cubicBezTo>
                    <a:lnTo>
                      <a:pt x="263" y="0"/>
                    </a:lnTo>
                    <a:cubicBezTo>
                      <a:pt x="251" y="23"/>
                      <a:pt x="0" y="369"/>
                      <a:pt x="9" y="878"/>
                    </a:cubicBezTo>
                    <a:cubicBezTo>
                      <a:pt x="124" y="951"/>
                      <a:pt x="240" y="1007"/>
                      <a:pt x="240" y="1007"/>
                    </a:cubicBezTo>
                    <a:cubicBezTo>
                      <a:pt x="240" y="1007"/>
                      <a:pt x="361" y="957"/>
                      <a:pt x="482" y="890"/>
                    </a:cubicBezTo>
                    <a:cubicBezTo>
                      <a:pt x="479" y="516"/>
                      <a:pt x="629" y="323"/>
                      <a:pt x="635" y="299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2" name="Freeform 12"/>
              <p:cNvSpPr>
                <a:spLocks/>
              </p:cNvSpPr>
              <p:nvPr/>
            </p:nvSpPr>
            <p:spPr bwMode="auto">
              <a:xfrm>
                <a:off x="1083" y="2194"/>
                <a:ext cx="777" cy="956"/>
              </a:xfrm>
              <a:custGeom>
                <a:avLst/>
                <a:gdLst/>
                <a:ahLst/>
                <a:cxnLst>
                  <a:cxn ang="0">
                    <a:pos x="474" y="0"/>
                  </a:cxn>
                  <a:cxn ang="0">
                    <a:pos x="240" y="131"/>
                  </a:cxn>
                  <a:cxn ang="0">
                    <a:pos x="0" y="12"/>
                  </a:cxn>
                  <a:cxn ang="0">
                    <a:pos x="318" y="893"/>
                  </a:cxn>
                  <a:cxn ang="0">
                    <a:pos x="594" y="878"/>
                  </a:cxn>
                  <a:cxn ang="0">
                    <a:pos x="726" y="647"/>
                  </a:cxn>
                  <a:cxn ang="0">
                    <a:pos x="474" y="0"/>
                  </a:cxn>
                </a:cxnLst>
                <a:rect l="0" t="0" r="r" b="b"/>
                <a:pathLst>
                  <a:path w="726" h="893">
                    <a:moveTo>
                      <a:pt x="474" y="0"/>
                    </a:moveTo>
                    <a:lnTo>
                      <a:pt x="240" y="131"/>
                    </a:lnTo>
                    <a:lnTo>
                      <a:pt x="0" y="12"/>
                    </a:lnTo>
                    <a:cubicBezTo>
                      <a:pt x="3" y="38"/>
                      <a:pt x="3" y="470"/>
                      <a:pt x="318" y="893"/>
                    </a:cubicBezTo>
                    <a:lnTo>
                      <a:pt x="594" y="878"/>
                    </a:lnTo>
                    <a:lnTo>
                      <a:pt x="726" y="647"/>
                    </a:lnTo>
                    <a:cubicBezTo>
                      <a:pt x="482" y="339"/>
                      <a:pt x="488" y="21"/>
                      <a:pt x="474" y="0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3" name="Freeform 13"/>
              <p:cNvSpPr>
                <a:spLocks/>
              </p:cNvSpPr>
              <p:nvPr/>
            </p:nvSpPr>
            <p:spPr bwMode="auto">
              <a:xfrm>
                <a:off x="1477" y="2932"/>
                <a:ext cx="1081" cy="850"/>
              </a:xfrm>
              <a:custGeom>
                <a:avLst/>
                <a:gdLst/>
                <a:ahLst/>
                <a:cxnLst>
                  <a:cxn ang="0">
                    <a:pos x="396" y="0"/>
                  </a:cxn>
                  <a:cxn ang="0">
                    <a:pos x="276" y="234"/>
                  </a:cxn>
                  <a:cxn ang="0">
                    <a:pos x="0" y="264"/>
                  </a:cxn>
                  <a:cxn ang="0">
                    <a:pos x="799" y="794"/>
                  </a:cxn>
                  <a:cxn ang="0">
                    <a:pos x="1010" y="615"/>
                  </a:cxn>
                  <a:cxn ang="0">
                    <a:pos x="976" y="351"/>
                  </a:cxn>
                  <a:cxn ang="0">
                    <a:pos x="396" y="0"/>
                  </a:cxn>
                </a:cxnLst>
                <a:rect l="0" t="0" r="r" b="b"/>
                <a:pathLst>
                  <a:path w="1010" h="794">
                    <a:moveTo>
                      <a:pt x="396" y="0"/>
                    </a:moveTo>
                    <a:lnTo>
                      <a:pt x="276" y="234"/>
                    </a:lnTo>
                    <a:lnTo>
                      <a:pt x="0" y="264"/>
                    </a:lnTo>
                    <a:cubicBezTo>
                      <a:pt x="18" y="283"/>
                      <a:pt x="238" y="610"/>
                      <a:pt x="799" y="794"/>
                    </a:cubicBezTo>
                    <a:lnTo>
                      <a:pt x="1010" y="615"/>
                    </a:lnTo>
                    <a:lnTo>
                      <a:pt x="976" y="351"/>
                    </a:lnTo>
                    <a:cubicBezTo>
                      <a:pt x="553" y="234"/>
                      <a:pt x="420" y="9"/>
                      <a:pt x="396" y="0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4" name="Freeform 14"/>
              <p:cNvSpPr>
                <a:spLocks/>
              </p:cNvSpPr>
              <p:nvPr/>
            </p:nvSpPr>
            <p:spPr bwMode="auto">
              <a:xfrm>
                <a:off x="2423" y="3052"/>
                <a:ext cx="1323" cy="921"/>
              </a:xfrm>
              <a:custGeom>
                <a:avLst/>
                <a:gdLst/>
                <a:ahLst/>
                <a:cxnLst>
                  <a:cxn ang="0">
                    <a:pos x="155" y="252"/>
                  </a:cxn>
                  <a:cxn ang="0">
                    <a:pos x="200" y="513"/>
                  </a:cxn>
                  <a:cxn ang="0">
                    <a:pos x="0" y="702"/>
                  </a:cxn>
                  <a:cxn ang="0">
                    <a:pos x="1127" y="556"/>
                  </a:cxn>
                  <a:cxn ang="0">
                    <a:pos x="1199" y="693"/>
                  </a:cxn>
                  <a:cxn ang="0">
                    <a:pos x="1235" y="222"/>
                  </a:cxn>
                  <a:cxn ang="0">
                    <a:pos x="840" y="0"/>
                  </a:cxn>
                  <a:cxn ang="0">
                    <a:pos x="926" y="126"/>
                  </a:cxn>
                  <a:cxn ang="0">
                    <a:pos x="155" y="252"/>
                  </a:cxn>
                </a:cxnLst>
                <a:rect l="0" t="0" r="r" b="b"/>
                <a:pathLst>
                  <a:path w="1235" h="861">
                    <a:moveTo>
                      <a:pt x="155" y="252"/>
                    </a:moveTo>
                    <a:lnTo>
                      <a:pt x="200" y="513"/>
                    </a:lnTo>
                    <a:lnTo>
                      <a:pt x="0" y="702"/>
                    </a:lnTo>
                    <a:cubicBezTo>
                      <a:pt x="23" y="705"/>
                      <a:pt x="543" y="861"/>
                      <a:pt x="1127" y="556"/>
                    </a:cubicBezTo>
                    <a:lnTo>
                      <a:pt x="1199" y="693"/>
                    </a:lnTo>
                    <a:lnTo>
                      <a:pt x="1235" y="222"/>
                    </a:lnTo>
                    <a:lnTo>
                      <a:pt x="840" y="0"/>
                    </a:lnTo>
                    <a:lnTo>
                      <a:pt x="926" y="126"/>
                    </a:lnTo>
                    <a:cubicBezTo>
                      <a:pt x="540" y="343"/>
                      <a:pt x="183" y="252"/>
                      <a:pt x="155" y="252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  <p:sp>
            <p:nvSpPr>
              <p:cNvPr id="45" name="Freeform 15"/>
              <p:cNvSpPr>
                <a:spLocks/>
              </p:cNvSpPr>
              <p:nvPr/>
            </p:nvSpPr>
            <p:spPr bwMode="auto">
              <a:xfrm>
                <a:off x="3485" y="2449"/>
                <a:ext cx="793" cy="1107"/>
              </a:xfrm>
              <a:custGeom>
                <a:avLst/>
                <a:gdLst/>
                <a:ahLst/>
                <a:cxnLst>
                  <a:cxn ang="0">
                    <a:pos x="42" y="619"/>
                  </a:cxn>
                  <a:cxn ang="0">
                    <a:pos x="292" y="740"/>
                  </a:cxn>
                  <a:cxn ang="0">
                    <a:pos x="276" y="1033"/>
                  </a:cxn>
                  <a:cxn ang="0">
                    <a:pos x="592" y="156"/>
                  </a:cxn>
                  <a:cxn ang="0">
                    <a:pos x="738" y="105"/>
                  </a:cxn>
                  <a:cxn ang="0">
                    <a:pos x="278" y="0"/>
                  </a:cxn>
                  <a:cxn ang="0">
                    <a:pos x="0" y="358"/>
                  </a:cxn>
                  <a:cxn ang="0">
                    <a:pos x="138" y="292"/>
                  </a:cxn>
                  <a:cxn ang="0">
                    <a:pos x="42" y="619"/>
                  </a:cxn>
                </a:cxnLst>
                <a:rect l="0" t="0" r="r" b="b"/>
                <a:pathLst>
                  <a:path w="741" h="1033">
                    <a:moveTo>
                      <a:pt x="42" y="619"/>
                    </a:moveTo>
                    <a:cubicBezTo>
                      <a:pt x="167" y="679"/>
                      <a:pt x="292" y="740"/>
                      <a:pt x="292" y="740"/>
                    </a:cubicBezTo>
                    <a:lnTo>
                      <a:pt x="276" y="1033"/>
                    </a:lnTo>
                    <a:cubicBezTo>
                      <a:pt x="282" y="1011"/>
                      <a:pt x="741" y="751"/>
                      <a:pt x="592" y="156"/>
                    </a:cubicBezTo>
                    <a:lnTo>
                      <a:pt x="738" y="105"/>
                    </a:lnTo>
                    <a:lnTo>
                      <a:pt x="278" y="0"/>
                    </a:lnTo>
                    <a:lnTo>
                      <a:pt x="0" y="358"/>
                    </a:lnTo>
                    <a:lnTo>
                      <a:pt x="138" y="292"/>
                    </a:lnTo>
                    <a:cubicBezTo>
                      <a:pt x="190" y="544"/>
                      <a:pt x="52" y="613"/>
                      <a:pt x="42" y="619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ca-ES" sz="2159"/>
              </a:p>
            </p:txBody>
          </p:sp>
        </p:grpSp>
        <p:sp>
          <p:nvSpPr>
            <p:cNvPr id="25" name="Rectangle 16"/>
            <p:cNvSpPr>
              <a:spLocks noChangeArrowheads="1"/>
            </p:cNvSpPr>
            <p:nvPr/>
          </p:nvSpPr>
          <p:spPr bwMode="auto">
            <a:xfrm>
              <a:off x="4633913" y="3565452"/>
              <a:ext cx="110490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26" name="Rectangle 17"/>
            <p:cNvSpPr>
              <a:spLocks noChangeArrowheads="1"/>
            </p:cNvSpPr>
            <p:nvPr/>
          </p:nvSpPr>
          <p:spPr bwMode="auto">
            <a:xfrm>
              <a:off x="6410325" y="3565452"/>
              <a:ext cx="100965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4232275" y="1186813"/>
              <a:ext cx="92075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auto">
            <a:xfrm>
              <a:off x="3078163" y="1753551"/>
              <a:ext cx="752475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29" name="Rectangle 20"/>
            <p:cNvSpPr>
              <a:spLocks noChangeArrowheads="1"/>
            </p:cNvSpPr>
            <p:nvPr/>
          </p:nvSpPr>
          <p:spPr bwMode="auto">
            <a:xfrm>
              <a:off x="2374900" y="2945763"/>
              <a:ext cx="669925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5670550" y="1450338"/>
              <a:ext cx="85090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2547938" y="4368163"/>
              <a:ext cx="61595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32" name="Rectangle 23"/>
            <p:cNvSpPr>
              <a:spLocks noChangeArrowheads="1"/>
            </p:cNvSpPr>
            <p:nvPr/>
          </p:nvSpPr>
          <p:spPr bwMode="auto">
            <a:xfrm>
              <a:off x="3241675" y="5474651"/>
              <a:ext cx="1095375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33" name="Rectangle 24"/>
            <p:cNvSpPr>
              <a:spLocks noChangeArrowheads="1"/>
            </p:cNvSpPr>
            <p:nvPr/>
          </p:nvSpPr>
          <p:spPr bwMode="auto">
            <a:xfrm>
              <a:off x="6786563" y="2318701"/>
              <a:ext cx="628650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  <p:sp>
          <p:nvSpPr>
            <p:cNvPr id="34" name="Rectangle 25"/>
            <p:cNvSpPr>
              <a:spLocks noChangeArrowheads="1"/>
            </p:cNvSpPr>
            <p:nvPr/>
          </p:nvSpPr>
          <p:spPr bwMode="auto">
            <a:xfrm>
              <a:off x="4981575" y="5738176"/>
              <a:ext cx="1095375" cy="168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133"/>
                <a:t>Texto</a:t>
              </a:r>
              <a:endParaRPr lang="en-US" sz="1133" dirty="0"/>
            </a:p>
          </p:txBody>
        </p:sp>
      </p:grpSp>
      <p:sp>
        <p:nvSpPr>
          <p:cNvPr id="46" name="Título 4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8" name="Espaço Reservado para Texto 4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089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19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Incoming</a:t>
            </a:r>
            <a:endParaRPr lang="pt-BR" dirty="0"/>
          </a:p>
        </p:txBody>
      </p:sp>
      <p:sp>
        <p:nvSpPr>
          <p:cNvPr id="31" name="Espaço Reservado para Texto 3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18" name="17 Grupo"/>
          <p:cNvGrpSpPr/>
          <p:nvPr/>
        </p:nvGrpSpPr>
        <p:grpSpPr>
          <a:xfrm>
            <a:off x="138654" y="826471"/>
            <a:ext cx="4857766" cy="4003754"/>
            <a:chOff x="1676400" y="762000"/>
            <a:chExt cx="5878513" cy="4845050"/>
          </a:xfrm>
        </p:grpSpPr>
        <p:sp>
          <p:nvSpPr>
            <p:cNvPr id="648196" name="Freeform 4"/>
            <p:cNvSpPr>
              <a:spLocks/>
            </p:cNvSpPr>
            <p:nvPr/>
          </p:nvSpPr>
          <p:spPr bwMode="auto">
            <a:xfrm>
              <a:off x="5995988" y="2303463"/>
              <a:ext cx="1558925" cy="2001837"/>
            </a:xfrm>
            <a:custGeom>
              <a:avLst/>
              <a:gdLst/>
              <a:ahLst/>
              <a:cxnLst>
                <a:cxn ang="0">
                  <a:pos x="263" y="1156"/>
                </a:cxn>
                <a:cxn ang="0">
                  <a:pos x="851" y="1143"/>
                </a:cxn>
                <a:cxn ang="0">
                  <a:pos x="668" y="1032"/>
                </a:cxn>
                <a:cxn ang="0">
                  <a:pos x="703" y="958"/>
                </a:cxn>
                <a:cxn ang="0">
                  <a:pos x="733" y="882"/>
                </a:cxn>
                <a:cxn ang="0">
                  <a:pos x="758" y="804"/>
                </a:cxn>
                <a:cxn ang="0">
                  <a:pos x="775" y="723"/>
                </a:cxn>
                <a:cxn ang="0">
                  <a:pos x="790" y="642"/>
                </a:cxn>
                <a:cxn ang="0">
                  <a:pos x="798" y="561"/>
                </a:cxn>
                <a:cxn ang="0">
                  <a:pos x="801" y="478"/>
                </a:cxn>
                <a:cxn ang="0">
                  <a:pos x="798" y="395"/>
                </a:cxn>
                <a:cxn ang="0">
                  <a:pos x="789" y="314"/>
                </a:cxn>
                <a:cxn ang="0">
                  <a:pos x="775" y="233"/>
                </a:cxn>
                <a:cxn ang="0">
                  <a:pos x="756" y="153"/>
                </a:cxn>
                <a:cxn ang="0">
                  <a:pos x="730" y="75"/>
                </a:cxn>
                <a:cxn ang="0">
                  <a:pos x="701" y="0"/>
                </a:cxn>
                <a:cxn ang="0">
                  <a:pos x="545" y="296"/>
                </a:cxn>
                <a:cxn ang="0">
                  <a:pos x="208" y="291"/>
                </a:cxn>
                <a:cxn ang="0">
                  <a:pos x="222" y="345"/>
                </a:cxn>
                <a:cxn ang="0">
                  <a:pos x="231" y="402"/>
                </a:cxn>
                <a:cxn ang="0">
                  <a:pos x="235" y="459"/>
                </a:cxn>
                <a:cxn ang="0">
                  <a:pos x="234" y="514"/>
                </a:cxn>
                <a:cxn ang="0">
                  <a:pos x="229" y="571"/>
                </a:cxn>
                <a:cxn ang="0">
                  <a:pos x="217" y="627"/>
                </a:cxn>
                <a:cxn ang="0">
                  <a:pos x="203" y="683"/>
                </a:cxn>
                <a:cxn ang="0">
                  <a:pos x="181" y="734"/>
                </a:cxn>
                <a:cxn ang="0">
                  <a:pos x="0" y="628"/>
                </a:cxn>
                <a:cxn ang="0">
                  <a:pos x="263" y="1156"/>
                </a:cxn>
              </a:cxnLst>
              <a:rect l="0" t="0" r="r" b="b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197" name="Freeform 5"/>
            <p:cNvSpPr>
              <a:spLocks/>
            </p:cNvSpPr>
            <p:nvPr/>
          </p:nvSpPr>
          <p:spPr bwMode="auto">
            <a:xfrm>
              <a:off x="5421313" y="1077913"/>
              <a:ext cx="2028825" cy="1665287"/>
            </a:xfrm>
            <a:custGeom>
              <a:avLst/>
              <a:gdLst/>
              <a:ahLst/>
              <a:cxnLst>
                <a:cxn ang="0">
                  <a:pos x="246" y="959"/>
                </a:cxn>
                <a:cxn ang="0">
                  <a:pos x="839" y="961"/>
                </a:cxn>
                <a:cxn ang="0">
                  <a:pos x="934" y="786"/>
                </a:cxn>
                <a:cxn ang="0">
                  <a:pos x="1023" y="611"/>
                </a:cxn>
                <a:cxn ang="0">
                  <a:pos x="1108" y="429"/>
                </a:cxn>
                <a:cxn ang="0">
                  <a:pos x="930" y="539"/>
                </a:cxn>
                <a:cxn ang="0">
                  <a:pos x="885" y="471"/>
                </a:cxn>
                <a:cxn ang="0">
                  <a:pos x="837" y="406"/>
                </a:cxn>
                <a:cxn ang="0">
                  <a:pos x="783" y="344"/>
                </a:cxn>
                <a:cxn ang="0">
                  <a:pos x="724" y="287"/>
                </a:cxn>
                <a:cxn ang="0">
                  <a:pos x="663" y="235"/>
                </a:cxn>
                <a:cxn ang="0">
                  <a:pos x="598" y="188"/>
                </a:cxn>
                <a:cxn ang="0">
                  <a:pos x="530" y="145"/>
                </a:cxn>
                <a:cxn ang="0">
                  <a:pos x="460" y="107"/>
                </a:cxn>
                <a:cxn ang="0">
                  <a:pos x="387" y="75"/>
                </a:cxn>
                <a:cxn ang="0">
                  <a:pos x="311" y="48"/>
                </a:cxn>
                <a:cxn ang="0">
                  <a:pos x="236" y="27"/>
                </a:cxn>
                <a:cxn ang="0">
                  <a:pos x="158" y="12"/>
                </a:cxn>
                <a:cxn ang="0">
                  <a:pos x="79" y="2"/>
                </a:cxn>
                <a:cxn ang="0">
                  <a:pos x="0" y="0"/>
                </a:cxn>
                <a:cxn ang="0">
                  <a:pos x="210" y="277"/>
                </a:cxn>
                <a:cxn ang="0">
                  <a:pos x="80" y="601"/>
                </a:cxn>
                <a:cxn ang="0">
                  <a:pos x="134" y="614"/>
                </a:cxn>
                <a:cxn ang="0">
                  <a:pos x="186" y="631"/>
                </a:cxn>
                <a:cxn ang="0">
                  <a:pos x="236" y="654"/>
                </a:cxn>
                <a:cxn ang="0">
                  <a:pos x="283" y="681"/>
                </a:cxn>
                <a:cxn ang="0">
                  <a:pos x="328" y="715"/>
                </a:cxn>
                <a:cxn ang="0">
                  <a:pos x="370" y="752"/>
                </a:cxn>
                <a:cxn ang="0">
                  <a:pos x="408" y="792"/>
                </a:cxn>
                <a:cxn ang="0">
                  <a:pos x="446" y="837"/>
                </a:cxn>
                <a:cxn ang="0">
                  <a:pos x="246" y="959"/>
                </a:cxn>
              </a:cxnLst>
              <a:rect l="0" t="0" r="r" b="b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198" name="Freeform 6"/>
            <p:cNvSpPr>
              <a:spLocks/>
            </p:cNvSpPr>
            <p:nvPr/>
          </p:nvSpPr>
          <p:spPr bwMode="auto">
            <a:xfrm>
              <a:off x="1676400" y="762000"/>
              <a:ext cx="4035425" cy="1901825"/>
            </a:xfrm>
            <a:custGeom>
              <a:avLst/>
              <a:gdLst/>
              <a:ahLst/>
              <a:cxnLst>
                <a:cxn ang="0">
                  <a:pos x="0" y="864"/>
                </a:cxn>
                <a:cxn ang="0">
                  <a:pos x="1339" y="864"/>
                </a:cxn>
                <a:cxn ang="0">
                  <a:pos x="1552" y="1098"/>
                </a:cxn>
                <a:cxn ang="0">
                  <a:pos x="1587" y="1045"/>
                </a:cxn>
                <a:cxn ang="0">
                  <a:pos x="1625" y="996"/>
                </a:cxn>
                <a:cxn ang="0">
                  <a:pos x="1666" y="948"/>
                </a:cxn>
                <a:cxn ang="0">
                  <a:pos x="1711" y="906"/>
                </a:cxn>
                <a:cxn ang="0">
                  <a:pos x="1754" y="872"/>
                </a:cxn>
                <a:cxn ang="0">
                  <a:pos x="1800" y="845"/>
                </a:cxn>
                <a:cxn ang="0">
                  <a:pos x="1850" y="822"/>
                </a:cxn>
                <a:cxn ang="0">
                  <a:pos x="1900" y="803"/>
                </a:cxn>
                <a:cxn ang="0">
                  <a:pos x="1953" y="790"/>
                </a:cxn>
                <a:cxn ang="0">
                  <a:pos x="1983" y="1013"/>
                </a:cxn>
                <a:cxn ang="0">
                  <a:pos x="2205" y="471"/>
                </a:cxn>
                <a:cxn ang="0">
                  <a:pos x="1872" y="0"/>
                </a:cxn>
                <a:cxn ang="0">
                  <a:pos x="1873" y="196"/>
                </a:cxn>
                <a:cxn ang="0">
                  <a:pos x="0" y="196"/>
                </a:cxn>
                <a:cxn ang="0">
                  <a:pos x="0" y="864"/>
                </a:cxn>
              </a:cxnLst>
              <a:rect l="0" t="0" r="r" b="b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199" name="Freeform 7"/>
            <p:cNvSpPr>
              <a:spLocks/>
            </p:cNvSpPr>
            <p:nvPr/>
          </p:nvSpPr>
          <p:spPr bwMode="auto">
            <a:xfrm>
              <a:off x="5021263" y="3775075"/>
              <a:ext cx="2039937" cy="1831975"/>
            </a:xfrm>
            <a:custGeom>
              <a:avLst/>
              <a:gdLst/>
              <a:ahLst/>
              <a:cxnLst>
                <a:cxn ang="0">
                  <a:pos x="0" y="529"/>
                </a:cxn>
                <a:cxn ang="0">
                  <a:pos x="279" y="1058"/>
                </a:cxn>
                <a:cxn ang="0">
                  <a:pos x="279" y="815"/>
                </a:cxn>
                <a:cxn ang="0">
                  <a:pos x="353" y="808"/>
                </a:cxn>
                <a:cxn ang="0">
                  <a:pos x="429" y="795"/>
                </a:cxn>
                <a:cxn ang="0">
                  <a:pos x="502" y="777"/>
                </a:cxn>
                <a:cxn ang="0">
                  <a:pos x="573" y="754"/>
                </a:cxn>
                <a:cxn ang="0">
                  <a:pos x="643" y="726"/>
                </a:cxn>
                <a:cxn ang="0">
                  <a:pos x="712" y="693"/>
                </a:cxn>
                <a:cxn ang="0">
                  <a:pos x="778" y="655"/>
                </a:cxn>
                <a:cxn ang="0">
                  <a:pos x="843" y="613"/>
                </a:cxn>
                <a:cxn ang="0">
                  <a:pos x="901" y="564"/>
                </a:cxn>
                <a:cxn ang="0">
                  <a:pos x="961" y="513"/>
                </a:cxn>
                <a:cxn ang="0">
                  <a:pos x="1015" y="456"/>
                </a:cxn>
                <a:cxn ang="0">
                  <a:pos x="1068" y="395"/>
                </a:cxn>
                <a:cxn ang="0">
                  <a:pos x="1114" y="333"/>
                </a:cxn>
                <a:cxn ang="0">
                  <a:pos x="776" y="352"/>
                </a:cxn>
                <a:cxn ang="0">
                  <a:pos x="623" y="36"/>
                </a:cxn>
                <a:cxn ang="0">
                  <a:pos x="591" y="69"/>
                </a:cxn>
                <a:cxn ang="0">
                  <a:pos x="557" y="98"/>
                </a:cxn>
                <a:cxn ang="0">
                  <a:pos x="516" y="128"/>
                </a:cxn>
                <a:cxn ang="0">
                  <a:pos x="472" y="157"/>
                </a:cxn>
                <a:cxn ang="0">
                  <a:pos x="425" y="178"/>
                </a:cxn>
                <a:cxn ang="0">
                  <a:pos x="379" y="197"/>
                </a:cxn>
                <a:cxn ang="0">
                  <a:pos x="330" y="211"/>
                </a:cxn>
                <a:cxn ang="0">
                  <a:pos x="279" y="220"/>
                </a:cxn>
                <a:cxn ang="0">
                  <a:pos x="279" y="0"/>
                </a:cxn>
                <a:cxn ang="0">
                  <a:pos x="0" y="529"/>
                </a:cxn>
              </a:cxnLst>
              <a:rect l="0" t="0" r="r" b="b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200" name="Freeform 8"/>
            <p:cNvSpPr>
              <a:spLocks/>
            </p:cNvSpPr>
            <p:nvPr/>
          </p:nvSpPr>
          <p:spPr bwMode="auto">
            <a:xfrm>
              <a:off x="3287713" y="3544888"/>
              <a:ext cx="1941512" cy="1636712"/>
            </a:xfrm>
            <a:custGeom>
              <a:avLst/>
              <a:gdLst/>
              <a:ahLst/>
              <a:cxnLst>
                <a:cxn ang="0">
                  <a:pos x="372" y="0"/>
                </a:cxn>
                <a:cxn ang="0">
                  <a:pos x="0" y="477"/>
                </a:cxn>
                <a:cxn ang="0">
                  <a:pos x="207" y="395"/>
                </a:cxn>
                <a:cxn ang="0">
                  <a:pos x="252" y="466"/>
                </a:cxn>
                <a:cxn ang="0">
                  <a:pos x="302" y="531"/>
                </a:cxn>
                <a:cxn ang="0">
                  <a:pos x="354" y="592"/>
                </a:cxn>
                <a:cxn ang="0">
                  <a:pos x="410" y="649"/>
                </a:cxn>
                <a:cxn ang="0">
                  <a:pos x="471" y="703"/>
                </a:cxn>
                <a:cxn ang="0">
                  <a:pos x="535" y="751"/>
                </a:cxn>
                <a:cxn ang="0">
                  <a:pos x="602" y="795"/>
                </a:cxn>
                <a:cxn ang="0">
                  <a:pos x="670" y="833"/>
                </a:cxn>
                <a:cxn ang="0">
                  <a:pos x="745" y="867"/>
                </a:cxn>
                <a:cxn ang="0">
                  <a:pos x="818" y="894"/>
                </a:cxn>
                <a:cxn ang="0">
                  <a:pos x="894" y="917"/>
                </a:cxn>
                <a:cxn ang="0">
                  <a:pos x="970" y="934"/>
                </a:cxn>
                <a:cxn ang="0">
                  <a:pos x="1048" y="945"/>
                </a:cxn>
                <a:cxn ang="0">
                  <a:pos x="896" y="669"/>
                </a:cxn>
                <a:cxn ang="0">
                  <a:pos x="1060" y="347"/>
                </a:cxn>
                <a:cxn ang="0">
                  <a:pos x="1004" y="334"/>
                </a:cxn>
                <a:cxn ang="0">
                  <a:pos x="951" y="315"/>
                </a:cxn>
                <a:cxn ang="0">
                  <a:pos x="898" y="290"/>
                </a:cxn>
                <a:cxn ang="0">
                  <a:pos x="850" y="260"/>
                </a:cxn>
                <a:cxn ang="0">
                  <a:pos x="802" y="223"/>
                </a:cxn>
                <a:cxn ang="0">
                  <a:pos x="761" y="184"/>
                </a:cxn>
                <a:cxn ang="0">
                  <a:pos x="938" y="113"/>
                </a:cxn>
                <a:cxn ang="0">
                  <a:pos x="372" y="0"/>
                </a:cxn>
              </a:cxnLst>
              <a:rect l="0" t="0" r="r" b="b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201" name="Freeform 9"/>
            <p:cNvSpPr>
              <a:spLocks/>
            </p:cNvSpPr>
            <p:nvPr/>
          </p:nvSpPr>
          <p:spPr bwMode="auto">
            <a:xfrm>
              <a:off x="3187700" y="2143125"/>
              <a:ext cx="1584325" cy="1825625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0" y="1"/>
                </a:cxn>
                <a:cxn ang="0">
                  <a:pos x="178" y="111"/>
                </a:cxn>
                <a:cxn ang="0">
                  <a:pos x="153" y="187"/>
                </a:cxn>
                <a:cxn ang="0">
                  <a:pos x="130" y="264"/>
                </a:cxn>
                <a:cxn ang="0">
                  <a:pos x="113" y="343"/>
                </a:cxn>
                <a:cxn ang="0">
                  <a:pos x="100" y="423"/>
                </a:cxn>
                <a:cxn ang="0">
                  <a:pos x="94" y="504"/>
                </a:cxn>
                <a:cxn ang="0">
                  <a:pos x="93" y="583"/>
                </a:cxn>
                <a:cxn ang="0">
                  <a:pos x="95" y="664"/>
                </a:cxn>
                <a:cxn ang="0">
                  <a:pos x="104" y="744"/>
                </a:cxn>
                <a:cxn ang="0">
                  <a:pos x="118" y="824"/>
                </a:cxn>
                <a:cxn ang="0">
                  <a:pos x="136" y="903"/>
                </a:cxn>
                <a:cxn ang="0">
                  <a:pos x="159" y="979"/>
                </a:cxn>
                <a:cxn ang="0">
                  <a:pos x="189" y="1054"/>
                </a:cxn>
                <a:cxn ang="0">
                  <a:pos x="412" y="766"/>
                </a:cxn>
                <a:cxn ang="0">
                  <a:pos x="702" y="816"/>
                </a:cxn>
                <a:cxn ang="0">
                  <a:pos x="681" y="760"/>
                </a:cxn>
                <a:cxn ang="0">
                  <a:pos x="666" y="705"/>
                </a:cxn>
                <a:cxn ang="0">
                  <a:pos x="658" y="647"/>
                </a:cxn>
                <a:cxn ang="0">
                  <a:pos x="652" y="588"/>
                </a:cxn>
                <a:cxn ang="0">
                  <a:pos x="652" y="529"/>
                </a:cxn>
                <a:cxn ang="0">
                  <a:pos x="660" y="470"/>
                </a:cxn>
                <a:cxn ang="0">
                  <a:pos x="672" y="413"/>
                </a:cxn>
                <a:cxn ang="0">
                  <a:pos x="865" y="531"/>
                </a:cxn>
                <a:cxn ang="0">
                  <a:pos x="571" y="0"/>
                </a:cxn>
              </a:cxnLst>
              <a:rect l="0" t="0" r="r" b="b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48202" name="Rectangle 10"/>
            <p:cNvSpPr>
              <a:spLocks noChangeArrowheads="1"/>
            </p:cNvSpPr>
            <p:nvPr/>
          </p:nvSpPr>
          <p:spPr bwMode="auto">
            <a:xfrm>
              <a:off x="1835150" y="1563688"/>
              <a:ext cx="352266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48203" name="Rectangle 11"/>
            <p:cNvSpPr>
              <a:spLocks noChangeArrowheads="1"/>
            </p:cNvSpPr>
            <p:nvPr/>
          </p:nvSpPr>
          <p:spPr bwMode="auto">
            <a:xfrm>
              <a:off x="5772150" y="1847850"/>
              <a:ext cx="118110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48204" name="Rectangle 12"/>
            <p:cNvSpPr>
              <a:spLocks noChangeArrowheads="1"/>
            </p:cNvSpPr>
            <p:nvPr/>
          </p:nvSpPr>
          <p:spPr bwMode="auto">
            <a:xfrm>
              <a:off x="6516688" y="3321050"/>
              <a:ext cx="774700" cy="161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48205" name="Rectangle 13"/>
            <p:cNvSpPr>
              <a:spLocks noChangeArrowheads="1"/>
            </p:cNvSpPr>
            <p:nvPr/>
          </p:nvSpPr>
          <p:spPr bwMode="auto">
            <a:xfrm>
              <a:off x="5535613" y="4511675"/>
              <a:ext cx="774700" cy="161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48206" name="Rectangle 14"/>
            <p:cNvSpPr>
              <a:spLocks noChangeArrowheads="1"/>
            </p:cNvSpPr>
            <p:nvPr/>
          </p:nvSpPr>
          <p:spPr bwMode="auto">
            <a:xfrm>
              <a:off x="3516313" y="2836863"/>
              <a:ext cx="774700" cy="161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48207" name="Rectangle 15"/>
            <p:cNvSpPr>
              <a:spLocks noChangeArrowheads="1"/>
            </p:cNvSpPr>
            <p:nvPr/>
          </p:nvSpPr>
          <p:spPr bwMode="auto">
            <a:xfrm>
              <a:off x="3841750" y="4183063"/>
              <a:ext cx="117951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</p:grpSp>
      <p:grpSp>
        <p:nvGrpSpPr>
          <p:cNvPr id="19" name="18 Grupo"/>
          <p:cNvGrpSpPr/>
          <p:nvPr/>
        </p:nvGrpSpPr>
        <p:grpSpPr>
          <a:xfrm>
            <a:off x="5250346" y="3313516"/>
            <a:ext cx="5149962" cy="3652848"/>
            <a:chOff x="2061170" y="1279053"/>
            <a:chExt cx="5772150" cy="4094163"/>
          </a:xfrm>
        </p:grpSpPr>
        <p:sp>
          <p:nvSpPr>
            <p:cNvPr id="20" name="Freeform 4"/>
            <p:cNvSpPr>
              <a:spLocks/>
            </p:cNvSpPr>
            <p:nvPr/>
          </p:nvSpPr>
          <p:spPr bwMode="auto">
            <a:xfrm>
              <a:off x="2875558" y="1334616"/>
              <a:ext cx="4957762" cy="1824037"/>
            </a:xfrm>
            <a:custGeom>
              <a:avLst/>
              <a:gdLst/>
              <a:ahLst/>
              <a:cxnLst>
                <a:cxn ang="0">
                  <a:pos x="655" y="1142"/>
                </a:cxn>
                <a:cxn ang="0">
                  <a:pos x="669" y="1077"/>
                </a:cxn>
                <a:cxn ang="0">
                  <a:pos x="691" y="1013"/>
                </a:cxn>
                <a:cxn ang="0">
                  <a:pos x="718" y="951"/>
                </a:cxn>
                <a:cxn ang="0">
                  <a:pos x="751" y="894"/>
                </a:cxn>
                <a:cxn ang="0">
                  <a:pos x="790" y="840"/>
                </a:cxn>
                <a:cxn ang="0">
                  <a:pos x="834" y="790"/>
                </a:cxn>
                <a:cxn ang="0">
                  <a:pos x="883" y="744"/>
                </a:cxn>
                <a:cxn ang="0">
                  <a:pos x="937" y="704"/>
                </a:cxn>
                <a:cxn ang="0">
                  <a:pos x="1028" y="654"/>
                </a:cxn>
                <a:cxn ang="0">
                  <a:pos x="1144" y="627"/>
                </a:cxn>
                <a:cxn ang="0">
                  <a:pos x="1274" y="615"/>
                </a:cxn>
                <a:cxn ang="0">
                  <a:pos x="2991" y="623"/>
                </a:cxn>
                <a:cxn ang="0">
                  <a:pos x="3123" y="300"/>
                </a:cxn>
                <a:cxn ang="0">
                  <a:pos x="2956" y="0"/>
                </a:cxn>
                <a:cxn ang="0">
                  <a:pos x="901" y="0"/>
                </a:cxn>
                <a:cxn ang="0">
                  <a:pos x="850" y="9"/>
                </a:cxn>
                <a:cxn ang="0">
                  <a:pos x="800" y="37"/>
                </a:cxn>
                <a:cxn ang="0">
                  <a:pos x="764" y="51"/>
                </a:cxn>
                <a:cxn ang="0">
                  <a:pos x="734" y="65"/>
                </a:cxn>
                <a:cxn ang="0">
                  <a:pos x="663" y="110"/>
                </a:cxn>
                <a:cxn ang="0">
                  <a:pos x="585" y="157"/>
                </a:cxn>
                <a:cxn ang="0">
                  <a:pos x="511" y="212"/>
                </a:cxn>
                <a:cxn ang="0">
                  <a:pos x="438" y="269"/>
                </a:cxn>
                <a:cxn ang="0">
                  <a:pos x="372" y="332"/>
                </a:cxn>
                <a:cxn ang="0">
                  <a:pos x="310" y="399"/>
                </a:cxn>
                <a:cxn ang="0">
                  <a:pos x="254" y="473"/>
                </a:cxn>
                <a:cxn ang="0">
                  <a:pos x="202" y="546"/>
                </a:cxn>
                <a:cxn ang="0">
                  <a:pos x="153" y="626"/>
                </a:cxn>
                <a:cxn ang="0">
                  <a:pos x="114" y="709"/>
                </a:cxn>
                <a:cxn ang="0">
                  <a:pos x="80" y="793"/>
                </a:cxn>
                <a:cxn ang="0">
                  <a:pos x="49" y="880"/>
                </a:cxn>
                <a:cxn ang="0">
                  <a:pos x="26" y="968"/>
                </a:cxn>
                <a:cxn ang="0">
                  <a:pos x="9" y="1059"/>
                </a:cxn>
                <a:cxn ang="0">
                  <a:pos x="0" y="1149"/>
                </a:cxn>
                <a:cxn ang="0">
                  <a:pos x="307" y="981"/>
                </a:cxn>
                <a:cxn ang="0">
                  <a:pos x="655" y="1142"/>
                </a:cxn>
              </a:cxnLst>
              <a:rect l="0" t="0" r="r" b="b"/>
              <a:pathLst>
                <a:path w="3123" h="1149">
                  <a:moveTo>
                    <a:pt x="655" y="1142"/>
                  </a:moveTo>
                  <a:lnTo>
                    <a:pt x="669" y="1077"/>
                  </a:lnTo>
                  <a:lnTo>
                    <a:pt x="691" y="1013"/>
                  </a:lnTo>
                  <a:lnTo>
                    <a:pt x="718" y="951"/>
                  </a:lnTo>
                  <a:lnTo>
                    <a:pt x="751" y="894"/>
                  </a:lnTo>
                  <a:lnTo>
                    <a:pt x="790" y="840"/>
                  </a:lnTo>
                  <a:lnTo>
                    <a:pt x="834" y="790"/>
                  </a:lnTo>
                  <a:lnTo>
                    <a:pt x="883" y="744"/>
                  </a:lnTo>
                  <a:lnTo>
                    <a:pt x="937" y="704"/>
                  </a:lnTo>
                  <a:lnTo>
                    <a:pt x="1028" y="654"/>
                  </a:lnTo>
                  <a:lnTo>
                    <a:pt x="1144" y="627"/>
                  </a:lnTo>
                  <a:lnTo>
                    <a:pt x="1274" y="615"/>
                  </a:lnTo>
                  <a:lnTo>
                    <a:pt x="2991" y="623"/>
                  </a:lnTo>
                  <a:lnTo>
                    <a:pt x="3123" y="300"/>
                  </a:lnTo>
                  <a:lnTo>
                    <a:pt x="2956" y="0"/>
                  </a:lnTo>
                  <a:lnTo>
                    <a:pt x="901" y="0"/>
                  </a:lnTo>
                  <a:cubicBezTo>
                    <a:pt x="901" y="0"/>
                    <a:pt x="867" y="3"/>
                    <a:pt x="850" y="9"/>
                  </a:cubicBezTo>
                  <a:cubicBezTo>
                    <a:pt x="833" y="15"/>
                    <a:pt x="814" y="30"/>
                    <a:pt x="800" y="37"/>
                  </a:cubicBezTo>
                  <a:cubicBezTo>
                    <a:pt x="786" y="44"/>
                    <a:pt x="775" y="46"/>
                    <a:pt x="764" y="51"/>
                  </a:cubicBezTo>
                  <a:lnTo>
                    <a:pt x="734" y="65"/>
                  </a:lnTo>
                  <a:lnTo>
                    <a:pt x="663" y="110"/>
                  </a:lnTo>
                  <a:lnTo>
                    <a:pt x="585" y="157"/>
                  </a:lnTo>
                  <a:lnTo>
                    <a:pt x="511" y="212"/>
                  </a:lnTo>
                  <a:lnTo>
                    <a:pt x="438" y="269"/>
                  </a:lnTo>
                  <a:lnTo>
                    <a:pt x="372" y="332"/>
                  </a:lnTo>
                  <a:lnTo>
                    <a:pt x="310" y="399"/>
                  </a:lnTo>
                  <a:lnTo>
                    <a:pt x="254" y="473"/>
                  </a:lnTo>
                  <a:lnTo>
                    <a:pt x="202" y="546"/>
                  </a:lnTo>
                  <a:lnTo>
                    <a:pt x="153" y="626"/>
                  </a:lnTo>
                  <a:lnTo>
                    <a:pt x="114" y="709"/>
                  </a:lnTo>
                  <a:lnTo>
                    <a:pt x="80" y="793"/>
                  </a:lnTo>
                  <a:lnTo>
                    <a:pt x="49" y="880"/>
                  </a:lnTo>
                  <a:lnTo>
                    <a:pt x="26" y="968"/>
                  </a:lnTo>
                  <a:lnTo>
                    <a:pt x="9" y="1059"/>
                  </a:lnTo>
                  <a:lnTo>
                    <a:pt x="0" y="1149"/>
                  </a:lnTo>
                  <a:lnTo>
                    <a:pt x="307" y="981"/>
                  </a:lnTo>
                  <a:lnTo>
                    <a:pt x="655" y="1142"/>
                  </a:lnTo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accent4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auto">
            <a:xfrm>
              <a:off x="4632920" y="1279053"/>
              <a:ext cx="1879600" cy="1452563"/>
            </a:xfrm>
            <a:custGeom>
              <a:avLst/>
              <a:gdLst/>
              <a:ahLst/>
              <a:cxnLst>
                <a:cxn ang="0">
                  <a:pos x="31" y="671"/>
                </a:cxn>
                <a:cxn ang="0">
                  <a:pos x="97" y="657"/>
                </a:cxn>
                <a:cxn ang="0">
                  <a:pos x="161" y="650"/>
                </a:cxn>
                <a:cxn ang="0">
                  <a:pos x="225" y="651"/>
                </a:cxn>
                <a:cxn ang="0">
                  <a:pos x="291" y="658"/>
                </a:cxn>
                <a:cxn ang="0">
                  <a:pos x="356" y="673"/>
                </a:cxn>
                <a:cxn ang="0">
                  <a:pos x="414" y="690"/>
                </a:cxn>
                <a:cxn ang="0">
                  <a:pos x="470" y="714"/>
                </a:cxn>
                <a:cxn ang="0">
                  <a:pos x="525" y="744"/>
                </a:cxn>
                <a:cxn ang="0">
                  <a:pos x="575" y="777"/>
                </a:cxn>
                <a:cxn ang="0">
                  <a:pos x="667" y="836"/>
                </a:cxn>
                <a:cxn ang="0">
                  <a:pos x="747" y="915"/>
                </a:cxn>
                <a:cxn ang="0">
                  <a:pos x="1093" y="858"/>
                </a:cxn>
                <a:cxn ang="0">
                  <a:pos x="1184" y="478"/>
                </a:cxn>
                <a:cxn ang="0">
                  <a:pos x="1096" y="377"/>
                </a:cxn>
                <a:cxn ang="0">
                  <a:pos x="1012" y="291"/>
                </a:cxn>
                <a:cxn ang="0">
                  <a:pos x="938" y="235"/>
                </a:cxn>
                <a:cxn ang="0">
                  <a:pos x="861" y="185"/>
                </a:cxn>
                <a:cxn ang="0">
                  <a:pos x="779" y="140"/>
                </a:cxn>
                <a:cxn ang="0">
                  <a:pos x="696" y="102"/>
                </a:cxn>
                <a:cxn ang="0">
                  <a:pos x="609" y="69"/>
                </a:cxn>
                <a:cxn ang="0">
                  <a:pos x="519" y="42"/>
                </a:cxn>
                <a:cxn ang="0">
                  <a:pos x="434" y="23"/>
                </a:cxn>
                <a:cxn ang="0">
                  <a:pos x="348" y="10"/>
                </a:cxn>
                <a:cxn ang="0">
                  <a:pos x="261" y="4"/>
                </a:cxn>
                <a:cxn ang="0">
                  <a:pos x="175" y="0"/>
                </a:cxn>
                <a:cxn ang="0">
                  <a:pos x="86" y="5"/>
                </a:cxn>
                <a:cxn ang="0">
                  <a:pos x="0" y="15"/>
                </a:cxn>
                <a:cxn ang="0">
                  <a:pos x="113" y="323"/>
                </a:cxn>
                <a:cxn ang="0">
                  <a:pos x="31" y="671"/>
                </a:cxn>
              </a:cxnLst>
              <a:rect l="0" t="0" r="r" b="b"/>
              <a:pathLst>
                <a:path w="1184" h="915">
                  <a:moveTo>
                    <a:pt x="31" y="671"/>
                  </a:moveTo>
                  <a:lnTo>
                    <a:pt x="97" y="657"/>
                  </a:lnTo>
                  <a:lnTo>
                    <a:pt x="161" y="650"/>
                  </a:lnTo>
                  <a:lnTo>
                    <a:pt x="225" y="651"/>
                  </a:lnTo>
                  <a:lnTo>
                    <a:pt x="291" y="658"/>
                  </a:lnTo>
                  <a:lnTo>
                    <a:pt x="356" y="673"/>
                  </a:lnTo>
                  <a:lnTo>
                    <a:pt x="414" y="690"/>
                  </a:lnTo>
                  <a:lnTo>
                    <a:pt x="470" y="714"/>
                  </a:lnTo>
                  <a:lnTo>
                    <a:pt x="525" y="744"/>
                  </a:lnTo>
                  <a:lnTo>
                    <a:pt x="575" y="777"/>
                  </a:lnTo>
                  <a:lnTo>
                    <a:pt x="667" y="836"/>
                  </a:lnTo>
                  <a:lnTo>
                    <a:pt x="747" y="915"/>
                  </a:lnTo>
                  <a:lnTo>
                    <a:pt x="1093" y="858"/>
                  </a:lnTo>
                  <a:lnTo>
                    <a:pt x="1184" y="478"/>
                  </a:lnTo>
                  <a:lnTo>
                    <a:pt x="1096" y="377"/>
                  </a:lnTo>
                  <a:lnTo>
                    <a:pt x="1012" y="291"/>
                  </a:lnTo>
                  <a:lnTo>
                    <a:pt x="938" y="235"/>
                  </a:lnTo>
                  <a:lnTo>
                    <a:pt x="861" y="185"/>
                  </a:lnTo>
                  <a:lnTo>
                    <a:pt x="779" y="140"/>
                  </a:lnTo>
                  <a:lnTo>
                    <a:pt x="696" y="102"/>
                  </a:lnTo>
                  <a:lnTo>
                    <a:pt x="609" y="69"/>
                  </a:lnTo>
                  <a:lnTo>
                    <a:pt x="519" y="42"/>
                  </a:lnTo>
                  <a:lnTo>
                    <a:pt x="434" y="23"/>
                  </a:lnTo>
                  <a:lnTo>
                    <a:pt x="348" y="10"/>
                  </a:lnTo>
                  <a:lnTo>
                    <a:pt x="261" y="4"/>
                  </a:lnTo>
                  <a:lnTo>
                    <a:pt x="175" y="0"/>
                  </a:lnTo>
                  <a:lnTo>
                    <a:pt x="86" y="5"/>
                  </a:lnTo>
                  <a:lnTo>
                    <a:pt x="0" y="15"/>
                  </a:lnTo>
                  <a:lnTo>
                    <a:pt x="113" y="323"/>
                  </a:lnTo>
                  <a:lnTo>
                    <a:pt x="31" y="67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5818783" y="2071216"/>
              <a:ext cx="1179512" cy="2330450"/>
            </a:xfrm>
            <a:custGeom>
              <a:avLst/>
              <a:gdLst/>
              <a:ahLst/>
              <a:cxnLst>
                <a:cxn ang="0">
                  <a:pos x="154" y="1458"/>
                </a:cxn>
                <a:cxn ang="0">
                  <a:pos x="547" y="1468"/>
                </a:cxn>
                <a:cxn ang="0">
                  <a:pos x="610" y="1351"/>
                </a:cxn>
                <a:cxn ang="0">
                  <a:pos x="647" y="1269"/>
                </a:cxn>
                <a:cxn ang="0">
                  <a:pos x="679" y="1183"/>
                </a:cxn>
                <a:cxn ang="0">
                  <a:pos x="704" y="1100"/>
                </a:cxn>
                <a:cxn ang="0">
                  <a:pos x="723" y="1012"/>
                </a:cxn>
                <a:cxn ang="0">
                  <a:pos x="735" y="924"/>
                </a:cxn>
                <a:cxn ang="0">
                  <a:pos x="742" y="835"/>
                </a:cxn>
                <a:cxn ang="0">
                  <a:pos x="743" y="745"/>
                </a:cxn>
                <a:cxn ang="0">
                  <a:pos x="738" y="658"/>
                </a:cxn>
                <a:cxn ang="0">
                  <a:pos x="726" y="567"/>
                </a:cxn>
                <a:cxn ang="0">
                  <a:pos x="710" y="481"/>
                </a:cxn>
                <a:cxn ang="0">
                  <a:pos x="686" y="395"/>
                </a:cxn>
                <a:cxn ang="0">
                  <a:pos x="656" y="312"/>
                </a:cxn>
                <a:cxn ang="0">
                  <a:pos x="621" y="229"/>
                </a:cxn>
                <a:cxn ang="0">
                  <a:pos x="581" y="150"/>
                </a:cxn>
                <a:cxn ang="0">
                  <a:pos x="536" y="75"/>
                </a:cxn>
                <a:cxn ang="0">
                  <a:pos x="485" y="0"/>
                </a:cxn>
                <a:cxn ang="0">
                  <a:pos x="385" y="400"/>
                </a:cxn>
                <a:cxn ang="0">
                  <a:pos x="28" y="466"/>
                </a:cxn>
                <a:cxn ang="0">
                  <a:pos x="49" y="530"/>
                </a:cxn>
                <a:cxn ang="0">
                  <a:pos x="69" y="594"/>
                </a:cxn>
                <a:cxn ang="0">
                  <a:pos x="83" y="657"/>
                </a:cxn>
                <a:cxn ang="0">
                  <a:pos x="91" y="725"/>
                </a:cxn>
                <a:cxn ang="0">
                  <a:pos x="92" y="791"/>
                </a:cxn>
                <a:cxn ang="0">
                  <a:pos x="87" y="858"/>
                </a:cxn>
                <a:cxn ang="0">
                  <a:pos x="75" y="922"/>
                </a:cxn>
                <a:cxn ang="0">
                  <a:pos x="36" y="1031"/>
                </a:cxn>
                <a:cxn ang="0">
                  <a:pos x="0" y="1135"/>
                </a:cxn>
                <a:cxn ang="0">
                  <a:pos x="154" y="1458"/>
                </a:cxn>
              </a:cxnLst>
              <a:rect l="0" t="0" r="r" b="b"/>
              <a:pathLst>
                <a:path w="743" h="1468">
                  <a:moveTo>
                    <a:pt x="154" y="1458"/>
                  </a:moveTo>
                  <a:lnTo>
                    <a:pt x="547" y="1468"/>
                  </a:lnTo>
                  <a:lnTo>
                    <a:pt x="610" y="1351"/>
                  </a:lnTo>
                  <a:lnTo>
                    <a:pt x="647" y="1269"/>
                  </a:lnTo>
                  <a:lnTo>
                    <a:pt x="679" y="1183"/>
                  </a:lnTo>
                  <a:lnTo>
                    <a:pt x="704" y="1100"/>
                  </a:lnTo>
                  <a:lnTo>
                    <a:pt x="723" y="1012"/>
                  </a:lnTo>
                  <a:lnTo>
                    <a:pt x="735" y="924"/>
                  </a:lnTo>
                  <a:lnTo>
                    <a:pt x="742" y="835"/>
                  </a:lnTo>
                  <a:lnTo>
                    <a:pt x="743" y="745"/>
                  </a:lnTo>
                  <a:lnTo>
                    <a:pt x="738" y="658"/>
                  </a:lnTo>
                  <a:lnTo>
                    <a:pt x="726" y="567"/>
                  </a:lnTo>
                  <a:lnTo>
                    <a:pt x="710" y="481"/>
                  </a:lnTo>
                  <a:lnTo>
                    <a:pt x="686" y="395"/>
                  </a:lnTo>
                  <a:lnTo>
                    <a:pt x="656" y="312"/>
                  </a:lnTo>
                  <a:lnTo>
                    <a:pt x="621" y="229"/>
                  </a:lnTo>
                  <a:lnTo>
                    <a:pt x="581" y="150"/>
                  </a:lnTo>
                  <a:lnTo>
                    <a:pt x="536" y="75"/>
                  </a:lnTo>
                  <a:lnTo>
                    <a:pt x="485" y="0"/>
                  </a:lnTo>
                  <a:lnTo>
                    <a:pt x="385" y="400"/>
                  </a:lnTo>
                  <a:lnTo>
                    <a:pt x="28" y="466"/>
                  </a:lnTo>
                  <a:lnTo>
                    <a:pt x="49" y="530"/>
                  </a:lnTo>
                  <a:lnTo>
                    <a:pt x="69" y="594"/>
                  </a:lnTo>
                  <a:lnTo>
                    <a:pt x="83" y="657"/>
                  </a:lnTo>
                  <a:lnTo>
                    <a:pt x="91" y="725"/>
                  </a:lnTo>
                  <a:lnTo>
                    <a:pt x="92" y="791"/>
                  </a:lnTo>
                  <a:lnTo>
                    <a:pt x="87" y="858"/>
                  </a:lnTo>
                  <a:lnTo>
                    <a:pt x="75" y="922"/>
                  </a:lnTo>
                  <a:lnTo>
                    <a:pt x="36" y="1031"/>
                  </a:lnTo>
                  <a:lnTo>
                    <a:pt x="0" y="1135"/>
                  </a:lnTo>
                  <a:lnTo>
                    <a:pt x="154" y="145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4156670" y="3933353"/>
              <a:ext cx="2470150" cy="1439863"/>
            </a:xfrm>
            <a:custGeom>
              <a:avLst/>
              <a:gdLst/>
              <a:ahLst/>
              <a:cxnLst>
                <a:cxn ang="0">
                  <a:pos x="1001" y="0"/>
                </a:cxn>
                <a:cxn ang="0">
                  <a:pos x="960" y="49"/>
                </a:cxn>
                <a:cxn ang="0">
                  <a:pos x="911" y="95"/>
                </a:cxn>
                <a:cxn ang="0">
                  <a:pos x="861" y="137"/>
                </a:cxn>
                <a:cxn ang="0">
                  <a:pos x="805" y="170"/>
                </a:cxn>
                <a:cxn ang="0">
                  <a:pos x="745" y="200"/>
                </a:cxn>
                <a:cxn ang="0">
                  <a:pos x="685" y="224"/>
                </a:cxn>
                <a:cxn ang="0">
                  <a:pos x="620" y="241"/>
                </a:cxn>
                <a:cxn ang="0">
                  <a:pos x="555" y="250"/>
                </a:cxn>
                <a:cxn ang="0">
                  <a:pos x="488" y="254"/>
                </a:cxn>
                <a:cxn ang="0">
                  <a:pos x="408" y="252"/>
                </a:cxn>
                <a:cxn ang="0">
                  <a:pos x="348" y="247"/>
                </a:cxn>
                <a:cxn ang="0">
                  <a:pos x="249" y="229"/>
                </a:cxn>
                <a:cxn ang="0">
                  <a:pos x="0" y="450"/>
                </a:cxn>
                <a:cxn ang="0">
                  <a:pos x="75" y="841"/>
                </a:cxn>
                <a:cxn ang="0">
                  <a:pos x="135" y="859"/>
                </a:cxn>
                <a:cxn ang="0">
                  <a:pos x="215" y="880"/>
                </a:cxn>
                <a:cxn ang="0">
                  <a:pos x="305" y="896"/>
                </a:cxn>
                <a:cxn ang="0">
                  <a:pos x="393" y="904"/>
                </a:cxn>
                <a:cxn ang="0">
                  <a:pos x="483" y="907"/>
                </a:cxn>
                <a:cxn ang="0">
                  <a:pos x="574" y="907"/>
                </a:cxn>
                <a:cxn ang="0">
                  <a:pos x="663" y="897"/>
                </a:cxn>
                <a:cxn ang="0">
                  <a:pos x="751" y="881"/>
                </a:cxn>
                <a:cxn ang="0">
                  <a:pos x="838" y="860"/>
                </a:cxn>
                <a:cxn ang="0">
                  <a:pos x="924" y="833"/>
                </a:cxn>
                <a:cxn ang="0">
                  <a:pos x="1008" y="799"/>
                </a:cxn>
                <a:cxn ang="0">
                  <a:pos x="1088" y="761"/>
                </a:cxn>
                <a:cxn ang="0">
                  <a:pos x="1167" y="717"/>
                </a:cxn>
                <a:cxn ang="0">
                  <a:pos x="1241" y="667"/>
                </a:cxn>
                <a:cxn ang="0">
                  <a:pos x="1313" y="612"/>
                </a:cxn>
                <a:cxn ang="0">
                  <a:pos x="1380" y="555"/>
                </a:cxn>
                <a:cxn ang="0">
                  <a:pos x="1444" y="491"/>
                </a:cxn>
                <a:cxn ang="0">
                  <a:pos x="1502" y="423"/>
                </a:cxn>
                <a:cxn ang="0">
                  <a:pos x="1556" y="351"/>
                </a:cxn>
                <a:cxn ang="0">
                  <a:pos x="1159" y="331"/>
                </a:cxn>
                <a:cxn ang="0">
                  <a:pos x="1001" y="0"/>
                </a:cxn>
              </a:cxnLst>
              <a:rect l="0" t="0" r="r" b="b"/>
              <a:pathLst>
                <a:path w="1556" h="907">
                  <a:moveTo>
                    <a:pt x="1001" y="0"/>
                  </a:moveTo>
                  <a:lnTo>
                    <a:pt x="960" y="49"/>
                  </a:lnTo>
                  <a:lnTo>
                    <a:pt x="911" y="95"/>
                  </a:lnTo>
                  <a:lnTo>
                    <a:pt x="861" y="137"/>
                  </a:lnTo>
                  <a:lnTo>
                    <a:pt x="805" y="170"/>
                  </a:lnTo>
                  <a:lnTo>
                    <a:pt x="745" y="200"/>
                  </a:lnTo>
                  <a:lnTo>
                    <a:pt x="685" y="224"/>
                  </a:lnTo>
                  <a:lnTo>
                    <a:pt x="620" y="241"/>
                  </a:lnTo>
                  <a:lnTo>
                    <a:pt x="555" y="250"/>
                  </a:lnTo>
                  <a:lnTo>
                    <a:pt x="488" y="254"/>
                  </a:lnTo>
                  <a:lnTo>
                    <a:pt x="408" y="252"/>
                  </a:lnTo>
                  <a:lnTo>
                    <a:pt x="348" y="247"/>
                  </a:lnTo>
                  <a:lnTo>
                    <a:pt x="249" y="229"/>
                  </a:lnTo>
                  <a:lnTo>
                    <a:pt x="0" y="450"/>
                  </a:lnTo>
                  <a:lnTo>
                    <a:pt x="75" y="841"/>
                  </a:lnTo>
                  <a:lnTo>
                    <a:pt x="135" y="859"/>
                  </a:lnTo>
                  <a:lnTo>
                    <a:pt x="215" y="880"/>
                  </a:lnTo>
                  <a:lnTo>
                    <a:pt x="305" y="896"/>
                  </a:lnTo>
                  <a:lnTo>
                    <a:pt x="393" y="904"/>
                  </a:lnTo>
                  <a:lnTo>
                    <a:pt x="483" y="907"/>
                  </a:lnTo>
                  <a:lnTo>
                    <a:pt x="574" y="907"/>
                  </a:lnTo>
                  <a:lnTo>
                    <a:pt x="663" y="897"/>
                  </a:lnTo>
                  <a:lnTo>
                    <a:pt x="751" y="881"/>
                  </a:lnTo>
                  <a:lnTo>
                    <a:pt x="838" y="860"/>
                  </a:lnTo>
                  <a:lnTo>
                    <a:pt x="924" y="833"/>
                  </a:lnTo>
                  <a:lnTo>
                    <a:pt x="1008" y="799"/>
                  </a:lnTo>
                  <a:lnTo>
                    <a:pt x="1088" y="761"/>
                  </a:lnTo>
                  <a:lnTo>
                    <a:pt x="1167" y="717"/>
                  </a:lnTo>
                  <a:lnTo>
                    <a:pt x="1241" y="667"/>
                  </a:lnTo>
                  <a:lnTo>
                    <a:pt x="1313" y="612"/>
                  </a:lnTo>
                  <a:lnTo>
                    <a:pt x="1380" y="555"/>
                  </a:lnTo>
                  <a:lnTo>
                    <a:pt x="1444" y="491"/>
                  </a:lnTo>
                  <a:lnTo>
                    <a:pt x="1502" y="423"/>
                  </a:lnTo>
                  <a:lnTo>
                    <a:pt x="1556" y="351"/>
                  </a:lnTo>
                  <a:lnTo>
                    <a:pt x="1159" y="331"/>
                  </a:lnTo>
                  <a:lnTo>
                    <a:pt x="100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2869208" y="2963391"/>
              <a:ext cx="1622425" cy="2284412"/>
            </a:xfrm>
            <a:custGeom>
              <a:avLst/>
              <a:gdLst/>
              <a:ahLst/>
              <a:cxnLst>
                <a:cxn ang="0">
                  <a:pos x="1022" y="806"/>
                </a:cxn>
                <a:cxn ang="0">
                  <a:pos x="969" y="777"/>
                </a:cxn>
                <a:cxn ang="0">
                  <a:pos x="915" y="743"/>
                </a:cxn>
                <a:cxn ang="0">
                  <a:pos x="866" y="702"/>
                </a:cxn>
                <a:cxn ang="0">
                  <a:pos x="821" y="659"/>
                </a:cxn>
                <a:cxn ang="0">
                  <a:pos x="781" y="610"/>
                </a:cxn>
                <a:cxn ang="0">
                  <a:pos x="747" y="558"/>
                </a:cxn>
                <a:cxn ang="0">
                  <a:pos x="716" y="503"/>
                </a:cxn>
                <a:cxn ang="0">
                  <a:pos x="690" y="445"/>
                </a:cxn>
                <a:cxn ang="0">
                  <a:pos x="673" y="386"/>
                </a:cxn>
                <a:cxn ang="0">
                  <a:pos x="660" y="325"/>
                </a:cxn>
                <a:cxn ang="0">
                  <a:pos x="641" y="165"/>
                </a:cxn>
                <a:cxn ang="0">
                  <a:pos x="321" y="0"/>
                </a:cxn>
                <a:cxn ang="0">
                  <a:pos x="0" y="203"/>
                </a:cxn>
                <a:cxn ang="0">
                  <a:pos x="0" y="208"/>
                </a:cxn>
                <a:cxn ang="0">
                  <a:pos x="6" y="343"/>
                </a:cxn>
                <a:cxn ang="0">
                  <a:pos x="18" y="435"/>
                </a:cxn>
                <a:cxn ang="0">
                  <a:pos x="35" y="525"/>
                </a:cxn>
                <a:cxn ang="0">
                  <a:pos x="58" y="612"/>
                </a:cxn>
                <a:cxn ang="0">
                  <a:pos x="90" y="698"/>
                </a:cxn>
                <a:cxn ang="0">
                  <a:pos x="124" y="782"/>
                </a:cxn>
                <a:cxn ang="0">
                  <a:pos x="165" y="861"/>
                </a:cxn>
                <a:cxn ang="0">
                  <a:pos x="213" y="941"/>
                </a:cxn>
                <a:cxn ang="0">
                  <a:pos x="264" y="1015"/>
                </a:cxn>
                <a:cxn ang="0">
                  <a:pos x="323" y="1085"/>
                </a:cxn>
                <a:cxn ang="0">
                  <a:pos x="386" y="1151"/>
                </a:cxn>
                <a:cxn ang="0">
                  <a:pos x="452" y="1212"/>
                </a:cxn>
                <a:cxn ang="0">
                  <a:pos x="526" y="1268"/>
                </a:cxn>
                <a:cxn ang="0">
                  <a:pos x="599" y="1318"/>
                </a:cxn>
                <a:cxn ang="0">
                  <a:pos x="675" y="1365"/>
                </a:cxn>
                <a:cxn ang="0">
                  <a:pos x="759" y="1405"/>
                </a:cxn>
                <a:cxn ang="0">
                  <a:pos x="843" y="1439"/>
                </a:cxn>
                <a:cxn ang="0">
                  <a:pos x="763" y="1044"/>
                </a:cxn>
                <a:cxn ang="0">
                  <a:pos x="1022" y="806"/>
                </a:cxn>
              </a:cxnLst>
              <a:rect l="0" t="0" r="r" b="b"/>
              <a:pathLst>
                <a:path w="1022" h="1439">
                  <a:moveTo>
                    <a:pt x="1022" y="806"/>
                  </a:moveTo>
                  <a:lnTo>
                    <a:pt x="969" y="777"/>
                  </a:lnTo>
                  <a:lnTo>
                    <a:pt x="915" y="743"/>
                  </a:lnTo>
                  <a:lnTo>
                    <a:pt x="866" y="702"/>
                  </a:lnTo>
                  <a:lnTo>
                    <a:pt x="821" y="659"/>
                  </a:lnTo>
                  <a:lnTo>
                    <a:pt x="781" y="610"/>
                  </a:lnTo>
                  <a:lnTo>
                    <a:pt x="747" y="558"/>
                  </a:lnTo>
                  <a:lnTo>
                    <a:pt x="716" y="503"/>
                  </a:lnTo>
                  <a:lnTo>
                    <a:pt x="690" y="445"/>
                  </a:lnTo>
                  <a:lnTo>
                    <a:pt x="673" y="386"/>
                  </a:lnTo>
                  <a:lnTo>
                    <a:pt x="660" y="325"/>
                  </a:lnTo>
                  <a:lnTo>
                    <a:pt x="641" y="165"/>
                  </a:lnTo>
                  <a:lnTo>
                    <a:pt x="321" y="0"/>
                  </a:lnTo>
                  <a:lnTo>
                    <a:pt x="0" y="203"/>
                  </a:lnTo>
                  <a:lnTo>
                    <a:pt x="0" y="208"/>
                  </a:lnTo>
                  <a:lnTo>
                    <a:pt x="6" y="343"/>
                  </a:lnTo>
                  <a:lnTo>
                    <a:pt x="18" y="435"/>
                  </a:lnTo>
                  <a:lnTo>
                    <a:pt x="35" y="525"/>
                  </a:lnTo>
                  <a:lnTo>
                    <a:pt x="58" y="612"/>
                  </a:lnTo>
                  <a:lnTo>
                    <a:pt x="90" y="698"/>
                  </a:lnTo>
                  <a:lnTo>
                    <a:pt x="124" y="782"/>
                  </a:lnTo>
                  <a:lnTo>
                    <a:pt x="165" y="861"/>
                  </a:lnTo>
                  <a:lnTo>
                    <a:pt x="213" y="941"/>
                  </a:lnTo>
                  <a:lnTo>
                    <a:pt x="264" y="1015"/>
                  </a:lnTo>
                  <a:lnTo>
                    <a:pt x="323" y="1085"/>
                  </a:lnTo>
                  <a:lnTo>
                    <a:pt x="386" y="1151"/>
                  </a:lnTo>
                  <a:lnTo>
                    <a:pt x="452" y="1212"/>
                  </a:lnTo>
                  <a:lnTo>
                    <a:pt x="526" y="1268"/>
                  </a:lnTo>
                  <a:lnTo>
                    <a:pt x="599" y="1318"/>
                  </a:lnTo>
                  <a:lnTo>
                    <a:pt x="675" y="1365"/>
                  </a:lnTo>
                  <a:lnTo>
                    <a:pt x="759" y="1405"/>
                  </a:lnTo>
                  <a:lnTo>
                    <a:pt x="843" y="1439"/>
                  </a:lnTo>
                  <a:lnTo>
                    <a:pt x="763" y="1044"/>
                  </a:lnTo>
                  <a:lnTo>
                    <a:pt x="1022" y="80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5" name="Rectangle 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105995" y="1860078"/>
              <a:ext cx="917575" cy="180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26" name="Rectangle 1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068020" y="3320578"/>
              <a:ext cx="736600" cy="180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27" name="Rectangle 1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51995" y="4695353"/>
              <a:ext cx="736600" cy="180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28" name="Rectangle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123208" y="3911128"/>
              <a:ext cx="860425" cy="1809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auto">
            <a:xfrm>
              <a:off x="2061170" y="1294928"/>
              <a:ext cx="2684463" cy="10112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76" y="1"/>
                </a:cxn>
                <a:cxn ang="0">
                  <a:pos x="1691" y="306"/>
                </a:cxn>
                <a:cxn ang="0">
                  <a:pos x="1602" y="636"/>
                </a:cxn>
                <a:cxn ang="0">
                  <a:pos x="0" y="637"/>
                </a:cxn>
                <a:cxn ang="0">
                  <a:pos x="0" y="0"/>
                </a:cxn>
              </a:cxnLst>
              <a:rect l="0" t="0" r="r" b="b"/>
              <a:pathLst>
                <a:path w="1691" h="637">
                  <a:moveTo>
                    <a:pt x="0" y="0"/>
                  </a:moveTo>
                  <a:lnTo>
                    <a:pt x="1576" y="1"/>
                  </a:lnTo>
                  <a:lnTo>
                    <a:pt x="1691" y="306"/>
                  </a:lnTo>
                  <a:lnTo>
                    <a:pt x="1602" y="636"/>
                  </a:lnTo>
                  <a:lnTo>
                    <a:pt x="0" y="6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30" name="Rectangle 14"/>
            <p:cNvSpPr>
              <a:spLocks noChangeArrowheads="1"/>
            </p:cNvSpPr>
            <p:nvPr/>
          </p:nvSpPr>
          <p:spPr bwMode="auto">
            <a:xfrm>
              <a:off x="2126258" y="1694978"/>
              <a:ext cx="2514600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426739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24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Incoming</a:t>
            </a:r>
            <a:r>
              <a:rPr lang="pt-BR" dirty="0" smtClean="0"/>
              <a:t> gear</a:t>
            </a:r>
            <a:endParaRPr lang="pt-BR" dirty="0"/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6" name="25 Grupo"/>
          <p:cNvGrpSpPr/>
          <p:nvPr/>
        </p:nvGrpSpPr>
        <p:grpSpPr>
          <a:xfrm>
            <a:off x="673380" y="1795683"/>
            <a:ext cx="9596929" cy="4112236"/>
            <a:chOff x="623888" y="1590675"/>
            <a:chExt cx="8891587" cy="3810000"/>
          </a:xfrm>
        </p:grpSpPr>
        <p:sp>
          <p:nvSpPr>
            <p:cNvPr id="650244" name="Freeform 4"/>
            <p:cNvSpPr>
              <a:spLocks/>
            </p:cNvSpPr>
            <p:nvPr/>
          </p:nvSpPr>
          <p:spPr bwMode="auto">
            <a:xfrm>
              <a:off x="623888" y="1590675"/>
              <a:ext cx="1581150" cy="1363663"/>
            </a:xfrm>
            <a:custGeom>
              <a:avLst/>
              <a:gdLst/>
              <a:ahLst/>
              <a:cxnLst>
                <a:cxn ang="0">
                  <a:pos x="0" y="705"/>
                </a:cxn>
                <a:cxn ang="0">
                  <a:pos x="740" y="705"/>
                </a:cxn>
                <a:cxn ang="0">
                  <a:pos x="740" y="855"/>
                </a:cxn>
                <a:cxn ang="0">
                  <a:pos x="991" y="434"/>
                </a:cxn>
                <a:cxn ang="0">
                  <a:pos x="742" y="0"/>
                </a:cxn>
                <a:cxn ang="0">
                  <a:pos x="742" y="162"/>
                </a:cxn>
                <a:cxn ang="0">
                  <a:pos x="0" y="161"/>
                </a:cxn>
                <a:cxn ang="0">
                  <a:pos x="0" y="705"/>
                </a:cxn>
              </a:cxnLst>
              <a:rect l="0" t="0" r="r" b="b"/>
              <a:pathLst>
                <a:path w="991" h="855">
                  <a:moveTo>
                    <a:pt x="0" y="705"/>
                  </a:moveTo>
                  <a:lnTo>
                    <a:pt x="740" y="705"/>
                  </a:lnTo>
                  <a:lnTo>
                    <a:pt x="740" y="855"/>
                  </a:lnTo>
                  <a:lnTo>
                    <a:pt x="991" y="434"/>
                  </a:lnTo>
                  <a:lnTo>
                    <a:pt x="742" y="0"/>
                  </a:lnTo>
                  <a:lnTo>
                    <a:pt x="742" y="162"/>
                  </a:lnTo>
                  <a:lnTo>
                    <a:pt x="0" y="161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45" name="Freeform 5"/>
            <p:cNvSpPr>
              <a:spLocks/>
            </p:cNvSpPr>
            <p:nvPr/>
          </p:nvSpPr>
          <p:spPr bwMode="auto">
            <a:xfrm>
              <a:off x="4108450" y="3811588"/>
              <a:ext cx="2309813" cy="1589087"/>
            </a:xfrm>
            <a:custGeom>
              <a:avLst/>
              <a:gdLst/>
              <a:ahLst/>
              <a:cxnLst>
                <a:cxn ang="0">
                  <a:pos x="58" y="235"/>
                </a:cxn>
                <a:cxn ang="0">
                  <a:pos x="0" y="721"/>
                </a:cxn>
                <a:cxn ang="0">
                  <a:pos x="112" y="573"/>
                </a:cxn>
                <a:cxn ang="0">
                  <a:pos x="1405" y="138"/>
                </a:cxn>
                <a:cxn ang="0">
                  <a:pos x="1107" y="199"/>
                </a:cxn>
                <a:cxn ang="0">
                  <a:pos x="945" y="0"/>
                </a:cxn>
                <a:cxn ang="0">
                  <a:pos x="814" y="130"/>
                </a:cxn>
                <a:cxn ang="0">
                  <a:pos x="826" y="205"/>
                </a:cxn>
                <a:cxn ang="0">
                  <a:pos x="697" y="261"/>
                </a:cxn>
                <a:cxn ang="0">
                  <a:pos x="642" y="195"/>
                </a:cxn>
                <a:cxn ang="0">
                  <a:pos x="412" y="181"/>
                </a:cxn>
                <a:cxn ang="0">
                  <a:pos x="506" y="54"/>
                </a:cxn>
                <a:cxn ang="0">
                  <a:pos x="58" y="235"/>
                </a:cxn>
              </a:cxnLst>
              <a:rect l="0" t="0" r="r" b="b"/>
              <a:pathLst>
                <a:path w="1405" h="966">
                  <a:moveTo>
                    <a:pt x="58" y="235"/>
                  </a:moveTo>
                  <a:lnTo>
                    <a:pt x="0" y="721"/>
                  </a:lnTo>
                  <a:cubicBezTo>
                    <a:pt x="0" y="721"/>
                    <a:pt x="56" y="647"/>
                    <a:pt x="112" y="573"/>
                  </a:cubicBezTo>
                  <a:cubicBezTo>
                    <a:pt x="129" y="594"/>
                    <a:pt x="940" y="966"/>
                    <a:pt x="1405" y="138"/>
                  </a:cubicBezTo>
                  <a:lnTo>
                    <a:pt x="1107" y="199"/>
                  </a:lnTo>
                  <a:cubicBezTo>
                    <a:pt x="1107" y="199"/>
                    <a:pt x="1026" y="99"/>
                    <a:pt x="945" y="0"/>
                  </a:cubicBezTo>
                  <a:cubicBezTo>
                    <a:pt x="895" y="79"/>
                    <a:pt x="814" y="130"/>
                    <a:pt x="814" y="130"/>
                  </a:cubicBezTo>
                  <a:lnTo>
                    <a:pt x="826" y="205"/>
                  </a:lnTo>
                  <a:lnTo>
                    <a:pt x="697" y="261"/>
                  </a:lnTo>
                  <a:lnTo>
                    <a:pt x="642" y="195"/>
                  </a:lnTo>
                  <a:cubicBezTo>
                    <a:pt x="642" y="195"/>
                    <a:pt x="520" y="229"/>
                    <a:pt x="412" y="181"/>
                  </a:cubicBezTo>
                  <a:cubicBezTo>
                    <a:pt x="459" y="117"/>
                    <a:pt x="506" y="54"/>
                    <a:pt x="506" y="54"/>
                  </a:cubicBezTo>
                  <a:lnTo>
                    <a:pt x="58" y="23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46" name="Rectangle 6"/>
            <p:cNvSpPr>
              <a:spLocks noChangeArrowheads="1"/>
            </p:cNvSpPr>
            <p:nvPr/>
          </p:nvSpPr>
          <p:spPr bwMode="auto">
            <a:xfrm>
              <a:off x="4733925" y="4400550"/>
              <a:ext cx="911225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47" name="Freeform 7"/>
            <p:cNvSpPr>
              <a:spLocks/>
            </p:cNvSpPr>
            <p:nvPr/>
          </p:nvSpPr>
          <p:spPr bwMode="auto">
            <a:xfrm>
              <a:off x="5541963" y="1590675"/>
              <a:ext cx="2349500" cy="1363663"/>
            </a:xfrm>
            <a:custGeom>
              <a:avLst/>
              <a:gdLst/>
              <a:ahLst/>
              <a:cxnLst>
                <a:cxn ang="0">
                  <a:pos x="589" y="684"/>
                </a:cxn>
                <a:cxn ang="0">
                  <a:pos x="1191" y="684"/>
                </a:cxn>
                <a:cxn ang="0">
                  <a:pos x="1191" y="830"/>
                </a:cxn>
                <a:cxn ang="0">
                  <a:pos x="1429" y="404"/>
                </a:cxn>
                <a:cxn ang="0">
                  <a:pos x="1193" y="0"/>
                </a:cxn>
                <a:cxn ang="0">
                  <a:pos x="1194" y="155"/>
                </a:cxn>
                <a:cxn ang="0">
                  <a:pos x="0" y="154"/>
                </a:cxn>
                <a:cxn ang="0">
                  <a:pos x="589" y="684"/>
                </a:cxn>
              </a:cxnLst>
              <a:rect l="0" t="0" r="r" b="b"/>
              <a:pathLst>
                <a:path w="1429" h="830">
                  <a:moveTo>
                    <a:pt x="589" y="684"/>
                  </a:moveTo>
                  <a:cubicBezTo>
                    <a:pt x="886" y="685"/>
                    <a:pt x="1191" y="684"/>
                    <a:pt x="1191" y="684"/>
                  </a:cubicBezTo>
                  <a:lnTo>
                    <a:pt x="1191" y="830"/>
                  </a:lnTo>
                  <a:lnTo>
                    <a:pt x="1429" y="404"/>
                  </a:lnTo>
                  <a:lnTo>
                    <a:pt x="1193" y="0"/>
                  </a:lnTo>
                  <a:lnTo>
                    <a:pt x="1194" y="155"/>
                  </a:lnTo>
                  <a:lnTo>
                    <a:pt x="0" y="154"/>
                  </a:lnTo>
                  <a:cubicBezTo>
                    <a:pt x="0" y="154"/>
                    <a:pt x="411" y="237"/>
                    <a:pt x="589" y="684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 dirty="0"/>
            </a:p>
          </p:txBody>
        </p:sp>
        <p:sp>
          <p:nvSpPr>
            <p:cNvPr id="650248" name="Freeform 8"/>
            <p:cNvSpPr>
              <a:spLocks/>
            </p:cNvSpPr>
            <p:nvPr/>
          </p:nvSpPr>
          <p:spPr bwMode="auto">
            <a:xfrm>
              <a:off x="3460750" y="1590675"/>
              <a:ext cx="1766888" cy="1330325"/>
            </a:xfrm>
            <a:custGeom>
              <a:avLst/>
              <a:gdLst/>
              <a:ahLst/>
              <a:cxnLst>
                <a:cxn ang="0">
                  <a:pos x="45" y="590"/>
                </a:cxn>
                <a:cxn ang="0">
                  <a:pos x="424" y="590"/>
                </a:cxn>
                <a:cxn ang="0">
                  <a:pos x="553" y="810"/>
                </a:cxn>
                <a:cxn ang="0">
                  <a:pos x="614" y="738"/>
                </a:cxn>
                <a:cxn ang="0">
                  <a:pos x="587" y="642"/>
                </a:cxn>
                <a:cxn ang="0">
                  <a:pos x="710" y="569"/>
                </a:cxn>
                <a:cxn ang="0">
                  <a:pos x="772" y="651"/>
                </a:cxn>
                <a:cxn ang="0">
                  <a:pos x="863" y="617"/>
                </a:cxn>
                <a:cxn ang="0">
                  <a:pos x="889" y="801"/>
                </a:cxn>
                <a:cxn ang="0">
                  <a:pos x="1075" y="373"/>
                </a:cxn>
                <a:cxn ang="0">
                  <a:pos x="796" y="0"/>
                </a:cxn>
                <a:cxn ang="0">
                  <a:pos x="797" y="155"/>
                </a:cxn>
                <a:cxn ang="0">
                  <a:pos x="0" y="156"/>
                </a:cxn>
                <a:cxn ang="0">
                  <a:pos x="140" y="400"/>
                </a:cxn>
                <a:cxn ang="0">
                  <a:pos x="45" y="590"/>
                </a:cxn>
              </a:cxnLst>
              <a:rect l="0" t="0" r="r" b="b"/>
              <a:pathLst>
                <a:path w="1075" h="810">
                  <a:moveTo>
                    <a:pt x="45" y="590"/>
                  </a:moveTo>
                  <a:lnTo>
                    <a:pt x="424" y="590"/>
                  </a:lnTo>
                  <a:lnTo>
                    <a:pt x="553" y="810"/>
                  </a:lnTo>
                  <a:lnTo>
                    <a:pt x="614" y="738"/>
                  </a:lnTo>
                  <a:lnTo>
                    <a:pt x="587" y="642"/>
                  </a:lnTo>
                  <a:lnTo>
                    <a:pt x="710" y="569"/>
                  </a:lnTo>
                  <a:lnTo>
                    <a:pt x="772" y="651"/>
                  </a:lnTo>
                  <a:lnTo>
                    <a:pt x="863" y="617"/>
                  </a:lnTo>
                  <a:lnTo>
                    <a:pt x="889" y="801"/>
                  </a:lnTo>
                  <a:lnTo>
                    <a:pt x="1075" y="373"/>
                  </a:lnTo>
                  <a:lnTo>
                    <a:pt x="796" y="0"/>
                  </a:lnTo>
                  <a:lnTo>
                    <a:pt x="797" y="155"/>
                  </a:lnTo>
                  <a:lnTo>
                    <a:pt x="0" y="156"/>
                  </a:lnTo>
                  <a:lnTo>
                    <a:pt x="140" y="400"/>
                  </a:lnTo>
                  <a:lnTo>
                    <a:pt x="45" y="59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49" name="Rectangle 9"/>
            <p:cNvSpPr>
              <a:spLocks noChangeArrowheads="1"/>
            </p:cNvSpPr>
            <p:nvPr/>
          </p:nvSpPr>
          <p:spPr bwMode="auto">
            <a:xfrm>
              <a:off x="860425" y="2173288"/>
              <a:ext cx="917575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50" name="Rectangle 10"/>
            <p:cNvSpPr>
              <a:spLocks noChangeArrowheads="1"/>
            </p:cNvSpPr>
            <p:nvPr/>
          </p:nvSpPr>
          <p:spPr bwMode="auto">
            <a:xfrm>
              <a:off x="6313488" y="2170113"/>
              <a:ext cx="14589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51" name="Freeform 11"/>
            <p:cNvSpPr>
              <a:spLocks/>
            </p:cNvSpPr>
            <p:nvPr/>
          </p:nvSpPr>
          <p:spPr bwMode="auto">
            <a:xfrm>
              <a:off x="7713663" y="1817688"/>
              <a:ext cx="1716087" cy="1362075"/>
            </a:xfrm>
            <a:custGeom>
              <a:avLst/>
              <a:gdLst/>
              <a:ahLst/>
              <a:cxnLst>
                <a:cxn ang="0">
                  <a:pos x="298" y="827"/>
                </a:cxn>
                <a:cxn ang="0">
                  <a:pos x="815" y="828"/>
                </a:cxn>
                <a:cxn ang="0">
                  <a:pos x="897" y="682"/>
                </a:cxn>
                <a:cxn ang="0">
                  <a:pos x="1043" y="444"/>
                </a:cxn>
                <a:cxn ang="0">
                  <a:pos x="915" y="512"/>
                </a:cxn>
                <a:cxn ang="0">
                  <a:pos x="13" y="17"/>
                </a:cxn>
                <a:cxn ang="0">
                  <a:pos x="172" y="263"/>
                </a:cxn>
                <a:cxn ang="0">
                  <a:pos x="0" y="545"/>
                </a:cxn>
                <a:cxn ang="0">
                  <a:pos x="445" y="756"/>
                </a:cxn>
                <a:cxn ang="0">
                  <a:pos x="298" y="827"/>
                </a:cxn>
              </a:cxnLst>
              <a:rect l="0" t="0" r="r" b="b"/>
              <a:pathLst>
                <a:path w="1043" h="828">
                  <a:moveTo>
                    <a:pt x="298" y="827"/>
                  </a:moveTo>
                  <a:lnTo>
                    <a:pt x="815" y="828"/>
                  </a:lnTo>
                  <a:lnTo>
                    <a:pt x="897" y="682"/>
                  </a:lnTo>
                  <a:lnTo>
                    <a:pt x="1043" y="444"/>
                  </a:lnTo>
                  <a:lnTo>
                    <a:pt x="915" y="512"/>
                  </a:lnTo>
                  <a:cubicBezTo>
                    <a:pt x="915" y="512"/>
                    <a:pt x="671" y="0"/>
                    <a:pt x="13" y="17"/>
                  </a:cubicBezTo>
                  <a:cubicBezTo>
                    <a:pt x="92" y="140"/>
                    <a:pt x="172" y="263"/>
                    <a:pt x="172" y="263"/>
                  </a:cubicBezTo>
                  <a:cubicBezTo>
                    <a:pt x="172" y="263"/>
                    <a:pt x="86" y="404"/>
                    <a:pt x="0" y="545"/>
                  </a:cubicBezTo>
                  <a:cubicBezTo>
                    <a:pt x="291" y="546"/>
                    <a:pt x="445" y="756"/>
                    <a:pt x="445" y="756"/>
                  </a:cubicBezTo>
                  <a:lnTo>
                    <a:pt x="298" y="827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52" name="Freeform 12"/>
            <p:cNvSpPr>
              <a:spLocks/>
            </p:cNvSpPr>
            <p:nvPr/>
          </p:nvSpPr>
          <p:spPr bwMode="auto">
            <a:xfrm>
              <a:off x="8288338" y="2916238"/>
              <a:ext cx="1227137" cy="1109662"/>
            </a:xfrm>
            <a:custGeom>
              <a:avLst/>
              <a:gdLst/>
              <a:ahLst/>
              <a:cxnLst>
                <a:cxn ang="0">
                  <a:pos x="232" y="674"/>
                </a:cxn>
                <a:cxn ang="0">
                  <a:pos x="747" y="667"/>
                </a:cxn>
                <a:cxn ang="0">
                  <a:pos x="587" y="604"/>
                </a:cxn>
                <a:cxn ang="0">
                  <a:pos x="607" y="0"/>
                </a:cxn>
                <a:cxn ang="0">
                  <a:pos x="489" y="200"/>
                </a:cxn>
                <a:cxn ang="0">
                  <a:pos x="174" y="193"/>
                </a:cxn>
                <a:cxn ang="0">
                  <a:pos x="159" y="434"/>
                </a:cxn>
                <a:cxn ang="0">
                  <a:pos x="0" y="373"/>
                </a:cxn>
                <a:cxn ang="0">
                  <a:pos x="232" y="674"/>
                </a:cxn>
              </a:cxnLst>
              <a:rect l="0" t="0" r="r" b="b"/>
              <a:pathLst>
                <a:path w="747" h="674">
                  <a:moveTo>
                    <a:pt x="232" y="674"/>
                  </a:moveTo>
                  <a:lnTo>
                    <a:pt x="747" y="667"/>
                  </a:lnTo>
                  <a:lnTo>
                    <a:pt x="587" y="604"/>
                  </a:lnTo>
                  <a:cubicBezTo>
                    <a:pt x="587" y="604"/>
                    <a:pt x="714" y="341"/>
                    <a:pt x="607" y="0"/>
                  </a:cubicBezTo>
                  <a:cubicBezTo>
                    <a:pt x="548" y="100"/>
                    <a:pt x="489" y="200"/>
                    <a:pt x="489" y="200"/>
                  </a:cubicBezTo>
                  <a:lnTo>
                    <a:pt x="174" y="193"/>
                  </a:lnTo>
                  <a:cubicBezTo>
                    <a:pt x="214" y="335"/>
                    <a:pt x="159" y="434"/>
                    <a:pt x="159" y="434"/>
                  </a:cubicBezTo>
                  <a:lnTo>
                    <a:pt x="0" y="373"/>
                  </a:lnTo>
                  <a:lnTo>
                    <a:pt x="232" y="674"/>
                  </a:lnTo>
                </a:path>
              </a:pathLst>
            </a:custGeom>
            <a:solidFill>
              <a:schemeClr val="bg1"/>
            </a:solidFill>
            <a:ln w="12700" cap="flat" cmpd="sng">
              <a:solidFill>
                <a:schemeClr val="accent4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650253" name="Freeform 13"/>
            <p:cNvSpPr>
              <a:spLocks/>
            </p:cNvSpPr>
            <p:nvPr/>
          </p:nvSpPr>
          <p:spPr bwMode="auto">
            <a:xfrm>
              <a:off x="2039938" y="1590675"/>
              <a:ext cx="1570037" cy="1363663"/>
            </a:xfrm>
            <a:custGeom>
              <a:avLst/>
              <a:gdLst/>
              <a:ahLst/>
              <a:cxnLst>
                <a:cxn ang="0">
                  <a:pos x="155" y="419"/>
                </a:cxn>
                <a:cxn ang="0">
                  <a:pos x="3" y="684"/>
                </a:cxn>
                <a:cxn ang="0">
                  <a:pos x="718" y="684"/>
                </a:cxn>
                <a:cxn ang="0">
                  <a:pos x="718" y="830"/>
                </a:cxn>
                <a:cxn ang="0">
                  <a:pos x="956" y="404"/>
                </a:cxn>
                <a:cxn ang="0">
                  <a:pos x="720" y="0"/>
                </a:cxn>
                <a:cxn ang="0">
                  <a:pos x="721" y="155"/>
                </a:cxn>
                <a:cxn ang="0">
                  <a:pos x="0" y="156"/>
                </a:cxn>
                <a:cxn ang="0">
                  <a:pos x="155" y="419"/>
                </a:cxn>
              </a:cxnLst>
              <a:rect l="0" t="0" r="r" b="b"/>
              <a:pathLst>
                <a:path w="956" h="830">
                  <a:moveTo>
                    <a:pt x="155" y="419"/>
                  </a:moveTo>
                  <a:lnTo>
                    <a:pt x="3" y="684"/>
                  </a:lnTo>
                  <a:lnTo>
                    <a:pt x="718" y="684"/>
                  </a:lnTo>
                  <a:lnTo>
                    <a:pt x="718" y="830"/>
                  </a:lnTo>
                  <a:lnTo>
                    <a:pt x="956" y="404"/>
                  </a:lnTo>
                  <a:lnTo>
                    <a:pt x="720" y="0"/>
                  </a:lnTo>
                  <a:lnTo>
                    <a:pt x="721" y="155"/>
                  </a:lnTo>
                  <a:lnTo>
                    <a:pt x="0" y="156"/>
                  </a:lnTo>
                  <a:lnTo>
                    <a:pt x="155" y="419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54" name="Rectangle 14"/>
            <p:cNvSpPr>
              <a:spLocks noChangeArrowheads="1"/>
            </p:cNvSpPr>
            <p:nvPr/>
          </p:nvSpPr>
          <p:spPr bwMode="auto">
            <a:xfrm>
              <a:off x="2416175" y="2173288"/>
              <a:ext cx="9001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55" name="Rectangle 15"/>
            <p:cNvSpPr>
              <a:spLocks noChangeArrowheads="1"/>
            </p:cNvSpPr>
            <p:nvPr/>
          </p:nvSpPr>
          <p:spPr bwMode="auto">
            <a:xfrm>
              <a:off x="3944938" y="2144713"/>
              <a:ext cx="900112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56" name="Freeform 16"/>
            <p:cNvSpPr>
              <a:spLocks/>
            </p:cNvSpPr>
            <p:nvPr/>
          </p:nvSpPr>
          <p:spPr bwMode="auto">
            <a:xfrm>
              <a:off x="3084513" y="2627313"/>
              <a:ext cx="1450975" cy="1985962"/>
            </a:xfrm>
            <a:custGeom>
              <a:avLst/>
              <a:gdLst/>
              <a:ahLst/>
              <a:cxnLst>
                <a:cxn ang="0">
                  <a:pos x="626" y="0"/>
                </a:cxn>
                <a:cxn ang="0">
                  <a:pos x="147" y="1"/>
                </a:cxn>
                <a:cxn ang="0">
                  <a:pos x="297" y="88"/>
                </a:cxn>
                <a:cxn ang="0">
                  <a:pos x="602" y="1207"/>
                </a:cxn>
                <a:cxn ang="0">
                  <a:pos x="642" y="925"/>
                </a:cxn>
                <a:cxn ang="0">
                  <a:pos x="882" y="825"/>
                </a:cxn>
                <a:cxn ang="0">
                  <a:pos x="792" y="737"/>
                </a:cxn>
                <a:cxn ang="0">
                  <a:pos x="701" y="757"/>
                </a:cxn>
                <a:cxn ang="0">
                  <a:pos x="641" y="620"/>
                </a:cxn>
                <a:cxn ang="0">
                  <a:pos x="711" y="568"/>
                </a:cxn>
                <a:cxn ang="0">
                  <a:pos x="714" y="329"/>
                </a:cxn>
                <a:cxn ang="0">
                  <a:pos x="873" y="420"/>
                </a:cxn>
                <a:cxn ang="0">
                  <a:pos x="626" y="0"/>
                </a:cxn>
              </a:cxnLst>
              <a:rect l="0" t="0" r="r" b="b"/>
              <a:pathLst>
                <a:path w="882" h="1207">
                  <a:moveTo>
                    <a:pt x="626" y="0"/>
                  </a:moveTo>
                  <a:lnTo>
                    <a:pt x="147" y="1"/>
                  </a:lnTo>
                  <a:lnTo>
                    <a:pt x="297" y="88"/>
                  </a:lnTo>
                  <a:cubicBezTo>
                    <a:pt x="297" y="88"/>
                    <a:pt x="0" y="729"/>
                    <a:pt x="602" y="1207"/>
                  </a:cubicBezTo>
                  <a:lnTo>
                    <a:pt x="642" y="925"/>
                  </a:lnTo>
                  <a:cubicBezTo>
                    <a:pt x="642" y="925"/>
                    <a:pt x="769" y="873"/>
                    <a:pt x="882" y="825"/>
                  </a:cubicBezTo>
                  <a:cubicBezTo>
                    <a:pt x="837" y="797"/>
                    <a:pt x="792" y="737"/>
                    <a:pt x="792" y="737"/>
                  </a:cubicBezTo>
                  <a:lnTo>
                    <a:pt x="701" y="757"/>
                  </a:lnTo>
                  <a:lnTo>
                    <a:pt x="641" y="620"/>
                  </a:lnTo>
                  <a:lnTo>
                    <a:pt x="711" y="568"/>
                  </a:lnTo>
                  <a:cubicBezTo>
                    <a:pt x="711" y="568"/>
                    <a:pt x="680" y="455"/>
                    <a:pt x="714" y="329"/>
                  </a:cubicBezTo>
                  <a:cubicBezTo>
                    <a:pt x="793" y="374"/>
                    <a:pt x="873" y="420"/>
                    <a:pt x="873" y="420"/>
                  </a:cubicBezTo>
                  <a:lnTo>
                    <a:pt x="626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57" name="Freeform 17"/>
            <p:cNvSpPr>
              <a:spLocks/>
            </p:cNvSpPr>
            <p:nvPr/>
          </p:nvSpPr>
          <p:spPr bwMode="auto">
            <a:xfrm>
              <a:off x="5021263" y="1817688"/>
              <a:ext cx="1735137" cy="2241550"/>
            </a:xfrm>
            <a:custGeom>
              <a:avLst/>
              <a:gdLst/>
              <a:ahLst/>
              <a:cxnLst>
                <a:cxn ang="0">
                  <a:pos x="576" y="1364"/>
                </a:cxn>
                <a:cxn ang="0">
                  <a:pos x="1055" y="1250"/>
                </a:cxn>
                <a:cxn ang="0">
                  <a:pos x="905" y="1206"/>
                </a:cxn>
                <a:cxn ang="0">
                  <a:pos x="0" y="0"/>
                </a:cxn>
                <a:cxn ang="0">
                  <a:pos x="168" y="231"/>
                </a:cxn>
                <a:cxn ang="0">
                  <a:pos x="63" y="476"/>
                </a:cxn>
                <a:cxn ang="0">
                  <a:pos x="338" y="620"/>
                </a:cxn>
                <a:cxn ang="0">
                  <a:pos x="429" y="603"/>
                </a:cxn>
                <a:cxn ang="0">
                  <a:pos x="504" y="719"/>
                </a:cxn>
                <a:cxn ang="0">
                  <a:pos x="444" y="794"/>
                </a:cxn>
                <a:cxn ang="0">
                  <a:pos x="452" y="1056"/>
                </a:cxn>
                <a:cxn ang="0">
                  <a:pos x="272" y="1003"/>
                </a:cxn>
                <a:cxn ang="0">
                  <a:pos x="576" y="1364"/>
                </a:cxn>
              </a:cxnLst>
              <a:rect l="0" t="0" r="r" b="b"/>
              <a:pathLst>
                <a:path w="1055" h="1364">
                  <a:moveTo>
                    <a:pt x="576" y="1364"/>
                  </a:moveTo>
                  <a:lnTo>
                    <a:pt x="1055" y="1250"/>
                  </a:lnTo>
                  <a:lnTo>
                    <a:pt x="905" y="1206"/>
                  </a:lnTo>
                  <a:cubicBezTo>
                    <a:pt x="1037" y="873"/>
                    <a:pt x="878" y="35"/>
                    <a:pt x="0" y="0"/>
                  </a:cubicBezTo>
                  <a:cubicBezTo>
                    <a:pt x="85" y="108"/>
                    <a:pt x="168" y="231"/>
                    <a:pt x="168" y="231"/>
                  </a:cubicBezTo>
                  <a:cubicBezTo>
                    <a:pt x="168" y="231"/>
                    <a:pt x="114" y="351"/>
                    <a:pt x="63" y="476"/>
                  </a:cubicBezTo>
                  <a:cubicBezTo>
                    <a:pt x="236" y="503"/>
                    <a:pt x="338" y="620"/>
                    <a:pt x="338" y="620"/>
                  </a:cubicBezTo>
                  <a:lnTo>
                    <a:pt x="429" y="603"/>
                  </a:lnTo>
                  <a:lnTo>
                    <a:pt x="504" y="719"/>
                  </a:lnTo>
                  <a:lnTo>
                    <a:pt x="444" y="794"/>
                  </a:lnTo>
                  <a:cubicBezTo>
                    <a:pt x="495" y="912"/>
                    <a:pt x="452" y="1056"/>
                    <a:pt x="452" y="1056"/>
                  </a:cubicBezTo>
                  <a:lnTo>
                    <a:pt x="272" y="1003"/>
                  </a:lnTo>
                  <a:lnTo>
                    <a:pt x="576" y="136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0258" name="Rectangle 18"/>
            <p:cNvSpPr>
              <a:spLocks noChangeArrowheads="1"/>
            </p:cNvSpPr>
            <p:nvPr/>
          </p:nvSpPr>
          <p:spPr bwMode="auto">
            <a:xfrm>
              <a:off x="5645150" y="2609850"/>
              <a:ext cx="731838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59" name="Freeform 19"/>
            <p:cNvSpPr>
              <a:spLocks/>
            </p:cNvSpPr>
            <p:nvPr/>
          </p:nvSpPr>
          <p:spPr bwMode="auto">
            <a:xfrm>
              <a:off x="4213225" y="2600325"/>
              <a:ext cx="1566863" cy="1570038"/>
            </a:xfrm>
            <a:custGeom>
              <a:avLst/>
              <a:gdLst/>
              <a:ahLst/>
              <a:cxnLst>
                <a:cxn ang="0">
                  <a:pos x="63" y="418"/>
                </a:cxn>
                <a:cxn ang="0">
                  <a:pos x="237" y="520"/>
                </a:cxn>
                <a:cxn ang="0">
                  <a:pos x="261" y="490"/>
                </a:cxn>
                <a:cxn ang="0">
                  <a:pos x="126" y="238"/>
                </a:cxn>
                <a:cxn ang="0">
                  <a:pos x="204" y="145"/>
                </a:cxn>
                <a:cxn ang="0">
                  <a:pos x="171" y="42"/>
                </a:cxn>
                <a:cxn ang="0">
                  <a:pos x="243" y="0"/>
                </a:cxn>
                <a:cxn ang="0">
                  <a:pos x="302" y="79"/>
                </a:cxn>
                <a:cxn ang="0">
                  <a:pos x="374" y="55"/>
                </a:cxn>
                <a:cxn ang="0">
                  <a:pos x="408" y="234"/>
                </a:cxn>
                <a:cxn ang="0">
                  <a:pos x="450" y="232"/>
                </a:cxn>
                <a:cxn ang="0">
                  <a:pos x="547" y="42"/>
                </a:cxn>
                <a:cxn ang="0">
                  <a:pos x="821" y="196"/>
                </a:cxn>
                <a:cxn ang="0">
                  <a:pos x="909" y="168"/>
                </a:cxn>
                <a:cxn ang="0">
                  <a:pos x="953" y="243"/>
                </a:cxn>
                <a:cxn ang="0">
                  <a:pos x="885" y="306"/>
                </a:cxn>
                <a:cxn ang="0">
                  <a:pos x="917" y="529"/>
                </a:cxn>
                <a:cxn ang="0">
                  <a:pos x="738" y="478"/>
                </a:cxn>
                <a:cxn ang="0">
                  <a:pos x="713" y="528"/>
                </a:cxn>
                <a:cxn ang="0">
                  <a:pos x="846" y="711"/>
                </a:cxn>
                <a:cxn ang="0">
                  <a:pos x="701" y="841"/>
                </a:cxn>
                <a:cxn ang="0">
                  <a:pos x="719" y="924"/>
                </a:cxn>
                <a:cxn ang="0">
                  <a:pos x="647" y="955"/>
                </a:cxn>
                <a:cxn ang="0">
                  <a:pos x="596" y="888"/>
                </a:cxn>
                <a:cxn ang="0">
                  <a:pos x="417" y="895"/>
                </a:cxn>
                <a:cxn ang="0">
                  <a:pos x="504" y="774"/>
                </a:cxn>
                <a:cxn ang="0">
                  <a:pos x="456" y="742"/>
                </a:cxn>
                <a:cxn ang="0">
                  <a:pos x="231" y="820"/>
                </a:cxn>
                <a:cxn ang="0">
                  <a:pos x="122" y="700"/>
                </a:cxn>
                <a:cxn ang="0">
                  <a:pos x="35" y="726"/>
                </a:cxn>
                <a:cxn ang="0">
                  <a:pos x="0" y="652"/>
                </a:cxn>
                <a:cxn ang="0">
                  <a:pos x="77" y="604"/>
                </a:cxn>
                <a:cxn ang="0">
                  <a:pos x="63" y="418"/>
                </a:cxn>
              </a:cxnLst>
              <a:rect l="0" t="0" r="r" b="b"/>
              <a:pathLst>
                <a:path w="953" h="955">
                  <a:moveTo>
                    <a:pt x="63" y="418"/>
                  </a:moveTo>
                  <a:cubicBezTo>
                    <a:pt x="150" y="469"/>
                    <a:pt x="237" y="520"/>
                    <a:pt x="237" y="520"/>
                  </a:cubicBezTo>
                  <a:lnTo>
                    <a:pt x="261" y="490"/>
                  </a:lnTo>
                  <a:cubicBezTo>
                    <a:pt x="261" y="490"/>
                    <a:pt x="193" y="364"/>
                    <a:pt x="126" y="238"/>
                  </a:cubicBezTo>
                  <a:cubicBezTo>
                    <a:pt x="126" y="238"/>
                    <a:pt x="159" y="174"/>
                    <a:pt x="204" y="145"/>
                  </a:cubicBezTo>
                  <a:lnTo>
                    <a:pt x="171" y="42"/>
                  </a:lnTo>
                  <a:lnTo>
                    <a:pt x="243" y="0"/>
                  </a:lnTo>
                  <a:lnTo>
                    <a:pt x="302" y="79"/>
                  </a:lnTo>
                  <a:lnTo>
                    <a:pt x="374" y="55"/>
                  </a:lnTo>
                  <a:lnTo>
                    <a:pt x="408" y="234"/>
                  </a:lnTo>
                  <a:lnTo>
                    <a:pt x="450" y="232"/>
                  </a:lnTo>
                  <a:lnTo>
                    <a:pt x="547" y="42"/>
                  </a:lnTo>
                  <a:cubicBezTo>
                    <a:pt x="699" y="59"/>
                    <a:pt x="821" y="196"/>
                    <a:pt x="821" y="196"/>
                  </a:cubicBezTo>
                  <a:lnTo>
                    <a:pt x="909" y="168"/>
                  </a:lnTo>
                  <a:lnTo>
                    <a:pt x="953" y="243"/>
                  </a:lnTo>
                  <a:lnTo>
                    <a:pt x="885" y="306"/>
                  </a:lnTo>
                  <a:cubicBezTo>
                    <a:pt x="885" y="306"/>
                    <a:pt x="932" y="418"/>
                    <a:pt x="917" y="529"/>
                  </a:cubicBezTo>
                  <a:cubicBezTo>
                    <a:pt x="827" y="503"/>
                    <a:pt x="738" y="478"/>
                    <a:pt x="738" y="478"/>
                  </a:cubicBezTo>
                  <a:lnTo>
                    <a:pt x="713" y="528"/>
                  </a:lnTo>
                  <a:cubicBezTo>
                    <a:pt x="713" y="528"/>
                    <a:pt x="779" y="619"/>
                    <a:pt x="846" y="711"/>
                  </a:cubicBezTo>
                  <a:cubicBezTo>
                    <a:pt x="786" y="798"/>
                    <a:pt x="701" y="841"/>
                    <a:pt x="701" y="841"/>
                  </a:cubicBezTo>
                  <a:lnTo>
                    <a:pt x="719" y="924"/>
                  </a:lnTo>
                  <a:lnTo>
                    <a:pt x="647" y="955"/>
                  </a:lnTo>
                  <a:lnTo>
                    <a:pt x="596" y="888"/>
                  </a:lnTo>
                  <a:cubicBezTo>
                    <a:pt x="596" y="888"/>
                    <a:pt x="498" y="912"/>
                    <a:pt x="417" y="895"/>
                  </a:cubicBezTo>
                  <a:cubicBezTo>
                    <a:pt x="460" y="834"/>
                    <a:pt x="504" y="774"/>
                    <a:pt x="504" y="774"/>
                  </a:cubicBezTo>
                  <a:lnTo>
                    <a:pt x="456" y="742"/>
                  </a:lnTo>
                  <a:cubicBezTo>
                    <a:pt x="456" y="742"/>
                    <a:pt x="343" y="781"/>
                    <a:pt x="231" y="820"/>
                  </a:cubicBezTo>
                  <a:cubicBezTo>
                    <a:pt x="164" y="769"/>
                    <a:pt x="122" y="700"/>
                    <a:pt x="122" y="700"/>
                  </a:cubicBezTo>
                  <a:cubicBezTo>
                    <a:pt x="78" y="713"/>
                    <a:pt x="35" y="726"/>
                    <a:pt x="35" y="726"/>
                  </a:cubicBezTo>
                  <a:lnTo>
                    <a:pt x="0" y="652"/>
                  </a:lnTo>
                  <a:cubicBezTo>
                    <a:pt x="0" y="652"/>
                    <a:pt x="38" y="628"/>
                    <a:pt x="77" y="604"/>
                  </a:cubicBezTo>
                  <a:cubicBezTo>
                    <a:pt x="78" y="601"/>
                    <a:pt x="35" y="484"/>
                    <a:pt x="63" y="4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pPr algn="ctr"/>
              <a:r>
                <a:rPr lang="ca-ES" sz="1295">
                  <a:solidFill>
                    <a:schemeClr val="bg1"/>
                  </a:solidFill>
                </a:rPr>
                <a:t>Texto</a:t>
              </a:r>
              <a:endParaRPr lang="ca-ES" sz="1295" dirty="0">
                <a:solidFill>
                  <a:schemeClr val="bg1"/>
                </a:solidFill>
              </a:endParaRPr>
            </a:p>
          </p:txBody>
        </p:sp>
        <p:sp>
          <p:nvSpPr>
            <p:cNvPr id="650261" name="Rectangle 21"/>
            <p:cNvSpPr>
              <a:spLocks noChangeArrowheads="1"/>
            </p:cNvSpPr>
            <p:nvPr/>
          </p:nvSpPr>
          <p:spPr bwMode="auto">
            <a:xfrm>
              <a:off x="3452813" y="3376613"/>
              <a:ext cx="796925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  <p:sp>
          <p:nvSpPr>
            <p:cNvPr id="650262" name="Rectangle 22"/>
            <p:cNvSpPr>
              <a:spLocks noChangeArrowheads="1"/>
            </p:cNvSpPr>
            <p:nvPr/>
          </p:nvSpPr>
          <p:spPr bwMode="auto">
            <a:xfrm>
              <a:off x="7959725" y="2435225"/>
              <a:ext cx="1103313" cy="2127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pt-BR" sz="1295"/>
                <a:t>Texto</a:t>
              </a:r>
              <a:endParaRPr lang="en-US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240480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17 Grupo"/>
          <p:cNvGrpSpPr/>
          <p:nvPr/>
        </p:nvGrpSpPr>
        <p:grpSpPr>
          <a:xfrm>
            <a:off x="178410" y="1312496"/>
            <a:ext cx="4545734" cy="4682809"/>
            <a:chOff x="0" y="1143000"/>
            <a:chExt cx="4211638" cy="4338638"/>
          </a:xfrm>
        </p:grpSpPr>
        <p:sp>
          <p:nvSpPr>
            <p:cNvPr id="651268" name="Freeform 4"/>
            <p:cNvSpPr>
              <a:spLocks/>
            </p:cNvSpPr>
            <p:nvPr/>
          </p:nvSpPr>
          <p:spPr bwMode="blackWhite">
            <a:xfrm>
              <a:off x="2243138" y="4868863"/>
              <a:ext cx="1508125" cy="612775"/>
            </a:xfrm>
            <a:custGeom>
              <a:avLst/>
              <a:gdLst/>
              <a:ahLst/>
              <a:cxnLst>
                <a:cxn ang="0">
                  <a:pos x="949" y="0"/>
                </a:cxn>
                <a:cxn ang="0">
                  <a:pos x="920" y="38"/>
                </a:cxn>
                <a:cxn ang="0">
                  <a:pos x="891" y="78"/>
                </a:cxn>
                <a:cxn ang="0">
                  <a:pos x="859" y="114"/>
                </a:cxn>
                <a:cxn ang="0">
                  <a:pos x="826" y="149"/>
                </a:cxn>
                <a:cxn ang="0">
                  <a:pos x="791" y="183"/>
                </a:cxn>
                <a:cxn ang="0">
                  <a:pos x="754" y="215"/>
                </a:cxn>
                <a:cxn ang="0">
                  <a:pos x="716" y="244"/>
                </a:cxn>
                <a:cxn ang="0">
                  <a:pos x="678" y="272"/>
                </a:cxn>
                <a:cxn ang="0">
                  <a:pos x="638" y="297"/>
                </a:cxn>
                <a:cxn ang="0">
                  <a:pos x="596" y="319"/>
                </a:cxn>
                <a:cxn ang="0">
                  <a:pos x="556" y="339"/>
                </a:cxn>
                <a:cxn ang="0">
                  <a:pos x="515" y="356"/>
                </a:cxn>
                <a:cxn ang="0">
                  <a:pos x="475" y="370"/>
                </a:cxn>
                <a:cxn ang="0">
                  <a:pos x="434" y="382"/>
                </a:cxn>
                <a:cxn ang="0">
                  <a:pos x="388" y="385"/>
                </a:cxn>
                <a:cxn ang="0">
                  <a:pos x="343" y="385"/>
                </a:cxn>
                <a:cxn ang="0">
                  <a:pos x="301" y="381"/>
                </a:cxn>
                <a:cxn ang="0">
                  <a:pos x="258" y="374"/>
                </a:cxn>
                <a:cxn ang="0">
                  <a:pos x="218" y="365"/>
                </a:cxn>
                <a:cxn ang="0">
                  <a:pos x="180" y="352"/>
                </a:cxn>
                <a:cxn ang="0">
                  <a:pos x="144" y="337"/>
                </a:cxn>
                <a:cxn ang="0">
                  <a:pos x="111" y="317"/>
                </a:cxn>
                <a:cxn ang="0">
                  <a:pos x="79" y="296"/>
                </a:cxn>
                <a:cxn ang="0">
                  <a:pos x="50" y="271"/>
                </a:cxn>
                <a:cxn ang="0">
                  <a:pos x="23" y="244"/>
                </a:cxn>
                <a:cxn ang="0">
                  <a:pos x="0" y="215"/>
                </a:cxn>
                <a:cxn ang="0">
                  <a:pos x="45" y="177"/>
                </a:cxn>
                <a:cxn ang="0">
                  <a:pos x="87" y="138"/>
                </a:cxn>
                <a:cxn ang="0">
                  <a:pos x="128" y="94"/>
                </a:cxn>
                <a:cxn ang="0">
                  <a:pos x="165" y="49"/>
                </a:cxn>
                <a:cxn ang="0">
                  <a:pos x="201" y="0"/>
                </a:cxn>
                <a:cxn ang="0">
                  <a:pos x="949" y="0"/>
                </a:cxn>
              </a:cxnLst>
              <a:rect l="0" t="0" r="r" b="b"/>
              <a:pathLst>
                <a:path w="950" h="386">
                  <a:moveTo>
                    <a:pt x="949" y="0"/>
                  </a:moveTo>
                  <a:lnTo>
                    <a:pt x="920" y="38"/>
                  </a:lnTo>
                  <a:lnTo>
                    <a:pt x="891" y="78"/>
                  </a:lnTo>
                  <a:lnTo>
                    <a:pt x="859" y="114"/>
                  </a:lnTo>
                  <a:lnTo>
                    <a:pt x="826" y="149"/>
                  </a:lnTo>
                  <a:lnTo>
                    <a:pt x="791" y="183"/>
                  </a:lnTo>
                  <a:lnTo>
                    <a:pt x="754" y="215"/>
                  </a:lnTo>
                  <a:lnTo>
                    <a:pt x="716" y="244"/>
                  </a:lnTo>
                  <a:lnTo>
                    <a:pt x="678" y="272"/>
                  </a:lnTo>
                  <a:lnTo>
                    <a:pt x="638" y="297"/>
                  </a:lnTo>
                  <a:lnTo>
                    <a:pt x="596" y="319"/>
                  </a:lnTo>
                  <a:lnTo>
                    <a:pt x="556" y="339"/>
                  </a:lnTo>
                  <a:lnTo>
                    <a:pt x="515" y="356"/>
                  </a:lnTo>
                  <a:lnTo>
                    <a:pt x="475" y="370"/>
                  </a:lnTo>
                  <a:lnTo>
                    <a:pt x="434" y="382"/>
                  </a:lnTo>
                  <a:lnTo>
                    <a:pt x="388" y="385"/>
                  </a:lnTo>
                  <a:lnTo>
                    <a:pt x="343" y="385"/>
                  </a:lnTo>
                  <a:lnTo>
                    <a:pt x="301" y="381"/>
                  </a:lnTo>
                  <a:lnTo>
                    <a:pt x="258" y="374"/>
                  </a:lnTo>
                  <a:lnTo>
                    <a:pt x="218" y="365"/>
                  </a:lnTo>
                  <a:lnTo>
                    <a:pt x="180" y="352"/>
                  </a:lnTo>
                  <a:lnTo>
                    <a:pt x="144" y="337"/>
                  </a:lnTo>
                  <a:lnTo>
                    <a:pt x="111" y="317"/>
                  </a:lnTo>
                  <a:lnTo>
                    <a:pt x="79" y="296"/>
                  </a:lnTo>
                  <a:lnTo>
                    <a:pt x="50" y="271"/>
                  </a:lnTo>
                  <a:lnTo>
                    <a:pt x="23" y="244"/>
                  </a:lnTo>
                  <a:lnTo>
                    <a:pt x="0" y="215"/>
                  </a:lnTo>
                  <a:lnTo>
                    <a:pt x="45" y="177"/>
                  </a:lnTo>
                  <a:lnTo>
                    <a:pt x="87" y="138"/>
                  </a:lnTo>
                  <a:lnTo>
                    <a:pt x="128" y="94"/>
                  </a:lnTo>
                  <a:lnTo>
                    <a:pt x="165" y="49"/>
                  </a:lnTo>
                  <a:lnTo>
                    <a:pt x="201" y="0"/>
                  </a:lnTo>
                  <a:lnTo>
                    <a:pt x="949" y="0"/>
                  </a:lnTo>
                </a:path>
              </a:pathLst>
            </a:custGeom>
            <a:solidFill>
              <a:schemeClr val="accent6">
                <a:lumMod val="50000"/>
                <a:alpha val="50000"/>
              </a:schemeClr>
            </a:solidFill>
            <a:ln w="254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651269" name="Freeform 5"/>
            <p:cNvSpPr>
              <a:spLocks/>
            </p:cNvSpPr>
            <p:nvPr/>
          </p:nvSpPr>
          <p:spPr bwMode="blackWhite">
            <a:xfrm>
              <a:off x="2308225" y="1143000"/>
              <a:ext cx="1590675" cy="827088"/>
            </a:xfrm>
            <a:custGeom>
              <a:avLst/>
              <a:gdLst/>
              <a:ahLst/>
              <a:cxnLst>
                <a:cxn ang="0">
                  <a:pos x="1001" y="520"/>
                </a:cxn>
                <a:cxn ang="0">
                  <a:pos x="977" y="476"/>
                </a:cxn>
                <a:cxn ang="0">
                  <a:pos x="950" y="434"/>
                </a:cxn>
                <a:cxn ang="0">
                  <a:pos x="920" y="394"/>
                </a:cxn>
                <a:cxn ang="0">
                  <a:pos x="890" y="353"/>
                </a:cxn>
                <a:cxn ang="0">
                  <a:pos x="858" y="315"/>
                </a:cxn>
                <a:cxn ang="0">
                  <a:pos x="823" y="276"/>
                </a:cxn>
                <a:cxn ang="0">
                  <a:pos x="786" y="241"/>
                </a:cxn>
                <a:cxn ang="0">
                  <a:pos x="749" y="207"/>
                </a:cxn>
                <a:cxn ang="0">
                  <a:pos x="709" y="175"/>
                </a:cxn>
                <a:cxn ang="0">
                  <a:pos x="670" y="146"/>
                </a:cxn>
                <a:cxn ang="0">
                  <a:pos x="629" y="119"/>
                </a:cxn>
                <a:cxn ang="0">
                  <a:pos x="588" y="93"/>
                </a:cxn>
                <a:cxn ang="0">
                  <a:pos x="546" y="71"/>
                </a:cxn>
                <a:cxn ang="0">
                  <a:pos x="505" y="52"/>
                </a:cxn>
                <a:cxn ang="0">
                  <a:pos x="463" y="35"/>
                </a:cxn>
                <a:cxn ang="0">
                  <a:pos x="423" y="22"/>
                </a:cxn>
                <a:cxn ang="0">
                  <a:pos x="381" y="11"/>
                </a:cxn>
                <a:cxn ang="0">
                  <a:pos x="341" y="4"/>
                </a:cxn>
                <a:cxn ang="0">
                  <a:pos x="303" y="0"/>
                </a:cxn>
                <a:cxn ang="0">
                  <a:pos x="266" y="0"/>
                </a:cxn>
                <a:cxn ang="0">
                  <a:pos x="229" y="1"/>
                </a:cxn>
                <a:cxn ang="0">
                  <a:pos x="195" y="7"/>
                </a:cxn>
                <a:cxn ang="0">
                  <a:pos x="163" y="15"/>
                </a:cxn>
                <a:cxn ang="0">
                  <a:pos x="132" y="25"/>
                </a:cxn>
                <a:cxn ang="0">
                  <a:pos x="103" y="40"/>
                </a:cxn>
                <a:cxn ang="0">
                  <a:pos x="77" y="58"/>
                </a:cxn>
                <a:cxn ang="0">
                  <a:pos x="54" y="78"/>
                </a:cxn>
                <a:cxn ang="0">
                  <a:pos x="33" y="103"/>
                </a:cxn>
                <a:cxn ang="0">
                  <a:pos x="14" y="127"/>
                </a:cxn>
                <a:cxn ang="0">
                  <a:pos x="0" y="155"/>
                </a:cxn>
                <a:cxn ang="0">
                  <a:pos x="45" y="210"/>
                </a:cxn>
                <a:cxn ang="0">
                  <a:pos x="89" y="268"/>
                </a:cxn>
                <a:cxn ang="0">
                  <a:pos x="130" y="326"/>
                </a:cxn>
                <a:cxn ang="0">
                  <a:pos x="169" y="388"/>
                </a:cxn>
                <a:cxn ang="0">
                  <a:pos x="203" y="453"/>
                </a:cxn>
                <a:cxn ang="0">
                  <a:pos x="236" y="520"/>
                </a:cxn>
                <a:cxn ang="0">
                  <a:pos x="1001" y="520"/>
                </a:cxn>
              </a:cxnLst>
              <a:rect l="0" t="0" r="r" b="b"/>
              <a:pathLst>
                <a:path w="1002" h="521">
                  <a:moveTo>
                    <a:pt x="1001" y="520"/>
                  </a:moveTo>
                  <a:lnTo>
                    <a:pt x="977" y="476"/>
                  </a:lnTo>
                  <a:lnTo>
                    <a:pt x="950" y="434"/>
                  </a:lnTo>
                  <a:lnTo>
                    <a:pt x="920" y="394"/>
                  </a:lnTo>
                  <a:lnTo>
                    <a:pt x="890" y="353"/>
                  </a:lnTo>
                  <a:lnTo>
                    <a:pt x="858" y="315"/>
                  </a:lnTo>
                  <a:lnTo>
                    <a:pt x="823" y="276"/>
                  </a:lnTo>
                  <a:lnTo>
                    <a:pt x="786" y="241"/>
                  </a:lnTo>
                  <a:lnTo>
                    <a:pt x="749" y="207"/>
                  </a:lnTo>
                  <a:lnTo>
                    <a:pt x="709" y="175"/>
                  </a:lnTo>
                  <a:lnTo>
                    <a:pt x="670" y="146"/>
                  </a:lnTo>
                  <a:lnTo>
                    <a:pt x="629" y="119"/>
                  </a:lnTo>
                  <a:lnTo>
                    <a:pt x="588" y="93"/>
                  </a:lnTo>
                  <a:lnTo>
                    <a:pt x="546" y="71"/>
                  </a:lnTo>
                  <a:lnTo>
                    <a:pt x="505" y="52"/>
                  </a:lnTo>
                  <a:lnTo>
                    <a:pt x="463" y="35"/>
                  </a:lnTo>
                  <a:lnTo>
                    <a:pt x="423" y="22"/>
                  </a:lnTo>
                  <a:lnTo>
                    <a:pt x="381" y="11"/>
                  </a:lnTo>
                  <a:lnTo>
                    <a:pt x="341" y="4"/>
                  </a:lnTo>
                  <a:lnTo>
                    <a:pt x="303" y="0"/>
                  </a:lnTo>
                  <a:lnTo>
                    <a:pt x="266" y="0"/>
                  </a:lnTo>
                  <a:lnTo>
                    <a:pt x="229" y="1"/>
                  </a:lnTo>
                  <a:lnTo>
                    <a:pt x="195" y="7"/>
                  </a:lnTo>
                  <a:lnTo>
                    <a:pt x="163" y="15"/>
                  </a:lnTo>
                  <a:lnTo>
                    <a:pt x="132" y="25"/>
                  </a:lnTo>
                  <a:lnTo>
                    <a:pt x="103" y="40"/>
                  </a:lnTo>
                  <a:lnTo>
                    <a:pt x="77" y="58"/>
                  </a:lnTo>
                  <a:lnTo>
                    <a:pt x="54" y="78"/>
                  </a:lnTo>
                  <a:lnTo>
                    <a:pt x="33" y="103"/>
                  </a:lnTo>
                  <a:lnTo>
                    <a:pt x="14" y="127"/>
                  </a:lnTo>
                  <a:lnTo>
                    <a:pt x="0" y="155"/>
                  </a:lnTo>
                  <a:lnTo>
                    <a:pt x="45" y="210"/>
                  </a:lnTo>
                  <a:lnTo>
                    <a:pt x="89" y="268"/>
                  </a:lnTo>
                  <a:lnTo>
                    <a:pt x="130" y="326"/>
                  </a:lnTo>
                  <a:lnTo>
                    <a:pt x="169" y="388"/>
                  </a:lnTo>
                  <a:lnTo>
                    <a:pt x="203" y="453"/>
                  </a:lnTo>
                  <a:lnTo>
                    <a:pt x="236" y="520"/>
                  </a:lnTo>
                  <a:lnTo>
                    <a:pt x="1001" y="520"/>
                  </a:lnTo>
                </a:path>
              </a:pathLst>
            </a:custGeom>
            <a:solidFill>
              <a:schemeClr val="accent6">
                <a:lumMod val="50000"/>
                <a:alpha val="50000"/>
              </a:schemeClr>
            </a:solidFill>
            <a:ln w="254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651270" name="Freeform 6"/>
            <p:cNvSpPr>
              <a:spLocks/>
            </p:cNvSpPr>
            <p:nvPr/>
          </p:nvSpPr>
          <p:spPr bwMode="auto">
            <a:xfrm>
              <a:off x="0" y="2119313"/>
              <a:ext cx="1889125" cy="2168525"/>
            </a:xfrm>
            <a:custGeom>
              <a:avLst/>
              <a:gdLst/>
              <a:ahLst/>
              <a:cxnLst>
                <a:cxn ang="0">
                  <a:pos x="671" y="0"/>
                </a:cxn>
                <a:cxn ang="0">
                  <a:pos x="0" y="372"/>
                </a:cxn>
                <a:cxn ang="0">
                  <a:pos x="238" y="382"/>
                </a:cxn>
                <a:cxn ang="0">
                  <a:pos x="224" y="465"/>
                </a:cxn>
                <a:cxn ang="0">
                  <a:pos x="214" y="546"/>
                </a:cxn>
                <a:cxn ang="0">
                  <a:pos x="206" y="629"/>
                </a:cxn>
                <a:cxn ang="0">
                  <a:pos x="202" y="711"/>
                </a:cxn>
                <a:cxn ang="0">
                  <a:pos x="202" y="794"/>
                </a:cxn>
                <a:cxn ang="0">
                  <a:pos x="206" y="878"/>
                </a:cxn>
                <a:cxn ang="0">
                  <a:pos x="213" y="960"/>
                </a:cxn>
                <a:cxn ang="0">
                  <a:pos x="223" y="1043"/>
                </a:cxn>
                <a:cxn ang="0">
                  <a:pos x="238" y="1125"/>
                </a:cxn>
                <a:cxn ang="0">
                  <a:pos x="253" y="1206"/>
                </a:cxn>
                <a:cxn ang="0">
                  <a:pos x="274" y="1286"/>
                </a:cxn>
                <a:cxn ang="0">
                  <a:pos x="298" y="1365"/>
                </a:cxn>
                <a:cxn ang="0">
                  <a:pos x="1044" y="1365"/>
                </a:cxn>
                <a:cxn ang="0">
                  <a:pos x="1023" y="1270"/>
                </a:cxn>
                <a:cxn ang="0">
                  <a:pos x="1006" y="1175"/>
                </a:cxn>
                <a:cxn ang="0">
                  <a:pos x="991" y="1079"/>
                </a:cxn>
                <a:cxn ang="0">
                  <a:pos x="980" y="984"/>
                </a:cxn>
                <a:cxn ang="0">
                  <a:pos x="972" y="887"/>
                </a:cxn>
                <a:cxn ang="0">
                  <a:pos x="967" y="788"/>
                </a:cxn>
                <a:cxn ang="0">
                  <a:pos x="967" y="693"/>
                </a:cxn>
                <a:cxn ang="0">
                  <a:pos x="969" y="594"/>
                </a:cxn>
                <a:cxn ang="0">
                  <a:pos x="975" y="497"/>
                </a:cxn>
                <a:cxn ang="0">
                  <a:pos x="985" y="400"/>
                </a:cxn>
                <a:cxn ang="0">
                  <a:pos x="1189" y="400"/>
                </a:cxn>
                <a:cxn ang="0">
                  <a:pos x="671" y="0"/>
                </a:cxn>
              </a:cxnLst>
              <a:rect l="0" t="0" r="r" b="b"/>
              <a:pathLst>
                <a:path w="1190" h="1366">
                  <a:moveTo>
                    <a:pt x="671" y="0"/>
                  </a:moveTo>
                  <a:lnTo>
                    <a:pt x="0" y="372"/>
                  </a:lnTo>
                  <a:lnTo>
                    <a:pt x="238" y="382"/>
                  </a:lnTo>
                  <a:lnTo>
                    <a:pt x="224" y="465"/>
                  </a:lnTo>
                  <a:lnTo>
                    <a:pt x="214" y="546"/>
                  </a:lnTo>
                  <a:lnTo>
                    <a:pt x="206" y="629"/>
                  </a:lnTo>
                  <a:lnTo>
                    <a:pt x="202" y="711"/>
                  </a:lnTo>
                  <a:lnTo>
                    <a:pt x="202" y="794"/>
                  </a:lnTo>
                  <a:lnTo>
                    <a:pt x="206" y="878"/>
                  </a:lnTo>
                  <a:lnTo>
                    <a:pt x="213" y="960"/>
                  </a:lnTo>
                  <a:lnTo>
                    <a:pt x="223" y="1043"/>
                  </a:lnTo>
                  <a:lnTo>
                    <a:pt x="238" y="1125"/>
                  </a:lnTo>
                  <a:lnTo>
                    <a:pt x="253" y="1206"/>
                  </a:lnTo>
                  <a:lnTo>
                    <a:pt x="274" y="1286"/>
                  </a:lnTo>
                  <a:lnTo>
                    <a:pt x="298" y="1365"/>
                  </a:lnTo>
                  <a:lnTo>
                    <a:pt x="1044" y="1365"/>
                  </a:lnTo>
                  <a:lnTo>
                    <a:pt x="1023" y="1270"/>
                  </a:lnTo>
                  <a:lnTo>
                    <a:pt x="1006" y="1175"/>
                  </a:lnTo>
                  <a:lnTo>
                    <a:pt x="991" y="1079"/>
                  </a:lnTo>
                  <a:lnTo>
                    <a:pt x="980" y="984"/>
                  </a:lnTo>
                  <a:lnTo>
                    <a:pt x="972" y="887"/>
                  </a:lnTo>
                  <a:lnTo>
                    <a:pt x="967" y="788"/>
                  </a:lnTo>
                  <a:lnTo>
                    <a:pt x="967" y="693"/>
                  </a:lnTo>
                  <a:lnTo>
                    <a:pt x="969" y="594"/>
                  </a:lnTo>
                  <a:lnTo>
                    <a:pt x="975" y="497"/>
                  </a:lnTo>
                  <a:lnTo>
                    <a:pt x="985" y="400"/>
                  </a:lnTo>
                  <a:lnTo>
                    <a:pt x="1189" y="400"/>
                  </a:lnTo>
                  <a:lnTo>
                    <a:pt x="67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1271" name="Freeform 7"/>
            <p:cNvSpPr>
              <a:spLocks/>
            </p:cNvSpPr>
            <p:nvPr/>
          </p:nvSpPr>
          <p:spPr bwMode="auto">
            <a:xfrm>
              <a:off x="434975" y="1143000"/>
              <a:ext cx="2378075" cy="1284288"/>
            </a:xfrm>
            <a:custGeom>
              <a:avLst/>
              <a:gdLst/>
              <a:ahLst/>
              <a:cxnLst>
                <a:cxn ang="0">
                  <a:pos x="662" y="0"/>
                </a:cxn>
                <a:cxn ang="0">
                  <a:pos x="607" y="21"/>
                </a:cxn>
                <a:cxn ang="0">
                  <a:pos x="553" y="46"/>
                </a:cxn>
                <a:cxn ang="0">
                  <a:pos x="501" y="76"/>
                </a:cxn>
                <a:cxn ang="0">
                  <a:pos x="450" y="108"/>
                </a:cxn>
                <a:cxn ang="0">
                  <a:pos x="400" y="144"/>
                </a:cxn>
                <a:cxn ang="0">
                  <a:pos x="353" y="182"/>
                </a:cxn>
                <a:cxn ang="0">
                  <a:pos x="307" y="224"/>
                </a:cxn>
                <a:cxn ang="0">
                  <a:pos x="265" y="268"/>
                </a:cxn>
                <a:cxn ang="0">
                  <a:pos x="224" y="316"/>
                </a:cxn>
                <a:cxn ang="0">
                  <a:pos x="187" y="366"/>
                </a:cxn>
                <a:cxn ang="0">
                  <a:pos x="151" y="418"/>
                </a:cxn>
                <a:cxn ang="0">
                  <a:pos x="118" y="473"/>
                </a:cxn>
                <a:cxn ang="0">
                  <a:pos x="89" y="529"/>
                </a:cxn>
                <a:cxn ang="0">
                  <a:pos x="61" y="587"/>
                </a:cxn>
                <a:cxn ang="0">
                  <a:pos x="38" y="647"/>
                </a:cxn>
                <a:cxn ang="0">
                  <a:pos x="17" y="710"/>
                </a:cxn>
                <a:cxn ang="0">
                  <a:pos x="0" y="771"/>
                </a:cxn>
                <a:cxn ang="0">
                  <a:pos x="136" y="702"/>
                </a:cxn>
                <a:cxn ang="0">
                  <a:pos x="271" y="630"/>
                </a:cxn>
                <a:cxn ang="0">
                  <a:pos x="405" y="557"/>
                </a:cxn>
                <a:cxn ang="0">
                  <a:pos x="517" y="638"/>
                </a:cxn>
                <a:cxn ang="0">
                  <a:pos x="625" y="721"/>
                </a:cxn>
                <a:cxn ang="0">
                  <a:pos x="732" y="808"/>
                </a:cxn>
                <a:cxn ang="0">
                  <a:pos x="756" y="740"/>
                </a:cxn>
                <a:cxn ang="0">
                  <a:pos x="782" y="675"/>
                </a:cxn>
                <a:cxn ang="0">
                  <a:pos x="812" y="611"/>
                </a:cxn>
                <a:cxn ang="0">
                  <a:pos x="844" y="549"/>
                </a:cxn>
                <a:cxn ang="0">
                  <a:pos x="881" y="489"/>
                </a:cxn>
                <a:cxn ang="0">
                  <a:pos x="919" y="432"/>
                </a:cxn>
                <a:cxn ang="0">
                  <a:pos x="961" y="377"/>
                </a:cxn>
                <a:cxn ang="0">
                  <a:pos x="1004" y="324"/>
                </a:cxn>
                <a:cxn ang="0">
                  <a:pos x="1051" y="275"/>
                </a:cxn>
                <a:cxn ang="0">
                  <a:pos x="1101" y="229"/>
                </a:cxn>
                <a:cxn ang="0">
                  <a:pos x="1151" y="186"/>
                </a:cxn>
                <a:cxn ang="0">
                  <a:pos x="1205" y="146"/>
                </a:cxn>
                <a:cxn ang="0">
                  <a:pos x="1260" y="110"/>
                </a:cxn>
                <a:cxn ang="0">
                  <a:pos x="1318" y="76"/>
                </a:cxn>
                <a:cxn ang="0">
                  <a:pos x="1377" y="46"/>
                </a:cxn>
                <a:cxn ang="0">
                  <a:pos x="1436" y="21"/>
                </a:cxn>
                <a:cxn ang="0">
                  <a:pos x="1497" y="0"/>
                </a:cxn>
                <a:cxn ang="0">
                  <a:pos x="662" y="0"/>
                </a:cxn>
              </a:cxnLst>
              <a:rect l="0" t="0" r="r" b="b"/>
              <a:pathLst>
                <a:path w="1498" h="809">
                  <a:moveTo>
                    <a:pt x="662" y="0"/>
                  </a:moveTo>
                  <a:lnTo>
                    <a:pt x="607" y="21"/>
                  </a:lnTo>
                  <a:lnTo>
                    <a:pt x="553" y="46"/>
                  </a:lnTo>
                  <a:lnTo>
                    <a:pt x="501" y="76"/>
                  </a:lnTo>
                  <a:lnTo>
                    <a:pt x="450" y="108"/>
                  </a:lnTo>
                  <a:lnTo>
                    <a:pt x="400" y="144"/>
                  </a:lnTo>
                  <a:lnTo>
                    <a:pt x="353" y="182"/>
                  </a:lnTo>
                  <a:lnTo>
                    <a:pt x="307" y="224"/>
                  </a:lnTo>
                  <a:lnTo>
                    <a:pt x="265" y="268"/>
                  </a:lnTo>
                  <a:lnTo>
                    <a:pt x="224" y="316"/>
                  </a:lnTo>
                  <a:lnTo>
                    <a:pt x="187" y="366"/>
                  </a:lnTo>
                  <a:lnTo>
                    <a:pt x="151" y="418"/>
                  </a:lnTo>
                  <a:lnTo>
                    <a:pt x="118" y="473"/>
                  </a:lnTo>
                  <a:lnTo>
                    <a:pt x="89" y="529"/>
                  </a:lnTo>
                  <a:lnTo>
                    <a:pt x="61" y="587"/>
                  </a:lnTo>
                  <a:lnTo>
                    <a:pt x="38" y="647"/>
                  </a:lnTo>
                  <a:lnTo>
                    <a:pt x="17" y="710"/>
                  </a:lnTo>
                  <a:lnTo>
                    <a:pt x="0" y="771"/>
                  </a:lnTo>
                  <a:lnTo>
                    <a:pt x="136" y="702"/>
                  </a:lnTo>
                  <a:lnTo>
                    <a:pt x="271" y="630"/>
                  </a:lnTo>
                  <a:lnTo>
                    <a:pt x="405" y="557"/>
                  </a:lnTo>
                  <a:lnTo>
                    <a:pt x="517" y="638"/>
                  </a:lnTo>
                  <a:lnTo>
                    <a:pt x="625" y="721"/>
                  </a:lnTo>
                  <a:lnTo>
                    <a:pt x="732" y="808"/>
                  </a:lnTo>
                  <a:lnTo>
                    <a:pt x="756" y="740"/>
                  </a:lnTo>
                  <a:lnTo>
                    <a:pt x="782" y="675"/>
                  </a:lnTo>
                  <a:lnTo>
                    <a:pt x="812" y="611"/>
                  </a:lnTo>
                  <a:lnTo>
                    <a:pt x="844" y="549"/>
                  </a:lnTo>
                  <a:lnTo>
                    <a:pt x="881" y="489"/>
                  </a:lnTo>
                  <a:lnTo>
                    <a:pt x="919" y="432"/>
                  </a:lnTo>
                  <a:lnTo>
                    <a:pt x="961" y="377"/>
                  </a:lnTo>
                  <a:lnTo>
                    <a:pt x="1004" y="324"/>
                  </a:lnTo>
                  <a:lnTo>
                    <a:pt x="1051" y="275"/>
                  </a:lnTo>
                  <a:lnTo>
                    <a:pt x="1101" y="229"/>
                  </a:lnTo>
                  <a:lnTo>
                    <a:pt x="1151" y="186"/>
                  </a:lnTo>
                  <a:lnTo>
                    <a:pt x="1205" y="146"/>
                  </a:lnTo>
                  <a:lnTo>
                    <a:pt x="1260" y="110"/>
                  </a:lnTo>
                  <a:lnTo>
                    <a:pt x="1318" y="76"/>
                  </a:lnTo>
                  <a:lnTo>
                    <a:pt x="1377" y="46"/>
                  </a:lnTo>
                  <a:lnTo>
                    <a:pt x="1436" y="21"/>
                  </a:lnTo>
                  <a:lnTo>
                    <a:pt x="1497" y="0"/>
                  </a:lnTo>
                  <a:lnTo>
                    <a:pt x="662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1272" name="Freeform 8"/>
            <p:cNvSpPr>
              <a:spLocks/>
            </p:cNvSpPr>
            <p:nvPr/>
          </p:nvSpPr>
          <p:spPr bwMode="auto">
            <a:xfrm>
              <a:off x="493713" y="4346575"/>
              <a:ext cx="2327275" cy="1135063"/>
            </a:xfrm>
            <a:custGeom>
              <a:avLst/>
              <a:gdLst/>
              <a:ahLst/>
              <a:cxnLst>
                <a:cxn ang="0">
                  <a:pos x="721" y="714"/>
                </a:cxn>
                <a:cxn ang="0">
                  <a:pos x="666" y="699"/>
                </a:cxn>
                <a:cxn ang="0">
                  <a:pos x="613" y="681"/>
                </a:cxn>
                <a:cxn ang="0">
                  <a:pos x="560" y="661"/>
                </a:cxn>
                <a:cxn ang="0">
                  <a:pos x="509" y="636"/>
                </a:cxn>
                <a:cxn ang="0">
                  <a:pos x="458" y="608"/>
                </a:cxn>
                <a:cxn ang="0">
                  <a:pos x="410" y="578"/>
                </a:cxn>
                <a:cxn ang="0">
                  <a:pos x="362" y="543"/>
                </a:cxn>
                <a:cxn ang="0">
                  <a:pos x="317" y="507"/>
                </a:cxn>
                <a:cxn ang="0">
                  <a:pos x="274" y="466"/>
                </a:cxn>
                <a:cxn ang="0">
                  <a:pos x="233" y="423"/>
                </a:cxn>
                <a:cxn ang="0">
                  <a:pos x="195" y="378"/>
                </a:cxn>
                <a:cxn ang="0">
                  <a:pos x="158" y="329"/>
                </a:cxn>
                <a:cxn ang="0">
                  <a:pos x="125" y="280"/>
                </a:cxn>
                <a:cxn ang="0">
                  <a:pos x="94" y="227"/>
                </a:cxn>
                <a:cxn ang="0">
                  <a:pos x="66" y="172"/>
                </a:cxn>
                <a:cxn ang="0">
                  <a:pos x="40" y="116"/>
                </a:cxn>
                <a:cxn ang="0">
                  <a:pos x="18" y="59"/>
                </a:cxn>
                <a:cxn ang="0">
                  <a:pos x="0" y="0"/>
                </a:cxn>
                <a:cxn ang="0">
                  <a:pos x="367" y="2"/>
                </a:cxn>
                <a:cxn ang="0">
                  <a:pos x="735" y="0"/>
                </a:cxn>
                <a:cxn ang="0">
                  <a:pos x="757" y="63"/>
                </a:cxn>
                <a:cxn ang="0">
                  <a:pos x="782" y="123"/>
                </a:cxn>
                <a:cxn ang="0">
                  <a:pos x="810" y="182"/>
                </a:cxn>
                <a:cxn ang="0">
                  <a:pos x="840" y="239"/>
                </a:cxn>
                <a:cxn ang="0">
                  <a:pos x="875" y="294"/>
                </a:cxn>
                <a:cxn ang="0">
                  <a:pos x="912" y="345"/>
                </a:cxn>
                <a:cxn ang="0">
                  <a:pos x="952" y="396"/>
                </a:cxn>
                <a:cxn ang="0">
                  <a:pos x="994" y="442"/>
                </a:cxn>
                <a:cxn ang="0">
                  <a:pos x="1039" y="486"/>
                </a:cxn>
                <a:cxn ang="0">
                  <a:pos x="1085" y="527"/>
                </a:cxn>
                <a:cxn ang="0">
                  <a:pos x="1135" y="564"/>
                </a:cxn>
                <a:cxn ang="0">
                  <a:pos x="1186" y="598"/>
                </a:cxn>
                <a:cxn ang="0">
                  <a:pos x="1239" y="628"/>
                </a:cxn>
                <a:cxn ang="0">
                  <a:pos x="1294" y="656"/>
                </a:cxn>
                <a:cxn ang="0">
                  <a:pos x="1349" y="678"/>
                </a:cxn>
                <a:cxn ang="0">
                  <a:pos x="1406" y="697"/>
                </a:cxn>
                <a:cxn ang="0">
                  <a:pos x="1465" y="714"/>
                </a:cxn>
                <a:cxn ang="0">
                  <a:pos x="721" y="714"/>
                </a:cxn>
              </a:cxnLst>
              <a:rect l="0" t="0" r="r" b="b"/>
              <a:pathLst>
                <a:path w="1466" h="715">
                  <a:moveTo>
                    <a:pt x="721" y="714"/>
                  </a:moveTo>
                  <a:lnTo>
                    <a:pt x="666" y="699"/>
                  </a:lnTo>
                  <a:lnTo>
                    <a:pt x="613" y="681"/>
                  </a:lnTo>
                  <a:lnTo>
                    <a:pt x="560" y="661"/>
                  </a:lnTo>
                  <a:lnTo>
                    <a:pt x="509" y="636"/>
                  </a:lnTo>
                  <a:lnTo>
                    <a:pt x="458" y="608"/>
                  </a:lnTo>
                  <a:lnTo>
                    <a:pt x="410" y="578"/>
                  </a:lnTo>
                  <a:lnTo>
                    <a:pt x="362" y="543"/>
                  </a:lnTo>
                  <a:lnTo>
                    <a:pt x="317" y="507"/>
                  </a:lnTo>
                  <a:lnTo>
                    <a:pt x="274" y="466"/>
                  </a:lnTo>
                  <a:lnTo>
                    <a:pt x="233" y="423"/>
                  </a:lnTo>
                  <a:lnTo>
                    <a:pt x="195" y="378"/>
                  </a:lnTo>
                  <a:lnTo>
                    <a:pt x="158" y="329"/>
                  </a:lnTo>
                  <a:lnTo>
                    <a:pt x="125" y="280"/>
                  </a:lnTo>
                  <a:lnTo>
                    <a:pt x="94" y="227"/>
                  </a:lnTo>
                  <a:lnTo>
                    <a:pt x="66" y="172"/>
                  </a:lnTo>
                  <a:lnTo>
                    <a:pt x="40" y="116"/>
                  </a:lnTo>
                  <a:lnTo>
                    <a:pt x="18" y="59"/>
                  </a:lnTo>
                  <a:lnTo>
                    <a:pt x="0" y="0"/>
                  </a:lnTo>
                  <a:lnTo>
                    <a:pt x="367" y="2"/>
                  </a:lnTo>
                  <a:lnTo>
                    <a:pt x="735" y="0"/>
                  </a:lnTo>
                  <a:lnTo>
                    <a:pt x="757" y="63"/>
                  </a:lnTo>
                  <a:lnTo>
                    <a:pt x="782" y="123"/>
                  </a:lnTo>
                  <a:lnTo>
                    <a:pt x="810" y="182"/>
                  </a:lnTo>
                  <a:lnTo>
                    <a:pt x="840" y="239"/>
                  </a:lnTo>
                  <a:lnTo>
                    <a:pt x="875" y="294"/>
                  </a:lnTo>
                  <a:lnTo>
                    <a:pt x="912" y="345"/>
                  </a:lnTo>
                  <a:lnTo>
                    <a:pt x="952" y="396"/>
                  </a:lnTo>
                  <a:lnTo>
                    <a:pt x="994" y="442"/>
                  </a:lnTo>
                  <a:lnTo>
                    <a:pt x="1039" y="486"/>
                  </a:lnTo>
                  <a:lnTo>
                    <a:pt x="1085" y="527"/>
                  </a:lnTo>
                  <a:lnTo>
                    <a:pt x="1135" y="564"/>
                  </a:lnTo>
                  <a:lnTo>
                    <a:pt x="1186" y="598"/>
                  </a:lnTo>
                  <a:lnTo>
                    <a:pt x="1239" y="628"/>
                  </a:lnTo>
                  <a:lnTo>
                    <a:pt x="1294" y="656"/>
                  </a:lnTo>
                  <a:lnTo>
                    <a:pt x="1349" y="678"/>
                  </a:lnTo>
                  <a:lnTo>
                    <a:pt x="1406" y="697"/>
                  </a:lnTo>
                  <a:lnTo>
                    <a:pt x="1465" y="714"/>
                  </a:lnTo>
                  <a:lnTo>
                    <a:pt x="721" y="71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651273" name="Freeform 9"/>
            <p:cNvSpPr>
              <a:spLocks/>
            </p:cNvSpPr>
            <p:nvPr/>
          </p:nvSpPr>
          <p:spPr bwMode="blackWhite">
            <a:xfrm>
              <a:off x="2703513" y="2019300"/>
              <a:ext cx="1508125" cy="1495425"/>
            </a:xfrm>
            <a:custGeom>
              <a:avLst/>
              <a:gdLst/>
              <a:ahLst/>
              <a:cxnLst>
                <a:cxn ang="0">
                  <a:pos x="946" y="941"/>
                </a:cxn>
                <a:cxn ang="0">
                  <a:pos x="158" y="941"/>
                </a:cxn>
                <a:cxn ang="0">
                  <a:pos x="160" y="853"/>
                </a:cxn>
                <a:cxn ang="0">
                  <a:pos x="160" y="764"/>
                </a:cxn>
                <a:cxn ang="0">
                  <a:pos x="157" y="676"/>
                </a:cxn>
                <a:cxn ang="0">
                  <a:pos x="149" y="589"/>
                </a:cxn>
                <a:cxn ang="0">
                  <a:pos x="138" y="503"/>
                </a:cxn>
                <a:cxn ang="0">
                  <a:pos x="123" y="416"/>
                </a:cxn>
                <a:cxn ang="0">
                  <a:pos x="106" y="330"/>
                </a:cxn>
                <a:cxn ang="0">
                  <a:pos x="84" y="245"/>
                </a:cxn>
                <a:cxn ang="0">
                  <a:pos x="60" y="162"/>
                </a:cxn>
                <a:cxn ang="0">
                  <a:pos x="31" y="79"/>
                </a:cxn>
                <a:cxn ang="0">
                  <a:pos x="0" y="0"/>
                </a:cxn>
                <a:cxn ang="0">
                  <a:pos x="762" y="0"/>
                </a:cxn>
                <a:cxn ang="0">
                  <a:pos x="794" y="72"/>
                </a:cxn>
                <a:cxn ang="0">
                  <a:pos x="824" y="147"/>
                </a:cxn>
                <a:cxn ang="0">
                  <a:pos x="850" y="222"/>
                </a:cxn>
                <a:cxn ang="0">
                  <a:pos x="873" y="299"/>
                </a:cxn>
                <a:cxn ang="0">
                  <a:pos x="892" y="376"/>
                </a:cxn>
                <a:cxn ang="0">
                  <a:pos x="910" y="456"/>
                </a:cxn>
                <a:cxn ang="0">
                  <a:pos x="925" y="536"/>
                </a:cxn>
                <a:cxn ang="0">
                  <a:pos x="935" y="616"/>
                </a:cxn>
                <a:cxn ang="0">
                  <a:pos x="942" y="697"/>
                </a:cxn>
                <a:cxn ang="0">
                  <a:pos x="947" y="778"/>
                </a:cxn>
                <a:cxn ang="0">
                  <a:pos x="949" y="859"/>
                </a:cxn>
                <a:cxn ang="0">
                  <a:pos x="946" y="941"/>
                </a:cxn>
              </a:cxnLst>
              <a:rect l="0" t="0" r="r" b="b"/>
              <a:pathLst>
                <a:path w="950" h="942">
                  <a:moveTo>
                    <a:pt x="946" y="941"/>
                  </a:moveTo>
                  <a:lnTo>
                    <a:pt x="158" y="941"/>
                  </a:lnTo>
                  <a:lnTo>
                    <a:pt x="160" y="853"/>
                  </a:lnTo>
                  <a:lnTo>
                    <a:pt x="160" y="764"/>
                  </a:lnTo>
                  <a:lnTo>
                    <a:pt x="157" y="676"/>
                  </a:lnTo>
                  <a:lnTo>
                    <a:pt x="149" y="589"/>
                  </a:lnTo>
                  <a:lnTo>
                    <a:pt x="138" y="503"/>
                  </a:lnTo>
                  <a:lnTo>
                    <a:pt x="123" y="416"/>
                  </a:lnTo>
                  <a:lnTo>
                    <a:pt x="106" y="330"/>
                  </a:lnTo>
                  <a:lnTo>
                    <a:pt x="84" y="245"/>
                  </a:lnTo>
                  <a:lnTo>
                    <a:pt x="60" y="162"/>
                  </a:lnTo>
                  <a:lnTo>
                    <a:pt x="31" y="79"/>
                  </a:lnTo>
                  <a:lnTo>
                    <a:pt x="0" y="0"/>
                  </a:lnTo>
                  <a:lnTo>
                    <a:pt x="762" y="0"/>
                  </a:lnTo>
                  <a:lnTo>
                    <a:pt x="794" y="72"/>
                  </a:lnTo>
                  <a:lnTo>
                    <a:pt x="824" y="147"/>
                  </a:lnTo>
                  <a:lnTo>
                    <a:pt x="850" y="222"/>
                  </a:lnTo>
                  <a:lnTo>
                    <a:pt x="873" y="299"/>
                  </a:lnTo>
                  <a:lnTo>
                    <a:pt x="892" y="376"/>
                  </a:lnTo>
                  <a:lnTo>
                    <a:pt x="910" y="456"/>
                  </a:lnTo>
                  <a:lnTo>
                    <a:pt x="925" y="536"/>
                  </a:lnTo>
                  <a:lnTo>
                    <a:pt x="935" y="616"/>
                  </a:lnTo>
                  <a:lnTo>
                    <a:pt x="942" y="697"/>
                  </a:lnTo>
                  <a:lnTo>
                    <a:pt x="947" y="778"/>
                  </a:lnTo>
                  <a:lnTo>
                    <a:pt x="949" y="859"/>
                  </a:lnTo>
                  <a:lnTo>
                    <a:pt x="946" y="941"/>
                  </a:lnTo>
                </a:path>
              </a:pathLst>
            </a:custGeom>
            <a:solidFill>
              <a:schemeClr val="accent6">
                <a:lumMod val="50000"/>
                <a:alpha val="50000"/>
              </a:schemeClr>
            </a:solidFill>
            <a:ln w="254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651274" name="Freeform 10"/>
            <p:cNvSpPr>
              <a:spLocks/>
            </p:cNvSpPr>
            <p:nvPr/>
          </p:nvSpPr>
          <p:spPr bwMode="blackWhite">
            <a:xfrm>
              <a:off x="2576513" y="3568700"/>
              <a:ext cx="1619250" cy="1250950"/>
            </a:xfrm>
            <a:custGeom>
              <a:avLst/>
              <a:gdLst/>
              <a:ahLst/>
              <a:cxnLst>
                <a:cxn ang="0">
                  <a:pos x="754" y="787"/>
                </a:cxn>
                <a:cxn ang="0">
                  <a:pos x="0" y="787"/>
                </a:cxn>
                <a:cxn ang="0">
                  <a:pos x="34" y="721"/>
                </a:cxn>
                <a:cxn ang="0">
                  <a:pos x="68" y="654"/>
                </a:cxn>
                <a:cxn ang="0">
                  <a:pos x="97" y="587"/>
                </a:cxn>
                <a:cxn ang="0">
                  <a:pos x="125" y="516"/>
                </a:cxn>
                <a:cxn ang="0">
                  <a:pos x="150" y="445"/>
                </a:cxn>
                <a:cxn ang="0">
                  <a:pos x="172" y="373"/>
                </a:cxn>
                <a:cxn ang="0">
                  <a:pos x="191" y="300"/>
                </a:cxn>
                <a:cxn ang="0">
                  <a:pos x="207" y="225"/>
                </a:cxn>
                <a:cxn ang="0">
                  <a:pos x="220" y="150"/>
                </a:cxn>
                <a:cxn ang="0">
                  <a:pos x="230" y="74"/>
                </a:cxn>
                <a:cxn ang="0">
                  <a:pos x="237" y="0"/>
                </a:cxn>
                <a:cxn ang="0">
                  <a:pos x="1019" y="0"/>
                </a:cxn>
                <a:cxn ang="0">
                  <a:pos x="1010" y="76"/>
                </a:cxn>
                <a:cxn ang="0">
                  <a:pos x="997" y="152"/>
                </a:cxn>
                <a:cxn ang="0">
                  <a:pos x="982" y="228"/>
                </a:cxn>
                <a:cxn ang="0">
                  <a:pos x="963" y="301"/>
                </a:cxn>
                <a:cxn ang="0">
                  <a:pos x="942" y="375"/>
                </a:cxn>
                <a:cxn ang="0">
                  <a:pos x="918" y="447"/>
                </a:cxn>
                <a:cxn ang="0">
                  <a:pos x="891" y="519"/>
                </a:cxn>
                <a:cxn ang="0">
                  <a:pos x="861" y="588"/>
                </a:cxn>
                <a:cxn ang="0">
                  <a:pos x="828" y="656"/>
                </a:cxn>
                <a:cxn ang="0">
                  <a:pos x="792" y="722"/>
                </a:cxn>
                <a:cxn ang="0">
                  <a:pos x="754" y="787"/>
                </a:cxn>
              </a:cxnLst>
              <a:rect l="0" t="0" r="r" b="b"/>
              <a:pathLst>
                <a:path w="1020" h="788">
                  <a:moveTo>
                    <a:pt x="754" y="787"/>
                  </a:moveTo>
                  <a:lnTo>
                    <a:pt x="0" y="787"/>
                  </a:lnTo>
                  <a:lnTo>
                    <a:pt x="34" y="721"/>
                  </a:lnTo>
                  <a:lnTo>
                    <a:pt x="68" y="654"/>
                  </a:lnTo>
                  <a:lnTo>
                    <a:pt x="97" y="587"/>
                  </a:lnTo>
                  <a:lnTo>
                    <a:pt x="125" y="516"/>
                  </a:lnTo>
                  <a:lnTo>
                    <a:pt x="150" y="445"/>
                  </a:lnTo>
                  <a:lnTo>
                    <a:pt x="172" y="373"/>
                  </a:lnTo>
                  <a:lnTo>
                    <a:pt x="191" y="300"/>
                  </a:lnTo>
                  <a:lnTo>
                    <a:pt x="207" y="225"/>
                  </a:lnTo>
                  <a:lnTo>
                    <a:pt x="220" y="150"/>
                  </a:lnTo>
                  <a:lnTo>
                    <a:pt x="230" y="74"/>
                  </a:lnTo>
                  <a:lnTo>
                    <a:pt x="237" y="0"/>
                  </a:lnTo>
                  <a:lnTo>
                    <a:pt x="1019" y="0"/>
                  </a:lnTo>
                  <a:lnTo>
                    <a:pt x="1010" y="76"/>
                  </a:lnTo>
                  <a:lnTo>
                    <a:pt x="997" y="152"/>
                  </a:lnTo>
                  <a:lnTo>
                    <a:pt x="982" y="228"/>
                  </a:lnTo>
                  <a:lnTo>
                    <a:pt x="963" y="301"/>
                  </a:lnTo>
                  <a:lnTo>
                    <a:pt x="942" y="375"/>
                  </a:lnTo>
                  <a:lnTo>
                    <a:pt x="918" y="447"/>
                  </a:lnTo>
                  <a:lnTo>
                    <a:pt x="891" y="519"/>
                  </a:lnTo>
                  <a:lnTo>
                    <a:pt x="861" y="588"/>
                  </a:lnTo>
                  <a:lnTo>
                    <a:pt x="828" y="656"/>
                  </a:lnTo>
                  <a:lnTo>
                    <a:pt x="792" y="722"/>
                  </a:lnTo>
                  <a:lnTo>
                    <a:pt x="754" y="787"/>
                  </a:lnTo>
                </a:path>
              </a:pathLst>
            </a:custGeom>
            <a:solidFill>
              <a:schemeClr val="accent6">
                <a:lumMod val="50000"/>
                <a:alpha val="50000"/>
              </a:schemeClr>
            </a:solidFill>
            <a:ln w="25400" cap="rnd" cmpd="sng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ca-ES" sz="2159"/>
            </a:p>
          </p:txBody>
        </p:sp>
        <p:sp>
          <p:nvSpPr>
            <p:cNvPr id="651275" name="Rectangle 11"/>
            <p:cNvSpPr>
              <a:spLocks noChangeArrowheads="1"/>
            </p:cNvSpPr>
            <p:nvPr/>
          </p:nvSpPr>
          <p:spPr bwMode="auto">
            <a:xfrm>
              <a:off x="1011238" y="1524000"/>
              <a:ext cx="790575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51276" name="Rectangle 12"/>
            <p:cNvSpPr>
              <a:spLocks noChangeArrowheads="1"/>
            </p:cNvSpPr>
            <p:nvPr/>
          </p:nvSpPr>
          <p:spPr bwMode="auto">
            <a:xfrm>
              <a:off x="2911475" y="2624138"/>
              <a:ext cx="121126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51277" name="Rectangle 13"/>
            <p:cNvSpPr>
              <a:spLocks noChangeArrowheads="1"/>
            </p:cNvSpPr>
            <p:nvPr/>
          </p:nvSpPr>
          <p:spPr bwMode="auto">
            <a:xfrm>
              <a:off x="2819400" y="4113213"/>
              <a:ext cx="119856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51278" name="Rectangle 14"/>
            <p:cNvSpPr>
              <a:spLocks noChangeArrowheads="1"/>
            </p:cNvSpPr>
            <p:nvPr/>
          </p:nvSpPr>
          <p:spPr bwMode="auto">
            <a:xfrm>
              <a:off x="965200" y="4943475"/>
              <a:ext cx="10096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  <p:sp>
          <p:nvSpPr>
            <p:cNvPr id="651279" name="Rectangle 15"/>
            <p:cNvSpPr>
              <a:spLocks noChangeArrowheads="1"/>
            </p:cNvSpPr>
            <p:nvPr/>
          </p:nvSpPr>
          <p:spPr bwMode="auto">
            <a:xfrm>
              <a:off x="488950" y="3225800"/>
              <a:ext cx="831850" cy="158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295"/>
                <a:t>Texto</a:t>
              </a:r>
              <a:endParaRPr lang="en-US" sz="1295" dirty="0"/>
            </a:p>
          </p:txBody>
        </p:sp>
      </p:grpSp>
      <p:sp>
        <p:nvSpPr>
          <p:cNvPr id="19" name="Freeform 4"/>
          <p:cNvSpPr>
            <a:spLocks/>
          </p:cNvSpPr>
          <p:nvPr/>
        </p:nvSpPr>
        <p:spPr bwMode="auto">
          <a:xfrm>
            <a:off x="8196575" y="1722247"/>
            <a:ext cx="1860787" cy="1985868"/>
          </a:xfrm>
          <a:custGeom>
            <a:avLst/>
            <a:gdLst/>
            <a:ahLst/>
            <a:cxnLst>
              <a:cxn ang="0">
                <a:pos x="839" y="634"/>
              </a:cxn>
              <a:cxn ang="0">
                <a:pos x="837" y="532"/>
              </a:cxn>
              <a:cxn ang="0">
                <a:pos x="837" y="429"/>
              </a:cxn>
              <a:cxn ang="0">
                <a:pos x="841" y="326"/>
              </a:cxn>
              <a:cxn ang="0">
                <a:pos x="847" y="224"/>
              </a:cxn>
              <a:cxn ang="0">
                <a:pos x="857" y="121"/>
              </a:cxn>
              <a:cxn ang="0">
                <a:pos x="798" y="258"/>
              </a:cxn>
              <a:cxn ang="0">
                <a:pos x="731" y="217"/>
              </a:cxn>
              <a:cxn ang="0">
                <a:pos x="664" y="180"/>
              </a:cxn>
              <a:cxn ang="0">
                <a:pos x="595" y="146"/>
              </a:cxn>
              <a:cxn ang="0">
                <a:pos x="526" y="117"/>
              </a:cxn>
              <a:cxn ang="0">
                <a:pos x="456" y="89"/>
              </a:cxn>
              <a:cxn ang="0">
                <a:pos x="385" y="65"/>
              </a:cxn>
              <a:cxn ang="0">
                <a:pos x="313" y="45"/>
              </a:cxn>
              <a:cxn ang="0">
                <a:pos x="241" y="29"/>
              </a:cxn>
              <a:cxn ang="0">
                <a:pos x="168" y="15"/>
              </a:cxn>
              <a:cxn ang="0">
                <a:pos x="94" y="5"/>
              </a:cxn>
              <a:cxn ang="0">
                <a:pos x="21" y="0"/>
              </a:cxn>
              <a:cxn ang="0">
                <a:pos x="94" y="290"/>
              </a:cxn>
              <a:cxn ang="0">
                <a:pos x="0" y="595"/>
              </a:cxn>
              <a:cxn ang="0">
                <a:pos x="61" y="596"/>
              </a:cxn>
              <a:cxn ang="0">
                <a:pos x="122" y="600"/>
              </a:cxn>
              <a:cxn ang="0">
                <a:pos x="182" y="606"/>
              </a:cxn>
              <a:cxn ang="0">
                <a:pos x="240" y="613"/>
              </a:cxn>
              <a:cxn ang="0">
                <a:pos x="296" y="622"/>
              </a:cxn>
              <a:cxn ang="0">
                <a:pos x="351" y="634"/>
              </a:cxn>
              <a:cxn ang="0">
                <a:pos x="404" y="647"/>
              </a:cxn>
              <a:cxn ang="0">
                <a:pos x="456" y="663"/>
              </a:cxn>
              <a:cxn ang="0">
                <a:pos x="505" y="680"/>
              </a:cxn>
              <a:cxn ang="0">
                <a:pos x="553" y="700"/>
              </a:cxn>
              <a:cxn ang="0">
                <a:pos x="597" y="720"/>
              </a:cxn>
              <a:cxn ang="0">
                <a:pos x="639" y="743"/>
              </a:cxn>
              <a:cxn ang="0">
                <a:pos x="678" y="768"/>
              </a:cxn>
              <a:cxn ang="0">
                <a:pos x="714" y="793"/>
              </a:cxn>
              <a:cxn ang="0">
                <a:pos x="747" y="820"/>
              </a:cxn>
              <a:cxn ang="0">
                <a:pos x="749" y="861"/>
              </a:cxn>
              <a:cxn ang="0">
                <a:pos x="749" y="902"/>
              </a:cxn>
              <a:cxn ang="0">
                <a:pos x="747" y="943"/>
              </a:cxn>
              <a:cxn ang="0">
                <a:pos x="775" y="866"/>
              </a:cxn>
              <a:cxn ang="0">
                <a:pos x="799" y="790"/>
              </a:cxn>
              <a:cxn ang="0">
                <a:pos x="820" y="712"/>
              </a:cxn>
              <a:cxn ang="0">
                <a:pos x="839" y="634"/>
              </a:cxn>
            </a:cxnLst>
            <a:rect l="0" t="0" r="r" b="b"/>
            <a:pathLst>
              <a:path w="858" h="944">
                <a:moveTo>
                  <a:pt x="839" y="634"/>
                </a:moveTo>
                <a:lnTo>
                  <a:pt x="837" y="532"/>
                </a:lnTo>
                <a:lnTo>
                  <a:pt x="837" y="429"/>
                </a:lnTo>
                <a:lnTo>
                  <a:pt x="841" y="326"/>
                </a:lnTo>
                <a:lnTo>
                  <a:pt x="847" y="224"/>
                </a:lnTo>
                <a:lnTo>
                  <a:pt x="857" y="121"/>
                </a:lnTo>
                <a:lnTo>
                  <a:pt x="798" y="258"/>
                </a:lnTo>
                <a:lnTo>
                  <a:pt x="731" y="217"/>
                </a:lnTo>
                <a:lnTo>
                  <a:pt x="664" y="180"/>
                </a:lnTo>
                <a:lnTo>
                  <a:pt x="595" y="146"/>
                </a:lnTo>
                <a:lnTo>
                  <a:pt x="526" y="117"/>
                </a:lnTo>
                <a:lnTo>
                  <a:pt x="456" y="89"/>
                </a:lnTo>
                <a:lnTo>
                  <a:pt x="385" y="65"/>
                </a:lnTo>
                <a:lnTo>
                  <a:pt x="313" y="45"/>
                </a:lnTo>
                <a:lnTo>
                  <a:pt x="241" y="29"/>
                </a:lnTo>
                <a:lnTo>
                  <a:pt x="168" y="15"/>
                </a:lnTo>
                <a:lnTo>
                  <a:pt x="94" y="5"/>
                </a:lnTo>
                <a:lnTo>
                  <a:pt x="21" y="0"/>
                </a:lnTo>
                <a:lnTo>
                  <a:pt x="94" y="290"/>
                </a:lnTo>
                <a:lnTo>
                  <a:pt x="0" y="595"/>
                </a:lnTo>
                <a:lnTo>
                  <a:pt x="61" y="596"/>
                </a:lnTo>
                <a:lnTo>
                  <a:pt x="122" y="600"/>
                </a:lnTo>
                <a:lnTo>
                  <a:pt x="182" y="606"/>
                </a:lnTo>
                <a:lnTo>
                  <a:pt x="240" y="613"/>
                </a:lnTo>
                <a:lnTo>
                  <a:pt x="296" y="622"/>
                </a:lnTo>
                <a:lnTo>
                  <a:pt x="351" y="634"/>
                </a:lnTo>
                <a:lnTo>
                  <a:pt x="404" y="647"/>
                </a:lnTo>
                <a:lnTo>
                  <a:pt x="456" y="663"/>
                </a:lnTo>
                <a:lnTo>
                  <a:pt x="505" y="680"/>
                </a:lnTo>
                <a:lnTo>
                  <a:pt x="553" y="700"/>
                </a:lnTo>
                <a:lnTo>
                  <a:pt x="597" y="720"/>
                </a:lnTo>
                <a:lnTo>
                  <a:pt x="639" y="743"/>
                </a:lnTo>
                <a:lnTo>
                  <a:pt x="678" y="768"/>
                </a:lnTo>
                <a:lnTo>
                  <a:pt x="714" y="793"/>
                </a:lnTo>
                <a:lnTo>
                  <a:pt x="747" y="820"/>
                </a:lnTo>
                <a:lnTo>
                  <a:pt x="749" y="861"/>
                </a:lnTo>
                <a:lnTo>
                  <a:pt x="749" y="902"/>
                </a:lnTo>
                <a:lnTo>
                  <a:pt x="747" y="943"/>
                </a:lnTo>
                <a:lnTo>
                  <a:pt x="775" y="866"/>
                </a:lnTo>
                <a:lnTo>
                  <a:pt x="799" y="790"/>
                </a:lnTo>
                <a:lnTo>
                  <a:pt x="820" y="712"/>
                </a:lnTo>
                <a:lnTo>
                  <a:pt x="839" y="634"/>
                </a:lnTo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20" name="Freeform 5"/>
          <p:cNvSpPr>
            <a:spLocks/>
          </p:cNvSpPr>
          <p:nvPr/>
        </p:nvSpPr>
        <p:spPr bwMode="auto">
          <a:xfrm>
            <a:off x="6268964" y="3598455"/>
            <a:ext cx="2628404" cy="2080106"/>
          </a:xfrm>
          <a:custGeom>
            <a:avLst/>
            <a:gdLst/>
            <a:ahLst/>
            <a:cxnLst>
              <a:cxn ang="0">
                <a:pos x="0" y="503"/>
              </a:cxn>
              <a:cxn ang="0">
                <a:pos x="102" y="987"/>
              </a:cxn>
              <a:cxn ang="0">
                <a:pos x="123" y="831"/>
              </a:cxn>
              <a:cxn ang="0">
                <a:pos x="182" y="851"/>
              </a:cxn>
              <a:cxn ang="0">
                <a:pos x="257" y="874"/>
              </a:cxn>
              <a:cxn ang="0">
                <a:pos x="331" y="893"/>
              </a:cxn>
              <a:cxn ang="0">
                <a:pos x="406" y="909"/>
              </a:cxn>
              <a:cxn ang="0">
                <a:pos x="481" y="923"/>
              </a:cxn>
              <a:cxn ang="0">
                <a:pos x="555" y="933"/>
              </a:cxn>
              <a:cxn ang="0">
                <a:pos x="630" y="939"/>
              </a:cxn>
              <a:cxn ang="0">
                <a:pos x="703" y="941"/>
              </a:cxn>
              <a:cxn ang="0">
                <a:pos x="778" y="940"/>
              </a:cxn>
              <a:cxn ang="0">
                <a:pos x="852" y="937"/>
              </a:cxn>
              <a:cxn ang="0">
                <a:pos x="924" y="929"/>
              </a:cxn>
              <a:cxn ang="0">
                <a:pos x="997" y="917"/>
              </a:cxn>
              <a:cxn ang="0">
                <a:pos x="1069" y="903"/>
              </a:cxn>
              <a:cxn ang="0">
                <a:pos x="1140" y="884"/>
              </a:cxn>
              <a:cxn ang="0">
                <a:pos x="1211" y="863"/>
              </a:cxn>
              <a:cxn ang="0">
                <a:pos x="1051" y="626"/>
              </a:cxn>
              <a:cxn ang="0">
                <a:pos x="1133" y="282"/>
              </a:cxn>
              <a:cxn ang="0">
                <a:pos x="1112" y="289"/>
              </a:cxn>
              <a:cxn ang="0">
                <a:pos x="1088" y="296"/>
              </a:cxn>
              <a:cxn ang="0">
                <a:pos x="1062" y="302"/>
              </a:cxn>
              <a:cxn ang="0">
                <a:pos x="1033" y="308"/>
              </a:cxn>
              <a:cxn ang="0">
                <a:pos x="1001" y="313"/>
              </a:cxn>
              <a:cxn ang="0">
                <a:pos x="966" y="318"/>
              </a:cxn>
              <a:cxn ang="0">
                <a:pos x="929" y="320"/>
              </a:cxn>
              <a:cxn ang="0">
                <a:pos x="891" y="323"/>
              </a:cxn>
              <a:cxn ang="0">
                <a:pos x="852" y="325"/>
              </a:cxn>
              <a:cxn ang="0">
                <a:pos x="810" y="327"/>
              </a:cxn>
              <a:cxn ang="0">
                <a:pos x="768" y="327"/>
              </a:cxn>
              <a:cxn ang="0">
                <a:pos x="726" y="327"/>
              </a:cxn>
              <a:cxn ang="0">
                <a:pos x="682" y="325"/>
              </a:cxn>
              <a:cxn ang="0">
                <a:pos x="639" y="323"/>
              </a:cxn>
              <a:cxn ang="0">
                <a:pos x="597" y="320"/>
              </a:cxn>
              <a:cxn ang="0">
                <a:pos x="554" y="317"/>
              </a:cxn>
              <a:cxn ang="0">
                <a:pos x="513" y="313"/>
              </a:cxn>
              <a:cxn ang="0">
                <a:pos x="474" y="308"/>
              </a:cxn>
              <a:cxn ang="0">
                <a:pos x="435" y="302"/>
              </a:cxn>
              <a:cxn ang="0">
                <a:pos x="398" y="295"/>
              </a:cxn>
              <a:cxn ang="0">
                <a:pos x="363" y="289"/>
              </a:cxn>
              <a:cxn ang="0">
                <a:pos x="331" y="281"/>
              </a:cxn>
              <a:cxn ang="0">
                <a:pos x="302" y="273"/>
              </a:cxn>
              <a:cxn ang="0">
                <a:pos x="275" y="264"/>
              </a:cxn>
              <a:cxn ang="0">
                <a:pos x="252" y="256"/>
              </a:cxn>
              <a:cxn ang="0">
                <a:pos x="274" y="0"/>
              </a:cxn>
              <a:cxn ang="0">
                <a:pos x="0" y="503"/>
              </a:cxn>
            </a:cxnLst>
            <a:rect l="0" t="0" r="r" b="b"/>
            <a:pathLst>
              <a:path w="1212" h="988">
                <a:moveTo>
                  <a:pt x="0" y="503"/>
                </a:moveTo>
                <a:lnTo>
                  <a:pt x="102" y="987"/>
                </a:lnTo>
                <a:lnTo>
                  <a:pt x="123" y="831"/>
                </a:lnTo>
                <a:lnTo>
                  <a:pt x="182" y="851"/>
                </a:lnTo>
                <a:lnTo>
                  <a:pt x="257" y="874"/>
                </a:lnTo>
                <a:lnTo>
                  <a:pt x="331" y="893"/>
                </a:lnTo>
                <a:lnTo>
                  <a:pt x="406" y="909"/>
                </a:lnTo>
                <a:lnTo>
                  <a:pt x="481" y="923"/>
                </a:lnTo>
                <a:lnTo>
                  <a:pt x="555" y="933"/>
                </a:lnTo>
                <a:lnTo>
                  <a:pt x="630" y="939"/>
                </a:lnTo>
                <a:lnTo>
                  <a:pt x="703" y="941"/>
                </a:lnTo>
                <a:lnTo>
                  <a:pt x="778" y="940"/>
                </a:lnTo>
                <a:lnTo>
                  <a:pt x="852" y="937"/>
                </a:lnTo>
                <a:lnTo>
                  <a:pt x="924" y="929"/>
                </a:lnTo>
                <a:lnTo>
                  <a:pt x="997" y="917"/>
                </a:lnTo>
                <a:lnTo>
                  <a:pt x="1069" y="903"/>
                </a:lnTo>
                <a:lnTo>
                  <a:pt x="1140" y="884"/>
                </a:lnTo>
                <a:lnTo>
                  <a:pt x="1211" y="863"/>
                </a:lnTo>
                <a:lnTo>
                  <a:pt x="1051" y="626"/>
                </a:lnTo>
                <a:lnTo>
                  <a:pt x="1133" y="282"/>
                </a:lnTo>
                <a:lnTo>
                  <a:pt x="1112" y="289"/>
                </a:lnTo>
                <a:lnTo>
                  <a:pt x="1088" y="296"/>
                </a:lnTo>
                <a:lnTo>
                  <a:pt x="1062" y="302"/>
                </a:lnTo>
                <a:lnTo>
                  <a:pt x="1033" y="308"/>
                </a:lnTo>
                <a:lnTo>
                  <a:pt x="1001" y="313"/>
                </a:lnTo>
                <a:lnTo>
                  <a:pt x="966" y="318"/>
                </a:lnTo>
                <a:lnTo>
                  <a:pt x="929" y="320"/>
                </a:lnTo>
                <a:lnTo>
                  <a:pt x="891" y="323"/>
                </a:lnTo>
                <a:lnTo>
                  <a:pt x="852" y="325"/>
                </a:lnTo>
                <a:lnTo>
                  <a:pt x="810" y="327"/>
                </a:lnTo>
                <a:lnTo>
                  <a:pt x="768" y="327"/>
                </a:lnTo>
                <a:lnTo>
                  <a:pt x="726" y="327"/>
                </a:lnTo>
                <a:lnTo>
                  <a:pt x="682" y="325"/>
                </a:lnTo>
                <a:lnTo>
                  <a:pt x="639" y="323"/>
                </a:lnTo>
                <a:lnTo>
                  <a:pt x="597" y="320"/>
                </a:lnTo>
                <a:lnTo>
                  <a:pt x="554" y="317"/>
                </a:lnTo>
                <a:lnTo>
                  <a:pt x="513" y="313"/>
                </a:lnTo>
                <a:lnTo>
                  <a:pt x="474" y="308"/>
                </a:lnTo>
                <a:lnTo>
                  <a:pt x="435" y="302"/>
                </a:lnTo>
                <a:lnTo>
                  <a:pt x="398" y="295"/>
                </a:lnTo>
                <a:lnTo>
                  <a:pt x="363" y="289"/>
                </a:lnTo>
                <a:lnTo>
                  <a:pt x="331" y="281"/>
                </a:lnTo>
                <a:lnTo>
                  <a:pt x="302" y="273"/>
                </a:lnTo>
                <a:lnTo>
                  <a:pt x="275" y="264"/>
                </a:lnTo>
                <a:lnTo>
                  <a:pt x="252" y="256"/>
                </a:lnTo>
                <a:lnTo>
                  <a:pt x="274" y="0"/>
                </a:lnTo>
                <a:lnTo>
                  <a:pt x="0" y="503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21" name="Freeform 6"/>
          <p:cNvSpPr>
            <a:spLocks/>
          </p:cNvSpPr>
          <p:nvPr/>
        </p:nvSpPr>
        <p:spPr bwMode="auto">
          <a:xfrm>
            <a:off x="6164445" y="1215071"/>
            <a:ext cx="2129795" cy="2138363"/>
          </a:xfrm>
          <a:custGeom>
            <a:avLst/>
            <a:gdLst/>
            <a:ahLst/>
            <a:cxnLst>
              <a:cxn ang="0">
                <a:pos x="981" y="526"/>
              </a:cxn>
              <a:cxn ang="0">
                <a:pos x="863" y="0"/>
              </a:cxn>
              <a:cxn ang="0">
                <a:pos x="863" y="227"/>
              </a:cxn>
              <a:cxn ang="0">
                <a:pos x="784" y="229"/>
              </a:cxn>
              <a:cxn ang="0">
                <a:pos x="709" y="232"/>
              </a:cxn>
              <a:cxn ang="0">
                <a:pos x="635" y="238"/>
              </a:cxn>
              <a:cxn ang="0">
                <a:pos x="563" y="245"/>
              </a:cxn>
              <a:cxn ang="0">
                <a:pos x="495" y="254"/>
              </a:cxn>
              <a:cxn ang="0">
                <a:pos x="429" y="265"/>
              </a:cxn>
              <a:cxn ang="0">
                <a:pos x="366" y="278"/>
              </a:cxn>
              <a:cxn ang="0">
                <a:pos x="305" y="293"/>
              </a:cxn>
              <a:cxn ang="0">
                <a:pos x="247" y="309"/>
              </a:cxn>
              <a:cxn ang="0">
                <a:pos x="191" y="327"/>
              </a:cxn>
              <a:cxn ang="0">
                <a:pos x="139" y="347"/>
              </a:cxn>
              <a:cxn ang="0">
                <a:pos x="90" y="368"/>
              </a:cxn>
              <a:cxn ang="0">
                <a:pos x="43" y="392"/>
              </a:cxn>
              <a:cxn ang="0">
                <a:pos x="0" y="418"/>
              </a:cxn>
              <a:cxn ang="0">
                <a:pos x="130" y="677"/>
              </a:cxn>
              <a:cxn ang="0">
                <a:pos x="108" y="961"/>
              </a:cxn>
              <a:cxn ang="0">
                <a:pos x="134" y="947"/>
              </a:cxn>
              <a:cxn ang="0">
                <a:pos x="171" y="932"/>
              </a:cxn>
              <a:cxn ang="0">
                <a:pos x="210" y="918"/>
              </a:cxn>
              <a:cxn ang="0">
                <a:pos x="251" y="904"/>
              </a:cxn>
              <a:cxn ang="0">
                <a:pos x="293" y="892"/>
              </a:cxn>
              <a:cxn ang="0">
                <a:pos x="338" y="880"/>
              </a:cxn>
              <a:cxn ang="0">
                <a:pos x="383" y="869"/>
              </a:cxn>
              <a:cxn ang="0">
                <a:pos x="430" y="859"/>
              </a:cxn>
              <a:cxn ang="0">
                <a:pos x="476" y="852"/>
              </a:cxn>
              <a:cxn ang="0">
                <a:pos x="524" y="844"/>
              </a:cxn>
              <a:cxn ang="0">
                <a:pos x="571" y="838"/>
              </a:cxn>
              <a:cxn ang="0">
                <a:pos x="618" y="833"/>
              </a:cxn>
              <a:cxn ang="0">
                <a:pos x="664" y="831"/>
              </a:cxn>
              <a:cxn ang="0">
                <a:pos x="710" y="829"/>
              </a:cxn>
              <a:cxn ang="0">
                <a:pos x="753" y="828"/>
              </a:cxn>
              <a:cxn ang="0">
                <a:pos x="797" y="829"/>
              </a:cxn>
              <a:cxn ang="0">
                <a:pos x="838" y="831"/>
              </a:cxn>
              <a:cxn ang="0">
                <a:pos x="844" y="1015"/>
              </a:cxn>
              <a:cxn ang="0">
                <a:pos x="981" y="526"/>
              </a:cxn>
            </a:cxnLst>
            <a:rect l="0" t="0" r="r" b="b"/>
            <a:pathLst>
              <a:path w="982" h="1016">
                <a:moveTo>
                  <a:pt x="981" y="526"/>
                </a:moveTo>
                <a:lnTo>
                  <a:pt x="863" y="0"/>
                </a:lnTo>
                <a:lnTo>
                  <a:pt x="863" y="227"/>
                </a:lnTo>
                <a:lnTo>
                  <a:pt x="784" y="229"/>
                </a:lnTo>
                <a:lnTo>
                  <a:pt x="709" y="232"/>
                </a:lnTo>
                <a:lnTo>
                  <a:pt x="635" y="238"/>
                </a:lnTo>
                <a:lnTo>
                  <a:pt x="563" y="245"/>
                </a:lnTo>
                <a:lnTo>
                  <a:pt x="495" y="254"/>
                </a:lnTo>
                <a:lnTo>
                  <a:pt x="429" y="265"/>
                </a:lnTo>
                <a:lnTo>
                  <a:pt x="366" y="278"/>
                </a:lnTo>
                <a:lnTo>
                  <a:pt x="305" y="293"/>
                </a:lnTo>
                <a:lnTo>
                  <a:pt x="247" y="309"/>
                </a:lnTo>
                <a:lnTo>
                  <a:pt x="191" y="327"/>
                </a:lnTo>
                <a:lnTo>
                  <a:pt x="139" y="347"/>
                </a:lnTo>
                <a:lnTo>
                  <a:pt x="90" y="368"/>
                </a:lnTo>
                <a:lnTo>
                  <a:pt x="43" y="392"/>
                </a:lnTo>
                <a:lnTo>
                  <a:pt x="0" y="418"/>
                </a:lnTo>
                <a:lnTo>
                  <a:pt x="130" y="677"/>
                </a:lnTo>
                <a:lnTo>
                  <a:pt x="108" y="961"/>
                </a:lnTo>
                <a:lnTo>
                  <a:pt x="134" y="947"/>
                </a:lnTo>
                <a:lnTo>
                  <a:pt x="171" y="932"/>
                </a:lnTo>
                <a:lnTo>
                  <a:pt x="210" y="918"/>
                </a:lnTo>
                <a:lnTo>
                  <a:pt x="251" y="904"/>
                </a:lnTo>
                <a:lnTo>
                  <a:pt x="293" y="892"/>
                </a:lnTo>
                <a:lnTo>
                  <a:pt x="338" y="880"/>
                </a:lnTo>
                <a:lnTo>
                  <a:pt x="383" y="869"/>
                </a:lnTo>
                <a:lnTo>
                  <a:pt x="430" y="859"/>
                </a:lnTo>
                <a:lnTo>
                  <a:pt x="476" y="852"/>
                </a:lnTo>
                <a:lnTo>
                  <a:pt x="524" y="844"/>
                </a:lnTo>
                <a:lnTo>
                  <a:pt x="571" y="838"/>
                </a:lnTo>
                <a:lnTo>
                  <a:pt x="618" y="833"/>
                </a:lnTo>
                <a:lnTo>
                  <a:pt x="664" y="831"/>
                </a:lnTo>
                <a:lnTo>
                  <a:pt x="710" y="829"/>
                </a:lnTo>
                <a:lnTo>
                  <a:pt x="753" y="828"/>
                </a:lnTo>
                <a:lnTo>
                  <a:pt x="797" y="829"/>
                </a:lnTo>
                <a:lnTo>
                  <a:pt x="838" y="831"/>
                </a:lnTo>
                <a:lnTo>
                  <a:pt x="844" y="1015"/>
                </a:lnTo>
                <a:lnTo>
                  <a:pt x="981" y="526"/>
                </a:lnTo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grpSp>
        <p:nvGrpSpPr>
          <p:cNvPr id="22" name="Group 7"/>
          <p:cNvGrpSpPr>
            <a:grpSpLocks/>
          </p:cNvGrpSpPr>
          <p:nvPr/>
        </p:nvGrpSpPr>
        <p:grpSpPr bwMode="auto">
          <a:xfrm>
            <a:off x="5501347" y="1768510"/>
            <a:ext cx="1005785" cy="3479979"/>
            <a:chOff x="1450" y="1104"/>
            <a:chExt cx="587" cy="2031"/>
          </a:xfrm>
          <a:effectLst/>
        </p:grpSpPr>
        <p:sp>
          <p:nvSpPr>
            <p:cNvPr id="23" name="Freeform 8"/>
            <p:cNvSpPr>
              <a:spLocks/>
            </p:cNvSpPr>
            <p:nvPr/>
          </p:nvSpPr>
          <p:spPr bwMode="auto">
            <a:xfrm>
              <a:off x="1450" y="1104"/>
              <a:ext cx="497" cy="1090"/>
            </a:xfrm>
            <a:custGeom>
              <a:avLst/>
              <a:gdLst/>
              <a:ahLst/>
              <a:cxnLst>
                <a:cxn ang="0">
                  <a:pos x="392" y="453"/>
                </a:cxn>
                <a:cxn ang="0">
                  <a:pos x="206" y="0"/>
                </a:cxn>
                <a:cxn ang="0">
                  <a:pos x="206" y="209"/>
                </a:cxn>
                <a:cxn ang="0">
                  <a:pos x="171" y="236"/>
                </a:cxn>
                <a:cxn ang="0">
                  <a:pos x="139" y="266"/>
                </a:cxn>
                <a:cxn ang="0">
                  <a:pos x="111" y="297"/>
                </a:cxn>
                <a:cxn ang="0">
                  <a:pos x="85" y="330"/>
                </a:cxn>
                <a:cxn ang="0">
                  <a:pos x="63" y="363"/>
                </a:cxn>
                <a:cxn ang="0">
                  <a:pos x="43" y="398"/>
                </a:cxn>
                <a:cxn ang="0">
                  <a:pos x="28" y="435"/>
                </a:cxn>
                <a:cxn ang="0">
                  <a:pos x="15" y="472"/>
                </a:cxn>
                <a:cxn ang="0">
                  <a:pos x="7" y="510"/>
                </a:cxn>
                <a:cxn ang="0">
                  <a:pos x="2" y="547"/>
                </a:cxn>
                <a:cxn ang="0">
                  <a:pos x="0" y="582"/>
                </a:cxn>
                <a:cxn ang="0">
                  <a:pos x="3" y="625"/>
                </a:cxn>
                <a:cxn ang="0">
                  <a:pos x="9" y="663"/>
                </a:cxn>
                <a:cxn ang="0">
                  <a:pos x="19" y="701"/>
                </a:cxn>
                <a:cxn ang="0">
                  <a:pos x="33" y="740"/>
                </a:cxn>
                <a:cxn ang="0">
                  <a:pos x="49" y="777"/>
                </a:cxn>
                <a:cxn ang="0">
                  <a:pos x="67" y="806"/>
                </a:cxn>
                <a:cxn ang="0">
                  <a:pos x="87" y="834"/>
                </a:cxn>
                <a:cxn ang="0">
                  <a:pos x="109" y="861"/>
                </a:cxn>
                <a:cxn ang="0">
                  <a:pos x="133" y="887"/>
                </a:cxn>
                <a:cxn ang="0">
                  <a:pos x="161" y="860"/>
                </a:cxn>
                <a:cxn ang="0">
                  <a:pos x="191" y="834"/>
                </a:cxn>
                <a:cxn ang="0">
                  <a:pos x="222" y="809"/>
                </a:cxn>
                <a:cxn ang="0">
                  <a:pos x="254" y="786"/>
                </a:cxn>
                <a:cxn ang="0">
                  <a:pos x="286" y="765"/>
                </a:cxn>
                <a:cxn ang="0">
                  <a:pos x="319" y="746"/>
                </a:cxn>
                <a:cxn ang="0">
                  <a:pos x="352" y="728"/>
                </a:cxn>
                <a:cxn ang="0">
                  <a:pos x="370" y="861"/>
                </a:cxn>
                <a:cxn ang="0">
                  <a:pos x="392" y="453"/>
                </a:cxn>
              </a:cxnLst>
              <a:rect l="0" t="0" r="r" b="b"/>
              <a:pathLst>
                <a:path w="393" h="888">
                  <a:moveTo>
                    <a:pt x="392" y="453"/>
                  </a:moveTo>
                  <a:lnTo>
                    <a:pt x="206" y="0"/>
                  </a:lnTo>
                  <a:lnTo>
                    <a:pt x="206" y="209"/>
                  </a:lnTo>
                  <a:lnTo>
                    <a:pt x="171" y="236"/>
                  </a:lnTo>
                  <a:lnTo>
                    <a:pt x="139" y="266"/>
                  </a:lnTo>
                  <a:lnTo>
                    <a:pt x="111" y="297"/>
                  </a:lnTo>
                  <a:lnTo>
                    <a:pt x="85" y="330"/>
                  </a:lnTo>
                  <a:lnTo>
                    <a:pt x="63" y="363"/>
                  </a:lnTo>
                  <a:lnTo>
                    <a:pt x="43" y="398"/>
                  </a:lnTo>
                  <a:lnTo>
                    <a:pt x="28" y="435"/>
                  </a:lnTo>
                  <a:lnTo>
                    <a:pt x="15" y="472"/>
                  </a:lnTo>
                  <a:lnTo>
                    <a:pt x="7" y="510"/>
                  </a:lnTo>
                  <a:lnTo>
                    <a:pt x="2" y="547"/>
                  </a:lnTo>
                  <a:lnTo>
                    <a:pt x="0" y="582"/>
                  </a:lnTo>
                  <a:lnTo>
                    <a:pt x="3" y="625"/>
                  </a:lnTo>
                  <a:lnTo>
                    <a:pt x="9" y="663"/>
                  </a:lnTo>
                  <a:lnTo>
                    <a:pt x="19" y="701"/>
                  </a:lnTo>
                  <a:lnTo>
                    <a:pt x="33" y="740"/>
                  </a:lnTo>
                  <a:lnTo>
                    <a:pt x="49" y="777"/>
                  </a:lnTo>
                  <a:lnTo>
                    <a:pt x="67" y="806"/>
                  </a:lnTo>
                  <a:lnTo>
                    <a:pt x="87" y="834"/>
                  </a:lnTo>
                  <a:lnTo>
                    <a:pt x="109" y="861"/>
                  </a:lnTo>
                  <a:lnTo>
                    <a:pt x="133" y="887"/>
                  </a:lnTo>
                  <a:lnTo>
                    <a:pt x="161" y="860"/>
                  </a:lnTo>
                  <a:lnTo>
                    <a:pt x="191" y="834"/>
                  </a:lnTo>
                  <a:lnTo>
                    <a:pt x="222" y="809"/>
                  </a:lnTo>
                  <a:lnTo>
                    <a:pt x="254" y="786"/>
                  </a:lnTo>
                  <a:lnTo>
                    <a:pt x="286" y="765"/>
                  </a:lnTo>
                  <a:lnTo>
                    <a:pt x="319" y="746"/>
                  </a:lnTo>
                  <a:lnTo>
                    <a:pt x="352" y="728"/>
                  </a:lnTo>
                  <a:lnTo>
                    <a:pt x="370" y="861"/>
                  </a:lnTo>
                  <a:lnTo>
                    <a:pt x="392" y="453"/>
                  </a:lnTo>
                </a:path>
              </a:pathLst>
            </a:custGeom>
            <a:solidFill>
              <a:schemeClr val="accent5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  <p:sp>
          <p:nvSpPr>
            <p:cNvPr id="24" name="Freeform 9"/>
            <p:cNvSpPr>
              <a:spLocks/>
            </p:cNvSpPr>
            <p:nvPr/>
          </p:nvSpPr>
          <p:spPr bwMode="auto">
            <a:xfrm>
              <a:off x="1450" y="1830"/>
              <a:ext cx="587" cy="130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84"/>
                </a:cxn>
                <a:cxn ang="0">
                  <a:pos x="3" y="614"/>
                </a:cxn>
                <a:cxn ang="0">
                  <a:pos x="7" y="644"/>
                </a:cxn>
                <a:cxn ang="0">
                  <a:pos x="15" y="676"/>
                </a:cxn>
                <a:cxn ang="0">
                  <a:pos x="25" y="708"/>
                </a:cxn>
                <a:cxn ang="0">
                  <a:pos x="37" y="741"/>
                </a:cxn>
                <a:cxn ang="0">
                  <a:pos x="52" y="773"/>
                </a:cxn>
                <a:cxn ang="0">
                  <a:pos x="69" y="806"/>
                </a:cxn>
                <a:cxn ang="0">
                  <a:pos x="89" y="837"/>
                </a:cxn>
                <a:cxn ang="0">
                  <a:pos x="110" y="868"/>
                </a:cxn>
                <a:cxn ang="0">
                  <a:pos x="132" y="897"/>
                </a:cxn>
                <a:cxn ang="0">
                  <a:pos x="157" y="925"/>
                </a:cxn>
                <a:cxn ang="0">
                  <a:pos x="183" y="952"/>
                </a:cxn>
                <a:cxn ang="0">
                  <a:pos x="209" y="976"/>
                </a:cxn>
                <a:cxn ang="0">
                  <a:pos x="236" y="997"/>
                </a:cxn>
                <a:cxn ang="0">
                  <a:pos x="264" y="1015"/>
                </a:cxn>
                <a:cxn ang="0">
                  <a:pos x="291" y="1032"/>
                </a:cxn>
                <a:cxn ang="0">
                  <a:pos x="318" y="1045"/>
                </a:cxn>
                <a:cxn ang="0">
                  <a:pos x="345" y="1055"/>
                </a:cxn>
                <a:cxn ang="0">
                  <a:pos x="372" y="1062"/>
                </a:cxn>
                <a:cxn ang="0">
                  <a:pos x="306" y="770"/>
                </a:cxn>
                <a:cxn ang="0">
                  <a:pos x="463" y="503"/>
                </a:cxn>
                <a:cxn ang="0">
                  <a:pos x="432" y="491"/>
                </a:cxn>
                <a:cxn ang="0">
                  <a:pos x="395" y="476"/>
                </a:cxn>
                <a:cxn ang="0">
                  <a:pos x="359" y="458"/>
                </a:cxn>
                <a:cxn ang="0">
                  <a:pos x="324" y="440"/>
                </a:cxn>
                <a:cxn ang="0">
                  <a:pos x="290" y="422"/>
                </a:cxn>
                <a:cxn ang="0">
                  <a:pos x="259" y="401"/>
                </a:cxn>
                <a:cxn ang="0">
                  <a:pos x="229" y="382"/>
                </a:cxn>
                <a:cxn ang="0">
                  <a:pos x="202" y="360"/>
                </a:cxn>
                <a:cxn ang="0">
                  <a:pos x="177" y="340"/>
                </a:cxn>
                <a:cxn ang="0">
                  <a:pos x="155" y="320"/>
                </a:cxn>
                <a:cxn ang="0">
                  <a:pos x="136" y="300"/>
                </a:cxn>
                <a:cxn ang="0">
                  <a:pos x="120" y="279"/>
                </a:cxn>
                <a:cxn ang="0">
                  <a:pos x="95" y="249"/>
                </a:cxn>
                <a:cxn ang="0">
                  <a:pos x="73" y="217"/>
                </a:cxn>
                <a:cxn ang="0">
                  <a:pos x="55" y="184"/>
                </a:cxn>
                <a:cxn ang="0">
                  <a:pos x="38" y="149"/>
                </a:cxn>
                <a:cxn ang="0">
                  <a:pos x="25" y="113"/>
                </a:cxn>
                <a:cxn ang="0">
                  <a:pos x="14" y="76"/>
                </a:cxn>
                <a:cxn ang="0">
                  <a:pos x="6" y="38"/>
                </a:cxn>
                <a:cxn ang="0">
                  <a:pos x="0" y="0"/>
                </a:cxn>
              </a:cxnLst>
              <a:rect l="0" t="0" r="r" b="b"/>
              <a:pathLst>
                <a:path w="464" h="1063">
                  <a:moveTo>
                    <a:pt x="0" y="0"/>
                  </a:moveTo>
                  <a:lnTo>
                    <a:pt x="0" y="584"/>
                  </a:lnTo>
                  <a:lnTo>
                    <a:pt x="3" y="614"/>
                  </a:lnTo>
                  <a:lnTo>
                    <a:pt x="7" y="644"/>
                  </a:lnTo>
                  <a:lnTo>
                    <a:pt x="15" y="676"/>
                  </a:lnTo>
                  <a:lnTo>
                    <a:pt x="25" y="708"/>
                  </a:lnTo>
                  <a:lnTo>
                    <a:pt x="37" y="741"/>
                  </a:lnTo>
                  <a:lnTo>
                    <a:pt x="52" y="773"/>
                  </a:lnTo>
                  <a:lnTo>
                    <a:pt x="69" y="806"/>
                  </a:lnTo>
                  <a:lnTo>
                    <a:pt x="89" y="837"/>
                  </a:lnTo>
                  <a:lnTo>
                    <a:pt x="110" y="868"/>
                  </a:lnTo>
                  <a:lnTo>
                    <a:pt x="132" y="897"/>
                  </a:lnTo>
                  <a:lnTo>
                    <a:pt x="157" y="925"/>
                  </a:lnTo>
                  <a:lnTo>
                    <a:pt x="183" y="952"/>
                  </a:lnTo>
                  <a:lnTo>
                    <a:pt x="209" y="976"/>
                  </a:lnTo>
                  <a:lnTo>
                    <a:pt x="236" y="997"/>
                  </a:lnTo>
                  <a:lnTo>
                    <a:pt x="264" y="1015"/>
                  </a:lnTo>
                  <a:lnTo>
                    <a:pt x="291" y="1032"/>
                  </a:lnTo>
                  <a:lnTo>
                    <a:pt x="318" y="1045"/>
                  </a:lnTo>
                  <a:lnTo>
                    <a:pt x="345" y="1055"/>
                  </a:lnTo>
                  <a:lnTo>
                    <a:pt x="372" y="1062"/>
                  </a:lnTo>
                  <a:lnTo>
                    <a:pt x="306" y="770"/>
                  </a:lnTo>
                  <a:lnTo>
                    <a:pt x="463" y="503"/>
                  </a:lnTo>
                  <a:lnTo>
                    <a:pt x="432" y="491"/>
                  </a:lnTo>
                  <a:lnTo>
                    <a:pt x="395" y="476"/>
                  </a:lnTo>
                  <a:lnTo>
                    <a:pt x="359" y="458"/>
                  </a:lnTo>
                  <a:lnTo>
                    <a:pt x="324" y="440"/>
                  </a:lnTo>
                  <a:lnTo>
                    <a:pt x="290" y="422"/>
                  </a:lnTo>
                  <a:lnTo>
                    <a:pt x="259" y="401"/>
                  </a:lnTo>
                  <a:lnTo>
                    <a:pt x="229" y="382"/>
                  </a:lnTo>
                  <a:lnTo>
                    <a:pt x="202" y="360"/>
                  </a:lnTo>
                  <a:lnTo>
                    <a:pt x="177" y="340"/>
                  </a:lnTo>
                  <a:lnTo>
                    <a:pt x="155" y="320"/>
                  </a:lnTo>
                  <a:lnTo>
                    <a:pt x="136" y="300"/>
                  </a:lnTo>
                  <a:lnTo>
                    <a:pt x="120" y="279"/>
                  </a:lnTo>
                  <a:lnTo>
                    <a:pt x="95" y="249"/>
                  </a:lnTo>
                  <a:lnTo>
                    <a:pt x="73" y="217"/>
                  </a:lnTo>
                  <a:lnTo>
                    <a:pt x="55" y="184"/>
                  </a:lnTo>
                  <a:lnTo>
                    <a:pt x="38" y="149"/>
                  </a:lnTo>
                  <a:lnTo>
                    <a:pt x="25" y="113"/>
                  </a:lnTo>
                  <a:lnTo>
                    <a:pt x="14" y="76"/>
                  </a:lnTo>
                  <a:lnTo>
                    <a:pt x="6" y="3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7139" tIns="50513" rIns="97139" anchor="ctr"/>
            <a:lstStyle/>
            <a:p>
              <a:endParaRPr lang="ca-ES" sz="2159"/>
            </a:p>
          </p:txBody>
        </p:sp>
      </p:grpSp>
      <p:sp>
        <p:nvSpPr>
          <p:cNvPr id="25" name="Freeform 10"/>
          <p:cNvSpPr>
            <a:spLocks/>
          </p:cNvSpPr>
          <p:nvPr/>
        </p:nvSpPr>
        <p:spPr bwMode="auto">
          <a:xfrm>
            <a:off x="9829474" y="2378492"/>
            <a:ext cx="376955" cy="1345043"/>
          </a:xfrm>
          <a:custGeom>
            <a:avLst/>
            <a:gdLst/>
            <a:ahLst/>
            <a:cxnLst>
              <a:cxn ang="0">
                <a:pos x="0" y="637"/>
              </a:cxn>
              <a:cxn ang="0">
                <a:pos x="21" y="634"/>
              </a:cxn>
              <a:cxn ang="0">
                <a:pos x="40" y="628"/>
              </a:cxn>
              <a:cxn ang="0">
                <a:pos x="58" y="617"/>
              </a:cxn>
              <a:cxn ang="0">
                <a:pos x="76" y="604"/>
              </a:cxn>
              <a:cxn ang="0">
                <a:pos x="92" y="587"/>
              </a:cxn>
              <a:cxn ang="0">
                <a:pos x="107" y="567"/>
              </a:cxn>
              <a:cxn ang="0">
                <a:pos x="121" y="544"/>
              </a:cxn>
              <a:cxn ang="0">
                <a:pos x="134" y="517"/>
              </a:cxn>
              <a:cxn ang="0">
                <a:pos x="145" y="489"/>
              </a:cxn>
              <a:cxn ang="0">
                <a:pos x="153" y="458"/>
              </a:cxn>
              <a:cxn ang="0">
                <a:pos x="161" y="425"/>
              </a:cxn>
              <a:cxn ang="0">
                <a:pos x="167" y="390"/>
              </a:cxn>
              <a:cxn ang="0">
                <a:pos x="171" y="353"/>
              </a:cxn>
              <a:cxn ang="0">
                <a:pos x="173" y="315"/>
              </a:cxn>
              <a:cxn ang="0">
                <a:pos x="173" y="276"/>
              </a:cxn>
              <a:cxn ang="0">
                <a:pos x="171" y="236"/>
              </a:cxn>
              <a:cxn ang="0">
                <a:pos x="167" y="196"/>
              </a:cxn>
              <a:cxn ang="0">
                <a:pos x="162" y="156"/>
              </a:cxn>
              <a:cxn ang="0">
                <a:pos x="154" y="116"/>
              </a:cxn>
              <a:cxn ang="0">
                <a:pos x="146" y="76"/>
              </a:cxn>
              <a:cxn ang="0">
                <a:pos x="135" y="38"/>
              </a:cxn>
              <a:cxn ang="0">
                <a:pos x="123" y="0"/>
              </a:cxn>
              <a:cxn ang="0">
                <a:pos x="128" y="68"/>
              </a:cxn>
              <a:cxn ang="0">
                <a:pos x="131" y="135"/>
              </a:cxn>
              <a:cxn ang="0">
                <a:pos x="132" y="203"/>
              </a:cxn>
              <a:cxn ang="0">
                <a:pos x="131" y="270"/>
              </a:cxn>
              <a:cxn ang="0">
                <a:pos x="127" y="337"/>
              </a:cxn>
              <a:cxn ang="0">
                <a:pos x="124" y="369"/>
              </a:cxn>
              <a:cxn ang="0">
                <a:pos x="120" y="401"/>
              </a:cxn>
              <a:cxn ang="0">
                <a:pos x="115" y="433"/>
              </a:cxn>
              <a:cxn ang="0">
                <a:pos x="109" y="463"/>
              </a:cxn>
              <a:cxn ang="0">
                <a:pos x="101" y="492"/>
              </a:cxn>
              <a:cxn ang="0">
                <a:pos x="93" y="520"/>
              </a:cxn>
              <a:cxn ang="0">
                <a:pos x="84" y="545"/>
              </a:cxn>
              <a:cxn ang="0">
                <a:pos x="74" y="569"/>
              </a:cxn>
              <a:cxn ang="0">
                <a:pos x="64" y="588"/>
              </a:cxn>
              <a:cxn ang="0">
                <a:pos x="53" y="606"/>
              </a:cxn>
              <a:cxn ang="0">
                <a:pos x="43" y="619"/>
              </a:cxn>
              <a:cxn ang="0">
                <a:pos x="32" y="629"/>
              </a:cxn>
              <a:cxn ang="0">
                <a:pos x="22" y="635"/>
              </a:cxn>
              <a:cxn ang="0">
                <a:pos x="11" y="638"/>
              </a:cxn>
              <a:cxn ang="0">
                <a:pos x="0" y="637"/>
              </a:cxn>
            </a:cxnLst>
            <a:rect l="0" t="0" r="r" b="b"/>
            <a:pathLst>
              <a:path w="174" h="639">
                <a:moveTo>
                  <a:pt x="0" y="637"/>
                </a:moveTo>
                <a:lnTo>
                  <a:pt x="21" y="634"/>
                </a:lnTo>
                <a:lnTo>
                  <a:pt x="40" y="628"/>
                </a:lnTo>
                <a:lnTo>
                  <a:pt x="58" y="617"/>
                </a:lnTo>
                <a:lnTo>
                  <a:pt x="76" y="604"/>
                </a:lnTo>
                <a:lnTo>
                  <a:pt x="92" y="587"/>
                </a:lnTo>
                <a:lnTo>
                  <a:pt x="107" y="567"/>
                </a:lnTo>
                <a:lnTo>
                  <a:pt x="121" y="544"/>
                </a:lnTo>
                <a:lnTo>
                  <a:pt x="134" y="517"/>
                </a:lnTo>
                <a:lnTo>
                  <a:pt x="145" y="489"/>
                </a:lnTo>
                <a:lnTo>
                  <a:pt x="153" y="458"/>
                </a:lnTo>
                <a:lnTo>
                  <a:pt x="161" y="425"/>
                </a:lnTo>
                <a:lnTo>
                  <a:pt x="167" y="390"/>
                </a:lnTo>
                <a:lnTo>
                  <a:pt x="171" y="353"/>
                </a:lnTo>
                <a:lnTo>
                  <a:pt x="173" y="315"/>
                </a:lnTo>
                <a:lnTo>
                  <a:pt x="173" y="276"/>
                </a:lnTo>
                <a:lnTo>
                  <a:pt x="171" y="236"/>
                </a:lnTo>
                <a:lnTo>
                  <a:pt x="167" y="196"/>
                </a:lnTo>
                <a:lnTo>
                  <a:pt x="162" y="156"/>
                </a:lnTo>
                <a:lnTo>
                  <a:pt x="154" y="116"/>
                </a:lnTo>
                <a:lnTo>
                  <a:pt x="146" y="76"/>
                </a:lnTo>
                <a:lnTo>
                  <a:pt x="135" y="38"/>
                </a:lnTo>
                <a:lnTo>
                  <a:pt x="123" y="0"/>
                </a:lnTo>
                <a:lnTo>
                  <a:pt x="128" y="68"/>
                </a:lnTo>
                <a:lnTo>
                  <a:pt x="131" y="135"/>
                </a:lnTo>
                <a:lnTo>
                  <a:pt x="132" y="203"/>
                </a:lnTo>
                <a:lnTo>
                  <a:pt x="131" y="270"/>
                </a:lnTo>
                <a:lnTo>
                  <a:pt x="127" y="337"/>
                </a:lnTo>
                <a:lnTo>
                  <a:pt x="124" y="369"/>
                </a:lnTo>
                <a:lnTo>
                  <a:pt x="120" y="401"/>
                </a:lnTo>
                <a:lnTo>
                  <a:pt x="115" y="433"/>
                </a:lnTo>
                <a:lnTo>
                  <a:pt x="109" y="463"/>
                </a:lnTo>
                <a:lnTo>
                  <a:pt x="101" y="492"/>
                </a:lnTo>
                <a:lnTo>
                  <a:pt x="93" y="520"/>
                </a:lnTo>
                <a:lnTo>
                  <a:pt x="84" y="545"/>
                </a:lnTo>
                <a:lnTo>
                  <a:pt x="74" y="569"/>
                </a:lnTo>
                <a:lnTo>
                  <a:pt x="64" y="588"/>
                </a:lnTo>
                <a:lnTo>
                  <a:pt x="53" y="606"/>
                </a:lnTo>
                <a:lnTo>
                  <a:pt x="43" y="619"/>
                </a:lnTo>
                <a:lnTo>
                  <a:pt x="32" y="629"/>
                </a:lnTo>
                <a:lnTo>
                  <a:pt x="22" y="635"/>
                </a:lnTo>
                <a:lnTo>
                  <a:pt x="11" y="638"/>
                </a:lnTo>
                <a:lnTo>
                  <a:pt x="0" y="637"/>
                </a:lnTo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26" name="Freeform 11"/>
          <p:cNvSpPr>
            <a:spLocks/>
          </p:cNvSpPr>
          <p:nvPr/>
        </p:nvSpPr>
        <p:spPr bwMode="auto">
          <a:xfrm>
            <a:off x="8654060" y="3067292"/>
            <a:ext cx="1550656" cy="2724356"/>
          </a:xfrm>
          <a:custGeom>
            <a:avLst/>
            <a:gdLst/>
            <a:ahLst/>
            <a:cxnLst>
              <a:cxn ang="0">
                <a:pos x="0" y="873"/>
              </a:cxn>
              <a:cxn ang="0">
                <a:pos x="277" y="1294"/>
              </a:cxn>
              <a:cxn ang="0">
                <a:pos x="226" y="1080"/>
              </a:cxn>
              <a:cxn ang="0">
                <a:pos x="269" y="1060"/>
              </a:cxn>
              <a:cxn ang="0">
                <a:pos x="317" y="1038"/>
              </a:cxn>
              <a:cxn ang="0">
                <a:pos x="363" y="1014"/>
              </a:cxn>
              <a:cxn ang="0">
                <a:pos x="408" y="988"/>
              </a:cxn>
              <a:cxn ang="0">
                <a:pos x="449" y="962"/>
              </a:cxn>
              <a:cxn ang="0">
                <a:pos x="489" y="934"/>
              </a:cxn>
              <a:cxn ang="0">
                <a:pos x="526" y="905"/>
              </a:cxn>
              <a:cxn ang="0">
                <a:pos x="561" y="874"/>
              </a:cxn>
              <a:cxn ang="0">
                <a:pos x="592" y="843"/>
              </a:cxn>
              <a:cxn ang="0">
                <a:pos x="620" y="812"/>
              </a:cxn>
              <a:cxn ang="0">
                <a:pos x="645" y="780"/>
              </a:cxn>
              <a:cxn ang="0">
                <a:pos x="667" y="747"/>
              </a:cxn>
              <a:cxn ang="0">
                <a:pos x="687" y="713"/>
              </a:cxn>
              <a:cxn ang="0">
                <a:pos x="702" y="680"/>
              </a:cxn>
              <a:cxn ang="0">
                <a:pos x="714" y="646"/>
              </a:cxn>
              <a:cxn ang="0">
                <a:pos x="714" y="0"/>
              </a:cxn>
              <a:cxn ang="0">
                <a:pos x="711" y="25"/>
              </a:cxn>
              <a:cxn ang="0">
                <a:pos x="704" y="52"/>
              </a:cxn>
              <a:cxn ang="0">
                <a:pos x="694" y="80"/>
              </a:cxn>
              <a:cxn ang="0">
                <a:pos x="683" y="109"/>
              </a:cxn>
              <a:cxn ang="0">
                <a:pos x="667" y="138"/>
              </a:cxn>
              <a:cxn ang="0">
                <a:pos x="649" y="168"/>
              </a:cxn>
              <a:cxn ang="0">
                <a:pos x="628" y="199"/>
              </a:cxn>
              <a:cxn ang="0">
                <a:pos x="605" y="228"/>
              </a:cxn>
              <a:cxn ang="0">
                <a:pos x="580" y="258"/>
              </a:cxn>
              <a:cxn ang="0">
                <a:pos x="553" y="287"/>
              </a:cxn>
              <a:cxn ang="0">
                <a:pos x="524" y="315"/>
              </a:cxn>
              <a:cxn ang="0">
                <a:pos x="494" y="342"/>
              </a:cxn>
              <a:cxn ang="0">
                <a:pos x="462" y="367"/>
              </a:cxn>
              <a:cxn ang="0">
                <a:pos x="430" y="392"/>
              </a:cxn>
              <a:cxn ang="0">
                <a:pos x="396" y="413"/>
              </a:cxn>
              <a:cxn ang="0">
                <a:pos x="362" y="433"/>
              </a:cxn>
              <a:cxn ang="0">
                <a:pos x="329" y="451"/>
              </a:cxn>
              <a:cxn ang="0">
                <a:pos x="295" y="467"/>
              </a:cxn>
              <a:cxn ang="0">
                <a:pos x="262" y="480"/>
              </a:cxn>
              <a:cxn ang="0">
                <a:pos x="230" y="490"/>
              </a:cxn>
              <a:cxn ang="0">
                <a:pos x="198" y="498"/>
              </a:cxn>
              <a:cxn ang="0">
                <a:pos x="169" y="503"/>
              </a:cxn>
              <a:cxn ang="0">
                <a:pos x="129" y="253"/>
              </a:cxn>
              <a:cxn ang="0">
                <a:pos x="0" y="873"/>
              </a:cxn>
            </a:cxnLst>
            <a:rect l="0" t="0" r="r" b="b"/>
            <a:pathLst>
              <a:path w="715" h="1295">
                <a:moveTo>
                  <a:pt x="0" y="873"/>
                </a:moveTo>
                <a:lnTo>
                  <a:pt x="277" y="1294"/>
                </a:lnTo>
                <a:lnTo>
                  <a:pt x="226" y="1080"/>
                </a:lnTo>
                <a:lnTo>
                  <a:pt x="269" y="1060"/>
                </a:lnTo>
                <a:lnTo>
                  <a:pt x="317" y="1038"/>
                </a:lnTo>
                <a:lnTo>
                  <a:pt x="363" y="1014"/>
                </a:lnTo>
                <a:lnTo>
                  <a:pt x="408" y="988"/>
                </a:lnTo>
                <a:lnTo>
                  <a:pt x="449" y="962"/>
                </a:lnTo>
                <a:lnTo>
                  <a:pt x="489" y="934"/>
                </a:lnTo>
                <a:lnTo>
                  <a:pt x="526" y="905"/>
                </a:lnTo>
                <a:lnTo>
                  <a:pt x="561" y="874"/>
                </a:lnTo>
                <a:lnTo>
                  <a:pt x="592" y="843"/>
                </a:lnTo>
                <a:lnTo>
                  <a:pt x="620" y="812"/>
                </a:lnTo>
                <a:lnTo>
                  <a:pt x="645" y="780"/>
                </a:lnTo>
                <a:lnTo>
                  <a:pt x="667" y="747"/>
                </a:lnTo>
                <a:lnTo>
                  <a:pt x="687" y="713"/>
                </a:lnTo>
                <a:lnTo>
                  <a:pt x="702" y="680"/>
                </a:lnTo>
                <a:lnTo>
                  <a:pt x="714" y="646"/>
                </a:lnTo>
                <a:lnTo>
                  <a:pt x="714" y="0"/>
                </a:lnTo>
                <a:lnTo>
                  <a:pt x="711" y="25"/>
                </a:lnTo>
                <a:lnTo>
                  <a:pt x="704" y="52"/>
                </a:lnTo>
                <a:lnTo>
                  <a:pt x="694" y="80"/>
                </a:lnTo>
                <a:lnTo>
                  <a:pt x="683" y="109"/>
                </a:lnTo>
                <a:lnTo>
                  <a:pt x="667" y="138"/>
                </a:lnTo>
                <a:lnTo>
                  <a:pt x="649" y="168"/>
                </a:lnTo>
                <a:lnTo>
                  <a:pt x="628" y="199"/>
                </a:lnTo>
                <a:lnTo>
                  <a:pt x="605" y="228"/>
                </a:lnTo>
                <a:lnTo>
                  <a:pt x="580" y="258"/>
                </a:lnTo>
                <a:lnTo>
                  <a:pt x="553" y="287"/>
                </a:lnTo>
                <a:lnTo>
                  <a:pt x="524" y="315"/>
                </a:lnTo>
                <a:lnTo>
                  <a:pt x="494" y="342"/>
                </a:lnTo>
                <a:lnTo>
                  <a:pt x="462" y="367"/>
                </a:lnTo>
                <a:lnTo>
                  <a:pt x="430" y="392"/>
                </a:lnTo>
                <a:lnTo>
                  <a:pt x="396" y="413"/>
                </a:lnTo>
                <a:lnTo>
                  <a:pt x="362" y="433"/>
                </a:lnTo>
                <a:lnTo>
                  <a:pt x="329" y="451"/>
                </a:lnTo>
                <a:lnTo>
                  <a:pt x="295" y="467"/>
                </a:lnTo>
                <a:lnTo>
                  <a:pt x="262" y="480"/>
                </a:lnTo>
                <a:lnTo>
                  <a:pt x="230" y="490"/>
                </a:lnTo>
                <a:lnTo>
                  <a:pt x="198" y="498"/>
                </a:lnTo>
                <a:lnTo>
                  <a:pt x="169" y="503"/>
                </a:lnTo>
                <a:lnTo>
                  <a:pt x="129" y="253"/>
                </a:lnTo>
                <a:lnTo>
                  <a:pt x="0" y="873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139" tIns="50513" rIns="97139" anchor="ctr"/>
          <a:lstStyle/>
          <a:p>
            <a:endParaRPr lang="pt-BR" sz="2159" dirty="0"/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6594516" y="2272260"/>
            <a:ext cx="1394733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8446736" y="2407620"/>
            <a:ext cx="1394733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6553394" y="4765302"/>
            <a:ext cx="1812811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5552749" y="4064509"/>
            <a:ext cx="630543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9025875" y="4378066"/>
            <a:ext cx="923539" cy="22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defTabSz="84984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2" name="Título 3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3" name="Espaço Reservado para Texto 3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0311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4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1031460"/>
            <a:r>
              <a:rPr lang="pt-BR" dirty="0" smtClean="0"/>
              <a:t>Split </a:t>
            </a:r>
            <a:r>
              <a:rPr lang="pt-BR" dirty="0" err="1" smtClean="0"/>
              <a:t>Donut</a:t>
            </a:r>
            <a:endParaRPr lang="pt-BR" dirty="0"/>
          </a:p>
        </p:txBody>
      </p:sp>
      <p:sp>
        <p:nvSpPr>
          <p:cNvPr id="65" name="Espaço Reservado para Texto 6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95" name="Grupo 94"/>
          <p:cNvGrpSpPr/>
          <p:nvPr/>
        </p:nvGrpSpPr>
        <p:grpSpPr>
          <a:xfrm>
            <a:off x="414650" y="966618"/>
            <a:ext cx="2738395" cy="2738395"/>
            <a:chOff x="384175" y="822543"/>
            <a:chExt cx="2537132" cy="2537132"/>
          </a:xfrm>
        </p:grpSpPr>
        <p:sp>
          <p:nvSpPr>
            <p:cNvPr id="615428" name="Freeform 4"/>
            <p:cNvSpPr>
              <a:spLocks/>
            </p:cNvSpPr>
            <p:nvPr/>
          </p:nvSpPr>
          <p:spPr bwMode="gray">
            <a:xfrm>
              <a:off x="384175" y="822543"/>
              <a:ext cx="1241899" cy="2537132"/>
            </a:xfrm>
            <a:custGeom>
              <a:avLst/>
              <a:gdLst/>
              <a:ahLst/>
              <a:cxnLst>
                <a:cxn ang="0">
                  <a:pos x="186" y="380"/>
                </a:cxn>
                <a:cxn ang="0">
                  <a:pos x="0" y="190"/>
                </a:cxn>
                <a:cxn ang="0">
                  <a:pos x="186" y="0"/>
                </a:cxn>
                <a:cxn ang="0">
                  <a:pos x="186" y="98"/>
                </a:cxn>
                <a:cxn ang="0">
                  <a:pos x="98" y="190"/>
                </a:cxn>
                <a:cxn ang="0">
                  <a:pos x="186" y="282"/>
                </a:cxn>
                <a:cxn ang="0">
                  <a:pos x="186" y="380"/>
                </a:cxn>
              </a:cxnLst>
              <a:rect l="0" t="0" r="r" b="b"/>
              <a:pathLst>
                <a:path w="186" h="380">
                  <a:moveTo>
                    <a:pt x="186" y="380"/>
                  </a:moveTo>
                  <a:cubicBezTo>
                    <a:pt x="83" y="378"/>
                    <a:pt x="0" y="293"/>
                    <a:pt x="0" y="190"/>
                  </a:cubicBezTo>
                  <a:cubicBezTo>
                    <a:pt x="0" y="87"/>
                    <a:pt x="83" y="2"/>
                    <a:pt x="186" y="0"/>
                  </a:cubicBezTo>
                  <a:lnTo>
                    <a:pt x="186" y="98"/>
                  </a:lnTo>
                  <a:cubicBezTo>
                    <a:pt x="137" y="100"/>
                    <a:pt x="98" y="140"/>
                    <a:pt x="98" y="190"/>
                  </a:cubicBezTo>
                  <a:cubicBezTo>
                    <a:pt x="98" y="240"/>
                    <a:pt x="137" y="280"/>
                    <a:pt x="186" y="282"/>
                  </a:cubicBezTo>
                  <a:lnTo>
                    <a:pt x="186" y="38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079"/>
            </a:p>
          </p:txBody>
        </p:sp>
        <p:sp>
          <p:nvSpPr>
            <p:cNvPr id="615429" name="Rectangle 5"/>
            <p:cNvSpPr>
              <a:spLocks noChangeArrowheads="1"/>
            </p:cNvSpPr>
            <p:nvPr/>
          </p:nvSpPr>
          <p:spPr bwMode="gray">
            <a:xfrm>
              <a:off x="442270" y="1947019"/>
              <a:ext cx="548569" cy="2881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615431" name="Freeform 7"/>
            <p:cNvSpPr>
              <a:spLocks/>
            </p:cNvSpPr>
            <p:nvPr/>
          </p:nvSpPr>
          <p:spPr bwMode="gray">
            <a:xfrm>
              <a:off x="1679408" y="822543"/>
              <a:ext cx="1241899" cy="253713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6" y="190"/>
                </a:cxn>
                <a:cxn ang="0">
                  <a:pos x="0" y="380"/>
                </a:cxn>
                <a:cxn ang="0">
                  <a:pos x="0" y="282"/>
                </a:cxn>
                <a:cxn ang="0">
                  <a:pos x="88" y="190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186" h="380">
                  <a:moveTo>
                    <a:pt x="0" y="0"/>
                  </a:moveTo>
                  <a:cubicBezTo>
                    <a:pt x="103" y="2"/>
                    <a:pt x="186" y="87"/>
                    <a:pt x="186" y="190"/>
                  </a:cubicBezTo>
                  <a:cubicBezTo>
                    <a:pt x="186" y="293"/>
                    <a:pt x="103" y="378"/>
                    <a:pt x="0" y="380"/>
                  </a:cubicBezTo>
                  <a:lnTo>
                    <a:pt x="0" y="282"/>
                  </a:lnTo>
                  <a:cubicBezTo>
                    <a:pt x="49" y="280"/>
                    <a:pt x="88" y="240"/>
                    <a:pt x="88" y="190"/>
                  </a:cubicBezTo>
                  <a:cubicBezTo>
                    <a:pt x="88" y="140"/>
                    <a:pt x="49" y="100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079"/>
            </a:p>
          </p:txBody>
        </p:sp>
        <p:sp>
          <p:nvSpPr>
            <p:cNvPr id="615432" name="Rectangle 8"/>
            <p:cNvSpPr>
              <a:spLocks noChangeArrowheads="1"/>
            </p:cNvSpPr>
            <p:nvPr/>
          </p:nvSpPr>
          <p:spPr bwMode="gray">
            <a:xfrm>
              <a:off x="2319405" y="1947019"/>
              <a:ext cx="542855" cy="2881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94" name="Grupo 93"/>
          <p:cNvGrpSpPr/>
          <p:nvPr/>
        </p:nvGrpSpPr>
        <p:grpSpPr>
          <a:xfrm>
            <a:off x="3902614" y="966582"/>
            <a:ext cx="2738466" cy="2738466"/>
            <a:chOff x="3615785" y="822510"/>
            <a:chExt cx="2537198" cy="2537198"/>
          </a:xfrm>
        </p:grpSpPr>
        <p:sp>
          <p:nvSpPr>
            <p:cNvPr id="12" name="Freeform 4"/>
            <p:cNvSpPr>
              <a:spLocks/>
            </p:cNvSpPr>
            <p:nvPr/>
          </p:nvSpPr>
          <p:spPr bwMode="gray">
            <a:xfrm>
              <a:off x="4856948" y="822510"/>
              <a:ext cx="1296035" cy="17564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1" y="26"/>
                </a:cxn>
                <a:cxn ang="0">
                  <a:pos x="162" y="281"/>
                </a:cxn>
                <a:cxn ang="0">
                  <a:pos x="78" y="233"/>
                </a:cxn>
                <a:cxn ang="0">
                  <a:pos x="42" y="110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212" h="281">
                  <a:moveTo>
                    <a:pt x="0" y="0"/>
                  </a:moveTo>
                  <a:cubicBezTo>
                    <a:pt x="31" y="1"/>
                    <a:pt x="62" y="9"/>
                    <a:pt x="91" y="26"/>
                  </a:cubicBezTo>
                  <a:cubicBezTo>
                    <a:pt x="180" y="77"/>
                    <a:pt x="212" y="191"/>
                    <a:pt x="162" y="281"/>
                  </a:cubicBezTo>
                  <a:lnTo>
                    <a:pt x="78" y="233"/>
                  </a:lnTo>
                  <a:cubicBezTo>
                    <a:pt x="101" y="189"/>
                    <a:pt x="85" y="135"/>
                    <a:pt x="42" y="110"/>
                  </a:cubicBezTo>
                  <a:cubicBezTo>
                    <a:pt x="29" y="102"/>
                    <a:pt x="14" y="98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13" name="Rectangle 5"/>
            <p:cNvSpPr>
              <a:spLocks noChangeArrowheads="1"/>
            </p:cNvSpPr>
            <p:nvPr/>
          </p:nvSpPr>
          <p:spPr bwMode="gray">
            <a:xfrm>
              <a:off x="5342090" y="1558119"/>
              <a:ext cx="496465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gray">
            <a:xfrm>
              <a:off x="3615785" y="822510"/>
              <a:ext cx="1192387" cy="1756453"/>
            </a:xfrm>
            <a:custGeom>
              <a:avLst/>
              <a:gdLst/>
              <a:ahLst/>
              <a:cxnLst>
                <a:cxn ang="0">
                  <a:pos x="33" y="281"/>
                </a:cxn>
                <a:cxn ang="0">
                  <a:pos x="35" y="95"/>
                </a:cxn>
                <a:cxn ang="0">
                  <a:pos x="195" y="0"/>
                </a:cxn>
                <a:cxn ang="0">
                  <a:pos x="195" y="98"/>
                </a:cxn>
                <a:cxn ang="0">
                  <a:pos x="119" y="144"/>
                </a:cxn>
                <a:cxn ang="0">
                  <a:pos x="117" y="233"/>
                </a:cxn>
                <a:cxn ang="0">
                  <a:pos x="33" y="281"/>
                </a:cxn>
              </a:cxnLst>
              <a:rect l="0" t="0" r="r" b="b"/>
              <a:pathLst>
                <a:path w="195" h="281">
                  <a:moveTo>
                    <a:pt x="33" y="281"/>
                  </a:moveTo>
                  <a:cubicBezTo>
                    <a:pt x="2" y="225"/>
                    <a:pt x="0" y="155"/>
                    <a:pt x="35" y="95"/>
                  </a:cubicBezTo>
                  <a:cubicBezTo>
                    <a:pt x="69" y="36"/>
                    <a:pt x="131" y="2"/>
                    <a:pt x="195" y="0"/>
                  </a:cubicBezTo>
                  <a:lnTo>
                    <a:pt x="195" y="98"/>
                  </a:lnTo>
                  <a:cubicBezTo>
                    <a:pt x="164" y="99"/>
                    <a:pt x="135" y="115"/>
                    <a:pt x="119" y="144"/>
                  </a:cubicBezTo>
                  <a:cubicBezTo>
                    <a:pt x="103" y="172"/>
                    <a:pt x="103" y="206"/>
                    <a:pt x="117" y="233"/>
                  </a:cubicBezTo>
                  <a:lnTo>
                    <a:pt x="33" y="281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16" name="Rectangle 8"/>
            <p:cNvSpPr>
              <a:spLocks noChangeArrowheads="1"/>
            </p:cNvSpPr>
            <p:nvPr/>
          </p:nvSpPr>
          <p:spPr bwMode="gray">
            <a:xfrm>
              <a:off x="3795209" y="1558119"/>
              <a:ext cx="496465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gray">
            <a:xfrm>
              <a:off x="3842243" y="2322573"/>
              <a:ext cx="1980634" cy="1037135"/>
            </a:xfrm>
            <a:custGeom>
              <a:avLst/>
              <a:gdLst/>
              <a:ahLst/>
              <a:cxnLst>
                <a:cxn ang="0">
                  <a:pos x="324" y="48"/>
                </a:cxn>
                <a:cxn ang="0">
                  <a:pos x="67" y="114"/>
                </a:cxn>
                <a:cxn ang="0">
                  <a:pos x="0" y="48"/>
                </a:cxn>
                <a:cxn ang="0">
                  <a:pos x="84" y="0"/>
                </a:cxn>
                <a:cxn ang="0">
                  <a:pos x="116" y="30"/>
                </a:cxn>
                <a:cxn ang="0">
                  <a:pos x="240" y="0"/>
                </a:cxn>
                <a:cxn ang="0">
                  <a:pos x="324" y="48"/>
                </a:cxn>
              </a:cxnLst>
              <a:rect l="0" t="0" r="r" b="b"/>
              <a:pathLst>
                <a:path w="324" h="166">
                  <a:moveTo>
                    <a:pt x="324" y="48"/>
                  </a:moveTo>
                  <a:cubicBezTo>
                    <a:pt x="271" y="136"/>
                    <a:pt x="157" y="166"/>
                    <a:pt x="67" y="114"/>
                  </a:cubicBezTo>
                  <a:cubicBezTo>
                    <a:pt x="38" y="98"/>
                    <a:pt x="16" y="75"/>
                    <a:pt x="0" y="48"/>
                  </a:cubicBezTo>
                  <a:lnTo>
                    <a:pt x="84" y="0"/>
                  </a:lnTo>
                  <a:cubicBezTo>
                    <a:pt x="92" y="12"/>
                    <a:pt x="103" y="22"/>
                    <a:pt x="116" y="30"/>
                  </a:cubicBezTo>
                  <a:cubicBezTo>
                    <a:pt x="159" y="55"/>
                    <a:pt x="213" y="41"/>
                    <a:pt x="240" y="0"/>
                  </a:cubicBezTo>
                  <a:lnTo>
                    <a:pt x="324" y="48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2159"/>
            </a:p>
          </p:txBody>
        </p:sp>
        <p:sp>
          <p:nvSpPr>
            <p:cNvPr id="19" name="Rectangle 11"/>
            <p:cNvSpPr>
              <a:spLocks noChangeArrowheads="1"/>
            </p:cNvSpPr>
            <p:nvPr/>
          </p:nvSpPr>
          <p:spPr bwMode="gray">
            <a:xfrm>
              <a:off x="4133154" y="2775975"/>
              <a:ext cx="1398812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96" name="Grupo 95"/>
          <p:cNvGrpSpPr/>
          <p:nvPr/>
        </p:nvGrpSpPr>
        <p:grpSpPr>
          <a:xfrm>
            <a:off x="7390647" y="966582"/>
            <a:ext cx="2738466" cy="2738466"/>
            <a:chOff x="6847459" y="822510"/>
            <a:chExt cx="2537198" cy="2537198"/>
          </a:xfrm>
        </p:grpSpPr>
        <p:sp>
          <p:nvSpPr>
            <p:cNvPr id="22" name="Freeform 4"/>
            <p:cNvSpPr>
              <a:spLocks/>
            </p:cNvSpPr>
            <p:nvPr/>
          </p:nvSpPr>
          <p:spPr bwMode="gray">
            <a:xfrm>
              <a:off x="8142806" y="822510"/>
              <a:ext cx="1241851" cy="12418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6" y="186"/>
                </a:cxn>
                <a:cxn ang="0">
                  <a:pos x="88" y="186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186" h="186">
                  <a:moveTo>
                    <a:pt x="0" y="0"/>
                  </a:moveTo>
                  <a:cubicBezTo>
                    <a:pt x="102" y="2"/>
                    <a:pt x="184" y="84"/>
                    <a:pt x="186" y="186"/>
                  </a:cubicBezTo>
                  <a:lnTo>
                    <a:pt x="88" y="186"/>
                  </a:lnTo>
                  <a:cubicBezTo>
                    <a:pt x="86" y="138"/>
                    <a:pt x="48" y="100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23" name="Rectangle 5"/>
            <p:cNvSpPr>
              <a:spLocks noChangeArrowheads="1"/>
            </p:cNvSpPr>
            <p:nvPr/>
          </p:nvSpPr>
          <p:spPr bwMode="gray">
            <a:xfrm>
              <a:off x="8519182" y="1351116"/>
              <a:ext cx="544504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gray">
            <a:xfrm>
              <a:off x="6847459" y="822510"/>
              <a:ext cx="1241851" cy="1241851"/>
            </a:xfrm>
            <a:custGeom>
              <a:avLst/>
              <a:gdLst/>
              <a:ahLst/>
              <a:cxnLst>
                <a:cxn ang="0">
                  <a:pos x="186" y="98"/>
                </a:cxn>
                <a:cxn ang="0">
                  <a:pos x="98" y="186"/>
                </a:cxn>
                <a:cxn ang="0">
                  <a:pos x="0" y="186"/>
                </a:cxn>
                <a:cxn ang="0">
                  <a:pos x="186" y="0"/>
                </a:cxn>
                <a:cxn ang="0">
                  <a:pos x="186" y="98"/>
                </a:cxn>
              </a:cxnLst>
              <a:rect l="0" t="0" r="r" b="b"/>
              <a:pathLst>
                <a:path w="186" h="186">
                  <a:moveTo>
                    <a:pt x="186" y="98"/>
                  </a:moveTo>
                  <a:cubicBezTo>
                    <a:pt x="138" y="100"/>
                    <a:pt x="100" y="138"/>
                    <a:pt x="98" y="186"/>
                  </a:cubicBezTo>
                  <a:lnTo>
                    <a:pt x="0" y="186"/>
                  </a:lnTo>
                  <a:cubicBezTo>
                    <a:pt x="2" y="84"/>
                    <a:pt x="84" y="2"/>
                    <a:pt x="186" y="0"/>
                  </a:cubicBezTo>
                  <a:lnTo>
                    <a:pt x="186" y="98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26" name="Rectangle 8"/>
            <p:cNvSpPr>
              <a:spLocks noChangeArrowheads="1"/>
            </p:cNvSpPr>
            <p:nvPr/>
          </p:nvSpPr>
          <p:spPr bwMode="gray">
            <a:xfrm>
              <a:off x="7181804" y="1351116"/>
              <a:ext cx="544504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gray">
            <a:xfrm>
              <a:off x="8142806" y="2117857"/>
              <a:ext cx="1241851" cy="1241851"/>
            </a:xfrm>
            <a:custGeom>
              <a:avLst/>
              <a:gdLst/>
              <a:ahLst/>
              <a:cxnLst>
                <a:cxn ang="0">
                  <a:pos x="186" y="0"/>
                </a:cxn>
                <a:cxn ang="0">
                  <a:pos x="0" y="186"/>
                </a:cxn>
                <a:cxn ang="0">
                  <a:pos x="0" y="88"/>
                </a:cxn>
                <a:cxn ang="0">
                  <a:pos x="88" y="0"/>
                </a:cxn>
                <a:cxn ang="0">
                  <a:pos x="186" y="0"/>
                </a:cxn>
              </a:cxnLst>
              <a:rect l="0" t="0" r="r" b="b"/>
              <a:pathLst>
                <a:path w="186" h="186">
                  <a:moveTo>
                    <a:pt x="186" y="0"/>
                  </a:moveTo>
                  <a:cubicBezTo>
                    <a:pt x="184" y="102"/>
                    <a:pt x="102" y="184"/>
                    <a:pt x="0" y="186"/>
                  </a:cubicBezTo>
                  <a:lnTo>
                    <a:pt x="0" y="88"/>
                  </a:lnTo>
                  <a:cubicBezTo>
                    <a:pt x="48" y="86"/>
                    <a:pt x="86" y="48"/>
                    <a:pt x="88" y="0"/>
                  </a:cubicBezTo>
                  <a:lnTo>
                    <a:pt x="186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2159"/>
            </a:p>
          </p:txBody>
        </p:sp>
        <p:sp>
          <p:nvSpPr>
            <p:cNvPr id="29" name="Rectangle 11"/>
            <p:cNvSpPr>
              <a:spLocks noChangeArrowheads="1"/>
            </p:cNvSpPr>
            <p:nvPr/>
          </p:nvSpPr>
          <p:spPr bwMode="gray">
            <a:xfrm>
              <a:off x="8519182" y="2650284"/>
              <a:ext cx="544504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gray">
            <a:xfrm>
              <a:off x="6847459" y="2117857"/>
              <a:ext cx="1241851" cy="1241851"/>
            </a:xfrm>
            <a:custGeom>
              <a:avLst/>
              <a:gdLst/>
              <a:ahLst/>
              <a:cxnLst>
                <a:cxn ang="0">
                  <a:pos x="186" y="186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186" y="88"/>
                </a:cxn>
                <a:cxn ang="0">
                  <a:pos x="186" y="186"/>
                </a:cxn>
              </a:cxnLst>
              <a:rect l="0" t="0" r="r" b="b"/>
              <a:pathLst>
                <a:path w="186" h="186">
                  <a:moveTo>
                    <a:pt x="186" y="186"/>
                  </a:moveTo>
                  <a:cubicBezTo>
                    <a:pt x="84" y="184"/>
                    <a:pt x="2" y="102"/>
                    <a:pt x="0" y="0"/>
                  </a:cubicBezTo>
                  <a:lnTo>
                    <a:pt x="98" y="0"/>
                  </a:lnTo>
                  <a:cubicBezTo>
                    <a:pt x="100" y="48"/>
                    <a:pt x="138" y="86"/>
                    <a:pt x="186" y="88"/>
                  </a:cubicBezTo>
                  <a:lnTo>
                    <a:pt x="186" y="186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2159"/>
            </a:p>
          </p:txBody>
        </p:sp>
        <p:sp>
          <p:nvSpPr>
            <p:cNvPr id="32" name="Rectangle 14"/>
            <p:cNvSpPr>
              <a:spLocks noChangeArrowheads="1"/>
            </p:cNvSpPr>
            <p:nvPr/>
          </p:nvSpPr>
          <p:spPr bwMode="gray">
            <a:xfrm>
              <a:off x="7181804" y="2650284"/>
              <a:ext cx="544504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99" name="Grupo 98"/>
          <p:cNvGrpSpPr/>
          <p:nvPr/>
        </p:nvGrpSpPr>
        <p:grpSpPr>
          <a:xfrm>
            <a:off x="414650" y="4080881"/>
            <a:ext cx="2738466" cy="2738466"/>
            <a:chOff x="384175" y="3707918"/>
            <a:chExt cx="2537198" cy="2537198"/>
          </a:xfrm>
        </p:grpSpPr>
        <p:sp>
          <p:nvSpPr>
            <p:cNvPr id="35" name="Freeform 4"/>
            <p:cNvSpPr>
              <a:spLocks/>
            </p:cNvSpPr>
            <p:nvPr/>
          </p:nvSpPr>
          <p:spPr bwMode="gray">
            <a:xfrm>
              <a:off x="1640070" y="3707918"/>
              <a:ext cx="1115242" cy="102821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5" y="127"/>
                </a:cxn>
                <a:cxn ang="0">
                  <a:pos x="82" y="158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175" h="158">
                  <a:moveTo>
                    <a:pt x="0" y="0"/>
                  </a:moveTo>
                  <a:cubicBezTo>
                    <a:pt x="77" y="2"/>
                    <a:pt x="148" y="51"/>
                    <a:pt x="175" y="127"/>
                  </a:cubicBezTo>
                  <a:lnTo>
                    <a:pt x="82" y="158"/>
                  </a:lnTo>
                  <a:cubicBezTo>
                    <a:pt x="69" y="122"/>
                    <a:pt x="36" y="99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36" name="Rectangle 5"/>
            <p:cNvSpPr>
              <a:spLocks noChangeArrowheads="1"/>
            </p:cNvSpPr>
            <p:nvPr/>
          </p:nvSpPr>
          <p:spPr bwMode="gray">
            <a:xfrm>
              <a:off x="1914116" y="4158424"/>
              <a:ext cx="51724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gray">
            <a:xfrm>
              <a:off x="473104" y="3707918"/>
              <a:ext cx="1116149" cy="1028218"/>
            </a:xfrm>
            <a:custGeom>
              <a:avLst/>
              <a:gdLst/>
              <a:ahLst/>
              <a:cxnLst>
                <a:cxn ang="0">
                  <a:pos x="0" y="127"/>
                </a:cxn>
                <a:cxn ang="0">
                  <a:pos x="120" y="9"/>
                </a:cxn>
                <a:cxn ang="0">
                  <a:pos x="175" y="0"/>
                </a:cxn>
                <a:cxn ang="0">
                  <a:pos x="175" y="98"/>
                </a:cxn>
                <a:cxn ang="0">
                  <a:pos x="150" y="102"/>
                </a:cxn>
                <a:cxn ang="0">
                  <a:pos x="93" y="158"/>
                </a:cxn>
                <a:cxn ang="0">
                  <a:pos x="0" y="127"/>
                </a:cxn>
              </a:cxnLst>
              <a:rect l="0" t="0" r="r" b="b"/>
              <a:pathLst>
                <a:path w="175" h="158">
                  <a:moveTo>
                    <a:pt x="0" y="127"/>
                  </a:moveTo>
                  <a:cubicBezTo>
                    <a:pt x="19" y="73"/>
                    <a:pt x="62" y="29"/>
                    <a:pt x="120" y="9"/>
                  </a:cubicBezTo>
                  <a:cubicBezTo>
                    <a:pt x="138" y="4"/>
                    <a:pt x="157" y="1"/>
                    <a:pt x="175" y="0"/>
                  </a:cubicBezTo>
                  <a:lnTo>
                    <a:pt x="175" y="98"/>
                  </a:lnTo>
                  <a:cubicBezTo>
                    <a:pt x="167" y="98"/>
                    <a:pt x="159" y="100"/>
                    <a:pt x="150" y="102"/>
                  </a:cubicBezTo>
                  <a:cubicBezTo>
                    <a:pt x="123" y="111"/>
                    <a:pt x="102" y="132"/>
                    <a:pt x="93" y="158"/>
                  </a:cubicBezTo>
                  <a:lnTo>
                    <a:pt x="0" y="127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39" name="Rectangle 8"/>
            <p:cNvSpPr>
              <a:spLocks noChangeArrowheads="1"/>
            </p:cNvSpPr>
            <p:nvPr/>
          </p:nvSpPr>
          <p:spPr bwMode="gray">
            <a:xfrm>
              <a:off x="810671" y="4158424"/>
              <a:ext cx="51724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41" name="Freeform 10"/>
            <p:cNvSpPr>
              <a:spLocks/>
            </p:cNvSpPr>
            <p:nvPr/>
          </p:nvSpPr>
          <p:spPr bwMode="gray">
            <a:xfrm>
              <a:off x="384175" y="4586072"/>
              <a:ext cx="860252" cy="1340389"/>
            </a:xfrm>
            <a:custGeom>
              <a:avLst/>
              <a:gdLst/>
              <a:ahLst/>
              <a:cxnLst>
                <a:cxn ang="0">
                  <a:pos x="78" y="206"/>
                </a:cxn>
                <a:cxn ang="0">
                  <a:pos x="13" y="114"/>
                </a:cxn>
                <a:cxn ang="0">
                  <a:pos x="11" y="0"/>
                </a:cxn>
                <a:cxn ang="0">
                  <a:pos x="104" y="30"/>
                </a:cxn>
                <a:cxn ang="0">
                  <a:pos x="105" y="84"/>
                </a:cxn>
                <a:cxn ang="0">
                  <a:pos x="135" y="127"/>
                </a:cxn>
                <a:cxn ang="0">
                  <a:pos x="78" y="206"/>
                </a:cxn>
              </a:cxnLst>
              <a:rect l="0" t="0" r="r" b="b"/>
              <a:pathLst>
                <a:path w="135" h="206">
                  <a:moveTo>
                    <a:pt x="78" y="206"/>
                  </a:moveTo>
                  <a:cubicBezTo>
                    <a:pt x="48" y="183"/>
                    <a:pt x="25" y="152"/>
                    <a:pt x="13" y="114"/>
                  </a:cubicBezTo>
                  <a:cubicBezTo>
                    <a:pt x="0" y="75"/>
                    <a:pt x="1" y="36"/>
                    <a:pt x="11" y="0"/>
                  </a:cubicBezTo>
                  <a:lnTo>
                    <a:pt x="104" y="30"/>
                  </a:lnTo>
                  <a:cubicBezTo>
                    <a:pt x="99" y="47"/>
                    <a:pt x="99" y="66"/>
                    <a:pt x="105" y="84"/>
                  </a:cubicBezTo>
                  <a:cubicBezTo>
                    <a:pt x="111" y="101"/>
                    <a:pt x="122" y="116"/>
                    <a:pt x="135" y="127"/>
                  </a:cubicBezTo>
                  <a:lnTo>
                    <a:pt x="78" y="206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42" name="Rectangle 11"/>
            <p:cNvSpPr>
              <a:spLocks noChangeArrowheads="1"/>
            </p:cNvSpPr>
            <p:nvPr/>
          </p:nvSpPr>
          <p:spPr bwMode="gray">
            <a:xfrm>
              <a:off x="505772" y="5129211"/>
              <a:ext cx="51724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gray">
            <a:xfrm>
              <a:off x="1983989" y="4586072"/>
              <a:ext cx="937384" cy="1340389"/>
            </a:xfrm>
            <a:custGeom>
              <a:avLst/>
              <a:gdLst/>
              <a:ahLst/>
              <a:cxnLst>
                <a:cxn ang="0">
                  <a:pos x="124" y="0"/>
                </a:cxn>
                <a:cxn ang="0">
                  <a:pos x="57" y="206"/>
                </a:cxn>
                <a:cxn ang="0">
                  <a:pos x="0" y="127"/>
                </a:cxn>
                <a:cxn ang="0">
                  <a:pos x="31" y="30"/>
                </a:cxn>
                <a:cxn ang="0">
                  <a:pos x="124" y="0"/>
                </a:cxn>
              </a:cxnLst>
              <a:rect l="0" t="0" r="r" b="b"/>
              <a:pathLst>
                <a:path w="147" h="206">
                  <a:moveTo>
                    <a:pt x="124" y="0"/>
                  </a:moveTo>
                  <a:cubicBezTo>
                    <a:pt x="147" y="78"/>
                    <a:pt x="118" y="159"/>
                    <a:pt x="57" y="206"/>
                  </a:cubicBezTo>
                  <a:lnTo>
                    <a:pt x="0" y="127"/>
                  </a:lnTo>
                  <a:cubicBezTo>
                    <a:pt x="28" y="105"/>
                    <a:pt x="41" y="67"/>
                    <a:pt x="31" y="30"/>
                  </a:cubicBezTo>
                  <a:lnTo>
                    <a:pt x="124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45" name="Rectangle 14"/>
            <p:cNvSpPr>
              <a:spLocks noChangeArrowheads="1"/>
            </p:cNvSpPr>
            <p:nvPr/>
          </p:nvSpPr>
          <p:spPr bwMode="gray">
            <a:xfrm>
              <a:off x="2211756" y="5129211"/>
              <a:ext cx="51724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gray">
            <a:xfrm>
              <a:off x="925916" y="5444773"/>
              <a:ext cx="1377492" cy="800343"/>
            </a:xfrm>
            <a:custGeom>
              <a:avLst/>
              <a:gdLst/>
              <a:ahLst/>
              <a:cxnLst>
                <a:cxn ang="0">
                  <a:pos x="216" y="79"/>
                </a:cxn>
                <a:cxn ang="0">
                  <a:pos x="167" y="103"/>
                </a:cxn>
                <a:cxn ang="0">
                  <a:pos x="0" y="79"/>
                </a:cxn>
                <a:cxn ang="0">
                  <a:pos x="57" y="0"/>
                </a:cxn>
                <a:cxn ang="0">
                  <a:pos x="137" y="11"/>
                </a:cxn>
                <a:cxn ang="0">
                  <a:pos x="159" y="0"/>
                </a:cxn>
                <a:cxn ang="0">
                  <a:pos x="216" y="79"/>
                </a:cxn>
              </a:cxnLst>
              <a:rect l="0" t="0" r="r" b="b"/>
              <a:pathLst>
                <a:path w="216" h="123">
                  <a:moveTo>
                    <a:pt x="216" y="79"/>
                  </a:moveTo>
                  <a:cubicBezTo>
                    <a:pt x="201" y="89"/>
                    <a:pt x="185" y="98"/>
                    <a:pt x="167" y="103"/>
                  </a:cubicBezTo>
                  <a:cubicBezTo>
                    <a:pt x="108" y="123"/>
                    <a:pt x="47" y="111"/>
                    <a:pt x="0" y="79"/>
                  </a:cubicBezTo>
                  <a:lnTo>
                    <a:pt x="57" y="0"/>
                  </a:lnTo>
                  <a:cubicBezTo>
                    <a:pt x="80" y="15"/>
                    <a:pt x="109" y="20"/>
                    <a:pt x="137" y="11"/>
                  </a:cubicBezTo>
                  <a:cubicBezTo>
                    <a:pt x="145" y="8"/>
                    <a:pt x="152" y="5"/>
                    <a:pt x="159" y="0"/>
                  </a:cubicBezTo>
                  <a:lnTo>
                    <a:pt x="216" y="79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48" name="Rectangle 17"/>
            <p:cNvSpPr>
              <a:spLocks noChangeArrowheads="1"/>
            </p:cNvSpPr>
            <p:nvPr/>
          </p:nvSpPr>
          <p:spPr bwMode="gray">
            <a:xfrm>
              <a:off x="1355135" y="5759110"/>
              <a:ext cx="517240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98" name="Grupo 97"/>
          <p:cNvGrpSpPr/>
          <p:nvPr/>
        </p:nvGrpSpPr>
        <p:grpSpPr>
          <a:xfrm>
            <a:off x="3982671" y="4080881"/>
            <a:ext cx="2738466" cy="2738466"/>
            <a:chOff x="3689958" y="3707918"/>
            <a:chExt cx="2537198" cy="2537198"/>
          </a:xfrm>
        </p:grpSpPr>
        <p:sp>
          <p:nvSpPr>
            <p:cNvPr id="51" name="Freeform 4"/>
            <p:cNvSpPr>
              <a:spLocks/>
            </p:cNvSpPr>
            <p:nvPr/>
          </p:nvSpPr>
          <p:spPr bwMode="gray">
            <a:xfrm>
              <a:off x="4985224" y="3707918"/>
              <a:ext cx="1055261" cy="9343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8" y="92"/>
                </a:cxn>
                <a:cxn ang="0">
                  <a:pos x="74" y="140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158" h="140">
                  <a:moveTo>
                    <a:pt x="0" y="0"/>
                  </a:moveTo>
                  <a:cubicBezTo>
                    <a:pt x="67" y="2"/>
                    <a:pt x="126" y="38"/>
                    <a:pt x="158" y="92"/>
                  </a:cubicBezTo>
                  <a:lnTo>
                    <a:pt x="74" y="140"/>
                  </a:lnTo>
                  <a:cubicBezTo>
                    <a:pt x="58" y="116"/>
                    <a:pt x="31" y="99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52" name="Rectangle 5"/>
            <p:cNvSpPr>
              <a:spLocks noChangeArrowheads="1"/>
            </p:cNvSpPr>
            <p:nvPr/>
          </p:nvSpPr>
          <p:spPr bwMode="gray">
            <a:xfrm>
              <a:off x="5189038" y="4097515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gray">
            <a:xfrm>
              <a:off x="3876629" y="3707918"/>
              <a:ext cx="1055261" cy="934306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158" y="0"/>
                </a:cxn>
                <a:cxn ang="0">
                  <a:pos x="158" y="98"/>
                </a:cxn>
                <a:cxn ang="0">
                  <a:pos x="84" y="140"/>
                </a:cxn>
                <a:cxn ang="0">
                  <a:pos x="0" y="92"/>
                </a:cxn>
              </a:cxnLst>
              <a:rect l="0" t="0" r="r" b="b"/>
              <a:pathLst>
                <a:path w="158" h="140">
                  <a:moveTo>
                    <a:pt x="0" y="92"/>
                  </a:moveTo>
                  <a:cubicBezTo>
                    <a:pt x="32" y="38"/>
                    <a:pt x="91" y="2"/>
                    <a:pt x="158" y="0"/>
                  </a:cubicBezTo>
                  <a:lnTo>
                    <a:pt x="158" y="98"/>
                  </a:lnTo>
                  <a:cubicBezTo>
                    <a:pt x="127" y="99"/>
                    <a:pt x="100" y="116"/>
                    <a:pt x="84" y="140"/>
                  </a:cubicBezTo>
                  <a:lnTo>
                    <a:pt x="0" y="92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55" name="Rectangle 8"/>
            <p:cNvSpPr>
              <a:spLocks noChangeArrowheads="1"/>
            </p:cNvSpPr>
            <p:nvPr/>
          </p:nvSpPr>
          <p:spPr bwMode="gray">
            <a:xfrm>
              <a:off x="4183302" y="4097515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57" name="Freeform 10"/>
            <p:cNvSpPr>
              <a:spLocks/>
            </p:cNvSpPr>
            <p:nvPr/>
          </p:nvSpPr>
          <p:spPr bwMode="gray">
            <a:xfrm>
              <a:off x="3689958" y="4368885"/>
              <a:ext cx="720968" cy="1215265"/>
            </a:xfrm>
            <a:custGeom>
              <a:avLst/>
              <a:gdLst/>
              <a:ahLst/>
              <a:cxnLst>
                <a:cxn ang="0">
                  <a:pos x="24" y="182"/>
                </a:cxn>
                <a:cxn ang="0">
                  <a:pos x="0" y="91"/>
                </a:cxn>
                <a:cxn ang="0">
                  <a:pos x="24" y="0"/>
                </a:cxn>
                <a:cxn ang="0">
                  <a:pos x="108" y="48"/>
                </a:cxn>
                <a:cxn ang="0">
                  <a:pos x="98" y="91"/>
                </a:cxn>
                <a:cxn ang="0">
                  <a:pos x="108" y="134"/>
                </a:cxn>
                <a:cxn ang="0">
                  <a:pos x="24" y="182"/>
                </a:cxn>
              </a:cxnLst>
              <a:rect l="0" t="0" r="r" b="b"/>
              <a:pathLst>
                <a:path w="108" h="182">
                  <a:moveTo>
                    <a:pt x="24" y="182"/>
                  </a:moveTo>
                  <a:cubicBezTo>
                    <a:pt x="9" y="155"/>
                    <a:pt x="0" y="124"/>
                    <a:pt x="0" y="91"/>
                  </a:cubicBezTo>
                  <a:cubicBezTo>
                    <a:pt x="0" y="58"/>
                    <a:pt x="9" y="27"/>
                    <a:pt x="24" y="0"/>
                  </a:cubicBezTo>
                  <a:lnTo>
                    <a:pt x="108" y="48"/>
                  </a:lnTo>
                  <a:cubicBezTo>
                    <a:pt x="101" y="61"/>
                    <a:pt x="98" y="76"/>
                    <a:pt x="98" y="91"/>
                  </a:cubicBezTo>
                  <a:cubicBezTo>
                    <a:pt x="98" y="106"/>
                    <a:pt x="101" y="121"/>
                    <a:pt x="108" y="134"/>
                  </a:cubicBezTo>
                  <a:lnTo>
                    <a:pt x="24" y="182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58" name="Rectangle 11"/>
            <p:cNvSpPr>
              <a:spLocks noChangeArrowheads="1"/>
            </p:cNvSpPr>
            <p:nvPr/>
          </p:nvSpPr>
          <p:spPr bwMode="gray">
            <a:xfrm>
              <a:off x="3749007" y="4884199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gray">
            <a:xfrm>
              <a:off x="5506188" y="4368885"/>
              <a:ext cx="720968" cy="1215265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108" y="91"/>
                </a:cxn>
                <a:cxn ang="0">
                  <a:pos x="84" y="182"/>
                </a:cxn>
                <a:cxn ang="0">
                  <a:pos x="0" y="134"/>
                </a:cxn>
                <a:cxn ang="0">
                  <a:pos x="10" y="91"/>
                </a:cxn>
                <a:cxn ang="0">
                  <a:pos x="0" y="48"/>
                </a:cxn>
                <a:cxn ang="0">
                  <a:pos x="84" y="0"/>
                </a:cxn>
              </a:cxnLst>
              <a:rect l="0" t="0" r="r" b="b"/>
              <a:pathLst>
                <a:path w="108" h="182">
                  <a:moveTo>
                    <a:pt x="84" y="0"/>
                  </a:moveTo>
                  <a:cubicBezTo>
                    <a:pt x="99" y="27"/>
                    <a:pt x="108" y="58"/>
                    <a:pt x="108" y="91"/>
                  </a:cubicBezTo>
                  <a:cubicBezTo>
                    <a:pt x="108" y="124"/>
                    <a:pt x="99" y="155"/>
                    <a:pt x="84" y="182"/>
                  </a:cubicBezTo>
                  <a:lnTo>
                    <a:pt x="0" y="134"/>
                  </a:lnTo>
                  <a:cubicBezTo>
                    <a:pt x="7" y="121"/>
                    <a:pt x="10" y="106"/>
                    <a:pt x="10" y="91"/>
                  </a:cubicBezTo>
                  <a:cubicBezTo>
                    <a:pt x="10" y="76"/>
                    <a:pt x="7" y="61"/>
                    <a:pt x="0" y="48"/>
                  </a:cubicBezTo>
                  <a:lnTo>
                    <a:pt x="84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61" name="Rectangle 14"/>
            <p:cNvSpPr>
              <a:spLocks noChangeArrowheads="1"/>
            </p:cNvSpPr>
            <p:nvPr/>
          </p:nvSpPr>
          <p:spPr bwMode="gray">
            <a:xfrm>
              <a:off x="5630953" y="4884199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63" name="Freeform 16"/>
            <p:cNvSpPr>
              <a:spLocks/>
            </p:cNvSpPr>
            <p:nvPr/>
          </p:nvSpPr>
          <p:spPr bwMode="gray">
            <a:xfrm>
              <a:off x="4985224" y="5310810"/>
              <a:ext cx="1055261" cy="934306"/>
            </a:xfrm>
            <a:custGeom>
              <a:avLst/>
              <a:gdLst/>
              <a:ahLst/>
              <a:cxnLst>
                <a:cxn ang="0">
                  <a:pos x="158" y="48"/>
                </a:cxn>
                <a:cxn ang="0">
                  <a:pos x="0" y="140"/>
                </a:cxn>
                <a:cxn ang="0">
                  <a:pos x="0" y="42"/>
                </a:cxn>
                <a:cxn ang="0">
                  <a:pos x="74" y="0"/>
                </a:cxn>
                <a:cxn ang="0">
                  <a:pos x="158" y="48"/>
                </a:cxn>
              </a:cxnLst>
              <a:rect l="0" t="0" r="r" b="b"/>
              <a:pathLst>
                <a:path w="158" h="140">
                  <a:moveTo>
                    <a:pt x="158" y="48"/>
                  </a:moveTo>
                  <a:cubicBezTo>
                    <a:pt x="126" y="102"/>
                    <a:pt x="67" y="138"/>
                    <a:pt x="0" y="140"/>
                  </a:cubicBezTo>
                  <a:lnTo>
                    <a:pt x="0" y="42"/>
                  </a:lnTo>
                  <a:cubicBezTo>
                    <a:pt x="31" y="41"/>
                    <a:pt x="58" y="24"/>
                    <a:pt x="74" y="0"/>
                  </a:cubicBezTo>
                  <a:lnTo>
                    <a:pt x="158" y="48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64" name="Rectangle 17"/>
            <p:cNvSpPr>
              <a:spLocks noChangeArrowheads="1"/>
            </p:cNvSpPr>
            <p:nvPr/>
          </p:nvSpPr>
          <p:spPr bwMode="gray">
            <a:xfrm>
              <a:off x="5189038" y="5682312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66" name="Freeform 19"/>
            <p:cNvSpPr>
              <a:spLocks/>
            </p:cNvSpPr>
            <p:nvPr/>
          </p:nvSpPr>
          <p:spPr bwMode="gray">
            <a:xfrm>
              <a:off x="3876629" y="5310810"/>
              <a:ext cx="1055261" cy="934306"/>
            </a:xfrm>
            <a:custGeom>
              <a:avLst/>
              <a:gdLst/>
              <a:ahLst/>
              <a:cxnLst>
                <a:cxn ang="0">
                  <a:pos x="158" y="140"/>
                </a:cxn>
                <a:cxn ang="0">
                  <a:pos x="0" y="48"/>
                </a:cxn>
                <a:cxn ang="0">
                  <a:pos x="84" y="0"/>
                </a:cxn>
                <a:cxn ang="0">
                  <a:pos x="158" y="42"/>
                </a:cxn>
                <a:cxn ang="0">
                  <a:pos x="158" y="140"/>
                </a:cxn>
              </a:cxnLst>
              <a:rect l="0" t="0" r="r" b="b"/>
              <a:pathLst>
                <a:path w="158" h="140">
                  <a:moveTo>
                    <a:pt x="158" y="140"/>
                  </a:moveTo>
                  <a:cubicBezTo>
                    <a:pt x="91" y="138"/>
                    <a:pt x="32" y="102"/>
                    <a:pt x="0" y="48"/>
                  </a:cubicBezTo>
                  <a:lnTo>
                    <a:pt x="84" y="0"/>
                  </a:lnTo>
                  <a:cubicBezTo>
                    <a:pt x="100" y="24"/>
                    <a:pt x="127" y="41"/>
                    <a:pt x="158" y="42"/>
                  </a:cubicBezTo>
                  <a:lnTo>
                    <a:pt x="158" y="14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67" name="Rectangle 20"/>
            <p:cNvSpPr>
              <a:spLocks noChangeArrowheads="1"/>
            </p:cNvSpPr>
            <p:nvPr/>
          </p:nvSpPr>
          <p:spPr bwMode="gray">
            <a:xfrm>
              <a:off x="4183302" y="5682312"/>
              <a:ext cx="542869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  <p:grpSp>
        <p:nvGrpSpPr>
          <p:cNvPr id="97" name="Grupo 96"/>
          <p:cNvGrpSpPr/>
          <p:nvPr/>
        </p:nvGrpSpPr>
        <p:grpSpPr>
          <a:xfrm>
            <a:off x="7550690" y="4080881"/>
            <a:ext cx="2738466" cy="2738466"/>
            <a:chOff x="6995740" y="3707918"/>
            <a:chExt cx="2537198" cy="2537198"/>
          </a:xfrm>
        </p:grpSpPr>
        <p:sp>
          <p:nvSpPr>
            <p:cNvPr id="70" name="Freeform 4"/>
            <p:cNvSpPr>
              <a:spLocks/>
            </p:cNvSpPr>
            <p:nvPr/>
          </p:nvSpPr>
          <p:spPr bwMode="gray">
            <a:xfrm>
              <a:off x="8289967" y="3707918"/>
              <a:ext cx="914380" cy="8482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2" y="68"/>
                </a:cxn>
                <a:cxn ang="0">
                  <a:pos x="66" y="129"/>
                </a:cxn>
                <a:cxn ang="0">
                  <a:pos x="0" y="98"/>
                </a:cxn>
                <a:cxn ang="0">
                  <a:pos x="0" y="0"/>
                </a:cxn>
              </a:cxnLst>
              <a:rect l="0" t="0" r="r" b="b"/>
              <a:pathLst>
                <a:path w="142" h="129">
                  <a:moveTo>
                    <a:pt x="0" y="0"/>
                  </a:moveTo>
                  <a:cubicBezTo>
                    <a:pt x="53" y="1"/>
                    <a:pt x="105" y="25"/>
                    <a:pt x="142" y="68"/>
                  </a:cubicBezTo>
                  <a:lnTo>
                    <a:pt x="66" y="129"/>
                  </a:lnTo>
                  <a:cubicBezTo>
                    <a:pt x="48" y="110"/>
                    <a:pt x="25" y="99"/>
                    <a:pt x="0" y="9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71" name="Rectangle 5"/>
            <p:cNvSpPr>
              <a:spLocks noChangeArrowheads="1"/>
            </p:cNvSpPr>
            <p:nvPr/>
          </p:nvSpPr>
          <p:spPr bwMode="gray">
            <a:xfrm>
              <a:off x="8414447" y="402850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73" name="Freeform 7"/>
            <p:cNvSpPr>
              <a:spLocks/>
            </p:cNvSpPr>
            <p:nvPr/>
          </p:nvSpPr>
          <p:spPr bwMode="gray">
            <a:xfrm>
              <a:off x="7324331" y="3707918"/>
              <a:ext cx="914380" cy="848224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28" y="42"/>
                </a:cxn>
                <a:cxn ang="0">
                  <a:pos x="142" y="0"/>
                </a:cxn>
                <a:cxn ang="0">
                  <a:pos x="142" y="98"/>
                </a:cxn>
                <a:cxn ang="0">
                  <a:pos x="88" y="118"/>
                </a:cxn>
                <a:cxn ang="0">
                  <a:pos x="76" y="129"/>
                </a:cxn>
                <a:cxn ang="0">
                  <a:pos x="0" y="68"/>
                </a:cxn>
              </a:cxnLst>
              <a:rect l="0" t="0" r="r" b="b"/>
              <a:pathLst>
                <a:path w="142" h="129">
                  <a:moveTo>
                    <a:pt x="0" y="68"/>
                  </a:moveTo>
                  <a:cubicBezTo>
                    <a:pt x="8" y="59"/>
                    <a:pt x="17" y="50"/>
                    <a:pt x="28" y="42"/>
                  </a:cubicBezTo>
                  <a:cubicBezTo>
                    <a:pt x="61" y="15"/>
                    <a:pt x="102" y="1"/>
                    <a:pt x="142" y="0"/>
                  </a:cubicBezTo>
                  <a:lnTo>
                    <a:pt x="142" y="98"/>
                  </a:lnTo>
                  <a:cubicBezTo>
                    <a:pt x="123" y="99"/>
                    <a:pt x="104" y="105"/>
                    <a:pt x="88" y="118"/>
                  </a:cubicBezTo>
                  <a:cubicBezTo>
                    <a:pt x="84" y="121"/>
                    <a:pt x="80" y="125"/>
                    <a:pt x="76" y="129"/>
                  </a:cubicBezTo>
                  <a:lnTo>
                    <a:pt x="0" y="68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74" name="Rectangle 8"/>
            <p:cNvSpPr>
              <a:spLocks noChangeArrowheads="1"/>
            </p:cNvSpPr>
            <p:nvPr/>
          </p:nvSpPr>
          <p:spPr bwMode="gray">
            <a:xfrm>
              <a:off x="7579698" y="402850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gray">
            <a:xfrm>
              <a:off x="8747615" y="4201158"/>
              <a:ext cx="785323" cy="1005164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11" y="153"/>
                </a:cxn>
                <a:cxn ang="0">
                  <a:pos x="16" y="131"/>
                </a:cxn>
                <a:cxn ang="0">
                  <a:pos x="0" y="61"/>
                </a:cxn>
                <a:cxn ang="0">
                  <a:pos x="76" y="0"/>
                </a:cxn>
              </a:cxnLst>
              <a:rect l="0" t="0" r="r" b="b"/>
              <a:pathLst>
                <a:path w="122" h="153">
                  <a:moveTo>
                    <a:pt x="76" y="0"/>
                  </a:moveTo>
                  <a:cubicBezTo>
                    <a:pt x="110" y="45"/>
                    <a:pt x="122" y="101"/>
                    <a:pt x="111" y="153"/>
                  </a:cubicBezTo>
                  <a:lnTo>
                    <a:pt x="16" y="131"/>
                  </a:lnTo>
                  <a:cubicBezTo>
                    <a:pt x="20" y="107"/>
                    <a:pt x="15" y="82"/>
                    <a:pt x="0" y="61"/>
                  </a:cubicBezTo>
                  <a:lnTo>
                    <a:pt x="76" y="0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77" name="Rectangle 11"/>
            <p:cNvSpPr>
              <a:spLocks noChangeArrowheads="1"/>
            </p:cNvSpPr>
            <p:nvPr/>
          </p:nvSpPr>
          <p:spPr bwMode="gray">
            <a:xfrm>
              <a:off x="8890401" y="470110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79" name="Freeform 13"/>
            <p:cNvSpPr>
              <a:spLocks/>
            </p:cNvSpPr>
            <p:nvPr/>
          </p:nvSpPr>
          <p:spPr bwMode="gray">
            <a:xfrm>
              <a:off x="6995740" y="4201158"/>
              <a:ext cx="785323" cy="1005164"/>
            </a:xfrm>
            <a:custGeom>
              <a:avLst/>
              <a:gdLst/>
              <a:ahLst/>
              <a:cxnLst>
                <a:cxn ang="0">
                  <a:pos x="11" y="153"/>
                </a:cxn>
                <a:cxn ang="0">
                  <a:pos x="46" y="0"/>
                </a:cxn>
                <a:cxn ang="0">
                  <a:pos x="122" y="61"/>
                </a:cxn>
                <a:cxn ang="0">
                  <a:pos x="106" y="132"/>
                </a:cxn>
                <a:cxn ang="0">
                  <a:pos x="11" y="153"/>
                </a:cxn>
              </a:cxnLst>
              <a:rect l="0" t="0" r="r" b="b"/>
              <a:pathLst>
                <a:path w="122" h="153">
                  <a:moveTo>
                    <a:pt x="11" y="153"/>
                  </a:moveTo>
                  <a:cubicBezTo>
                    <a:pt x="0" y="100"/>
                    <a:pt x="12" y="44"/>
                    <a:pt x="46" y="0"/>
                  </a:cubicBezTo>
                  <a:lnTo>
                    <a:pt x="122" y="61"/>
                  </a:lnTo>
                  <a:cubicBezTo>
                    <a:pt x="107" y="81"/>
                    <a:pt x="102" y="107"/>
                    <a:pt x="106" y="132"/>
                  </a:cubicBezTo>
                  <a:lnTo>
                    <a:pt x="11" y="153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80" name="Rectangle 14"/>
            <p:cNvSpPr>
              <a:spLocks noChangeArrowheads="1"/>
            </p:cNvSpPr>
            <p:nvPr/>
          </p:nvSpPr>
          <p:spPr bwMode="gray">
            <a:xfrm>
              <a:off x="7103745" y="470110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82" name="Freeform 16"/>
            <p:cNvSpPr>
              <a:spLocks/>
            </p:cNvSpPr>
            <p:nvPr/>
          </p:nvSpPr>
          <p:spPr bwMode="gray">
            <a:xfrm>
              <a:off x="7079032" y="5121313"/>
              <a:ext cx="901565" cy="946311"/>
            </a:xfrm>
            <a:custGeom>
              <a:avLst/>
              <a:gdLst/>
              <a:ahLst/>
              <a:cxnLst>
                <a:cxn ang="0">
                  <a:pos x="98" y="144"/>
                </a:cxn>
                <a:cxn ang="0">
                  <a:pos x="36" y="93"/>
                </a:cxn>
                <a:cxn ang="0">
                  <a:pos x="0" y="21"/>
                </a:cxn>
                <a:cxn ang="0">
                  <a:pos x="95" y="0"/>
                </a:cxn>
                <a:cxn ang="0">
                  <a:pos x="112" y="33"/>
                </a:cxn>
                <a:cxn ang="0">
                  <a:pos x="140" y="56"/>
                </a:cxn>
                <a:cxn ang="0">
                  <a:pos x="98" y="144"/>
                </a:cxn>
              </a:cxnLst>
              <a:rect l="0" t="0" r="r" b="b"/>
              <a:pathLst>
                <a:path w="140" h="144">
                  <a:moveTo>
                    <a:pt x="98" y="144"/>
                  </a:moveTo>
                  <a:cubicBezTo>
                    <a:pt x="74" y="132"/>
                    <a:pt x="53" y="115"/>
                    <a:pt x="36" y="93"/>
                  </a:cubicBezTo>
                  <a:cubicBezTo>
                    <a:pt x="18" y="71"/>
                    <a:pt x="6" y="47"/>
                    <a:pt x="0" y="21"/>
                  </a:cubicBezTo>
                  <a:lnTo>
                    <a:pt x="95" y="0"/>
                  </a:lnTo>
                  <a:cubicBezTo>
                    <a:pt x="98" y="11"/>
                    <a:pt x="104" y="23"/>
                    <a:pt x="112" y="33"/>
                  </a:cubicBezTo>
                  <a:cubicBezTo>
                    <a:pt x="120" y="43"/>
                    <a:pt x="130" y="51"/>
                    <a:pt x="140" y="56"/>
                  </a:cubicBezTo>
                  <a:lnTo>
                    <a:pt x="98" y="144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83" name="Rectangle 17"/>
            <p:cNvSpPr>
              <a:spLocks noChangeArrowheads="1"/>
            </p:cNvSpPr>
            <p:nvPr/>
          </p:nvSpPr>
          <p:spPr bwMode="gray">
            <a:xfrm>
              <a:off x="7286804" y="541854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85" name="Freeform 19"/>
            <p:cNvSpPr>
              <a:spLocks/>
            </p:cNvSpPr>
            <p:nvPr/>
          </p:nvSpPr>
          <p:spPr bwMode="gray">
            <a:xfrm>
              <a:off x="8548080" y="5121313"/>
              <a:ext cx="901566" cy="946311"/>
            </a:xfrm>
            <a:custGeom>
              <a:avLst/>
              <a:gdLst/>
              <a:ahLst/>
              <a:cxnLst>
                <a:cxn ang="0">
                  <a:pos x="140" y="21"/>
                </a:cxn>
                <a:cxn ang="0">
                  <a:pos x="74" y="123"/>
                </a:cxn>
                <a:cxn ang="0">
                  <a:pos x="42" y="144"/>
                </a:cxn>
                <a:cxn ang="0">
                  <a:pos x="0" y="56"/>
                </a:cxn>
                <a:cxn ang="0">
                  <a:pos x="14" y="47"/>
                </a:cxn>
                <a:cxn ang="0">
                  <a:pos x="45" y="0"/>
                </a:cxn>
                <a:cxn ang="0">
                  <a:pos x="140" y="21"/>
                </a:cxn>
              </a:cxnLst>
              <a:rect l="0" t="0" r="r" b="b"/>
              <a:pathLst>
                <a:path w="140" h="144">
                  <a:moveTo>
                    <a:pt x="140" y="21"/>
                  </a:moveTo>
                  <a:cubicBezTo>
                    <a:pt x="130" y="60"/>
                    <a:pt x="108" y="96"/>
                    <a:pt x="74" y="123"/>
                  </a:cubicBezTo>
                  <a:cubicBezTo>
                    <a:pt x="64" y="132"/>
                    <a:pt x="53" y="138"/>
                    <a:pt x="42" y="144"/>
                  </a:cubicBezTo>
                  <a:lnTo>
                    <a:pt x="0" y="56"/>
                  </a:lnTo>
                  <a:cubicBezTo>
                    <a:pt x="5" y="54"/>
                    <a:pt x="9" y="51"/>
                    <a:pt x="14" y="47"/>
                  </a:cubicBezTo>
                  <a:cubicBezTo>
                    <a:pt x="29" y="35"/>
                    <a:pt x="40" y="18"/>
                    <a:pt x="45" y="0"/>
                  </a:cubicBezTo>
                  <a:lnTo>
                    <a:pt x="140" y="21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86" name="Rectangle 20"/>
            <p:cNvSpPr>
              <a:spLocks noChangeArrowheads="1"/>
            </p:cNvSpPr>
            <p:nvPr/>
          </p:nvSpPr>
          <p:spPr bwMode="gray">
            <a:xfrm>
              <a:off x="8721986" y="5418541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  <p:sp>
          <p:nvSpPr>
            <p:cNvPr id="88" name="Freeform 22"/>
            <p:cNvSpPr>
              <a:spLocks/>
            </p:cNvSpPr>
            <p:nvPr/>
          </p:nvSpPr>
          <p:spPr bwMode="gray">
            <a:xfrm>
              <a:off x="7755435" y="5515532"/>
              <a:ext cx="1017808" cy="729584"/>
            </a:xfrm>
            <a:custGeom>
              <a:avLst/>
              <a:gdLst/>
              <a:ahLst/>
              <a:cxnLst>
                <a:cxn ang="0">
                  <a:pos x="158" y="88"/>
                </a:cxn>
                <a:cxn ang="0">
                  <a:pos x="0" y="88"/>
                </a:cxn>
                <a:cxn ang="0">
                  <a:pos x="43" y="0"/>
                </a:cxn>
                <a:cxn ang="0">
                  <a:pos x="115" y="0"/>
                </a:cxn>
                <a:cxn ang="0">
                  <a:pos x="158" y="88"/>
                </a:cxn>
              </a:cxnLst>
              <a:rect l="0" t="0" r="r" b="b"/>
              <a:pathLst>
                <a:path w="158" h="111">
                  <a:moveTo>
                    <a:pt x="158" y="88"/>
                  </a:moveTo>
                  <a:cubicBezTo>
                    <a:pt x="107" y="111"/>
                    <a:pt x="50" y="110"/>
                    <a:pt x="0" y="88"/>
                  </a:cubicBezTo>
                  <a:lnTo>
                    <a:pt x="43" y="0"/>
                  </a:lnTo>
                  <a:cubicBezTo>
                    <a:pt x="66" y="10"/>
                    <a:pt x="92" y="10"/>
                    <a:pt x="115" y="0"/>
                  </a:cubicBezTo>
                  <a:lnTo>
                    <a:pt x="158" y="88"/>
                  </a:lnTo>
                  <a:close/>
                </a:path>
              </a:pathLst>
            </a:custGeom>
            <a:solidFill>
              <a:schemeClr val="accent6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 anchorCtr="1">
              <a:noAutofit/>
            </a:bodyPr>
            <a:lstStyle/>
            <a:p>
              <a:endParaRPr lang="pt-BR" sz="1295"/>
            </a:p>
          </p:txBody>
        </p:sp>
        <p:sp>
          <p:nvSpPr>
            <p:cNvPr id="89" name="Rectangle 23"/>
            <p:cNvSpPr>
              <a:spLocks noChangeArrowheads="1"/>
            </p:cNvSpPr>
            <p:nvPr/>
          </p:nvSpPr>
          <p:spPr bwMode="gray">
            <a:xfrm>
              <a:off x="7997073" y="5792209"/>
              <a:ext cx="521718" cy="184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>
              <a:spAutoFit/>
            </a:bodyPr>
            <a:lstStyle/>
            <a:p>
              <a:pPr algn="ctr" defTabSz="971492">
                <a:spcBef>
                  <a:spcPct val="20000"/>
                </a:spcBef>
              </a:pPr>
              <a:r>
                <a:rPr lang="pt-BR" sz="1295"/>
                <a:t>Texto</a:t>
              </a:r>
              <a:endParaRPr lang="pt-BR" sz="1295" dirty="0"/>
            </a:p>
          </p:txBody>
        </p:sp>
      </p:grpSp>
    </p:spTree>
    <p:extLst>
      <p:ext uri="{BB962C8B-B14F-4D97-AF65-F5344CB8AC3E}">
        <p14:creationId xmlns:p14="http://schemas.microsoft.com/office/powerpoint/2010/main" val="1743588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766549" y="2030424"/>
          <a:ext cx="7157003" cy="3673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5709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693059" y="1215104"/>
            <a:ext cx="7305696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95778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1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olunas 2x1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0" name="Object 2"/>
          <p:cNvGraphicFramePr>
            <a:graphicFrameLocks/>
          </p:cNvGraphicFramePr>
          <p:nvPr/>
        </p:nvGraphicFramePr>
        <p:xfrm>
          <a:off x="456323" y="1836834"/>
          <a:ext cx="4748626" cy="397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1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20" name="Object 2"/>
          <p:cNvGraphicFramePr>
            <a:graphicFrameLocks/>
          </p:cNvGraphicFramePr>
          <p:nvPr/>
        </p:nvGraphicFramePr>
        <p:xfrm>
          <a:off x="5601798" y="1836834"/>
          <a:ext cx="4748626" cy="397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" name="12 Grupo"/>
          <p:cNvGrpSpPr/>
          <p:nvPr/>
        </p:nvGrpSpPr>
        <p:grpSpPr>
          <a:xfrm>
            <a:off x="371815" y="1215104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2" name="21 Grupo"/>
          <p:cNvGrpSpPr/>
          <p:nvPr/>
        </p:nvGrpSpPr>
        <p:grpSpPr>
          <a:xfrm>
            <a:off x="5579067" y="1215104"/>
            <a:ext cx="4740931" cy="276539"/>
            <a:chOff x="2379663" y="1269372"/>
            <a:chExt cx="7069137" cy="256215"/>
          </a:xfrm>
        </p:grpSpPr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315279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13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err="1" smtClean="0"/>
              <a:t>Columnas</a:t>
            </a:r>
            <a:r>
              <a:rPr lang="pt-BR" smtClean="0"/>
              <a:t> 3x1</a:t>
            </a:r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3" name="Object 2"/>
          <p:cNvGraphicFramePr>
            <a:graphicFrameLocks/>
          </p:cNvGraphicFramePr>
          <p:nvPr/>
        </p:nvGraphicFramePr>
        <p:xfrm>
          <a:off x="543158" y="2176066"/>
          <a:ext cx="2941386" cy="3667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27" name="Object 2"/>
          <p:cNvGraphicFramePr>
            <a:graphicFrameLocks/>
          </p:cNvGraphicFramePr>
          <p:nvPr/>
        </p:nvGraphicFramePr>
        <p:xfrm>
          <a:off x="3884307" y="2176066"/>
          <a:ext cx="2941386" cy="3667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Object 2"/>
          <p:cNvGraphicFramePr>
            <a:graphicFrameLocks/>
          </p:cNvGraphicFramePr>
          <p:nvPr/>
        </p:nvGraphicFramePr>
        <p:xfrm>
          <a:off x="7219904" y="2176066"/>
          <a:ext cx="2941386" cy="3667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8" name="17 Grupo"/>
          <p:cNvGrpSpPr/>
          <p:nvPr/>
        </p:nvGrpSpPr>
        <p:grpSpPr>
          <a:xfrm>
            <a:off x="371815" y="1215104"/>
            <a:ext cx="3031087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3713782" y="1215104"/>
            <a:ext cx="3031087" cy="276539"/>
            <a:chOff x="2379663" y="1269372"/>
            <a:chExt cx="7069137" cy="256215"/>
          </a:xfrm>
        </p:grpSpPr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055751" y="1215104"/>
            <a:ext cx="3031087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6889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887861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15" imgW="325" imgH="325" progId="TCLayout.ActiveDocument.1">
                  <p:embed/>
                </p:oleObj>
              </mc:Choice>
              <mc:Fallback>
                <p:oleObj name="think-cell Slide" r:id="rId15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tângulo 22"/>
          <p:cNvSpPr/>
          <p:nvPr>
            <p:custDataLst>
              <p:tags r:id="rId3"/>
            </p:custDataLst>
          </p:nvPr>
        </p:nvSpPr>
        <p:spPr>
          <a:xfrm>
            <a:off x="8121665" y="1641476"/>
            <a:ext cx="873851" cy="1953312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  <p:sp>
        <p:nvSpPr>
          <p:cNvPr id="860167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err="1" smtClean="0"/>
              <a:t>Columnas</a:t>
            </a:r>
            <a:r>
              <a:rPr lang="pt-BR" smtClean="0"/>
              <a:t> 4x1</a:t>
            </a:r>
            <a:endParaRPr lang="pt-BR" dirty="0"/>
          </a:p>
        </p:txBody>
      </p:sp>
      <p:sp>
        <p:nvSpPr>
          <p:cNvPr id="28" name="Espaço Reservado para Texto 2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4" name="Object 2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527256" y="1681392"/>
          <a:ext cx="4629849" cy="1712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5" name="24 Rectángulo"/>
          <p:cNvSpPr/>
          <p:nvPr>
            <p:custDataLst>
              <p:tags r:id="rId6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26" name="Object 2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527256" y="4246158"/>
          <a:ext cx="4629849" cy="1712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3" name="Object 2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5725315" y="1681392"/>
          <a:ext cx="4629849" cy="1712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34" name="Object 2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5725315" y="4246158"/>
          <a:ext cx="4629849" cy="1712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22" name="21 Grupo"/>
          <p:cNvGrpSpPr/>
          <p:nvPr>
            <p:custDataLst>
              <p:tags r:id="rId10"/>
            </p:custDataLst>
          </p:nvPr>
        </p:nvGrpSpPr>
        <p:grpSpPr>
          <a:xfrm>
            <a:off x="371815" y="1215104"/>
            <a:ext cx="4740931" cy="276539"/>
            <a:chOff x="2379663" y="1269372"/>
            <a:chExt cx="7069137" cy="256215"/>
          </a:xfrm>
        </p:grpSpPr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5" name="34 Grupo"/>
          <p:cNvGrpSpPr/>
          <p:nvPr>
            <p:custDataLst>
              <p:tags r:id="rId11"/>
            </p:custDataLst>
          </p:nvPr>
        </p:nvGrpSpPr>
        <p:grpSpPr>
          <a:xfrm>
            <a:off x="5579067" y="1215104"/>
            <a:ext cx="4740931" cy="276539"/>
            <a:chOff x="2379663" y="1269372"/>
            <a:chExt cx="7069137" cy="256215"/>
          </a:xfrm>
        </p:grpSpPr>
        <p:sp>
          <p:nvSpPr>
            <p:cNvPr id="3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7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8" name="37 Grupo"/>
          <p:cNvGrpSpPr/>
          <p:nvPr>
            <p:custDataLst>
              <p:tags r:id="rId12"/>
            </p:custDataLst>
          </p:nvPr>
        </p:nvGrpSpPr>
        <p:grpSpPr>
          <a:xfrm>
            <a:off x="371815" y="3779870"/>
            <a:ext cx="4740931" cy="276539"/>
            <a:chOff x="2379663" y="1269372"/>
            <a:chExt cx="7069137" cy="256215"/>
          </a:xfrm>
        </p:grpSpPr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41" name="40 Grupo"/>
          <p:cNvGrpSpPr/>
          <p:nvPr>
            <p:custDataLst>
              <p:tags r:id="rId13"/>
            </p:custDataLst>
          </p:nvPr>
        </p:nvGrpSpPr>
        <p:grpSpPr>
          <a:xfrm>
            <a:off x="5579067" y="3779870"/>
            <a:ext cx="4740931" cy="276539"/>
            <a:chOff x="2379663" y="1269372"/>
            <a:chExt cx="7069137" cy="256215"/>
          </a:xfrm>
        </p:grpSpPr>
        <p:sp>
          <p:nvSpPr>
            <p:cNvPr id="4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98877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8 Grupo"/>
          <p:cNvGrpSpPr/>
          <p:nvPr/>
        </p:nvGrpSpPr>
        <p:grpSpPr>
          <a:xfrm>
            <a:off x="5536996" y="3779837"/>
            <a:ext cx="4520499" cy="2648817"/>
            <a:chOff x="5130045" y="3429000"/>
            <a:chExt cx="4188257" cy="2454138"/>
          </a:xfrm>
        </p:grpSpPr>
        <p:cxnSp>
          <p:nvCxnSpPr>
            <p:cNvPr id="13" name="5 Conector recto"/>
            <p:cNvCxnSpPr/>
            <p:nvPr/>
          </p:nvCxnSpPr>
          <p:spPr>
            <a:xfrm>
              <a:off x="5130045" y="3488139"/>
              <a:ext cx="0" cy="2350686"/>
            </a:xfrm>
            <a:prstGeom prst="line">
              <a:avLst/>
            </a:prstGeom>
            <a:ln w="762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10 Marcador de texto"/>
            <p:cNvSpPr txBox="1">
              <a:spLocks/>
            </p:cNvSpPr>
            <p:nvPr/>
          </p:nvSpPr>
          <p:spPr>
            <a:xfrm>
              <a:off x="5313040" y="3429000"/>
              <a:ext cx="4005262" cy="2454138"/>
            </a:xfrm>
            <a:prstGeom prst="rect">
              <a:avLst/>
            </a:prstGeom>
          </p:spPr>
          <p:txBody>
            <a:bodyPr vert="horz" lIns="98694" tIns="49347" rIns="98694" bIns="49347" rtlCol="0">
              <a:spAutoFit/>
            </a:bodyPr>
            <a:lstStyle/>
            <a:p>
              <a:pPr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Introdução</a:t>
              </a:r>
            </a:p>
            <a:p>
              <a:pPr marL="193613" indent="-193613"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1: Slides conceituais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accent1"/>
                  </a:solidFill>
                </a:rPr>
                <a:t>Capítulo 2: Slides de dados 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i="1" dirty="0" err="1">
                  <a:solidFill>
                    <a:schemeClr val="accent1"/>
                  </a:solidFill>
                </a:rPr>
                <a:t>Templates</a:t>
              </a:r>
              <a:r>
                <a:rPr lang="pt-BR" sz="1511" b="1" dirty="0">
                  <a:solidFill>
                    <a:schemeClr val="accent1"/>
                  </a:solidFill>
                </a:rPr>
                <a:t> mais frequentes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Exemplos de aplicações reais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3: Slides específic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0594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190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lunas Agrupadas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1526668" y="1569511"/>
          <a:ext cx="7638478" cy="404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8" name="17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59425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338281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11" imgW="325" imgH="325" progId="TCLayout.ActiveDocument.1">
                  <p:embed/>
                </p:oleObj>
              </mc:Choice>
              <mc:Fallback>
                <p:oleObj name="think-cell Slide" r:id="rId11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/>
          <p:cNvSpPr/>
          <p:nvPr>
            <p:custDataLst>
              <p:tags r:id="rId3"/>
            </p:custDataLst>
          </p:nvPr>
        </p:nvSpPr>
        <p:spPr>
          <a:xfrm>
            <a:off x="5602922" y="1847087"/>
            <a:ext cx="1161705" cy="395802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  <p:sp>
        <p:nvSpPr>
          <p:cNvPr id="862211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smtClean="0"/>
              <a:t>Colunas </a:t>
            </a:r>
            <a:r>
              <a:rPr lang="pt-BR" smtClean="0"/>
              <a:t>Agrupadas 2x1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414650" y="1600353"/>
          <a:ext cx="4687949" cy="4084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9" name="18 Rectángulo"/>
          <p:cNvSpPr/>
          <p:nvPr>
            <p:custDataLst>
              <p:tags r:id="rId6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3" name="12 Grupo"/>
          <p:cNvGrpSpPr/>
          <p:nvPr>
            <p:custDataLst>
              <p:tags r:id="rId7"/>
            </p:custDataLst>
          </p:nvPr>
        </p:nvGrpSpPr>
        <p:grpSpPr>
          <a:xfrm>
            <a:off x="414650" y="1215104"/>
            <a:ext cx="4698095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2" name="21 Grupo"/>
          <p:cNvGrpSpPr/>
          <p:nvPr>
            <p:custDataLst>
              <p:tags r:id="rId8"/>
            </p:custDataLst>
          </p:nvPr>
        </p:nvGrpSpPr>
        <p:grpSpPr>
          <a:xfrm>
            <a:off x="5591062" y="1215104"/>
            <a:ext cx="4698095" cy="276539"/>
            <a:chOff x="2379663" y="1269372"/>
            <a:chExt cx="7069137" cy="256215"/>
          </a:xfrm>
        </p:grpSpPr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5" name="Object 2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5601208" y="1600353"/>
          <a:ext cx="4687949" cy="40848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5" name="Texto explicativo retangular com cantos arredondados 24"/>
          <p:cNvSpPr/>
          <p:nvPr/>
        </p:nvSpPr>
        <p:spPr>
          <a:xfrm>
            <a:off x="6230036" y="1600352"/>
            <a:ext cx="1336477" cy="575713"/>
          </a:xfrm>
          <a:prstGeom prst="wedgeRoundRectCallout">
            <a:avLst>
              <a:gd name="adj1" fmla="val -39295"/>
              <a:gd name="adj2" fmla="val 89286"/>
              <a:gd name="adj3" fmla="val 16667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187">
                <a:solidFill>
                  <a:schemeClr val="tx1"/>
                </a:solidFill>
              </a:rPr>
              <a:t>xxxxx</a:t>
            </a:r>
            <a:endParaRPr lang="pt-BR" sz="1187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7947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23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smtClean="0"/>
              <a:t>Agrupadas 3x1</a:t>
            </a:r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426967" y="2097248"/>
          <a:ext cx="2920785" cy="358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8" name="17 Grupo"/>
          <p:cNvGrpSpPr/>
          <p:nvPr/>
        </p:nvGrpSpPr>
        <p:grpSpPr>
          <a:xfrm>
            <a:off x="408653" y="1482571"/>
            <a:ext cx="3031087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7" name="26 Grupo"/>
          <p:cNvGrpSpPr/>
          <p:nvPr/>
        </p:nvGrpSpPr>
        <p:grpSpPr>
          <a:xfrm>
            <a:off x="3830364" y="1482571"/>
            <a:ext cx="3031087" cy="276539"/>
            <a:chOff x="2379663" y="1269372"/>
            <a:chExt cx="7069137" cy="256215"/>
          </a:xfrm>
        </p:grpSpPr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252073" y="1482571"/>
            <a:ext cx="3031087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22" name="Object 2"/>
          <p:cNvGraphicFramePr>
            <a:graphicFrameLocks noChangeAspect="1"/>
          </p:cNvGraphicFramePr>
          <p:nvPr/>
        </p:nvGraphicFramePr>
        <p:xfrm>
          <a:off x="3768935" y="2097248"/>
          <a:ext cx="2920785" cy="358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Object 2"/>
          <p:cNvGraphicFramePr>
            <a:graphicFrameLocks noChangeAspect="1"/>
          </p:cNvGraphicFramePr>
          <p:nvPr/>
        </p:nvGraphicFramePr>
        <p:xfrm>
          <a:off x="7110903" y="2097248"/>
          <a:ext cx="2920785" cy="358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9890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263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smtClean="0"/>
              <a:t>Agrupadas 4x1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4" name="Object 2"/>
          <p:cNvGraphicFramePr>
            <a:graphicFrameLocks/>
          </p:cNvGraphicFramePr>
          <p:nvPr/>
        </p:nvGraphicFramePr>
        <p:xfrm>
          <a:off x="414651" y="1548950"/>
          <a:ext cx="4684522" cy="2153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" name="33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2" name="21 Grupo"/>
          <p:cNvGrpSpPr/>
          <p:nvPr/>
        </p:nvGrpSpPr>
        <p:grpSpPr>
          <a:xfrm>
            <a:off x="414650" y="1215104"/>
            <a:ext cx="4698095" cy="276539"/>
            <a:chOff x="2379663" y="1269372"/>
            <a:chExt cx="7069137" cy="256215"/>
          </a:xfrm>
        </p:grpSpPr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1" name="30 Grupo"/>
          <p:cNvGrpSpPr/>
          <p:nvPr/>
        </p:nvGrpSpPr>
        <p:grpSpPr>
          <a:xfrm>
            <a:off x="5591062" y="1215104"/>
            <a:ext cx="4698095" cy="276539"/>
            <a:chOff x="2379663" y="1269372"/>
            <a:chExt cx="7069137" cy="256215"/>
          </a:xfrm>
        </p:grpSpPr>
        <p:sp>
          <p:nvSpPr>
            <p:cNvPr id="3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8" name="37 Grupo"/>
          <p:cNvGrpSpPr/>
          <p:nvPr/>
        </p:nvGrpSpPr>
        <p:grpSpPr>
          <a:xfrm>
            <a:off x="414650" y="3935310"/>
            <a:ext cx="4698095" cy="276539"/>
            <a:chOff x="2379663" y="1269372"/>
            <a:chExt cx="7069137" cy="256215"/>
          </a:xfrm>
        </p:grpSpPr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41" name="40 Grupo"/>
          <p:cNvGrpSpPr/>
          <p:nvPr/>
        </p:nvGrpSpPr>
        <p:grpSpPr>
          <a:xfrm>
            <a:off x="5591062" y="3935310"/>
            <a:ext cx="4698095" cy="276539"/>
            <a:chOff x="2379663" y="1269372"/>
            <a:chExt cx="7069137" cy="256215"/>
          </a:xfrm>
        </p:grpSpPr>
        <p:sp>
          <p:nvSpPr>
            <p:cNvPr id="4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23" name="Object 2"/>
          <p:cNvGraphicFramePr>
            <a:graphicFrameLocks/>
          </p:cNvGraphicFramePr>
          <p:nvPr/>
        </p:nvGraphicFramePr>
        <p:xfrm>
          <a:off x="5604635" y="1548950"/>
          <a:ext cx="4684522" cy="2153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Object 2"/>
          <p:cNvGraphicFramePr>
            <a:graphicFrameLocks/>
          </p:cNvGraphicFramePr>
          <p:nvPr/>
        </p:nvGraphicFramePr>
        <p:xfrm>
          <a:off x="414651" y="4242464"/>
          <a:ext cx="4684522" cy="2153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Object 2"/>
          <p:cNvGraphicFramePr>
            <a:graphicFrameLocks/>
          </p:cNvGraphicFramePr>
          <p:nvPr/>
        </p:nvGraphicFramePr>
        <p:xfrm>
          <a:off x="5604635" y="4242464"/>
          <a:ext cx="4684522" cy="2153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43486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1468411" y="1635746"/>
          <a:ext cx="7753278" cy="4196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65285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r>
              <a:rPr lang="pt-BR" dirty="0" smtClean="0"/>
              <a:t> </a:t>
            </a:r>
            <a:r>
              <a:rPr lang="pt-BR" dirty="0" err="1" smtClean="0"/>
              <a:t>sin</a:t>
            </a:r>
            <a:r>
              <a:rPr lang="pt-BR" dirty="0" smtClean="0"/>
              <a:t> </a:t>
            </a:r>
            <a:r>
              <a:rPr lang="pt-BR" dirty="0" err="1" smtClean="0"/>
              <a:t>Totale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23215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30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r>
              <a:rPr lang="pt-BR" dirty="0" smtClean="0"/>
              <a:t>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dirty="0" err="1" smtClean="0"/>
              <a:t>Totales</a:t>
            </a:r>
            <a:r>
              <a:rPr lang="pt-BR" dirty="0" smtClean="0"/>
              <a:t> 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468411" y="1635746"/>
          <a:ext cx="7753278" cy="4196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317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33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r>
              <a:rPr lang="pt-BR" dirty="0" smtClean="0"/>
              <a:t>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err="1" smtClean="0"/>
              <a:t>Totales</a:t>
            </a:r>
            <a:r>
              <a:rPr lang="pt-BR" smtClean="0"/>
              <a:t>  2x1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0" name="19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22" name="Object 2"/>
          <p:cNvGraphicFramePr>
            <a:graphicFrameLocks noChangeAspect="1"/>
          </p:cNvGraphicFramePr>
          <p:nvPr/>
        </p:nvGraphicFramePr>
        <p:xfrm>
          <a:off x="466843" y="1600352"/>
          <a:ext cx="4550874" cy="427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3" name="12 Grupo"/>
          <p:cNvGrpSpPr/>
          <p:nvPr/>
        </p:nvGrpSpPr>
        <p:grpSpPr>
          <a:xfrm>
            <a:off x="371815" y="1215104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5579067" y="1215104"/>
            <a:ext cx="4740931" cy="276539"/>
            <a:chOff x="2379663" y="1269372"/>
            <a:chExt cx="7069137" cy="256215"/>
          </a:xfrm>
        </p:grpSpPr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5" name="Object 2"/>
          <p:cNvGraphicFramePr>
            <a:graphicFrameLocks noChangeAspect="1"/>
          </p:cNvGraphicFramePr>
          <p:nvPr/>
        </p:nvGraphicFramePr>
        <p:xfrm>
          <a:off x="5674096" y="1600352"/>
          <a:ext cx="4550874" cy="4277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57341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35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r>
              <a:rPr lang="pt-BR" dirty="0" smtClean="0"/>
              <a:t>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err="1" smtClean="0"/>
              <a:t>Totales</a:t>
            </a:r>
            <a:r>
              <a:rPr lang="pt-BR" smtClean="0"/>
              <a:t> 3x1</a:t>
            </a:r>
            <a:endParaRPr lang="pt-BR" dirty="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9" name="2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7" name="16 Grupo"/>
          <p:cNvGrpSpPr/>
          <p:nvPr/>
        </p:nvGrpSpPr>
        <p:grpSpPr>
          <a:xfrm>
            <a:off x="414650" y="1482571"/>
            <a:ext cx="3031087" cy="276539"/>
            <a:chOff x="2379663" y="1269372"/>
            <a:chExt cx="7069137" cy="256215"/>
          </a:xfrm>
        </p:grpSpPr>
        <p:sp>
          <p:nvSpPr>
            <p:cNvPr id="2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6" name="25 Grupo"/>
          <p:cNvGrpSpPr/>
          <p:nvPr/>
        </p:nvGrpSpPr>
        <p:grpSpPr>
          <a:xfrm>
            <a:off x="3836360" y="1482571"/>
            <a:ext cx="3031087" cy="276539"/>
            <a:chOff x="2379663" y="1269372"/>
            <a:chExt cx="7069137" cy="256215"/>
          </a:xfrm>
        </p:grpSpPr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1" name="30 Grupo"/>
          <p:cNvGrpSpPr/>
          <p:nvPr/>
        </p:nvGrpSpPr>
        <p:grpSpPr>
          <a:xfrm>
            <a:off x="7258070" y="1482571"/>
            <a:ext cx="3031087" cy="276539"/>
            <a:chOff x="2379663" y="1269372"/>
            <a:chExt cx="7069137" cy="256215"/>
          </a:xfrm>
        </p:grpSpPr>
        <p:sp>
          <p:nvSpPr>
            <p:cNvPr id="3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9" name="Object 2"/>
          <p:cNvGraphicFramePr>
            <a:graphicFrameLocks noChangeAspect="1"/>
          </p:cNvGraphicFramePr>
          <p:nvPr/>
        </p:nvGraphicFramePr>
        <p:xfrm>
          <a:off x="414651" y="1816244"/>
          <a:ext cx="3019066" cy="406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1" name="Object 2"/>
          <p:cNvGraphicFramePr>
            <a:graphicFrameLocks noChangeAspect="1"/>
          </p:cNvGraphicFramePr>
          <p:nvPr/>
        </p:nvGraphicFramePr>
        <p:xfrm>
          <a:off x="3839366" y="1816244"/>
          <a:ext cx="3019066" cy="406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7" name="Object 2"/>
          <p:cNvGraphicFramePr>
            <a:graphicFrameLocks noChangeAspect="1"/>
          </p:cNvGraphicFramePr>
          <p:nvPr/>
        </p:nvGraphicFramePr>
        <p:xfrm>
          <a:off x="7264081" y="1816244"/>
          <a:ext cx="3019066" cy="406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443090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383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r>
              <a:rPr lang="pt-BR" dirty="0" smtClean="0"/>
              <a:t>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err="1" smtClean="0"/>
              <a:t>Totales</a:t>
            </a:r>
            <a:r>
              <a:rPr lang="pt-BR" smtClean="0"/>
              <a:t> 4x1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5" name="2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2" name="21 Grupo"/>
          <p:cNvGrpSpPr/>
          <p:nvPr/>
        </p:nvGrpSpPr>
        <p:grpSpPr>
          <a:xfrm>
            <a:off x="414650" y="1215104"/>
            <a:ext cx="4740931" cy="276539"/>
            <a:chOff x="2379663" y="1269372"/>
            <a:chExt cx="7069137" cy="256215"/>
          </a:xfrm>
        </p:grpSpPr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5548226" y="1215104"/>
            <a:ext cx="4740931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414650" y="3935310"/>
            <a:ext cx="4740931" cy="276539"/>
            <a:chOff x="2379663" y="1269372"/>
            <a:chExt cx="7069137" cy="256215"/>
          </a:xfrm>
        </p:grpSpPr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9" name="38 Grupo"/>
          <p:cNvGrpSpPr/>
          <p:nvPr/>
        </p:nvGrpSpPr>
        <p:grpSpPr>
          <a:xfrm>
            <a:off x="5548226" y="3935310"/>
            <a:ext cx="4740931" cy="276539"/>
            <a:chOff x="2379663" y="1269372"/>
            <a:chExt cx="7069137" cy="256215"/>
          </a:xfrm>
        </p:grpSpPr>
        <p:sp>
          <p:nvSpPr>
            <p:cNvPr id="4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23" name="Object 2"/>
          <p:cNvGraphicFramePr>
            <a:graphicFrameLocks noChangeAspect="1"/>
          </p:cNvGraphicFramePr>
          <p:nvPr/>
        </p:nvGraphicFramePr>
        <p:xfrm>
          <a:off x="414651" y="1548949"/>
          <a:ext cx="4711937" cy="219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Object 2"/>
          <p:cNvGraphicFramePr>
            <a:graphicFrameLocks noChangeAspect="1"/>
          </p:cNvGraphicFramePr>
          <p:nvPr/>
        </p:nvGraphicFramePr>
        <p:xfrm>
          <a:off x="5577220" y="1548949"/>
          <a:ext cx="4711937" cy="219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Object 2"/>
          <p:cNvGraphicFramePr>
            <a:graphicFrameLocks noChangeAspect="1"/>
          </p:cNvGraphicFramePr>
          <p:nvPr/>
        </p:nvGraphicFramePr>
        <p:xfrm>
          <a:off x="414651" y="4201341"/>
          <a:ext cx="4711937" cy="219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8" name="Object 2"/>
          <p:cNvGraphicFramePr>
            <a:graphicFrameLocks noChangeAspect="1"/>
          </p:cNvGraphicFramePr>
          <p:nvPr/>
        </p:nvGraphicFramePr>
        <p:xfrm>
          <a:off x="5577220" y="4201341"/>
          <a:ext cx="4711937" cy="2193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14676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281321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10" imgW="325" imgH="325" progId="TCLayout.ActiveDocument.1">
                  <p:embed/>
                </p:oleObj>
              </mc:Choice>
              <mc:Fallback>
                <p:oleObj name="think-cell Slide" r:id="rId10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0409" name="Rectangle 9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err="1" smtClean="0"/>
              <a:t>Apilado</a:t>
            </a:r>
            <a:r>
              <a:rPr lang="pt-BR" dirty="0" smtClean="0"/>
              <a:t> 100%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0" name="9 Rectángulo"/>
          <p:cNvSpPr/>
          <p:nvPr>
            <p:custDataLst>
              <p:tags r:id="rId4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2" name="11 Grupo"/>
          <p:cNvGrpSpPr/>
          <p:nvPr>
            <p:custDataLst>
              <p:tags r:id="rId5"/>
            </p:custDataLst>
          </p:nvPr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7" name="Object 2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468411" y="1635746"/>
          <a:ext cx="7753278" cy="4196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870407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00837" y="1870641"/>
            <a:ext cx="45525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310124" indent="-310124" defTabSz="1082862">
              <a:spcBef>
                <a:spcPct val="30000"/>
              </a:spcBef>
            </a:pPr>
            <a:r>
              <a:rPr lang="pt-BR" sz="1295" b="1" dirty="0"/>
              <a:t>100%</a:t>
            </a:r>
          </a:p>
        </p:txBody>
      </p:sp>
      <p:sp>
        <p:nvSpPr>
          <p:cNvPr id="870408" name="AutoShape 8"/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 rot="5400000">
            <a:off x="1823434" y="1900889"/>
            <a:ext cx="94238" cy="138788"/>
          </a:xfrm>
          <a:prstGeom prst="flowChartExtra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1295" b="1" dirty="0"/>
          </a:p>
        </p:txBody>
      </p:sp>
    </p:spTree>
    <p:extLst>
      <p:ext uri="{BB962C8B-B14F-4D97-AF65-F5344CB8AC3E}">
        <p14:creationId xmlns:p14="http://schemas.microsoft.com/office/powerpoint/2010/main" val="341494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aixaDeTexto 27"/>
          <p:cNvSpPr txBox="1"/>
          <p:nvPr/>
        </p:nvSpPr>
        <p:spPr>
          <a:xfrm>
            <a:off x="5765698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  <p:sp>
        <p:nvSpPr>
          <p:cNvPr id="8581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lunas 2x1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pt-BR" sz="1133" dirty="0"/>
              <a:t>Capítulo 2: Slides de dados | </a:t>
            </a:r>
            <a:r>
              <a:rPr lang="pt-BR" sz="1133" i="1" dirty="0" err="1"/>
              <a:t>Templates</a:t>
            </a:r>
            <a:r>
              <a:rPr lang="pt-BR" sz="1133" dirty="0"/>
              <a:t> mais frequentes</a:t>
            </a:r>
          </a:p>
        </p:txBody>
      </p:sp>
      <p:graphicFrame>
        <p:nvGraphicFramePr>
          <p:cNvPr id="10" name="Object 2"/>
          <p:cNvGraphicFramePr>
            <a:graphicFrameLocks/>
          </p:cNvGraphicFramePr>
          <p:nvPr/>
        </p:nvGraphicFramePr>
        <p:xfrm>
          <a:off x="263869" y="1836834"/>
          <a:ext cx="4748626" cy="397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graphicFrame>
        <p:nvGraphicFramePr>
          <p:cNvPr id="20" name="Object 2"/>
          <p:cNvGraphicFramePr>
            <a:graphicFrameLocks/>
          </p:cNvGraphicFramePr>
          <p:nvPr/>
        </p:nvGraphicFramePr>
        <p:xfrm>
          <a:off x="5622359" y="1836834"/>
          <a:ext cx="4748626" cy="3970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3" name="12 Grupo"/>
          <p:cNvGrpSpPr/>
          <p:nvPr/>
        </p:nvGrpSpPr>
        <p:grpSpPr>
          <a:xfrm>
            <a:off x="397517" y="1215104"/>
            <a:ext cx="4526885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rgbClr val="0A4F79"/>
                  </a:solidFill>
                </a:rPr>
                <a:t>Texto</a:t>
              </a:r>
              <a:endParaRPr lang="en-US" sz="1511" b="1" dirty="0">
                <a:solidFill>
                  <a:srgbClr val="0A4F79"/>
                </a:solidFill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21 Grupo"/>
          <p:cNvGrpSpPr/>
          <p:nvPr/>
        </p:nvGrpSpPr>
        <p:grpSpPr>
          <a:xfrm>
            <a:off x="5765698" y="1215104"/>
            <a:ext cx="4526885" cy="276539"/>
            <a:chOff x="2379663" y="1269372"/>
            <a:chExt cx="7069137" cy="256215"/>
          </a:xfrm>
        </p:grpSpPr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rgbClr val="0A4F79"/>
                  </a:solidFill>
                </a:rPr>
                <a:t>Texto</a:t>
              </a:r>
              <a:endParaRPr lang="en-US" sz="1511" b="1" dirty="0">
                <a:solidFill>
                  <a:srgbClr val="0A4F79"/>
                </a:solidFill>
              </a:endParaRPr>
            </a:p>
          </p:txBody>
        </p:sp>
        <p:sp>
          <p:nvSpPr>
            <p:cNvPr id="2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>
                <a:solidFill>
                  <a:prstClr val="black"/>
                </a:solidFill>
              </a:endParaRPr>
            </a:p>
          </p:txBody>
        </p:sp>
      </p:grpSp>
      <p:sp>
        <p:nvSpPr>
          <p:cNvPr id="15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397517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4051129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/>
          </p:cNvGraphicFramePr>
          <p:nvPr/>
        </p:nvGraphicFramePr>
        <p:xfrm>
          <a:off x="1752841" y="1518108"/>
          <a:ext cx="7157003" cy="435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7142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Mix </a:t>
            </a:r>
            <a:r>
              <a:rPr lang="pt-BR" dirty="0" smtClean="0"/>
              <a:t>de </a:t>
            </a:r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smtClean="0"/>
              <a:t>Agrupadas x </a:t>
            </a:r>
            <a:r>
              <a:rPr lang="pt-BR" dirty="0" err="1" smtClean="0"/>
              <a:t>Apiladas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71432" name="Rectangle 8"/>
          <p:cNvSpPr>
            <a:spLocks noChangeArrowheads="1"/>
          </p:cNvSpPr>
          <p:nvPr/>
        </p:nvSpPr>
        <p:spPr bwMode="auto">
          <a:xfrm>
            <a:off x="2314846" y="5049491"/>
            <a:ext cx="1089742" cy="1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Ctr="1">
            <a:spAutoFit/>
          </a:bodyPr>
          <a:lstStyle/>
          <a:p>
            <a:pPr algn="ctr" defTabSz="1055447">
              <a:buSzPct val="120000"/>
            </a:pPr>
            <a:r>
              <a:rPr lang="pt-BR" sz="1079" dirty="0" err="1"/>
              <a:t>Label</a:t>
            </a:r>
            <a:r>
              <a:rPr lang="pt-BR" sz="1079" dirty="0"/>
              <a:t> 1</a:t>
            </a:r>
          </a:p>
        </p:txBody>
      </p:sp>
      <p:sp>
        <p:nvSpPr>
          <p:cNvPr id="871433" name="Rectangle 9"/>
          <p:cNvSpPr>
            <a:spLocks noChangeArrowheads="1"/>
          </p:cNvSpPr>
          <p:nvPr/>
        </p:nvSpPr>
        <p:spPr bwMode="auto">
          <a:xfrm>
            <a:off x="3962597" y="5049491"/>
            <a:ext cx="1089742" cy="1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Ctr="1">
            <a:spAutoFit/>
          </a:bodyPr>
          <a:lstStyle/>
          <a:p>
            <a:pPr algn="ctr" defTabSz="1055447">
              <a:buSzPct val="120000"/>
            </a:pPr>
            <a:r>
              <a:rPr lang="pt-BR" sz="1079" dirty="0" err="1"/>
              <a:t>Label</a:t>
            </a:r>
            <a:r>
              <a:rPr lang="pt-BR" sz="1079" dirty="0"/>
              <a:t> 2</a:t>
            </a:r>
          </a:p>
        </p:txBody>
      </p:sp>
      <p:sp>
        <p:nvSpPr>
          <p:cNvPr id="871434" name="Rectangle 10"/>
          <p:cNvSpPr>
            <a:spLocks noChangeArrowheads="1"/>
          </p:cNvSpPr>
          <p:nvPr/>
        </p:nvSpPr>
        <p:spPr bwMode="auto">
          <a:xfrm>
            <a:off x="5610347" y="5049491"/>
            <a:ext cx="1089742" cy="1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Ctr="1">
            <a:spAutoFit/>
          </a:bodyPr>
          <a:lstStyle/>
          <a:p>
            <a:pPr algn="ctr" defTabSz="1055447">
              <a:buSzPct val="120000"/>
            </a:pPr>
            <a:r>
              <a:rPr lang="pt-BR" sz="1079" dirty="0" err="1"/>
              <a:t>Label</a:t>
            </a:r>
            <a:r>
              <a:rPr lang="pt-BR" sz="1079" dirty="0"/>
              <a:t> 3</a:t>
            </a:r>
          </a:p>
        </p:txBody>
      </p:sp>
      <p:sp>
        <p:nvSpPr>
          <p:cNvPr id="871435" name="Rectangle 11"/>
          <p:cNvSpPr>
            <a:spLocks noChangeArrowheads="1"/>
          </p:cNvSpPr>
          <p:nvPr/>
        </p:nvSpPr>
        <p:spPr bwMode="auto">
          <a:xfrm>
            <a:off x="7258096" y="5049491"/>
            <a:ext cx="1089742" cy="1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Ctr="1">
            <a:spAutoFit/>
          </a:bodyPr>
          <a:lstStyle/>
          <a:p>
            <a:pPr algn="ctr" defTabSz="1055447">
              <a:buSzPct val="120000"/>
            </a:pPr>
            <a:r>
              <a:rPr lang="pt-BR" sz="1079" dirty="0" err="1"/>
              <a:t>Label</a:t>
            </a:r>
            <a:r>
              <a:rPr lang="pt-BR" sz="1079" dirty="0"/>
              <a:t> 4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4" name="13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09951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45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Waterfall</a:t>
            </a:r>
            <a:r>
              <a:rPr lang="pt-BR" dirty="0" smtClean="0"/>
              <a:t> 5 Colunas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2" name="1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18" name="Object 2"/>
          <p:cNvGraphicFramePr>
            <a:graphicFrameLocks/>
          </p:cNvGraphicFramePr>
          <p:nvPr/>
        </p:nvGraphicFramePr>
        <p:xfrm>
          <a:off x="1767405" y="1836833"/>
          <a:ext cx="7157003" cy="36735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cxnSp>
        <p:nvCxnSpPr>
          <p:cNvPr id="16" name="Conector reto 15"/>
          <p:cNvCxnSpPr/>
          <p:nvPr/>
        </p:nvCxnSpPr>
        <p:spPr>
          <a:xfrm>
            <a:off x="2833159" y="3695022"/>
            <a:ext cx="74705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4259589" y="3098749"/>
            <a:ext cx="74705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5688591" y="3098749"/>
            <a:ext cx="74705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7122734" y="2505046"/>
            <a:ext cx="747056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8349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478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Waterfall</a:t>
            </a:r>
            <a:r>
              <a:rPr lang="pt-BR" dirty="0" smtClean="0"/>
              <a:t> 10 Colunas</a:t>
            </a:r>
            <a:endParaRPr lang="pt-BR" dirty="0"/>
          </a:p>
        </p:txBody>
      </p:sp>
      <p:sp>
        <p:nvSpPr>
          <p:cNvPr id="25" name="Espaço Reservado para Texto 2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8" name="Object 2"/>
          <p:cNvGraphicFramePr>
            <a:graphicFrameLocks/>
          </p:cNvGraphicFramePr>
          <p:nvPr/>
        </p:nvGraphicFramePr>
        <p:xfrm>
          <a:off x="1067469" y="1680678"/>
          <a:ext cx="8556877" cy="413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9" name="8 Grupo"/>
          <p:cNvGrpSpPr/>
          <p:nvPr/>
        </p:nvGrpSpPr>
        <p:grpSpPr>
          <a:xfrm>
            <a:off x="993577" y="1215104"/>
            <a:ext cx="8704659" cy="276539"/>
            <a:chOff x="2379663" y="1269372"/>
            <a:chExt cx="7069137" cy="256215"/>
          </a:xfrm>
        </p:grpSpPr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cxnSp>
        <p:nvCxnSpPr>
          <p:cNvPr id="13" name="Conector reto 12"/>
          <p:cNvCxnSpPr/>
          <p:nvPr/>
        </p:nvCxnSpPr>
        <p:spPr>
          <a:xfrm>
            <a:off x="2627547" y="4507189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3485976" y="4049702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4334125" y="3854371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5189985" y="3854371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6045844" y="3455998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/>
          <p:cNvCxnSpPr/>
          <p:nvPr/>
        </p:nvCxnSpPr>
        <p:spPr>
          <a:xfrm>
            <a:off x="6901704" y="3198983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>
            <a:off x="7757563" y="2741495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>
            <a:off x="8605711" y="2546164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97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54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ie</a:t>
            </a:r>
            <a:endParaRPr lang="pt-BR" dirty="0"/>
          </a:p>
        </p:txBody>
      </p:sp>
      <p:sp>
        <p:nvSpPr>
          <p:cNvPr id="22" name="Espaço Reservado para Texto 2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12" name="Grupo 11"/>
          <p:cNvGrpSpPr/>
          <p:nvPr>
            <p:custDataLst>
              <p:tags r:id="rId1"/>
            </p:custDataLst>
          </p:nvPr>
        </p:nvGrpSpPr>
        <p:grpSpPr>
          <a:xfrm>
            <a:off x="2853479" y="1712830"/>
            <a:ext cx="5062574" cy="3944027"/>
            <a:chOff x="5285604" y="1743075"/>
            <a:chExt cx="4102180" cy="3195826"/>
          </a:xfrm>
        </p:grpSpPr>
        <p:graphicFrame>
          <p:nvGraphicFramePr>
            <p:cNvPr id="15" name="Object 2"/>
            <p:cNvGraphicFramePr>
              <a:graphicFrameLocks noChangeAspect="1"/>
            </p:cNvGraphicFramePr>
            <p:nvPr/>
          </p:nvGraphicFramePr>
          <p:xfrm>
            <a:off x="5285604" y="1743075"/>
            <a:ext cx="4102180" cy="31958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6" name="CaixaDeTexto 15"/>
            <p:cNvSpPr txBox="1"/>
            <p:nvPr/>
          </p:nvSpPr>
          <p:spPr>
            <a:xfrm>
              <a:off x="8305965" y="2720955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7537516" y="4381003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6061399" y="2727684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6587695" y="2239140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0" name="CaixaDeTexto 19"/>
            <p:cNvSpPr txBox="1"/>
            <p:nvPr/>
          </p:nvSpPr>
          <p:spPr>
            <a:xfrm>
              <a:off x="7672165" y="2163057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5988790" y="3678993"/>
              <a:ext cx="369365" cy="13456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</p:spTree>
    <p:extLst>
      <p:ext uri="{BB962C8B-B14F-4D97-AF65-F5344CB8AC3E}">
        <p14:creationId xmlns:p14="http://schemas.microsoft.com/office/powerpoint/2010/main" val="270063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to 3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4719349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10" imgW="325" imgH="325" progId="TCLayout.ActiveDocument.1">
                  <p:embed/>
                </p:oleObj>
              </mc:Choice>
              <mc:Fallback>
                <p:oleObj name="think-cell Slide" r:id="rId10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2" name="Grupo 31"/>
          <p:cNvGrpSpPr/>
          <p:nvPr>
            <p:custDataLst>
              <p:tags r:id="rId3"/>
            </p:custDataLst>
          </p:nvPr>
        </p:nvGrpSpPr>
        <p:grpSpPr>
          <a:xfrm>
            <a:off x="540477" y="1960173"/>
            <a:ext cx="4427593" cy="3449341"/>
            <a:chOff x="5285604" y="1743075"/>
            <a:chExt cx="4102180" cy="3195826"/>
          </a:xfrm>
        </p:grpSpPr>
        <p:graphicFrame>
          <p:nvGraphicFramePr>
            <p:cNvPr id="33" name="Object 2"/>
            <p:cNvGraphicFramePr>
              <a:graphicFrameLocks noChangeAspect="1"/>
            </p:cNvGraphicFramePr>
            <p:nvPr/>
          </p:nvGraphicFramePr>
          <p:xfrm>
            <a:off x="5285604" y="1743075"/>
            <a:ext cx="4102180" cy="31958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34" name="CaixaDeTexto 33"/>
            <p:cNvSpPr txBox="1"/>
            <p:nvPr/>
          </p:nvSpPr>
          <p:spPr>
            <a:xfrm>
              <a:off x="8305965" y="2711307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5" name="CaixaDeTexto 34"/>
            <p:cNvSpPr txBox="1"/>
            <p:nvPr/>
          </p:nvSpPr>
          <p:spPr>
            <a:xfrm>
              <a:off x="7537516" y="4371355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6061399" y="2718036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7" name="CaixaDeTexto 36"/>
            <p:cNvSpPr txBox="1"/>
            <p:nvPr/>
          </p:nvSpPr>
          <p:spPr>
            <a:xfrm>
              <a:off x="6587695" y="2229492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8" name="CaixaDeTexto 37"/>
            <p:cNvSpPr txBox="1"/>
            <p:nvPr/>
          </p:nvSpPr>
          <p:spPr>
            <a:xfrm>
              <a:off x="7672165" y="2153409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9" name="CaixaDeTexto 38"/>
            <p:cNvSpPr txBox="1"/>
            <p:nvPr/>
          </p:nvSpPr>
          <p:spPr>
            <a:xfrm>
              <a:off x="5988790" y="3669345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sp>
        <p:nvSpPr>
          <p:cNvPr id="877573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smtClean="0"/>
              <a:t>Pie 2x1</a:t>
            </a:r>
            <a:endParaRPr lang="pt-BR" dirty="0"/>
          </a:p>
        </p:txBody>
      </p:sp>
      <p:sp>
        <p:nvSpPr>
          <p:cNvPr id="29" name="Espaço Reservado para Texto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1" name="10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3" name="12 Grupo"/>
          <p:cNvGrpSpPr/>
          <p:nvPr>
            <p:custDataLst>
              <p:tags r:id="rId6"/>
            </p:custDataLst>
          </p:nvPr>
        </p:nvGrpSpPr>
        <p:grpSpPr>
          <a:xfrm>
            <a:off x="414650" y="1404851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0" name="19 Grupo"/>
          <p:cNvGrpSpPr/>
          <p:nvPr>
            <p:custDataLst>
              <p:tags r:id="rId7"/>
            </p:custDataLst>
          </p:nvPr>
        </p:nvGrpSpPr>
        <p:grpSpPr>
          <a:xfrm>
            <a:off x="5548226" y="1404851"/>
            <a:ext cx="4740931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8" name="Grupo 27"/>
          <p:cNvGrpSpPr/>
          <p:nvPr>
            <p:custDataLst>
              <p:tags r:id="rId8"/>
            </p:custDataLst>
          </p:nvPr>
        </p:nvGrpSpPr>
        <p:grpSpPr>
          <a:xfrm>
            <a:off x="5674053" y="1960173"/>
            <a:ext cx="4427593" cy="3449341"/>
            <a:chOff x="5285604" y="1743075"/>
            <a:chExt cx="4102180" cy="3195826"/>
          </a:xfrm>
        </p:grpSpPr>
        <p:graphicFrame>
          <p:nvGraphicFramePr>
            <p:cNvPr id="17" name="Object 2"/>
            <p:cNvGraphicFramePr>
              <a:graphicFrameLocks noChangeAspect="1"/>
            </p:cNvGraphicFramePr>
            <p:nvPr/>
          </p:nvGraphicFramePr>
          <p:xfrm>
            <a:off x="5285604" y="1743075"/>
            <a:ext cx="4102180" cy="31958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18" name="CaixaDeTexto 17"/>
            <p:cNvSpPr txBox="1"/>
            <p:nvPr/>
          </p:nvSpPr>
          <p:spPr>
            <a:xfrm>
              <a:off x="8305965" y="2711307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7537516" y="4371355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6061399" y="2718036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5" name="CaixaDeTexto 24"/>
            <p:cNvSpPr txBox="1"/>
            <p:nvPr/>
          </p:nvSpPr>
          <p:spPr>
            <a:xfrm>
              <a:off x="6587695" y="2229492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7672165" y="2153409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7" name="CaixaDeTexto 26"/>
            <p:cNvSpPr txBox="1"/>
            <p:nvPr/>
          </p:nvSpPr>
          <p:spPr>
            <a:xfrm>
              <a:off x="5988790" y="3669345"/>
              <a:ext cx="369365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</p:spTree>
    <p:extLst>
      <p:ext uri="{BB962C8B-B14F-4D97-AF65-F5344CB8AC3E}">
        <p14:creationId xmlns:p14="http://schemas.microsoft.com/office/powerpoint/2010/main" val="380230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859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Pie 3x1</a:t>
            </a:r>
            <a:endParaRPr lang="pt-BR" dirty="0"/>
          </a:p>
        </p:txBody>
      </p:sp>
      <p:sp>
        <p:nvSpPr>
          <p:cNvPr id="38" name="Espaço Reservado para Texto 3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4" name="13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9" name="18 Grupo"/>
          <p:cNvGrpSpPr/>
          <p:nvPr/>
        </p:nvGrpSpPr>
        <p:grpSpPr>
          <a:xfrm>
            <a:off x="414650" y="1482571"/>
            <a:ext cx="3031087" cy="276539"/>
            <a:chOff x="2379663" y="1269372"/>
            <a:chExt cx="7069137" cy="256215"/>
          </a:xfrm>
        </p:grpSpPr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6" name="25 Grupo"/>
          <p:cNvGrpSpPr/>
          <p:nvPr/>
        </p:nvGrpSpPr>
        <p:grpSpPr>
          <a:xfrm>
            <a:off x="3836360" y="1482571"/>
            <a:ext cx="3031087" cy="276539"/>
            <a:chOff x="2379663" y="1269372"/>
            <a:chExt cx="7069137" cy="256215"/>
          </a:xfrm>
        </p:grpSpPr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9" name="28 Grupo"/>
          <p:cNvGrpSpPr/>
          <p:nvPr/>
        </p:nvGrpSpPr>
        <p:grpSpPr>
          <a:xfrm>
            <a:off x="7258070" y="1482571"/>
            <a:ext cx="3031087" cy="276539"/>
            <a:chOff x="2379663" y="1269372"/>
            <a:chExt cx="7069137" cy="256215"/>
          </a:xfrm>
        </p:grpSpPr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7" name="Grupo 36"/>
          <p:cNvGrpSpPr/>
          <p:nvPr/>
        </p:nvGrpSpPr>
        <p:grpSpPr>
          <a:xfrm>
            <a:off x="394089" y="2496819"/>
            <a:ext cx="3049908" cy="2376048"/>
            <a:chOff x="365125" y="2240280"/>
            <a:chExt cx="2825750" cy="2201416"/>
          </a:xfrm>
        </p:grpSpPr>
        <p:graphicFrame>
          <p:nvGraphicFramePr>
            <p:cNvPr id="20" name="Object 2"/>
            <p:cNvGraphicFramePr>
              <a:graphicFrameLocks noChangeAspect="1"/>
            </p:cNvGraphicFramePr>
            <p:nvPr/>
          </p:nvGraphicFramePr>
          <p:xfrm>
            <a:off x="365125" y="2240280"/>
            <a:ext cx="282575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1" name="CaixaDeTexto 20"/>
            <p:cNvSpPr txBox="1"/>
            <p:nvPr/>
          </p:nvSpPr>
          <p:spPr>
            <a:xfrm>
              <a:off x="2445674" y="2873563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1869094" y="4048567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4" name="CaixaDeTexto 23"/>
            <p:cNvSpPr txBox="1"/>
            <p:nvPr/>
          </p:nvSpPr>
          <p:spPr>
            <a:xfrm>
              <a:off x="778798" y="2893946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2" name="CaixaDeTexto 31"/>
            <p:cNvSpPr txBox="1"/>
            <p:nvPr/>
          </p:nvSpPr>
          <p:spPr>
            <a:xfrm>
              <a:off x="1167577" y="2531171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3" name="CaixaDeTexto 32"/>
            <p:cNvSpPr txBox="1"/>
            <p:nvPr/>
          </p:nvSpPr>
          <p:spPr>
            <a:xfrm>
              <a:off x="2009086" y="2479419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4" name="CaixaDeTexto 33"/>
            <p:cNvSpPr txBox="1"/>
            <p:nvPr/>
          </p:nvSpPr>
          <p:spPr>
            <a:xfrm>
              <a:off x="734031" y="3575492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grpSp>
        <p:nvGrpSpPr>
          <p:cNvPr id="39" name="Grupo 38"/>
          <p:cNvGrpSpPr/>
          <p:nvPr/>
        </p:nvGrpSpPr>
        <p:grpSpPr>
          <a:xfrm>
            <a:off x="3827806" y="2496819"/>
            <a:ext cx="3049908" cy="2376048"/>
            <a:chOff x="365125" y="2240280"/>
            <a:chExt cx="2825750" cy="2201416"/>
          </a:xfrm>
        </p:grpSpPr>
        <p:graphicFrame>
          <p:nvGraphicFramePr>
            <p:cNvPr id="40" name="Object 2"/>
            <p:cNvGraphicFramePr>
              <a:graphicFrameLocks noChangeAspect="1"/>
            </p:cNvGraphicFramePr>
            <p:nvPr/>
          </p:nvGraphicFramePr>
          <p:xfrm>
            <a:off x="365125" y="2240280"/>
            <a:ext cx="282575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CaixaDeTexto 40"/>
            <p:cNvSpPr txBox="1"/>
            <p:nvPr/>
          </p:nvSpPr>
          <p:spPr>
            <a:xfrm>
              <a:off x="2445674" y="2873563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1869094" y="4048567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3" name="CaixaDeTexto 42"/>
            <p:cNvSpPr txBox="1"/>
            <p:nvPr/>
          </p:nvSpPr>
          <p:spPr>
            <a:xfrm>
              <a:off x="778798" y="2893946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4" name="CaixaDeTexto 43"/>
            <p:cNvSpPr txBox="1"/>
            <p:nvPr/>
          </p:nvSpPr>
          <p:spPr>
            <a:xfrm>
              <a:off x="1167577" y="2531171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5" name="CaixaDeTexto 44"/>
            <p:cNvSpPr txBox="1"/>
            <p:nvPr/>
          </p:nvSpPr>
          <p:spPr>
            <a:xfrm>
              <a:off x="2009086" y="2479419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6" name="CaixaDeTexto 45"/>
            <p:cNvSpPr txBox="1"/>
            <p:nvPr/>
          </p:nvSpPr>
          <p:spPr>
            <a:xfrm>
              <a:off x="734031" y="3575492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grpSp>
        <p:nvGrpSpPr>
          <p:cNvPr id="47" name="Grupo 46"/>
          <p:cNvGrpSpPr/>
          <p:nvPr/>
        </p:nvGrpSpPr>
        <p:grpSpPr>
          <a:xfrm>
            <a:off x="7228968" y="2496819"/>
            <a:ext cx="3049908" cy="2376048"/>
            <a:chOff x="365125" y="2240280"/>
            <a:chExt cx="2825750" cy="2201416"/>
          </a:xfrm>
        </p:grpSpPr>
        <p:graphicFrame>
          <p:nvGraphicFramePr>
            <p:cNvPr id="48" name="Object 2"/>
            <p:cNvGraphicFramePr>
              <a:graphicFrameLocks noChangeAspect="1"/>
            </p:cNvGraphicFramePr>
            <p:nvPr/>
          </p:nvGraphicFramePr>
          <p:xfrm>
            <a:off x="365125" y="2240280"/>
            <a:ext cx="282575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9" name="CaixaDeTexto 48"/>
            <p:cNvSpPr txBox="1"/>
            <p:nvPr/>
          </p:nvSpPr>
          <p:spPr>
            <a:xfrm>
              <a:off x="2445674" y="2873563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0" name="CaixaDeTexto 49"/>
            <p:cNvSpPr txBox="1"/>
            <p:nvPr/>
          </p:nvSpPr>
          <p:spPr>
            <a:xfrm>
              <a:off x="1869094" y="4048567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1" name="CaixaDeTexto 50"/>
            <p:cNvSpPr txBox="1"/>
            <p:nvPr/>
          </p:nvSpPr>
          <p:spPr>
            <a:xfrm>
              <a:off x="778798" y="2893946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2" name="CaixaDeTexto 51"/>
            <p:cNvSpPr txBox="1"/>
            <p:nvPr/>
          </p:nvSpPr>
          <p:spPr>
            <a:xfrm>
              <a:off x="1167577" y="2531171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3" name="CaixaDeTexto 52"/>
            <p:cNvSpPr txBox="1"/>
            <p:nvPr/>
          </p:nvSpPr>
          <p:spPr>
            <a:xfrm>
              <a:off x="2009086" y="2479419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4" name="CaixaDeTexto 53"/>
            <p:cNvSpPr txBox="1"/>
            <p:nvPr/>
          </p:nvSpPr>
          <p:spPr>
            <a:xfrm>
              <a:off x="734031" y="3575492"/>
              <a:ext cx="475326" cy="1538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</p:spTree>
    <p:extLst>
      <p:ext uri="{BB962C8B-B14F-4D97-AF65-F5344CB8AC3E}">
        <p14:creationId xmlns:p14="http://schemas.microsoft.com/office/powerpoint/2010/main" val="59965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942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Pie 4x1</a:t>
            </a:r>
            <a:endParaRPr lang="pt-BR" dirty="0"/>
          </a:p>
        </p:txBody>
      </p:sp>
      <p:sp>
        <p:nvSpPr>
          <p:cNvPr id="67" name="Espaço Reservado para Texto 6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1" name="30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" name="21 Grupo"/>
          <p:cNvGrpSpPr/>
          <p:nvPr/>
        </p:nvGrpSpPr>
        <p:grpSpPr>
          <a:xfrm>
            <a:off x="414650" y="1215104"/>
            <a:ext cx="4740931" cy="276539"/>
            <a:chOff x="2379663" y="1269372"/>
            <a:chExt cx="7069137" cy="256215"/>
          </a:xfrm>
        </p:grpSpPr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" name="31 Grupo"/>
          <p:cNvGrpSpPr/>
          <p:nvPr/>
        </p:nvGrpSpPr>
        <p:grpSpPr>
          <a:xfrm>
            <a:off x="5548226" y="1215104"/>
            <a:ext cx="4740931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4" name="34 Grupo"/>
          <p:cNvGrpSpPr/>
          <p:nvPr/>
        </p:nvGrpSpPr>
        <p:grpSpPr>
          <a:xfrm>
            <a:off x="414650" y="3811943"/>
            <a:ext cx="4740931" cy="276539"/>
            <a:chOff x="2379663" y="1269372"/>
            <a:chExt cx="7069137" cy="256215"/>
          </a:xfrm>
        </p:grpSpPr>
        <p:sp>
          <p:nvSpPr>
            <p:cNvPr id="3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7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5" name="37 Grupo"/>
          <p:cNvGrpSpPr/>
          <p:nvPr/>
        </p:nvGrpSpPr>
        <p:grpSpPr>
          <a:xfrm>
            <a:off x="5548226" y="3811943"/>
            <a:ext cx="4740931" cy="276539"/>
            <a:chOff x="2379663" y="1269372"/>
            <a:chExt cx="7069137" cy="256215"/>
          </a:xfrm>
        </p:grpSpPr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42" name="Grupo 41"/>
          <p:cNvGrpSpPr/>
          <p:nvPr/>
        </p:nvGrpSpPr>
        <p:grpSpPr>
          <a:xfrm>
            <a:off x="955170" y="1509883"/>
            <a:ext cx="3659890" cy="2376048"/>
            <a:chOff x="845282" y="1325880"/>
            <a:chExt cx="3390900" cy="2201416"/>
          </a:xfrm>
        </p:grpSpPr>
        <p:graphicFrame>
          <p:nvGraphicFramePr>
            <p:cNvPr id="14" name="Object 2"/>
            <p:cNvGraphicFramePr>
              <a:graphicFrameLocks noChangeAspect="1"/>
            </p:cNvGraphicFramePr>
            <p:nvPr/>
          </p:nvGraphicFramePr>
          <p:xfrm>
            <a:off x="845282" y="1325880"/>
            <a:ext cx="339090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4" name="CaixaDeTexto 23"/>
            <p:cNvSpPr txBox="1"/>
            <p:nvPr/>
          </p:nvSpPr>
          <p:spPr>
            <a:xfrm>
              <a:off x="3216212" y="1989404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29" name="CaixaDeTexto 28"/>
            <p:cNvSpPr txBox="1"/>
            <p:nvPr/>
          </p:nvSpPr>
          <p:spPr>
            <a:xfrm>
              <a:off x="2611946" y="3126307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0" name="CaixaDeTexto 29"/>
            <p:cNvSpPr txBox="1"/>
            <p:nvPr/>
          </p:nvSpPr>
          <p:spPr>
            <a:xfrm>
              <a:off x="1600771" y="1971686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2" name="CaixaDeTexto 31"/>
            <p:cNvSpPr txBox="1"/>
            <p:nvPr/>
          </p:nvSpPr>
          <p:spPr>
            <a:xfrm>
              <a:off x="1914906" y="165336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35" name="CaixaDeTexto 34"/>
            <p:cNvSpPr txBox="1"/>
            <p:nvPr/>
          </p:nvSpPr>
          <p:spPr>
            <a:xfrm>
              <a:off x="2818036" y="1557159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1" name="CaixaDeTexto 40"/>
            <p:cNvSpPr txBox="1"/>
            <p:nvPr/>
          </p:nvSpPr>
          <p:spPr>
            <a:xfrm>
              <a:off x="1592771" y="267863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grpSp>
        <p:nvGrpSpPr>
          <p:cNvPr id="43" name="Grupo 42"/>
          <p:cNvGrpSpPr/>
          <p:nvPr/>
        </p:nvGrpSpPr>
        <p:grpSpPr>
          <a:xfrm>
            <a:off x="6088746" y="1509883"/>
            <a:ext cx="3659890" cy="2376048"/>
            <a:chOff x="845282" y="1325880"/>
            <a:chExt cx="3390900" cy="2201416"/>
          </a:xfrm>
        </p:grpSpPr>
        <p:graphicFrame>
          <p:nvGraphicFramePr>
            <p:cNvPr id="44" name="Object 2"/>
            <p:cNvGraphicFramePr>
              <a:graphicFrameLocks noChangeAspect="1"/>
            </p:cNvGraphicFramePr>
            <p:nvPr/>
          </p:nvGraphicFramePr>
          <p:xfrm>
            <a:off x="845282" y="1325880"/>
            <a:ext cx="339090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5" name="CaixaDeTexto 44"/>
            <p:cNvSpPr txBox="1"/>
            <p:nvPr/>
          </p:nvSpPr>
          <p:spPr>
            <a:xfrm>
              <a:off x="3216212" y="1989404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6" name="CaixaDeTexto 45"/>
            <p:cNvSpPr txBox="1"/>
            <p:nvPr/>
          </p:nvSpPr>
          <p:spPr>
            <a:xfrm>
              <a:off x="2611946" y="3126307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7" name="CaixaDeTexto 46"/>
            <p:cNvSpPr txBox="1"/>
            <p:nvPr/>
          </p:nvSpPr>
          <p:spPr>
            <a:xfrm>
              <a:off x="1600771" y="1971686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8" name="CaixaDeTexto 47"/>
            <p:cNvSpPr txBox="1"/>
            <p:nvPr/>
          </p:nvSpPr>
          <p:spPr>
            <a:xfrm>
              <a:off x="1914906" y="165336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49" name="CaixaDeTexto 48"/>
            <p:cNvSpPr txBox="1"/>
            <p:nvPr/>
          </p:nvSpPr>
          <p:spPr>
            <a:xfrm>
              <a:off x="2818036" y="1557159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0" name="CaixaDeTexto 49"/>
            <p:cNvSpPr txBox="1"/>
            <p:nvPr/>
          </p:nvSpPr>
          <p:spPr>
            <a:xfrm>
              <a:off x="1592771" y="267863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grpSp>
        <p:nvGrpSpPr>
          <p:cNvPr id="51" name="Grupo 50"/>
          <p:cNvGrpSpPr/>
          <p:nvPr/>
        </p:nvGrpSpPr>
        <p:grpSpPr>
          <a:xfrm>
            <a:off x="955170" y="4108816"/>
            <a:ext cx="3659890" cy="2376048"/>
            <a:chOff x="845282" y="1325880"/>
            <a:chExt cx="3390900" cy="2201416"/>
          </a:xfrm>
        </p:grpSpPr>
        <p:graphicFrame>
          <p:nvGraphicFramePr>
            <p:cNvPr id="52" name="Object 2"/>
            <p:cNvGraphicFramePr>
              <a:graphicFrameLocks noChangeAspect="1"/>
            </p:cNvGraphicFramePr>
            <p:nvPr/>
          </p:nvGraphicFramePr>
          <p:xfrm>
            <a:off x="845282" y="1325880"/>
            <a:ext cx="339090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3" name="CaixaDeTexto 52"/>
            <p:cNvSpPr txBox="1"/>
            <p:nvPr/>
          </p:nvSpPr>
          <p:spPr>
            <a:xfrm>
              <a:off x="3216212" y="1989404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4" name="CaixaDeTexto 53"/>
            <p:cNvSpPr txBox="1"/>
            <p:nvPr/>
          </p:nvSpPr>
          <p:spPr>
            <a:xfrm>
              <a:off x="2611946" y="3126307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1600771" y="1971686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6" name="CaixaDeTexto 55"/>
            <p:cNvSpPr txBox="1"/>
            <p:nvPr/>
          </p:nvSpPr>
          <p:spPr>
            <a:xfrm>
              <a:off x="1914906" y="165336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7" name="CaixaDeTexto 56"/>
            <p:cNvSpPr txBox="1"/>
            <p:nvPr/>
          </p:nvSpPr>
          <p:spPr>
            <a:xfrm>
              <a:off x="2818036" y="1557159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58" name="CaixaDeTexto 57"/>
            <p:cNvSpPr txBox="1"/>
            <p:nvPr/>
          </p:nvSpPr>
          <p:spPr>
            <a:xfrm>
              <a:off x="1592771" y="267863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  <p:grpSp>
        <p:nvGrpSpPr>
          <p:cNvPr id="59" name="Grupo 58"/>
          <p:cNvGrpSpPr/>
          <p:nvPr/>
        </p:nvGrpSpPr>
        <p:grpSpPr>
          <a:xfrm>
            <a:off x="6088746" y="4108816"/>
            <a:ext cx="3659890" cy="2376048"/>
            <a:chOff x="845282" y="1325880"/>
            <a:chExt cx="3390900" cy="2201416"/>
          </a:xfrm>
        </p:grpSpPr>
        <p:graphicFrame>
          <p:nvGraphicFramePr>
            <p:cNvPr id="60" name="Object 2"/>
            <p:cNvGraphicFramePr>
              <a:graphicFrameLocks noChangeAspect="1"/>
            </p:cNvGraphicFramePr>
            <p:nvPr/>
          </p:nvGraphicFramePr>
          <p:xfrm>
            <a:off x="845282" y="1325880"/>
            <a:ext cx="3390900" cy="2201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61" name="CaixaDeTexto 60"/>
            <p:cNvSpPr txBox="1"/>
            <p:nvPr/>
          </p:nvSpPr>
          <p:spPr>
            <a:xfrm>
              <a:off x="3216212" y="1989404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62" name="CaixaDeTexto 61"/>
            <p:cNvSpPr txBox="1"/>
            <p:nvPr/>
          </p:nvSpPr>
          <p:spPr>
            <a:xfrm>
              <a:off x="2611946" y="3126307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63" name="CaixaDeTexto 62"/>
            <p:cNvSpPr txBox="1"/>
            <p:nvPr/>
          </p:nvSpPr>
          <p:spPr>
            <a:xfrm>
              <a:off x="1600771" y="1971686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64" name="CaixaDeTexto 63"/>
            <p:cNvSpPr txBox="1"/>
            <p:nvPr/>
          </p:nvSpPr>
          <p:spPr>
            <a:xfrm>
              <a:off x="1914906" y="165336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65" name="CaixaDeTexto 64"/>
            <p:cNvSpPr txBox="1"/>
            <p:nvPr/>
          </p:nvSpPr>
          <p:spPr>
            <a:xfrm>
              <a:off x="2818036" y="1557159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  <p:sp>
          <p:nvSpPr>
            <p:cNvPr id="66" name="CaixaDeTexto 65"/>
            <p:cNvSpPr txBox="1"/>
            <p:nvPr/>
          </p:nvSpPr>
          <p:spPr>
            <a:xfrm>
              <a:off x="1592771" y="2678632"/>
              <a:ext cx="311890" cy="153865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pt-BR" sz="1079"/>
                <a:t>xxxxx</a:t>
              </a:r>
              <a:endParaRPr lang="pt-BR" sz="1079" dirty="0"/>
            </a:p>
          </p:txBody>
        </p:sp>
      </p:grpSp>
    </p:spTree>
    <p:extLst>
      <p:ext uri="{BB962C8B-B14F-4D97-AF65-F5344CB8AC3E}">
        <p14:creationId xmlns:p14="http://schemas.microsoft.com/office/powerpoint/2010/main" val="253128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2119330" y="2147714"/>
          <a:ext cx="6919205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8269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7772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7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Barras 2x1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0" name="Object 2"/>
          <p:cNvGraphicFramePr>
            <a:graphicFrameLocks/>
          </p:cNvGraphicFramePr>
          <p:nvPr/>
        </p:nvGraphicFramePr>
        <p:xfrm>
          <a:off x="448919" y="2189773"/>
          <a:ext cx="4431444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Object 3"/>
          <p:cNvGraphicFramePr>
            <a:graphicFrameLocks/>
          </p:cNvGraphicFramePr>
          <p:nvPr/>
        </p:nvGraphicFramePr>
        <p:xfrm>
          <a:off x="5578933" y="2189773"/>
          <a:ext cx="4431443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1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3" name="12 Grupo"/>
          <p:cNvGrpSpPr/>
          <p:nvPr/>
        </p:nvGrpSpPr>
        <p:grpSpPr>
          <a:xfrm>
            <a:off x="371815" y="1482571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5579067" y="1482571"/>
            <a:ext cx="4740931" cy="276539"/>
            <a:chOff x="2379663" y="1269372"/>
            <a:chExt cx="7069137" cy="256215"/>
          </a:xfrm>
        </p:grpSpPr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7245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742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Barras 3x1</a:t>
            </a:r>
            <a:endParaRPr lang="pt-BR" dirty="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3" name="Object 2"/>
          <p:cNvGraphicFramePr>
            <a:graphicFrameLocks/>
          </p:cNvGraphicFramePr>
          <p:nvPr/>
        </p:nvGraphicFramePr>
        <p:xfrm>
          <a:off x="448919" y="1914553"/>
          <a:ext cx="3031703" cy="3193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6" name="25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29" name="Object 2"/>
          <p:cNvGraphicFramePr>
            <a:graphicFrameLocks/>
          </p:cNvGraphicFramePr>
          <p:nvPr/>
        </p:nvGraphicFramePr>
        <p:xfrm>
          <a:off x="3830055" y="1914553"/>
          <a:ext cx="3031703" cy="3193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0" name="Object 2"/>
          <p:cNvGraphicFramePr>
            <a:graphicFrameLocks/>
          </p:cNvGraphicFramePr>
          <p:nvPr/>
        </p:nvGraphicFramePr>
        <p:xfrm>
          <a:off x="7171246" y="1914553"/>
          <a:ext cx="3031703" cy="3193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7" name="16 Grupo"/>
          <p:cNvGrpSpPr/>
          <p:nvPr/>
        </p:nvGrpSpPr>
        <p:grpSpPr>
          <a:xfrm>
            <a:off x="449534" y="1482571"/>
            <a:ext cx="3031087" cy="276539"/>
            <a:chOff x="2379663" y="1269372"/>
            <a:chExt cx="7069137" cy="256215"/>
          </a:xfrm>
        </p:grpSpPr>
        <p:sp>
          <p:nvSpPr>
            <p:cNvPr id="2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7" name="26 Grupo"/>
          <p:cNvGrpSpPr/>
          <p:nvPr/>
        </p:nvGrpSpPr>
        <p:grpSpPr>
          <a:xfrm>
            <a:off x="3791501" y="1482571"/>
            <a:ext cx="3031087" cy="276539"/>
            <a:chOff x="2379663" y="1269372"/>
            <a:chExt cx="7069137" cy="256215"/>
          </a:xfrm>
        </p:grpSpPr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7133470" y="1482571"/>
            <a:ext cx="3031087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55599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142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olumnas</a:t>
            </a:r>
            <a:r>
              <a:rPr lang="pt-BR" dirty="0" smtClean="0"/>
              <a:t> </a:t>
            </a:r>
            <a:r>
              <a:rPr lang="pt-BR" dirty="0" err="1" smtClean="0"/>
              <a:t>Apiladas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aphicFrame>
        <p:nvGraphicFramePr>
          <p:cNvPr id="13" name="Object 2"/>
          <p:cNvGraphicFramePr>
            <a:graphicFrameLocks/>
          </p:cNvGraphicFramePr>
          <p:nvPr>
            <p:extLst/>
          </p:nvPr>
        </p:nvGraphicFramePr>
        <p:xfrm>
          <a:off x="1148156" y="1518108"/>
          <a:ext cx="3776247" cy="435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0" name="Object 2"/>
          <p:cNvGraphicFramePr>
            <a:graphicFrameLocks/>
          </p:cNvGraphicFramePr>
          <p:nvPr>
            <p:extLst/>
          </p:nvPr>
        </p:nvGraphicFramePr>
        <p:xfrm>
          <a:off x="5777692" y="1518108"/>
          <a:ext cx="4502900" cy="435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19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765698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  <p:grpSp>
        <p:nvGrpSpPr>
          <p:cNvPr id="23" name="12 Grupo"/>
          <p:cNvGrpSpPr/>
          <p:nvPr/>
        </p:nvGrpSpPr>
        <p:grpSpPr>
          <a:xfrm>
            <a:off x="397517" y="1215104"/>
            <a:ext cx="4526885" cy="276539"/>
            <a:chOff x="2379663" y="1269372"/>
            <a:chExt cx="7069137" cy="256215"/>
          </a:xfrm>
        </p:grpSpPr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rgbClr val="0A4F79"/>
                  </a:solidFill>
                </a:rPr>
                <a:t>Texto</a:t>
              </a:r>
              <a:endParaRPr lang="en-US" sz="1511" b="1" dirty="0">
                <a:solidFill>
                  <a:srgbClr val="0A4F79"/>
                </a:solidFill>
              </a:endParaRPr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>
                <a:solidFill>
                  <a:prstClr val="black"/>
                </a:solidFill>
              </a:endParaRPr>
            </a:p>
          </p:txBody>
        </p:sp>
      </p:grpSp>
      <p:grpSp>
        <p:nvGrpSpPr>
          <p:cNvPr id="26" name="21 Grupo"/>
          <p:cNvGrpSpPr/>
          <p:nvPr/>
        </p:nvGrpSpPr>
        <p:grpSpPr>
          <a:xfrm>
            <a:off x="5765698" y="1215104"/>
            <a:ext cx="4526885" cy="276539"/>
            <a:chOff x="2379663" y="1269372"/>
            <a:chExt cx="7069137" cy="256215"/>
          </a:xfrm>
        </p:grpSpPr>
        <p:sp>
          <p:nvSpPr>
            <p:cNvPr id="27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rgbClr val="0A4F79"/>
                  </a:solidFill>
                </a:rPr>
                <a:t>Texto</a:t>
              </a:r>
              <a:endParaRPr lang="en-US" sz="1511" b="1" dirty="0">
                <a:solidFill>
                  <a:srgbClr val="0A4F79"/>
                </a:solidFill>
              </a:endParaRPr>
            </a:p>
          </p:txBody>
        </p:sp>
        <p:sp>
          <p:nvSpPr>
            <p:cNvPr id="28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>
                <a:solidFill>
                  <a:prstClr val="black"/>
                </a:solidFill>
              </a:endParaRPr>
            </a:p>
          </p:txBody>
        </p:sp>
      </p:grpSp>
      <p:sp>
        <p:nvSpPr>
          <p:cNvPr id="29" name="CaixaDeTexto 28"/>
          <p:cNvSpPr txBox="1"/>
          <p:nvPr/>
        </p:nvSpPr>
        <p:spPr>
          <a:xfrm>
            <a:off x="397517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692226" y="3819398"/>
            <a:ext cx="440826" cy="16607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pt-BR" sz="1079" dirty="0"/>
              <a:t>Série 3</a:t>
            </a:r>
          </a:p>
        </p:txBody>
      </p:sp>
      <p:sp>
        <p:nvSpPr>
          <p:cNvPr id="35" name="CaixaDeTexto 34"/>
          <p:cNvSpPr txBox="1"/>
          <p:nvPr/>
        </p:nvSpPr>
        <p:spPr>
          <a:xfrm>
            <a:off x="692226" y="4261463"/>
            <a:ext cx="440826" cy="16607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pt-BR" sz="1079" dirty="0"/>
              <a:t>Série 2</a:t>
            </a:r>
          </a:p>
        </p:txBody>
      </p:sp>
      <p:sp>
        <p:nvSpPr>
          <p:cNvPr id="36" name="CaixaDeTexto 35"/>
          <p:cNvSpPr txBox="1"/>
          <p:nvPr/>
        </p:nvSpPr>
        <p:spPr>
          <a:xfrm>
            <a:off x="692226" y="4682967"/>
            <a:ext cx="440826" cy="16607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r>
              <a:rPr lang="pt-BR" sz="1079" dirty="0"/>
              <a:t>Série 1</a:t>
            </a:r>
          </a:p>
        </p:txBody>
      </p:sp>
    </p:spTree>
    <p:extLst>
      <p:ext uri="{BB962C8B-B14F-4D97-AF65-F5344CB8AC3E}">
        <p14:creationId xmlns:p14="http://schemas.microsoft.com/office/powerpoint/2010/main" val="266850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767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Barras 4x1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4" name="Object 2"/>
          <p:cNvGraphicFramePr>
            <a:graphicFrameLocks/>
          </p:cNvGraphicFramePr>
          <p:nvPr/>
        </p:nvGraphicFramePr>
        <p:xfrm>
          <a:off x="414650" y="1603672"/>
          <a:ext cx="4798649" cy="1787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2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32" name="Object 2"/>
          <p:cNvGraphicFramePr>
            <a:graphicFrameLocks/>
          </p:cNvGraphicFramePr>
          <p:nvPr/>
        </p:nvGraphicFramePr>
        <p:xfrm>
          <a:off x="5548226" y="1603672"/>
          <a:ext cx="4798649" cy="1787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3" name="Object 2"/>
          <p:cNvGraphicFramePr>
            <a:graphicFrameLocks/>
          </p:cNvGraphicFramePr>
          <p:nvPr/>
        </p:nvGraphicFramePr>
        <p:xfrm>
          <a:off x="414650" y="4246158"/>
          <a:ext cx="4798649" cy="1787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4" name="Object 2"/>
          <p:cNvGraphicFramePr>
            <a:graphicFrameLocks/>
          </p:cNvGraphicFramePr>
          <p:nvPr/>
        </p:nvGraphicFramePr>
        <p:xfrm>
          <a:off x="5548226" y="4246158"/>
          <a:ext cx="4798649" cy="1787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22" name="21 Grupo"/>
          <p:cNvGrpSpPr/>
          <p:nvPr/>
        </p:nvGrpSpPr>
        <p:grpSpPr>
          <a:xfrm>
            <a:off x="414650" y="1137384"/>
            <a:ext cx="4740931" cy="276539"/>
            <a:chOff x="2379663" y="1269372"/>
            <a:chExt cx="7069137" cy="256215"/>
          </a:xfrm>
        </p:grpSpPr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5548226" y="1137384"/>
            <a:ext cx="4740931" cy="276539"/>
            <a:chOff x="2379663" y="1269372"/>
            <a:chExt cx="7069137" cy="256215"/>
          </a:xfrm>
        </p:grpSpPr>
        <p:sp>
          <p:nvSpPr>
            <p:cNvPr id="3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7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8" name="37 Grupo"/>
          <p:cNvGrpSpPr/>
          <p:nvPr/>
        </p:nvGrpSpPr>
        <p:grpSpPr>
          <a:xfrm>
            <a:off x="414650" y="3779870"/>
            <a:ext cx="4740931" cy="276539"/>
            <a:chOff x="2379663" y="1269372"/>
            <a:chExt cx="7069137" cy="256215"/>
          </a:xfrm>
        </p:grpSpPr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41" name="40 Grupo"/>
          <p:cNvGrpSpPr/>
          <p:nvPr/>
        </p:nvGrpSpPr>
        <p:grpSpPr>
          <a:xfrm>
            <a:off x="5548226" y="3779870"/>
            <a:ext cx="4740931" cy="276539"/>
            <a:chOff x="2379663" y="1269372"/>
            <a:chExt cx="7069137" cy="256215"/>
          </a:xfrm>
        </p:grpSpPr>
        <p:sp>
          <p:nvSpPr>
            <p:cNvPr id="4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04170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7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mbinado – Barras </a:t>
            </a:r>
            <a:r>
              <a:rPr lang="pt-BR" smtClean="0"/>
              <a:t>Agrupadas x </a:t>
            </a:r>
            <a:r>
              <a:rPr lang="pt-BR" dirty="0" err="1" smtClean="0"/>
              <a:t>Apiladas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663098" y="1845442"/>
          <a:ext cx="4345262" cy="3935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Object 3"/>
          <p:cNvGraphicFramePr>
            <a:graphicFrameLocks noChangeAspect="1"/>
          </p:cNvGraphicFramePr>
          <p:nvPr/>
        </p:nvGraphicFramePr>
        <p:xfrm>
          <a:off x="5698873" y="1845442"/>
          <a:ext cx="4345262" cy="3935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10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3" name="12 Grupo"/>
          <p:cNvGrpSpPr/>
          <p:nvPr/>
        </p:nvGrpSpPr>
        <p:grpSpPr>
          <a:xfrm>
            <a:off x="414650" y="1404851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0" name="19 Grupo"/>
          <p:cNvGrpSpPr/>
          <p:nvPr/>
        </p:nvGrpSpPr>
        <p:grpSpPr>
          <a:xfrm>
            <a:off x="5548226" y="1404851"/>
            <a:ext cx="4740931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63926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813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</a:t>
            </a:r>
            <a:r>
              <a:rPr lang="pt-BR" dirty="0" err="1" smtClean="0"/>
              <a:t>Apiladas</a:t>
            </a:r>
            <a:r>
              <a:rPr lang="pt-BR" dirty="0" smtClean="0"/>
              <a:t> 100%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1944745" y="1578970"/>
          <a:ext cx="6804036" cy="4202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87815" name="Rectangle 7"/>
          <p:cNvSpPr>
            <a:spLocks noChangeArrowheads="1"/>
          </p:cNvSpPr>
          <p:nvPr/>
        </p:nvSpPr>
        <p:spPr bwMode="auto">
          <a:xfrm>
            <a:off x="8305692" y="2092208"/>
            <a:ext cx="368691" cy="16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310124" indent="-310124" algn="ctr" defTabSz="1082862">
              <a:spcBef>
                <a:spcPct val="30000"/>
              </a:spcBef>
            </a:pPr>
            <a:r>
              <a:rPr lang="pt-BR" sz="1079" dirty="0"/>
              <a:t>100%</a:t>
            </a:r>
          </a:p>
        </p:txBody>
      </p:sp>
      <p:sp>
        <p:nvSpPr>
          <p:cNvPr id="887816" name="AutoShape 8"/>
          <p:cNvSpPr>
            <a:spLocks noChangeArrowheads="1"/>
          </p:cNvSpPr>
          <p:nvPr/>
        </p:nvSpPr>
        <p:spPr bwMode="black">
          <a:xfrm rot="10800000">
            <a:off x="8437777" y="2277159"/>
            <a:ext cx="104520" cy="125080"/>
          </a:xfrm>
          <a:prstGeom prst="flowChartExtract">
            <a:avLst/>
          </a:prstGeom>
          <a:solidFill>
            <a:schemeClr val="tx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rot="10800000" wrap="none" lIns="105493" tIns="52747" rIns="105493" bIns="52747" anchor="ctr"/>
          <a:lstStyle/>
          <a:p>
            <a:pPr algn="ctr" defTabSz="1055447"/>
            <a:endParaRPr lang="pt-BR" sz="1079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2" name="11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401527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/>
          <p:cNvGraphicFramePr>
            <a:graphicFrameLocks/>
          </p:cNvGraphicFramePr>
          <p:nvPr/>
        </p:nvGraphicFramePr>
        <p:xfrm>
          <a:off x="5750276" y="2028710"/>
          <a:ext cx="3762875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88839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Pareadas</a:t>
            </a:r>
            <a:endParaRPr lang="pt-BR" dirty="0"/>
          </a:p>
        </p:txBody>
      </p:sp>
      <p:sp>
        <p:nvSpPr>
          <p:cNvPr id="888841" name="Rectangle 9"/>
          <p:cNvSpPr>
            <a:spLocks noGrp="1" noChangeArrowheads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North</a:t>
            </a:r>
            <a:endParaRPr lang="pt-BR" dirty="0"/>
          </a:p>
        </p:txBody>
      </p:sp>
      <p:graphicFrame>
        <p:nvGraphicFramePr>
          <p:cNvPr id="13" name="Object 3"/>
          <p:cNvGraphicFramePr>
            <a:graphicFrameLocks/>
          </p:cNvGraphicFramePr>
          <p:nvPr/>
        </p:nvGraphicFramePr>
        <p:xfrm>
          <a:off x="1040053" y="2028710"/>
          <a:ext cx="3763173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1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3" name="22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4770194" y="2401448"/>
            <a:ext cx="853289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North</a:t>
            </a: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4768481" y="3082537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South</a:t>
            </a: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4768481" y="3763626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 err="1"/>
              <a:t>East</a:t>
            </a:r>
            <a:endParaRPr lang="pt-BR" sz="1079" dirty="0"/>
          </a:p>
        </p:txBody>
      </p:sp>
      <p:sp>
        <p:nvSpPr>
          <p:cNvPr id="28" name="Rectangle 12"/>
          <p:cNvSpPr>
            <a:spLocks noChangeArrowheads="1"/>
          </p:cNvSpPr>
          <p:nvPr/>
        </p:nvSpPr>
        <p:spPr bwMode="auto">
          <a:xfrm>
            <a:off x="4768481" y="4444715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West</a:t>
            </a: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4768481" y="5125804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 err="1"/>
              <a:t>Northeast</a:t>
            </a:r>
            <a:endParaRPr lang="pt-BR" sz="1079" dirty="0"/>
          </a:p>
        </p:txBody>
      </p:sp>
    </p:spTree>
    <p:extLst>
      <p:ext uri="{BB962C8B-B14F-4D97-AF65-F5344CB8AC3E}">
        <p14:creationId xmlns:p14="http://schemas.microsoft.com/office/powerpoint/2010/main" val="401190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9862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pareadas </a:t>
            </a:r>
            <a:r>
              <a:rPr lang="pt-BR" dirty="0" err="1" smtClean="0"/>
              <a:t>con</a:t>
            </a:r>
            <a:r>
              <a:rPr lang="pt-BR" dirty="0" smtClean="0"/>
              <a:t> Valor Negativo</a:t>
            </a:r>
            <a:endParaRPr lang="pt-BR" dirty="0"/>
          </a:p>
        </p:txBody>
      </p:sp>
      <p:sp>
        <p:nvSpPr>
          <p:cNvPr id="18" name="Espaço Reservado para Texto 1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5" name="Object 2"/>
          <p:cNvGraphicFramePr>
            <a:graphicFrameLocks/>
          </p:cNvGraphicFramePr>
          <p:nvPr/>
        </p:nvGraphicFramePr>
        <p:xfrm>
          <a:off x="949241" y="2028710"/>
          <a:ext cx="3763173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Object 3"/>
          <p:cNvGraphicFramePr>
            <a:graphicFrameLocks/>
          </p:cNvGraphicFramePr>
          <p:nvPr/>
        </p:nvGraphicFramePr>
        <p:xfrm>
          <a:off x="5750276" y="2025283"/>
          <a:ext cx="3762875" cy="359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89865" name="Rectangle 9"/>
          <p:cNvSpPr>
            <a:spLocks noChangeArrowheads="1"/>
          </p:cNvSpPr>
          <p:nvPr/>
        </p:nvSpPr>
        <p:spPr bwMode="auto">
          <a:xfrm>
            <a:off x="4770194" y="2401448"/>
            <a:ext cx="853289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North</a:t>
            </a:r>
          </a:p>
        </p:txBody>
      </p:sp>
      <p:sp>
        <p:nvSpPr>
          <p:cNvPr id="889866" name="Rectangle 10"/>
          <p:cNvSpPr>
            <a:spLocks noChangeArrowheads="1"/>
          </p:cNvSpPr>
          <p:nvPr/>
        </p:nvSpPr>
        <p:spPr bwMode="auto">
          <a:xfrm>
            <a:off x="4768481" y="3082537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South</a:t>
            </a:r>
          </a:p>
        </p:txBody>
      </p:sp>
      <p:sp>
        <p:nvSpPr>
          <p:cNvPr id="889867" name="Rectangle 11"/>
          <p:cNvSpPr>
            <a:spLocks noChangeArrowheads="1"/>
          </p:cNvSpPr>
          <p:nvPr/>
        </p:nvSpPr>
        <p:spPr bwMode="auto">
          <a:xfrm>
            <a:off x="4768481" y="3763626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 err="1"/>
              <a:t>East</a:t>
            </a:r>
            <a:endParaRPr lang="pt-BR" sz="1079" dirty="0"/>
          </a:p>
        </p:txBody>
      </p:sp>
      <p:sp>
        <p:nvSpPr>
          <p:cNvPr id="889868" name="Rectangle 12"/>
          <p:cNvSpPr>
            <a:spLocks noChangeArrowheads="1"/>
          </p:cNvSpPr>
          <p:nvPr/>
        </p:nvSpPr>
        <p:spPr bwMode="auto">
          <a:xfrm>
            <a:off x="4768481" y="4444715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/>
              <a:t>West</a:t>
            </a:r>
          </a:p>
        </p:txBody>
      </p:sp>
      <p:sp>
        <p:nvSpPr>
          <p:cNvPr id="889869" name="Rectangle 13"/>
          <p:cNvSpPr>
            <a:spLocks noChangeArrowheads="1"/>
          </p:cNvSpPr>
          <p:nvPr/>
        </p:nvSpPr>
        <p:spPr bwMode="auto">
          <a:xfrm>
            <a:off x="4768481" y="5125804"/>
            <a:ext cx="866996" cy="16607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310124" indent="-310124" algn="ctr" defTabSz="738471">
              <a:spcBef>
                <a:spcPct val="30000"/>
              </a:spcBef>
            </a:pPr>
            <a:r>
              <a:rPr lang="pt-BR" sz="1079" dirty="0" err="1"/>
              <a:t>Northeast</a:t>
            </a:r>
            <a:endParaRPr lang="pt-BR" sz="1079" dirty="0"/>
          </a:p>
        </p:txBody>
      </p:sp>
      <p:sp>
        <p:nvSpPr>
          <p:cNvPr id="14" name="13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7" name="16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2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78727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823091" y="2189773"/>
          <a:ext cx="7652825" cy="349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90887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(ganancias y </a:t>
            </a:r>
            <a:r>
              <a:rPr lang="pt-BR" dirty="0" err="1" smtClean="0"/>
              <a:t>pérdidas</a:t>
            </a:r>
            <a:r>
              <a:rPr lang="pt-BR" dirty="0" smtClean="0"/>
              <a:t>)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02959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2539306" y="1835572"/>
          <a:ext cx="6396181" cy="3948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91911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 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80344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934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</a:t>
            </a:r>
            <a:r>
              <a:rPr lang="pt-BR" dirty="0" err="1" smtClean="0"/>
              <a:t>Apilad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1925897" y="1736879"/>
          <a:ext cx="6804036" cy="4123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75875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958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– Range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098954" y="2193200"/>
          <a:ext cx="6804036" cy="358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10084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4982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Agrupad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1600345" y="1618447"/>
          <a:ext cx="7638478" cy="4162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53169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478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Waterfall</a:t>
            </a:r>
            <a:r>
              <a:rPr lang="pt-BR" dirty="0" smtClean="0"/>
              <a:t> 10 Colunas</a:t>
            </a:r>
            <a:endParaRPr lang="pt-BR" dirty="0"/>
          </a:p>
        </p:txBody>
      </p:sp>
      <p:sp>
        <p:nvSpPr>
          <p:cNvPr id="25" name="Espaço Reservado para Texto 2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aphicFrame>
        <p:nvGraphicFramePr>
          <p:cNvPr id="18" name="Object 2"/>
          <p:cNvGraphicFramePr>
            <a:graphicFrameLocks/>
          </p:cNvGraphicFramePr>
          <p:nvPr/>
        </p:nvGraphicFramePr>
        <p:xfrm>
          <a:off x="1067469" y="1680678"/>
          <a:ext cx="8556877" cy="413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993577" y="1215104"/>
            <a:ext cx="8704659" cy="276539"/>
            <a:chOff x="2379663" y="1269372"/>
            <a:chExt cx="7069137" cy="256215"/>
          </a:xfrm>
        </p:grpSpPr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1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cxnSp>
        <p:nvCxnSpPr>
          <p:cNvPr id="13" name="Conector reto 12"/>
          <p:cNvCxnSpPr/>
          <p:nvPr/>
        </p:nvCxnSpPr>
        <p:spPr>
          <a:xfrm>
            <a:off x="2627547" y="4507189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3485976" y="4049702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4334125" y="3854371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5189985" y="3854371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6045844" y="3455998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/>
          <p:cNvCxnSpPr/>
          <p:nvPr/>
        </p:nvCxnSpPr>
        <p:spPr>
          <a:xfrm>
            <a:off x="6901704" y="3198983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/>
          <p:cNvCxnSpPr/>
          <p:nvPr/>
        </p:nvCxnSpPr>
        <p:spPr>
          <a:xfrm>
            <a:off x="7757563" y="2741495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to 23"/>
          <p:cNvCxnSpPr/>
          <p:nvPr/>
        </p:nvCxnSpPr>
        <p:spPr>
          <a:xfrm>
            <a:off x="8605711" y="2546164"/>
            <a:ext cx="320412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27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sp>
        <p:nvSpPr>
          <p:cNvPr id="28" name="CaixaDeTexto 27"/>
          <p:cNvSpPr txBox="1"/>
          <p:nvPr/>
        </p:nvSpPr>
        <p:spPr>
          <a:xfrm>
            <a:off x="993576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1753222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00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</a:t>
            </a:r>
            <a:r>
              <a:rPr lang="pt-BR" smtClean="0"/>
              <a:t>Agrupadas 2x1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414651" y="1736878"/>
          <a:ext cx="4697681" cy="4044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1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3" name="12 Grupo"/>
          <p:cNvGrpSpPr/>
          <p:nvPr/>
        </p:nvGrpSpPr>
        <p:grpSpPr>
          <a:xfrm>
            <a:off x="414650" y="1404851"/>
            <a:ext cx="4740931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5548226" y="1404851"/>
            <a:ext cx="4740931" cy="276539"/>
            <a:chOff x="2379663" y="1269372"/>
            <a:chExt cx="7069137" cy="256215"/>
          </a:xfrm>
        </p:grpSpPr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25" name="Object 2"/>
          <p:cNvGraphicFramePr>
            <a:graphicFrameLocks noChangeAspect="1"/>
          </p:cNvGraphicFramePr>
          <p:nvPr/>
        </p:nvGraphicFramePr>
        <p:xfrm>
          <a:off x="5591476" y="1736878"/>
          <a:ext cx="4697681" cy="4044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1529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02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</a:t>
            </a:r>
            <a:r>
              <a:rPr lang="pt-BR" smtClean="0"/>
              <a:t>Agrupadas 3x1</a:t>
            </a:r>
            <a:endParaRPr lang="pt-BR" dirty="0"/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8" name="17 Grupo"/>
          <p:cNvGrpSpPr/>
          <p:nvPr/>
        </p:nvGrpSpPr>
        <p:grpSpPr>
          <a:xfrm>
            <a:off x="449534" y="1482571"/>
            <a:ext cx="3031087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5" name="24 Grupo"/>
          <p:cNvGrpSpPr/>
          <p:nvPr/>
        </p:nvGrpSpPr>
        <p:grpSpPr>
          <a:xfrm>
            <a:off x="3791501" y="1482571"/>
            <a:ext cx="3031087" cy="276539"/>
            <a:chOff x="2379663" y="1269372"/>
            <a:chExt cx="7069137" cy="256215"/>
          </a:xfrm>
        </p:grpSpPr>
        <p:sp>
          <p:nvSpPr>
            <p:cNvPr id="28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0" name="29 Grupo"/>
          <p:cNvGrpSpPr/>
          <p:nvPr/>
        </p:nvGrpSpPr>
        <p:grpSpPr>
          <a:xfrm>
            <a:off x="7133470" y="1482571"/>
            <a:ext cx="3031087" cy="276539"/>
            <a:chOff x="2379663" y="1269372"/>
            <a:chExt cx="7069137" cy="256215"/>
          </a:xfrm>
        </p:grpSpPr>
        <p:sp>
          <p:nvSpPr>
            <p:cNvPr id="3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9" name="Object 2"/>
          <p:cNvGraphicFramePr>
            <a:graphicFrameLocks noChangeAspect="1"/>
          </p:cNvGraphicFramePr>
          <p:nvPr/>
        </p:nvGraphicFramePr>
        <p:xfrm>
          <a:off x="414651" y="1736878"/>
          <a:ext cx="3049908" cy="4044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Object 2"/>
          <p:cNvGraphicFramePr>
            <a:graphicFrameLocks noChangeAspect="1"/>
          </p:cNvGraphicFramePr>
          <p:nvPr/>
        </p:nvGraphicFramePr>
        <p:xfrm>
          <a:off x="3764650" y="1736878"/>
          <a:ext cx="3049908" cy="4044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3" name="Object 2"/>
          <p:cNvGraphicFramePr>
            <a:graphicFrameLocks noChangeAspect="1"/>
          </p:cNvGraphicFramePr>
          <p:nvPr/>
        </p:nvGraphicFramePr>
        <p:xfrm>
          <a:off x="7114649" y="1736878"/>
          <a:ext cx="3049908" cy="40442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1524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8055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Barras </a:t>
            </a:r>
            <a:r>
              <a:rPr lang="pt-BR" smtClean="0"/>
              <a:t>Agrupadas 4x1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4" name="Object 2"/>
          <p:cNvGraphicFramePr>
            <a:graphicFrameLocks/>
          </p:cNvGraphicFramePr>
          <p:nvPr/>
        </p:nvGraphicFramePr>
        <p:xfrm>
          <a:off x="414650" y="1487266"/>
          <a:ext cx="4740931" cy="195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" name="2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2" name="21 Grupo"/>
          <p:cNvGrpSpPr/>
          <p:nvPr/>
        </p:nvGrpSpPr>
        <p:grpSpPr>
          <a:xfrm>
            <a:off x="414650" y="1137384"/>
            <a:ext cx="4740931" cy="276539"/>
            <a:chOff x="2379663" y="1269372"/>
            <a:chExt cx="7069137" cy="256215"/>
          </a:xfrm>
        </p:grpSpPr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5548226" y="1137384"/>
            <a:ext cx="4740931" cy="276539"/>
            <a:chOff x="2379663" y="1269372"/>
            <a:chExt cx="7069137" cy="256215"/>
          </a:xfrm>
        </p:grpSpPr>
        <p:sp>
          <p:nvSpPr>
            <p:cNvPr id="3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5" name="34 Grupo"/>
          <p:cNvGrpSpPr/>
          <p:nvPr/>
        </p:nvGrpSpPr>
        <p:grpSpPr>
          <a:xfrm>
            <a:off x="414650" y="3779870"/>
            <a:ext cx="4740931" cy="276539"/>
            <a:chOff x="2379663" y="1269372"/>
            <a:chExt cx="7069137" cy="256215"/>
          </a:xfrm>
        </p:grpSpPr>
        <p:sp>
          <p:nvSpPr>
            <p:cNvPr id="3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7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38" name="37 Grupo"/>
          <p:cNvGrpSpPr/>
          <p:nvPr/>
        </p:nvGrpSpPr>
        <p:grpSpPr>
          <a:xfrm>
            <a:off x="5548226" y="3779870"/>
            <a:ext cx="4740931" cy="276539"/>
            <a:chOff x="2379663" y="1269372"/>
            <a:chExt cx="7069137" cy="256215"/>
          </a:xfrm>
        </p:grpSpPr>
        <p:sp>
          <p:nvSpPr>
            <p:cNvPr id="3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4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23" name="Object 2"/>
          <p:cNvGraphicFramePr>
            <a:graphicFrameLocks/>
          </p:cNvGraphicFramePr>
          <p:nvPr/>
        </p:nvGraphicFramePr>
        <p:xfrm>
          <a:off x="5548226" y="1487266"/>
          <a:ext cx="4740931" cy="195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Object 2"/>
          <p:cNvGraphicFramePr>
            <a:graphicFrameLocks/>
          </p:cNvGraphicFramePr>
          <p:nvPr/>
        </p:nvGraphicFramePr>
        <p:xfrm>
          <a:off x="414650" y="4098536"/>
          <a:ext cx="4740931" cy="195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7" name="Object 2"/>
          <p:cNvGraphicFramePr>
            <a:graphicFrameLocks/>
          </p:cNvGraphicFramePr>
          <p:nvPr/>
        </p:nvGraphicFramePr>
        <p:xfrm>
          <a:off x="5548226" y="4098536"/>
          <a:ext cx="4740931" cy="19533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3883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9078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Waterfall</a:t>
            </a:r>
            <a:r>
              <a:rPr lang="pt-BR" dirty="0" smtClean="0"/>
              <a:t> Barras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1848499" y="1931821"/>
          <a:ext cx="7282071" cy="3907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1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9" name="8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cxnSp>
        <p:nvCxnSpPr>
          <p:cNvPr id="17" name="Conector reto 16"/>
          <p:cNvCxnSpPr/>
          <p:nvPr/>
        </p:nvCxnSpPr>
        <p:spPr>
          <a:xfrm>
            <a:off x="7847516" y="2603567"/>
            <a:ext cx="0" cy="328123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/>
          <p:cNvCxnSpPr/>
          <p:nvPr/>
        </p:nvCxnSpPr>
        <p:spPr>
          <a:xfrm>
            <a:off x="6840018" y="3328349"/>
            <a:ext cx="0" cy="328123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/>
          <p:cNvCxnSpPr/>
          <p:nvPr/>
        </p:nvCxnSpPr>
        <p:spPr>
          <a:xfrm>
            <a:off x="5321061" y="4058270"/>
            <a:ext cx="0" cy="328123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/>
        </p:nvCxnSpPr>
        <p:spPr>
          <a:xfrm>
            <a:off x="3796964" y="4790762"/>
            <a:ext cx="0" cy="328123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3633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14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s</a:t>
            </a:r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1519882" y="1567798"/>
          <a:ext cx="7688235" cy="426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1537618" y="1215105"/>
            <a:ext cx="7694297" cy="276539"/>
            <a:chOff x="1424608" y="1052768"/>
            <a:chExt cx="7128792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1424608" y="1052768"/>
              <a:ext cx="709722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1424608" y="1308983"/>
              <a:ext cx="7128792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430867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14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s</a:t>
            </a: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519882" y="1567798"/>
          <a:ext cx="7688235" cy="426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8049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73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s com </a:t>
            </a:r>
            <a:r>
              <a:rPr lang="pt-BR"/>
              <a:t>2 </a:t>
            </a:r>
            <a:r>
              <a:rPr lang="pt-BR" smtClean="0"/>
              <a:t>Eixo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1531808" y="1567798"/>
          <a:ext cx="7669319" cy="426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90094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73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s com </a:t>
            </a:r>
            <a:r>
              <a:rPr lang="pt-BR"/>
              <a:t>2 </a:t>
            </a:r>
            <a:r>
              <a:rPr lang="pt-BR" smtClean="0"/>
              <a:t>Eixos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531808" y="1567798"/>
          <a:ext cx="7669319" cy="426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47095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245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Gráfico </a:t>
            </a:r>
            <a:r>
              <a:rPr lang="pt-BR" smtClean="0"/>
              <a:t>XY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10" name="9 Gráfico"/>
          <p:cNvGraphicFramePr/>
          <p:nvPr/>
        </p:nvGraphicFramePr>
        <p:xfrm>
          <a:off x="1562649" y="1776381"/>
          <a:ext cx="7488793" cy="4163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1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3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605722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7269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Gráfico </a:t>
            </a:r>
            <a:r>
              <a:rPr lang="pt-BR" smtClean="0"/>
              <a:t>XY </a:t>
            </a:r>
            <a:r>
              <a:rPr lang="pt-BR" dirty="0" err="1" smtClean="0"/>
              <a:t>con</a:t>
            </a:r>
            <a:r>
              <a:rPr lang="pt-BR" dirty="0" smtClean="0"/>
              <a:t> Línea de </a:t>
            </a:r>
            <a:r>
              <a:rPr lang="pt-BR" dirty="0" err="1" smtClean="0"/>
              <a:t>Tendencia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10" name="9 Gráfico"/>
          <p:cNvGraphicFramePr/>
          <p:nvPr/>
        </p:nvGraphicFramePr>
        <p:xfrm>
          <a:off x="1382177" y="1759113"/>
          <a:ext cx="8005178" cy="4274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3" name="12 Grupo"/>
          <p:cNvGrpSpPr/>
          <p:nvPr/>
        </p:nvGrpSpPr>
        <p:grpSpPr>
          <a:xfrm>
            <a:off x="1382177" y="1215104"/>
            <a:ext cx="7849737" cy="276539"/>
            <a:chOff x="2379663" y="1269372"/>
            <a:chExt cx="7069137" cy="256215"/>
          </a:xfrm>
        </p:grpSpPr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471513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8 Grupo"/>
          <p:cNvGrpSpPr/>
          <p:nvPr/>
        </p:nvGrpSpPr>
        <p:grpSpPr>
          <a:xfrm>
            <a:off x="5536996" y="3779837"/>
            <a:ext cx="4520499" cy="2648817"/>
            <a:chOff x="5130045" y="3429000"/>
            <a:chExt cx="4188257" cy="2454138"/>
          </a:xfrm>
        </p:grpSpPr>
        <p:cxnSp>
          <p:nvCxnSpPr>
            <p:cNvPr id="13" name="5 Conector recto"/>
            <p:cNvCxnSpPr/>
            <p:nvPr/>
          </p:nvCxnSpPr>
          <p:spPr>
            <a:xfrm>
              <a:off x="5130045" y="3488139"/>
              <a:ext cx="0" cy="2350686"/>
            </a:xfrm>
            <a:prstGeom prst="line">
              <a:avLst/>
            </a:prstGeom>
            <a:ln w="762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10 Marcador de texto"/>
            <p:cNvSpPr txBox="1">
              <a:spLocks/>
            </p:cNvSpPr>
            <p:nvPr/>
          </p:nvSpPr>
          <p:spPr>
            <a:xfrm>
              <a:off x="5313040" y="3429000"/>
              <a:ext cx="4005262" cy="2454138"/>
            </a:xfrm>
            <a:prstGeom prst="rect">
              <a:avLst/>
            </a:prstGeom>
          </p:spPr>
          <p:txBody>
            <a:bodyPr vert="horz" lIns="98694" tIns="49347" rIns="98694" bIns="49347" rtlCol="0">
              <a:spAutoFit/>
            </a:bodyPr>
            <a:lstStyle/>
            <a:p>
              <a:pPr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Introdução</a:t>
              </a:r>
            </a:p>
            <a:p>
              <a:pPr marL="193613" indent="-193613"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accent1"/>
                  </a:solidFill>
                </a:rPr>
                <a:t>Capítulo 1: Slides conceituais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i="1" dirty="0" err="1">
                  <a:solidFill>
                    <a:schemeClr val="accent1"/>
                  </a:solidFill>
                </a:rPr>
                <a:t>Templates</a:t>
              </a:r>
              <a:r>
                <a:rPr lang="pt-BR" sz="1511" b="1" dirty="0">
                  <a:solidFill>
                    <a:schemeClr val="accent1"/>
                  </a:solidFill>
                </a:rPr>
                <a:t> mais frequentes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Exemplos de aplicações reais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2: Slides de dados 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3: Slides específic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582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73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s com </a:t>
            </a:r>
            <a:r>
              <a:rPr lang="pt-BR"/>
              <a:t>2 </a:t>
            </a:r>
            <a:r>
              <a:rPr lang="pt-BR" smtClean="0"/>
              <a:t>Eixos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pSp>
        <p:nvGrpSpPr>
          <p:cNvPr id="10" name="9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1531808" y="1567798"/>
          <a:ext cx="7669319" cy="426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15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1537617" y="1548950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175077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766266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8" imgW="325" imgH="325" progId="TCLayout.ActiveDocument.1">
                  <p:embed/>
                </p:oleObj>
              </mc:Choice>
              <mc:Fallback>
                <p:oleObj name="think-cell Slide" r:id="rId8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0341" name="Rectangle 5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smtClean="0"/>
              <a:t>Bol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52369" y="1567797"/>
          <a:ext cx="7669318" cy="431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8" name="7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>
            <p:custDataLst>
              <p:tags r:id="rId6"/>
            </p:custDataLst>
          </p:nvPr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21840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3413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urva de Custo</a:t>
            </a:r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14" name="Object 2"/>
          <p:cNvGraphicFramePr>
            <a:graphicFrameLocks noChangeAspect="1"/>
          </p:cNvGraphicFramePr>
          <p:nvPr>
            <p:extLst/>
          </p:nvPr>
        </p:nvGraphicFramePr>
        <p:xfrm>
          <a:off x="1684303" y="2230895"/>
          <a:ext cx="7338627" cy="3750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13415" name="Rectangle 7"/>
          <p:cNvSpPr>
            <a:spLocks noChangeArrowheads="1"/>
          </p:cNvSpPr>
          <p:nvPr/>
        </p:nvSpPr>
        <p:spPr bwMode="auto">
          <a:xfrm>
            <a:off x="2081659" y="4645334"/>
            <a:ext cx="988649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>
              <a:buSzPct val="120000"/>
            </a:pPr>
            <a:r>
              <a:rPr lang="pt-BR" sz="1133" b="1" dirty="0" err="1"/>
              <a:t>Label</a:t>
            </a:r>
            <a:r>
              <a:rPr lang="pt-BR" sz="1133" b="1" dirty="0"/>
              <a:t> 1</a:t>
            </a:r>
          </a:p>
        </p:txBody>
      </p:sp>
      <p:sp>
        <p:nvSpPr>
          <p:cNvPr id="913416" name="Rectangle 8"/>
          <p:cNvSpPr>
            <a:spLocks noChangeArrowheads="1"/>
          </p:cNvSpPr>
          <p:nvPr/>
        </p:nvSpPr>
        <p:spPr bwMode="auto">
          <a:xfrm>
            <a:off x="3402901" y="4410594"/>
            <a:ext cx="988651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>
              <a:buSzPct val="120000"/>
            </a:pPr>
            <a:r>
              <a:rPr lang="pt-BR" sz="1133" b="1" dirty="0" err="1"/>
              <a:t>Label</a:t>
            </a:r>
            <a:r>
              <a:rPr lang="pt-BR" sz="1133" b="1" dirty="0"/>
              <a:t> 2</a:t>
            </a:r>
          </a:p>
        </p:txBody>
      </p:sp>
      <p:sp>
        <p:nvSpPr>
          <p:cNvPr id="913417" name="Rectangle 9"/>
          <p:cNvSpPr>
            <a:spLocks noChangeArrowheads="1"/>
          </p:cNvSpPr>
          <p:nvPr/>
        </p:nvSpPr>
        <p:spPr bwMode="auto">
          <a:xfrm>
            <a:off x="5102570" y="3421944"/>
            <a:ext cx="988651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>
              <a:buSzPct val="120000"/>
            </a:pPr>
            <a:r>
              <a:rPr lang="pt-BR" sz="1133" b="1" dirty="0" err="1"/>
              <a:t>Label</a:t>
            </a:r>
            <a:r>
              <a:rPr lang="pt-BR" sz="1133" b="1" dirty="0"/>
              <a:t> 3</a:t>
            </a:r>
          </a:p>
        </p:txBody>
      </p:sp>
      <p:sp>
        <p:nvSpPr>
          <p:cNvPr id="913418" name="Rectangle 10"/>
          <p:cNvSpPr>
            <a:spLocks noChangeArrowheads="1"/>
          </p:cNvSpPr>
          <p:nvPr/>
        </p:nvSpPr>
        <p:spPr bwMode="auto">
          <a:xfrm>
            <a:off x="6466491" y="3168357"/>
            <a:ext cx="709361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>
              <a:buSzPct val="120000"/>
            </a:pPr>
            <a:r>
              <a:rPr lang="pt-BR" sz="1133" b="1" dirty="0" err="1"/>
              <a:t>Label</a:t>
            </a:r>
            <a:r>
              <a:rPr lang="pt-BR" sz="1133" b="1" dirty="0"/>
              <a:t> 4</a:t>
            </a:r>
          </a:p>
        </p:txBody>
      </p:sp>
      <p:sp>
        <p:nvSpPr>
          <p:cNvPr id="913419" name="Rectangle 11"/>
          <p:cNvSpPr>
            <a:spLocks noChangeArrowheads="1"/>
          </p:cNvSpPr>
          <p:nvPr/>
        </p:nvSpPr>
        <p:spPr bwMode="auto">
          <a:xfrm>
            <a:off x="7128335" y="2678315"/>
            <a:ext cx="988651" cy="174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>
              <a:buSzPct val="120000"/>
            </a:pPr>
            <a:r>
              <a:rPr lang="pt-BR" sz="1133" b="1" dirty="0" err="1"/>
              <a:t>Label</a:t>
            </a:r>
            <a:r>
              <a:rPr lang="pt-BR" sz="1133" b="1" dirty="0"/>
              <a:t> 5</a:t>
            </a:r>
          </a:p>
        </p:txBody>
      </p:sp>
      <p:sp>
        <p:nvSpPr>
          <p:cNvPr id="13" name="12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5" name="14 Grupo"/>
          <p:cNvGrpSpPr/>
          <p:nvPr/>
        </p:nvGrpSpPr>
        <p:grpSpPr>
          <a:xfrm>
            <a:off x="1537618" y="1215104"/>
            <a:ext cx="7694297" cy="276539"/>
            <a:chOff x="2379663" y="1269372"/>
            <a:chExt cx="7069137" cy="256215"/>
          </a:xfrm>
        </p:grpSpPr>
        <p:sp>
          <p:nvSpPr>
            <p:cNvPr id="18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99427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485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Altas-Baixas-Médi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531793" y="2142033"/>
          <a:ext cx="7744923" cy="3820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537618" y="1249410"/>
            <a:ext cx="7694297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41230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4" name="Gráfico 3"/>
          <p:cNvGraphicFramePr/>
          <p:nvPr/>
        </p:nvGraphicFramePr>
        <p:xfrm>
          <a:off x="400944" y="2032761"/>
          <a:ext cx="4808088" cy="429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25 Grupo"/>
          <p:cNvGrpSpPr/>
          <p:nvPr/>
        </p:nvGrpSpPr>
        <p:grpSpPr>
          <a:xfrm>
            <a:off x="400943" y="1681393"/>
            <a:ext cx="4750515" cy="282481"/>
            <a:chOff x="559574" y="1151056"/>
            <a:chExt cx="8857922" cy="261720"/>
          </a:xfrm>
        </p:grpSpPr>
        <p:sp>
          <p:nvSpPr>
            <p:cNvPr id="7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n-GB" sz="1511" b="1">
                  <a:solidFill>
                    <a:schemeClr val="accent1"/>
                  </a:solidFill>
                </a:rPr>
                <a:t>xxxx</a:t>
              </a:r>
              <a:endParaRPr lang="en-GB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8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25 Grupo"/>
          <p:cNvGrpSpPr/>
          <p:nvPr/>
        </p:nvGrpSpPr>
        <p:grpSpPr>
          <a:xfrm>
            <a:off x="5540354" y="1681393"/>
            <a:ext cx="4750515" cy="282481"/>
            <a:chOff x="559574" y="1151056"/>
            <a:chExt cx="8857922" cy="261720"/>
          </a:xfrm>
        </p:grpSpPr>
        <p:sp>
          <p:nvSpPr>
            <p:cNvPr id="10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n-GB" sz="1511" b="1">
                  <a:solidFill>
                    <a:schemeClr val="accent1"/>
                  </a:solidFill>
                </a:rPr>
                <a:t>xxxx</a:t>
              </a:r>
              <a:endParaRPr lang="en-GB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1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4" name="Gráfico 13"/>
          <p:cNvGraphicFramePr/>
          <p:nvPr/>
        </p:nvGraphicFramePr>
        <p:xfrm>
          <a:off x="5511910" y="2032761"/>
          <a:ext cx="4808088" cy="429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4964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557" name="Rectangle 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Área</a:t>
            </a:r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Object 2"/>
          <p:cNvGraphicFramePr>
            <a:graphicFrameLocks/>
          </p:cNvGraphicFramePr>
          <p:nvPr>
            <p:extLst/>
          </p:nvPr>
        </p:nvGraphicFramePr>
        <p:xfrm>
          <a:off x="1686016" y="1785403"/>
          <a:ext cx="7391745" cy="4170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0" name="9 Grupo"/>
          <p:cNvGrpSpPr/>
          <p:nvPr/>
        </p:nvGrpSpPr>
        <p:grpSpPr>
          <a:xfrm>
            <a:off x="1693058" y="1372199"/>
            <a:ext cx="7360255" cy="276539"/>
            <a:chOff x="2379663" y="1269372"/>
            <a:chExt cx="7069137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81853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246311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7" imgW="325" imgH="325" progId="TCLayout.ActiveDocument.1">
                  <p:embed/>
                </p:oleObj>
              </mc:Choice>
              <mc:Fallback>
                <p:oleObj name="think-cell Slide" r:id="rId7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"/>
          <p:cNvGraphicFramePr>
            <a:graphicFrameLocks/>
          </p:cNvGraphicFramePr>
          <p:nvPr>
            <p:custDataLst>
              <p:tags r:id="rId3"/>
            </p:custDataLst>
            <p:extLst/>
          </p:nvPr>
        </p:nvGraphicFramePr>
        <p:xfrm>
          <a:off x="1490275" y="1549361"/>
          <a:ext cx="7717844" cy="4571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23655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smtClean="0"/>
              <a:t>Combinado </a:t>
            </a:r>
            <a:r>
              <a:rPr lang="pt-BR" dirty="0" err="1" smtClean="0"/>
              <a:t>Columna</a:t>
            </a:r>
            <a:r>
              <a:rPr lang="pt-BR" dirty="0" smtClean="0"/>
              <a:t> - Línea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5" name="Grupo 14"/>
          <p:cNvGrpSpPr/>
          <p:nvPr/>
        </p:nvGrpSpPr>
        <p:grpSpPr>
          <a:xfrm>
            <a:off x="1498757" y="1249410"/>
            <a:ext cx="7662358" cy="276539"/>
            <a:chOff x="1388604" y="1084553"/>
            <a:chExt cx="7099200" cy="256215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1388604" y="1084553"/>
              <a:ext cx="7099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blackWhite">
            <a:xfrm>
              <a:off x="1388604" y="1340768"/>
              <a:ext cx="7099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88917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100488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8" imgW="325" imgH="325" progId="TCLayout.ActiveDocument.1">
                  <p:embed/>
                </p:oleObj>
              </mc:Choice>
              <mc:Fallback>
                <p:oleObj name="think-cell Slide" r:id="rId8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4679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smtClean="0"/>
              <a:t>Combinado </a:t>
            </a:r>
            <a:r>
              <a:rPr lang="pt-BR" dirty="0" err="1" smtClean="0"/>
              <a:t>Columnas</a:t>
            </a:r>
            <a:r>
              <a:rPr lang="pt-BR" dirty="0" smtClean="0"/>
              <a:t> - Líneas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>
            <p:custDataLst>
              <p:tags r:id="rId4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aphicFrame>
        <p:nvGraphicFramePr>
          <p:cNvPr id="12" name="Object 2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490275" y="1549361"/>
          <a:ext cx="7717844" cy="4571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5" name="Grupo 14"/>
          <p:cNvGrpSpPr/>
          <p:nvPr>
            <p:custDataLst>
              <p:tags r:id="rId6"/>
            </p:custDataLst>
          </p:nvPr>
        </p:nvGrpSpPr>
        <p:grpSpPr>
          <a:xfrm>
            <a:off x="1498757" y="1249410"/>
            <a:ext cx="7662358" cy="276539"/>
            <a:chOff x="1388604" y="1084553"/>
            <a:chExt cx="7099200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1388604" y="1084553"/>
              <a:ext cx="7099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7" name="Line 8"/>
            <p:cNvSpPr>
              <a:spLocks noChangeShapeType="1"/>
            </p:cNvSpPr>
            <p:nvPr/>
          </p:nvSpPr>
          <p:spPr bwMode="blackWhite">
            <a:xfrm>
              <a:off x="1388604" y="1340768"/>
              <a:ext cx="7099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316854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/>
          </p:cNvGraphicFramePr>
          <p:nvPr/>
        </p:nvGraphicFramePr>
        <p:xfrm>
          <a:off x="1385118" y="1548950"/>
          <a:ext cx="7892914" cy="4530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25703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iferencia entre </a:t>
            </a:r>
            <a:r>
              <a:rPr lang="pt-BR" dirty="0" err="1" smtClean="0"/>
              <a:t>columnas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" name="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1" name="Grupo 10"/>
          <p:cNvGrpSpPr/>
          <p:nvPr>
            <p:custDataLst>
              <p:tags r:id="rId1"/>
            </p:custDataLst>
          </p:nvPr>
        </p:nvGrpSpPr>
        <p:grpSpPr>
          <a:xfrm>
            <a:off x="1498757" y="1249410"/>
            <a:ext cx="7662358" cy="276539"/>
            <a:chOff x="1388604" y="1084553"/>
            <a:chExt cx="7099200" cy="256215"/>
          </a:xfrm>
        </p:grpSpPr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1388604" y="1084553"/>
              <a:ext cx="7099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Line 8"/>
            <p:cNvSpPr>
              <a:spLocks noChangeShapeType="1"/>
            </p:cNvSpPr>
            <p:nvPr/>
          </p:nvSpPr>
          <p:spPr bwMode="blackWhite">
            <a:xfrm>
              <a:off x="1388604" y="1340768"/>
              <a:ext cx="7099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134805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418924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15" imgW="325" imgH="325" progId="TCLayout.ActiveDocument.1">
                  <p:embed/>
                </p:oleObj>
              </mc:Choice>
              <mc:Fallback>
                <p:oleObj name="think-cell Slide" r:id="rId15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6724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smtClean="0"/>
              <a:t>Combinado Pie - </a:t>
            </a:r>
            <a:r>
              <a:rPr lang="pt-BR" dirty="0" err="1" smtClean="0"/>
              <a:t>Columna</a:t>
            </a:r>
            <a:r>
              <a:rPr lang="pt-BR" dirty="0" smtClean="0"/>
              <a:t> </a:t>
            </a:r>
            <a:r>
              <a:rPr lang="pt-BR" dirty="0" err="1" smtClean="0"/>
              <a:t>Apilada</a:t>
            </a:r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26727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55440" y="2097248"/>
            <a:ext cx="854401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1055447"/>
            <a:r>
              <a:rPr lang="pt-BR" sz="1187" dirty="0"/>
              <a:t>100% = 000</a:t>
            </a:r>
          </a:p>
        </p:txBody>
      </p:sp>
      <p:sp>
        <p:nvSpPr>
          <p:cNvPr id="926732" name="Line 12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2858005" y="2319994"/>
            <a:ext cx="3901483" cy="33925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926733" name="Line 13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3264088" y="5234540"/>
            <a:ext cx="3497113" cy="269008"/>
          </a:xfrm>
          <a:prstGeom prst="line">
            <a:avLst/>
          </a:prstGeom>
          <a:noFill/>
          <a:ln w="9525">
            <a:solidFill>
              <a:schemeClr val="accent1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graphicFrame>
        <p:nvGraphicFramePr>
          <p:cNvPr id="24" name="Object 2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750483" y="1805964"/>
          <a:ext cx="3999149" cy="415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25" name="Object 3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6051840" y="1660323"/>
          <a:ext cx="2475909" cy="4204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7" name="16 Rectángulo"/>
          <p:cNvSpPr/>
          <p:nvPr>
            <p:custDataLst>
              <p:tags r:id="rId9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31" name="Grupo 30"/>
          <p:cNvGrpSpPr/>
          <p:nvPr/>
        </p:nvGrpSpPr>
        <p:grpSpPr>
          <a:xfrm>
            <a:off x="750922" y="1249411"/>
            <a:ext cx="3982716" cy="276539"/>
            <a:chOff x="695326" y="980760"/>
            <a:chExt cx="3690000" cy="256215"/>
          </a:xfrm>
        </p:grpSpPr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695326" y="980760"/>
              <a:ext cx="36900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7" name="Line 8"/>
            <p:cNvSpPr>
              <a:spLocks noChangeShapeType="1"/>
            </p:cNvSpPr>
            <p:nvPr/>
          </p:nvSpPr>
          <p:spPr bwMode="blackWhite">
            <a:xfrm>
              <a:off x="695326" y="1236975"/>
              <a:ext cx="36900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5958175" y="1249411"/>
            <a:ext cx="3982716" cy="276539"/>
            <a:chOff x="5519863" y="980760"/>
            <a:chExt cx="3690000" cy="256215"/>
          </a:xfrm>
        </p:grpSpPr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5519863" y="980760"/>
              <a:ext cx="36900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Line 8"/>
            <p:cNvSpPr>
              <a:spLocks noChangeShapeType="1"/>
            </p:cNvSpPr>
            <p:nvPr/>
          </p:nvSpPr>
          <p:spPr bwMode="blackWhite">
            <a:xfrm>
              <a:off x="5519863" y="1236975"/>
              <a:ext cx="36900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926728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866365" y="2151549"/>
            <a:ext cx="1105163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/>
            <a:r>
              <a:rPr lang="pt-BR" sz="1187" dirty="0"/>
              <a:t>Series</a:t>
            </a:r>
          </a:p>
        </p:txBody>
      </p:sp>
      <p:sp>
        <p:nvSpPr>
          <p:cNvPr id="926729" name="Rectangle 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866365" y="2938015"/>
            <a:ext cx="1105163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/>
            <a:r>
              <a:rPr lang="pt-BR" sz="1187" dirty="0"/>
              <a:t>Series</a:t>
            </a:r>
          </a:p>
        </p:txBody>
      </p:sp>
      <p:sp>
        <p:nvSpPr>
          <p:cNvPr id="926730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866365" y="3769029"/>
            <a:ext cx="1105163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/>
            <a:r>
              <a:rPr lang="pt-BR" sz="1187" dirty="0"/>
              <a:t>Series</a:t>
            </a:r>
          </a:p>
        </p:txBody>
      </p:sp>
      <p:sp>
        <p:nvSpPr>
          <p:cNvPr id="926731" name="Rectangl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866365" y="4827929"/>
            <a:ext cx="1105163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1055447"/>
            <a:r>
              <a:rPr lang="pt-BR" sz="1187" dirty="0"/>
              <a:t>Series</a:t>
            </a:r>
          </a:p>
        </p:txBody>
      </p:sp>
    </p:spTree>
    <p:extLst>
      <p:ext uri="{BB962C8B-B14F-4D97-AF65-F5344CB8AC3E}">
        <p14:creationId xmlns:p14="http://schemas.microsoft.com/office/powerpoint/2010/main" val="2369794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15714" name="Freeform 2"/>
          <p:cNvSpPr>
            <a:spLocks/>
          </p:cNvSpPr>
          <p:nvPr/>
        </p:nvSpPr>
        <p:spPr bwMode="auto">
          <a:xfrm>
            <a:off x="5322231" y="1283360"/>
            <a:ext cx="4805160" cy="2790182"/>
          </a:xfrm>
          <a:custGeom>
            <a:avLst/>
            <a:gdLst/>
            <a:ahLst/>
            <a:cxnLst>
              <a:cxn ang="0">
                <a:pos x="730" y="0"/>
              </a:cxn>
              <a:cxn ang="0">
                <a:pos x="2537" y="0"/>
              </a:cxn>
              <a:cxn ang="0">
                <a:pos x="2537" y="1411"/>
              </a:cxn>
              <a:cxn ang="0">
                <a:pos x="730" y="1411"/>
              </a:cxn>
              <a:cxn ang="0">
                <a:pos x="0" y="1596"/>
              </a:cxn>
              <a:cxn ang="0">
                <a:pos x="0" y="1364"/>
              </a:cxn>
              <a:cxn ang="0">
                <a:pos x="730" y="0"/>
              </a:cxn>
            </a:cxnLst>
            <a:rect l="0" t="0" r="r" b="b"/>
            <a:pathLst>
              <a:path w="2537" h="1596">
                <a:moveTo>
                  <a:pt x="730" y="0"/>
                </a:moveTo>
                <a:lnTo>
                  <a:pt x="2537" y="0"/>
                </a:lnTo>
                <a:lnTo>
                  <a:pt x="2537" y="1411"/>
                </a:lnTo>
                <a:lnTo>
                  <a:pt x="730" y="1411"/>
                </a:lnTo>
                <a:lnTo>
                  <a:pt x="0" y="1596"/>
                </a:lnTo>
                <a:lnTo>
                  <a:pt x="0" y="1364"/>
                </a:lnTo>
                <a:lnTo>
                  <a:pt x="73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5493" tIns="52747" rIns="105493" bIns="52747"/>
          <a:lstStyle/>
          <a:p>
            <a:pPr>
              <a:defRPr/>
            </a:pPr>
            <a:endParaRPr lang="pt-BR" sz="2159" dirty="0"/>
          </a:p>
        </p:txBody>
      </p:sp>
      <p:sp>
        <p:nvSpPr>
          <p:cNvPr id="115715" name="Freeform 3"/>
          <p:cNvSpPr>
            <a:spLocks/>
          </p:cNvSpPr>
          <p:nvPr/>
        </p:nvSpPr>
        <p:spPr bwMode="auto">
          <a:xfrm flipH="1">
            <a:off x="477297" y="1281610"/>
            <a:ext cx="4805160" cy="2790182"/>
          </a:xfrm>
          <a:custGeom>
            <a:avLst/>
            <a:gdLst/>
            <a:ahLst/>
            <a:cxnLst>
              <a:cxn ang="0">
                <a:pos x="730" y="0"/>
              </a:cxn>
              <a:cxn ang="0">
                <a:pos x="2537" y="0"/>
              </a:cxn>
              <a:cxn ang="0">
                <a:pos x="2537" y="1411"/>
              </a:cxn>
              <a:cxn ang="0">
                <a:pos x="730" y="1411"/>
              </a:cxn>
              <a:cxn ang="0">
                <a:pos x="0" y="1596"/>
              </a:cxn>
              <a:cxn ang="0">
                <a:pos x="0" y="1364"/>
              </a:cxn>
              <a:cxn ang="0">
                <a:pos x="730" y="0"/>
              </a:cxn>
            </a:cxnLst>
            <a:rect l="0" t="0" r="r" b="b"/>
            <a:pathLst>
              <a:path w="2537" h="1596">
                <a:moveTo>
                  <a:pt x="730" y="0"/>
                </a:moveTo>
                <a:lnTo>
                  <a:pt x="2537" y="0"/>
                </a:lnTo>
                <a:lnTo>
                  <a:pt x="2537" y="1411"/>
                </a:lnTo>
                <a:lnTo>
                  <a:pt x="730" y="1411"/>
                </a:lnTo>
                <a:lnTo>
                  <a:pt x="0" y="1596"/>
                </a:lnTo>
                <a:lnTo>
                  <a:pt x="0" y="1364"/>
                </a:lnTo>
                <a:lnTo>
                  <a:pt x="73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5493" tIns="52747" rIns="105493" bIns="52747"/>
          <a:lstStyle/>
          <a:p>
            <a:pPr>
              <a:defRPr/>
            </a:pPr>
            <a:endParaRPr lang="pt-BR" sz="2159" dirty="0"/>
          </a:p>
        </p:txBody>
      </p:sp>
      <p:sp>
        <p:nvSpPr>
          <p:cNvPr id="115716" name="Freeform 4"/>
          <p:cNvSpPr>
            <a:spLocks/>
          </p:cNvSpPr>
          <p:nvPr/>
        </p:nvSpPr>
        <p:spPr bwMode="auto">
          <a:xfrm flipV="1">
            <a:off x="5322231" y="4070045"/>
            <a:ext cx="4805160" cy="2790182"/>
          </a:xfrm>
          <a:custGeom>
            <a:avLst/>
            <a:gdLst/>
            <a:ahLst/>
            <a:cxnLst>
              <a:cxn ang="0">
                <a:pos x="730" y="0"/>
              </a:cxn>
              <a:cxn ang="0">
                <a:pos x="2537" y="0"/>
              </a:cxn>
              <a:cxn ang="0">
                <a:pos x="2537" y="1411"/>
              </a:cxn>
              <a:cxn ang="0">
                <a:pos x="730" y="1411"/>
              </a:cxn>
              <a:cxn ang="0">
                <a:pos x="0" y="1596"/>
              </a:cxn>
              <a:cxn ang="0">
                <a:pos x="0" y="1364"/>
              </a:cxn>
              <a:cxn ang="0">
                <a:pos x="730" y="0"/>
              </a:cxn>
            </a:cxnLst>
            <a:rect l="0" t="0" r="r" b="b"/>
            <a:pathLst>
              <a:path w="2537" h="1596">
                <a:moveTo>
                  <a:pt x="730" y="0"/>
                </a:moveTo>
                <a:lnTo>
                  <a:pt x="2537" y="0"/>
                </a:lnTo>
                <a:lnTo>
                  <a:pt x="2537" y="1411"/>
                </a:lnTo>
                <a:lnTo>
                  <a:pt x="730" y="1411"/>
                </a:lnTo>
                <a:lnTo>
                  <a:pt x="0" y="1596"/>
                </a:lnTo>
                <a:lnTo>
                  <a:pt x="0" y="1364"/>
                </a:lnTo>
                <a:lnTo>
                  <a:pt x="73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5493" tIns="52747" rIns="105493" bIns="52747"/>
          <a:lstStyle/>
          <a:p>
            <a:pPr>
              <a:defRPr/>
            </a:pPr>
            <a:endParaRPr lang="pt-BR" sz="2159" dirty="0"/>
          </a:p>
        </p:txBody>
      </p:sp>
      <p:sp>
        <p:nvSpPr>
          <p:cNvPr id="115717" name="Freeform 5"/>
          <p:cNvSpPr>
            <a:spLocks/>
          </p:cNvSpPr>
          <p:nvPr/>
        </p:nvSpPr>
        <p:spPr bwMode="auto">
          <a:xfrm flipH="1" flipV="1">
            <a:off x="477297" y="4070045"/>
            <a:ext cx="4805160" cy="2790182"/>
          </a:xfrm>
          <a:custGeom>
            <a:avLst/>
            <a:gdLst/>
            <a:ahLst/>
            <a:cxnLst>
              <a:cxn ang="0">
                <a:pos x="730" y="0"/>
              </a:cxn>
              <a:cxn ang="0">
                <a:pos x="2537" y="0"/>
              </a:cxn>
              <a:cxn ang="0">
                <a:pos x="2537" y="1411"/>
              </a:cxn>
              <a:cxn ang="0">
                <a:pos x="730" y="1411"/>
              </a:cxn>
              <a:cxn ang="0">
                <a:pos x="0" y="1596"/>
              </a:cxn>
              <a:cxn ang="0">
                <a:pos x="0" y="1364"/>
              </a:cxn>
              <a:cxn ang="0">
                <a:pos x="730" y="0"/>
              </a:cxn>
            </a:cxnLst>
            <a:rect l="0" t="0" r="r" b="b"/>
            <a:pathLst>
              <a:path w="2537" h="1596">
                <a:moveTo>
                  <a:pt x="730" y="0"/>
                </a:moveTo>
                <a:lnTo>
                  <a:pt x="2537" y="0"/>
                </a:lnTo>
                <a:lnTo>
                  <a:pt x="2537" y="1411"/>
                </a:lnTo>
                <a:lnTo>
                  <a:pt x="730" y="1411"/>
                </a:lnTo>
                <a:lnTo>
                  <a:pt x="0" y="1596"/>
                </a:lnTo>
                <a:lnTo>
                  <a:pt x="0" y="1364"/>
                </a:lnTo>
                <a:lnTo>
                  <a:pt x="730" y="0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5493" tIns="52747" rIns="105493" bIns="52747"/>
          <a:lstStyle/>
          <a:p>
            <a:pPr>
              <a:defRPr/>
            </a:pPr>
            <a:endParaRPr lang="pt-BR" sz="2159" dirty="0"/>
          </a:p>
        </p:txBody>
      </p:sp>
      <p:sp>
        <p:nvSpPr>
          <p:cNvPr id="115719" name="Oval 7"/>
          <p:cNvSpPr>
            <a:spLocks noChangeArrowheads="1"/>
          </p:cNvSpPr>
          <p:nvPr/>
        </p:nvSpPr>
        <p:spPr bwMode="blackWhite">
          <a:xfrm>
            <a:off x="4379003" y="3377745"/>
            <a:ext cx="1848575" cy="1388098"/>
          </a:xfrm>
          <a:prstGeom prst="ellipse">
            <a:avLst/>
          </a:prstGeom>
          <a:solidFill>
            <a:schemeClr val="accent2"/>
          </a:solidFill>
          <a:ln w="9525">
            <a:noFill/>
            <a:round/>
            <a:headEnd/>
            <a:tailEnd/>
          </a:ln>
          <a:effectLst>
            <a:outerShdw dist="25400" dir="5400000" algn="ctr" rotWithShape="0">
              <a:schemeClr val="bg2"/>
            </a:outerShdw>
          </a:effec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pt-BR" sz="2159">
                <a:solidFill>
                  <a:schemeClr val="bg1"/>
                </a:solidFill>
              </a:rPr>
              <a:t>xxxx</a:t>
            </a:r>
            <a:endParaRPr lang="pt-BR" sz="2159" dirty="0">
              <a:solidFill>
                <a:schemeClr val="bg1"/>
              </a:solidFill>
            </a:endParaRPr>
          </a:p>
        </p:txBody>
      </p:sp>
      <p:sp>
        <p:nvSpPr>
          <p:cNvPr id="252938" name="Rectangle 9"/>
          <p:cNvSpPr>
            <a:spLocks noChangeArrowheads="1"/>
          </p:cNvSpPr>
          <p:nvPr/>
        </p:nvSpPr>
        <p:spPr bwMode="auto">
          <a:xfrm>
            <a:off x="598514" y="1386505"/>
            <a:ext cx="323690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32933">
              <a:buSzPct val="120000"/>
            </a:pPr>
            <a:r>
              <a:rPr lang="pt-BR" altLang="ko-KR" sz="1511" b="1" dirty="0" err="1">
                <a:solidFill>
                  <a:schemeClr val="accent1"/>
                </a:solidFill>
                <a:ea typeface="Gulim" pitchFamily="34" charset="-127"/>
              </a:rPr>
              <a:t>Title</a:t>
            </a:r>
            <a:r>
              <a:rPr lang="pt-BR" altLang="ko-KR" sz="1511" b="1" dirty="0">
                <a:solidFill>
                  <a:schemeClr val="accent1"/>
                </a:solidFill>
                <a:ea typeface="Gulim" pitchFamily="34" charset="-127"/>
              </a:rPr>
              <a:t> </a:t>
            </a:r>
          </a:p>
        </p:txBody>
      </p:sp>
      <p:sp>
        <p:nvSpPr>
          <p:cNvPr id="252939" name="Rectangle 10"/>
          <p:cNvSpPr>
            <a:spLocks noChangeArrowheads="1"/>
          </p:cNvSpPr>
          <p:nvPr/>
        </p:nvSpPr>
        <p:spPr bwMode="auto">
          <a:xfrm>
            <a:off x="598514" y="1681393"/>
            <a:ext cx="323690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66662" lvl="1" indent="-164830" defTabSz="1032933">
              <a:buSzPct val="120000"/>
              <a:buFontTx/>
              <a:buChar char="•"/>
            </a:pPr>
            <a:r>
              <a:rPr lang="pt-BR" altLang="ko-KR" sz="1295">
                <a:ea typeface="Gulim" pitchFamily="34" charset="-127"/>
              </a:rPr>
              <a:t>Texto</a:t>
            </a:r>
            <a:endParaRPr lang="pt-BR" altLang="ko-KR" sz="1295" dirty="0">
              <a:ea typeface="Gulim" pitchFamily="34" charset="-127"/>
            </a:endParaRPr>
          </a:p>
        </p:txBody>
      </p:sp>
      <p:sp>
        <p:nvSpPr>
          <p:cNvPr id="252940" name="Rectangle 11"/>
          <p:cNvSpPr>
            <a:spLocks noChangeArrowheads="1"/>
          </p:cNvSpPr>
          <p:nvPr/>
        </p:nvSpPr>
        <p:spPr bwMode="auto">
          <a:xfrm>
            <a:off x="6776848" y="1386505"/>
            <a:ext cx="323690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32933">
              <a:buSzPct val="120000"/>
            </a:pPr>
            <a:r>
              <a:rPr lang="pt-BR" altLang="ko-KR" sz="1511" b="1" dirty="0" err="1">
                <a:solidFill>
                  <a:schemeClr val="accent1"/>
                </a:solidFill>
                <a:ea typeface="Gulim" pitchFamily="34" charset="-127"/>
              </a:rPr>
              <a:t>Title</a:t>
            </a:r>
            <a:r>
              <a:rPr lang="pt-BR" altLang="ko-KR" sz="1511" b="1" dirty="0">
                <a:solidFill>
                  <a:schemeClr val="accent1"/>
                </a:solidFill>
                <a:ea typeface="Gulim" pitchFamily="34" charset="-127"/>
              </a:rPr>
              <a:t> </a:t>
            </a:r>
          </a:p>
        </p:txBody>
      </p:sp>
      <p:sp>
        <p:nvSpPr>
          <p:cNvPr id="252941" name="Rectangle 12"/>
          <p:cNvSpPr>
            <a:spLocks noChangeArrowheads="1"/>
          </p:cNvSpPr>
          <p:nvPr/>
        </p:nvSpPr>
        <p:spPr bwMode="auto">
          <a:xfrm>
            <a:off x="6776848" y="1681393"/>
            <a:ext cx="323690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66662" lvl="1" indent="-164830" defTabSz="1032933">
              <a:buSzPct val="120000"/>
              <a:buFontTx/>
              <a:buChar char="•"/>
            </a:pPr>
            <a:r>
              <a:rPr lang="pt-BR" altLang="ko-KR" sz="1295">
                <a:ea typeface="Gulim" pitchFamily="34" charset="-127"/>
              </a:rPr>
              <a:t>Texto</a:t>
            </a:r>
            <a:endParaRPr lang="pt-BR" altLang="ko-KR" sz="1295" dirty="0">
              <a:ea typeface="Gulim" pitchFamily="34" charset="-127"/>
            </a:endParaRPr>
          </a:p>
        </p:txBody>
      </p:sp>
      <p:sp>
        <p:nvSpPr>
          <p:cNvPr id="252942" name="Rectangle 13"/>
          <p:cNvSpPr>
            <a:spLocks noChangeArrowheads="1"/>
          </p:cNvSpPr>
          <p:nvPr/>
        </p:nvSpPr>
        <p:spPr bwMode="auto">
          <a:xfrm>
            <a:off x="598514" y="4519340"/>
            <a:ext cx="323690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32933">
              <a:buSzPct val="120000"/>
            </a:pPr>
            <a:r>
              <a:rPr lang="pt-BR" altLang="ko-KR" sz="1511" b="1" dirty="0" err="1">
                <a:solidFill>
                  <a:schemeClr val="accent1"/>
                </a:solidFill>
                <a:ea typeface="Gulim" pitchFamily="34" charset="-127"/>
              </a:rPr>
              <a:t>Title</a:t>
            </a:r>
            <a:r>
              <a:rPr lang="pt-BR" altLang="ko-KR" sz="1511" b="1" dirty="0">
                <a:solidFill>
                  <a:schemeClr val="accent1"/>
                </a:solidFill>
                <a:ea typeface="Gulim" pitchFamily="34" charset="-127"/>
              </a:rPr>
              <a:t> </a:t>
            </a:r>
          </a:p>
        </p:txBody>
      </p:sp>
      <p:sp>
        <p:nvSpPr>
          <p:cNvPr id="252943" name="Rectangle 14"/>
          <p:cNvSpPr>
            <a:spLocks noChangeArrowheads="1"/>
          </p:cNvSpPr>
          <p:nvPr/>
        </p:nvSpPr>
        <p:spPr bwMode="auto">
          <a:xfrm>
            <a:off x="598514" y="4814229"/>
            <a:ext cx="323690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66662" lvl="1" indent="-164830" defTabSz="1032933">
              <a:buSzPct val="120000"/>
              <a:buFontTx/>
              <a:buChar char="•"/>
            </a:pPr>
            <a:r>
              <a:rPr lang="pt-BR" altLang="ko-KR" sz="1295">
                <a:ea typeface="Gulim" pitchFamily="34" charset="-127"/>
              </a:rPr>
              <a:t>Texto</a:t>
            </a:r>
            <a:endParaRPr lang="pt-BR" altLang="ko-KR" sz="1295" dirty="0">
              <a:ea typeface="Gulim" pitchFamily="34" charset="-127"/>
            </a:endParaRPr>
          </a:p>
        </p:txBody>
      </p:sp>
      <p:sp>
        <p:nvSpPr>
          <p:cNvPr id="252944" name="Rectangle 15"/>
          <p:cNvSpPr>
            <a:spLocks noChangeArrowheads="1"/>
          </p:cNvSpPr>
          <p:nvPr/>
        </p:nvSpPr>
        <p:spPr bwMode="auto">
          <a:xfrm>
            <a:off x="6776848" y="4519340"/>
            <a:ext cx="3236901" cy="23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032933">
              <a:buSzPct val="120000"/>
            </a:pPr>
            <a:r>
              <a:rPr lang="pt-BR" altLang="ko-KR" sz="1511" b="1" dirty="0" err="1">
                <a:solidFill>
                  <a:schemeClr val="accent1"/>
                </a:solidFill>
                <a:ea typeface="Gulim" pitchFamily="34" charset="-127"/>
              </a:rPr>
              <a:t>Title</a:t>
            </a:r>
            <a:r>
              <a:rPr lang="pt-BR" altLang="ko-KR" sz="1511" b="1" dirty="0">
                <a:solidFill>
                  <a:schemeClr val="accent1"/>
                </a:solidFill>
                <a:ea typeface="Gulim" pitchFamily="34" charset="-127"/>
              </a:rPr>
              <a:t> </a:t>
            </a:r>
          </a:p>
        </p:txBody>
      </p:sp>
      <p:sp>
        <p:nvSpPr>
          <p:cNvPr id="252945" name="Rectangle 16"/>
          <p:cNvSpPr>
            <a:spLocks noChangeArrowheads="1"/>
          </p:cNvSpPr>
          <p:nvPr/>
        </p:nvSpPr>
        <p:spPr bwMode="auto">
          <a:xfrm>
            <a:off x="6776848" y="4814229"/>
            <a:ext cx="3236901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66662" lvl="1" indent="-164830" defTabSz="1032933">
              <a:buSzPct val="120000"/>
              <a:buFontTx/>
              <a:buChar char="•"/>
            </a:pPr>
            <a:r>
              <a:rPr lang="pt-BR" altLang="ko-KR" sz="1295">
                <a:ea typeface="Gulim" pitchFamily="34" charset="-127"/>
              </a:rPr>
              <a:t>Texto</a:t>
            </a:r>
            <a:endParaRPr lang="pt-BR" altLang="ko-KR" sz="1295" dirty="0">
              <a:ea typeface="Gulim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228418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7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mbinado – Barras </a:t>
            </a:r>
            <a:r>
              <a:rPr lang="pt-BR" smtClean="0"/>
              <a:t>Agrupadas x </a:t>
            </a:r>
            <a:r>
              <a:rPr lang="pt-BR" dirty="0" err="1" smtClean="0"/>
              <a:t>Apiladas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663098" y="1845442"/>
          <a:ext cx="4345262" cy="3935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Object 3"/>
          <p:cNvGraphicFramePr>
            <a:graphicFrameLocks noChangeAspect="1"/>
          </p:cNvGraphicFramePr>
          <p:nvPr/>
        </p:nvGraphicFramePr>
        <p:xfrm>
          <a:off x="5698873" y="1845442"/>
          <a:ext cx="4345262" cy="39356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17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13" name="12 Grupo"/>
          <p:cNvGrpSpPr/>
          <p:nvPr/>
        </p:nvGrpSpPr>
        <p:grpSpPr>
          <a:xfrm>
            <a:off x="397517" y="1215104"/>
            <a:ext cx="4751625" cy="276539"/>
            <a:chOff x="2379663" y="1269372"/>
            <a:chExt cx="7069137" cy="256215"/>
          </a:xfrm>
        </p:grpSpPr>
        <p:sp>
          <p:nvSpPr>
            <p:cNvPr id="16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9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0" name="19 Grupo"/>
          <p:cNvGrpSpPr/>
          <p:nvPr/>
        </p:nvGrpSpPr>
        <p:grpSpPr>
          <a:xfrm>
            <a:off x="5542672" y="1215104"/>
            <a:ext cx="4751625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4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18" name="CaixaDeTexto 17"/>
          <p:cNvSpPr txBox="1"/>
          <p:nvPr/>
        </p:nvSpPr>
        <p:spPr>
          <a:xfrm>
            <a:off x="397517" y="1533973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5542672" y="1533973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100224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81 Grupo"/>
          <p:cNvGrpSpPr/>
          <p:nvPr/>
        </p:nvGrpSpPr>
        <p:grpSpPr>
          <a:xfrm>
            <a:off x="3480622" y="204709"/>
            <a:ext cx="4041449" cy="2846269"/>
            <a:chOff x="381588" y="980728"/>
            <a:chExt cx="7486640" cy="5272614"/>
          </a:xfrm>
        </p:grpSpPr>
        <p:grpSp>
          <p:nvGrpSpPr>
            <p:cNvPr id="60" name="59 Grupo"/>
            <p:cNvGrpSpPr/>
            <p:nvPr/>
          </p:nvGrpSpPr>
          <p:grpSpPr>
            <a:xfrm>
              <a:off x="2576736" y="2204864"/>
              <a:ext cx="3060606" cy="2837632"/>
              <a:chOff x="5421315" y="2473225"/>
              <a:chExt cx="4140200" cy="3838575"/>
            </a:xfrm>
          </p:grpSpPr>
          <p:sp>
            <p:nvSpPr>
              <p:cNvPr id="71" name="AutoShape 26"/>
              <p:cNvSpPr>
                <a:spLocks noChangeArrowheads="1"/>
              </p:cNvSpPr>
              <p:nvPr/>
            </p:nvSpPr>
            <p:spPr bwMode="auto">
              <a:xfrm>
                <a:off x="9245602" y="2814537"/>
                <a:ext cx="315913" cy="3157538"/>
              </a:xfrm>
              <a:prstGeom prst="rightArrow">
                <a:avLst>
                  <a:gd name="adj1" fmla="val 55176"/>
                  <a:gd name="adj2" fmla="val 100000"/>
                </a:avLst>
              </a:pr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7139" tIns="50513" rIns="97139" anchor="ctr"/>
              <a:lstStyle/>
              <a:p>
                <a:pPr defTabSz="1058874"/>
                <a:endParaRPr lang="pt-BR" sz="1133"/>
              </a:p>
            </p:txBody>
          </p:sp>
          <p:sp>
            <p:nvSpPr>
              <p:cNvPr id="72" name="AutoShape 27"/>
              <p:cNvSpPr>
                <a:spLocks noChangeArrowheads="1"/>
              </p:cNvSpPr>
              <p:nvPr/>
            </p:nvSpPr>
            <p:spPr bwMode="blackGray">
              <a:xfrm flipH="1">
                <a:off x="5421315" y="2814537"/>
                <a:ext cx="315912" cy="3157538"/>
              </a:xfrm>
              <a:prstGeom prst="rightArrow">
                <a:avLst>
                  <a:gd name="adj1" fmla="val 55176"/>
                  <a:gd name="adj2" fmla="val 100000"/>
                </a:avLst>
              </a:pr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8874"/>
                <a:endParaRPr lang="pt-BR" sz="1133"/>
              </a:p>
            </p:txBody>
          </p:sp>
          <p:sp>
            <p:nvSpPr>
              <p:cNvPr id="73" name="AutoShape 28"/>
              <p:cNvSpPr>
                <a:spLocks noChangeArrowheads="1"/>
              </p:cNvSpPr>
              <p:nvPr/>
            </p:nvSpPr>
            <p:spPr bwMode="blackGray">
              <a:xfrm rot="5400000" flipH="1">
                <a:off x="7343777" y="907950"/>
                <a:ext cx="292100" cy="3422650"/>
              </a:xfrm>
              <a:prstGeom prst="rightArrow">
                <a:avLst>
                  <a:gd name="adj1" fmla="val 55176"/>
                  <a:gd name="adj2" fmla="val 100000"/>
                </a:avLst>
              </a:pr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10800000" vert="eaVert" wrap="none" lIns="105493" tIns="52747" rIns="105493" bIns="52747" anchor="ctr"/>
              <a:lstStyle/>
              <a:p>
                <a:pPr defTabSz="1058874"/>
                <a:endParaRPr lang="pt-BR" sz="1133"/>
              </a:p>
            </p:txBody>
          </p:sp>
          <p:sp>
            <p:nvSpPr>
              <p:cNvPr id="74" name="AutoShape 29"/>
              <p:cNvSpPr>
                <a:spLocks noChangeArrowheads="1"/>
              </p:cNvSpPr>
              <p:nvPr/>
            </p:nvSpPr>
            <p:spPr bwMode="blackGray">
              <a:xfrm rot="-5400000" flipH="1" flipV="1">
                <a:off x="7344570" y="4455219"/>
                <a:ext cx="290513" cy="3422650"/>
              </a:xfrm>
              <a:prstGeom prst="rightArrow">
                <a:avLst>
                  <a:gd name="adj1" fmla="val 55176"/>
                  <a:gd name="adj2" fmla="val 100000"/>
                </a:avLst>
              </a:pr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rot="10800000" vert="eaVert" wrap="none" lIns="105493" tIns="52747" rIns="105493" bIns="52747" anchor="ctr"/>
              <a:lstStyle/>
              <a:p>
                <a:pPr defTabSz="1058874"/>
                <a:endParaRPr lang="pt-BR" sz="1133"/>
              </a:p>
            </p:txBody>
          </p:sp>
        </p:grpSp>
        <p:sp>
          <p:nvSpPr>
            <p:cNvPr id="62" name="Rectangle 5"/>
            <p:cNvSpPr>
              <a:spLocks noChangeArrowheads="1"/>
            </p:cNvSpPr>
            <p:nvPr/>
          </p:nvSpPr>
          <p:spPr bwMode="auto">
            <a:xfrm>
              <a:off x="2902544" y="2510383"/>
              <a:ext cx="2409819" cy="2217124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lIns="50513" tIns="42741" rIns="50513" bIns="42741" anchor="ctr"/>
            <a:lstStyle/>
            <a:p>
              <a:pPr marL="128505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863"/>
                <a:t>Xxx</a:t>
              </a:r>
              <a:endParaRPr lang="es-ES" sz="863" dirty="0"/>
            </a:p>
            <a:p>
              <a:pPr marL="128505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863">
                  <a:cs typeface="Arial" pitchFamily="34" charset="0"/>
                </a:rPr>
                <a:t>Xxxx</a:t>
              </a:r>
              <a:endParaRPr lang="es-ES" sz="863" dirty="0">
                <a:cs typeface="Arial" pitchFamily="34" charset="0"/>
              </a:endParaRPr>
            </a:p>
            <a:p>
              <a:pPr marL="128505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863">
                  <a:cs typeface="Arial" pitchFamily="34" charset="0"/>
                </a:rPr>
                <a:t>Xxxx</a:t>
              </a:r>
              <a:endParaRPr lang="es-ES" sz="863" dirty="0">
                <a:cs typeface="Arial" pitchFamily="34" charset="0"/>
              </a:endParaRPr>
            </a:p>
            <a:p>
              <a:pPr marL="128505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863">
                  <a:cs typeface="Arial" pitchFamily="34" charset="0"/>
                </a:rPr>
                <a:t>Xxxx</a:t>
              </a:r>
              <a:endParaRPr lang="es-ES" sz="863" dirty="0">
                <a:cs typeface="Arial" pitchFamily="34" charset="0"/>
              </a:endParaRPr>
            </a:p>
            <a:p>
              <a:pPr marL="621961" lvl="1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756">
                  <a:cs typeface="Arial" pitchFamily="34" charset="0"/>
                </a:rPr>
                <a:t>Xxx</a:t>
              </a:r>
              <a:endParaRPr lang="es-ES" sz="756" dirty="0">
                <a:cs typeface="Arial" pitchFamily="34" charset="0"/>
              </a:endParaRPr>
            </a:p>
            <a:p>
              <a:pPr marL="621961" lvl="1" indent="-128505">
                <a:spcBef>
                  <a:spcPts val="324"/>
                </a:spcBef>
                <a:buFont typeface="Arial" pitchFamily="34" charset="0"/>
                <a:buChar char="•"/>
                <a:defRPr/>
              </a:pPr>
              <a:r>
                <a:rPr lang="es-ES" sz="756">
                  <a:cs typeface="Arial" pitchFamily="34" charset="0"/>
                </a:rPr>
                <a:t>Xxx</a:t>
              </a:r>
              <a:endParaRPr lang="es-ES" sz="756" dirty="0">
                <a:cs typeface="Arial" pitchFamily="34" charset="0"/>
              </a:endParaRPr>
            </a:p>
          </p:txBody>
        </p:sp>
        <p:sp>
          <p:nvSpPr>
            <p:cNvPr id="68" name="Rectangle 5"/>
            <p:cNvSpPr>
              <a:spLocks noChangeArrowheads="1"/>
            </p:cNvSpPr>
            <p:nvPr/>
          </p:nvSpPr>
          <p:spPr bwMode="auto">
            <a:xfrm>
              <a:off x="3117892" y="980728"/>
              <a:ext cx="1979124" cy="102414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lIns="0" tIns="42741" rIns="0" bIns="42741" anchor="ctr"/>
            <a:lstStyle/>
            <a:p>
              <a:pPr algn="ctr">
                <a:spcBef>
                  <a:spcPts val="324"/>
                </a:spcBef>
                <a:defRPr/>
              </a:pPr>
              <a:r>
                <a:rPr lang="es-ES" sz="971"/>
                <a:t>xxx</a:t>
              </a:r>
              <a:endParaRPr lang="es-ES" sz="863" dirty="0">
                <a:cs typeface="Arial" pitchFamily="34" charset="0"/>
              </a:endParaRPr>
            </a:p>
          </p:txBody>
        </p:sp>
        <p:sp>
          <p:nvSpPr>
            <p:cNvPr id="69" name="Rectangle 5"/>
            <p:cNvSpPr>
              <a:spLocks noChangeArrowheads="1"/>
            </p:cNvSpPr>
            <p:nvPr/>
          </p:nvSpPr>
          <p:spPr bwMode="auto">
            <a:xfrm>
              <a:off x="3117892" y="5229200"/>
              <a:ext cx="1979124" cy="102414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lIns="0" tIns="42741" rIns="0" bIns="42741" anchor="ctr"/>
            <a:lstStyle/>
            <a:p>
              <a:pPr algn="ctr">
                <a:spcBef>
                  <a:spcPts val="324"/>
                </a:spcBef>
                <a:defRPr/>
              </a:pPr>
              <a:r>
                <a:rPr lang="es-ES" sz="971"/>
                <a:t>xxx</a:t>
              </a:r>
              <a:endParaRPr lang="es-ES" sz="863" dirty="0">
                <a:cs typeface="Arial" pitchFamily="34" charset="0"/>
              </a:endParaRPr>
            </a:p>
          </p:txBody>
        </p:sp>
        <p:sp>
          <p:nvSpPr>
            <p:cNvPr id="70" name="Rectangle 5"/>
            <p:cNvSpPr>
              <a:spLocks noChangeArrowheads="1"/>
            </p:cNvSpPr>
            <p:nvPr/>
          </p:nvSpPr>
          <p:spPr bwMode="auto">
            <a:xfrm>
              <a:off x="5889104" y="3111609"/>
              <a:ext cx="1979124" cy="102414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lIns="0" tIns="42741" rIns="0" bIns="42741" anchor="ctr"/>
            <a:lstStyle/>
            <a:p>
              <a:pPr algn="ctr">
                <a:spcBef>
                  <a:spcPts val="324"/>
                </a:spcBef>
                <a:defRPr/>
              </a:pPr>
              <a:r>
                <a:rPr lang="es-ES" sz="971"/>
                <a:t>xxx</a:t>
              </a:r>
              <a:endParaRPr lang="es-ES" sz="863" dirty="0">
                <a:cs typeface="Arial" pitchFamily="34" charset="0"/>
              </a:endParaRPr>
            </a:p>
          </p:txBody>
        </p:sp>
        <p:sp>
          <p:nvSpPr>
            <p:cNvPr id="81" name="Rectangle 5"/>
            <p:cNvSpPr>
              <a:spLocks noChangeArrowheads="1"/>
            </p:cNvSpPr>
            <p:nvPr/>
          </p:nvSpPr>
          <p:spPr bwMode="auto">
            <a:xfrm>
              <a:off x="381588" y="3111609"/>
              <a:ext cx="1979124" cy="1024142"/>
            </a:xfrm>
            <a:prstGeom prst="ellipse">
              <a:avLst/>
            </a:prstGeom>
            <a:solidFill>
              <a:schemeClr val="accent3"/>
            </a:solidFill>
            <a:ln w="12700">
              <a:noFill/>
              <a:miter lim="800000"/>
              <a:headEnd/>
              <a:tailEnd/>
            </a:ln>
          </p:spPr>
          <p:txBody>
            <a:bodyPr lIns="0" tIns="42741" rIns="0" bIns="42741" anchor="ctr"/>
            <a:lstStyle/>
            <a:p>
              <a:pPr algn="ctr">
                <a:spcBef>
                  <a:spcPts val="324"/>
                </a:spcBef>
                <a:defRPr/>
              </a:pPr>
              <a:r>
                <a:rPr lang="es-ES" sz="971"/>
                <a:t>xxx</a:t>
              </a:r>
              <a:endParaRPr lang="es-ES" sz="863" dirty="0">
                <a:cs typeface="Arial" pitchFamily="34" charset="0"/>
              </a:endParaRPr>
            </a:p>
          </p:txBody>
        </p:sp>
      </p:grpSp>
      <p:grpSp>
        <p:nvGrpSpPr>
          <p:cNvPr id="108" name="107 Grupo"/>
          <p:cNvGrpSpPr/>
          <p:nvPr/>
        </p:nvGrpSpPr>
        <p:grpSpPr>
          <a:xfrm>
            <a:off x="7616577" y="437870"/>
            <a:ext cx="2858861" cy="2865061"/>
            <a:chOff x="6249144" y="1844824"/>
            <a:chExt cx="3584848" cy="3592624"/>
          </a:xfrm>
        </p:grpSpPr>
        <p:grpSp>
          <p:nvGrpSpPr>
            <p:cNvPr id="5" name="82 Grupo"/>
            <p:cNvGrpSpPr/>
            <p:nvPr/>
          </p:nvGrpSpPr>
          <p:grpSpPr>
            <a:xfrm>
              <a:off x="7329424" y="2924943"/>
              <a:ext cx="1440000" cy="1440000"/>
              <a:chOff x="4160912" y="799108"/>
              <a:chExt cx="1592957" cy="1436687"/>
            </a:xfrm>
          </p:grpSpPr>
          <p:sp>
            <p:nvSpPr>
              <p:cNvPr id="63" name="AutoShape 4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blackGray">
              <a:xfrm>
                <a:off x="4160912" y="1083667"/>
                <a:ext cx="638175" cy="900112"/>
              </a:xfrm>
              <a:prstGeom prst="rightArrow">
                <a:avLst>
                  <a:gd name="adj1" fmla="val 54000"/>
                  <a:gd name="adj2" fmla="val 73171"/>
                </a:avLst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8874"/>
                <a:endParaRPr lang="pt-BR" sz="1835"/>
              </a:p>
            </p:txBody>
          </p:sp>
          <p:sp>
            <p:nvSpPr>
              <p:cNvPr id="64" name="AutoShape 5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blackGray">
              <a:xfrm flipH="1">
                <a:off x="5115694" y="1084858"/>
                <a:ext cx="638175" cy="900112"/>
              </a:xfrm>
              <a:prstGeom prst="rightArrow">
                <a:avLst>
                  <a:gd name="adj1" fmla="val 54000"/>
                  <a:gd name="adj2" fmla="val 73171"/>
                </a:avLst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8874"/>
                <a:endParaRPr lang="pt-BR" sz="1835"/>
              </a:p>
            </p:txBody>
          </p:sp>
          <p:sp>
            <p:nvSpPr>
              <p:cNvPr id="65" name="AutoShape 6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blackGray">
              <a:xfrm rot="5400000">
                <a:off x="4689104" y="564952"/>
                <a:ext cx="536575" cy="1004887"/>
              </a:xfrm>
              <a:prstGeom prst="rightArrow">
                <a:avLst>
                  <a:gd name="adj1" fmla="val 54000"/>
                  <a:gd name="adj2" fmla="val 73171"/>
                </a:avLst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rot="10800000" vert="eaVert" wrap="none" lIns="105493" tIns="52747" rIns="105493" bIns="52747" anchor="ctr"/>
              <a:lstStyle/>
              <a:p>
                <a:pPr defTabSz="1058874"/>
                <a:endParaRPr lang="pt-BR" sz="1835"/>
              </a:p>
            </p:txBody>
          </p:sp>
          <p:sp>
            <p:nvSpPr>
              <p:cNvPr id="66" name="AutoShape 7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blackGray">
              <a:xfrm rot="16200000" flipV="1">
                <a:off x="4689897" y="1465858"/>
                <a:ext cx="534987" cy="1004887"/>
              </a:xfrm>
              <a:prstGeom prst="rightArrow">
                <a:avLst>
                  <a:gd name="adj1" fmla="val 54204"/>
                  <a:gd name="adj2" fmla="val 75227"/>
                </a:avLst>
              </a:prstGeom>
              <a:solidFill>
                <a:schemeClr val="accent1"/>
              </a:solidFill>
              <a:ln w="9525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rot="10800000" vert="eaVert" wrap="none" lIns="105493" tIns="52747" rIns="105493" bIns="52747" anchor="ctr"/>
              <a:lstStyle/>
              <a:p>
                <a:pPr defTabSz="1058874"/>
                <a:endParaRPr lang="pt-BR" sz="1835"/>
              </a:p>
            </p:txBody>
          </p:sp>
        </p:grpSp>
        <p:sp>
          <p:nvSpPr>
            <p:cNvPr id="91" name="90 Trapecio"/>
            <p:cNvSpPr/>
            <p:nvPr/>
          </p:nvSpPr>
          <p:spPr>
            <a:xfrm rot="16200000">
              <a:off x="7681528" y="3148744"/>
              <a:ext cx="3312368" cy="992560"/>
            </a:xfrm>
            <a:prstGeom prst="trapezoid">
              <a:avLst>
                <a:gd name="adj" fmla="val 97996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tx1"/>
                  </a:solidFill>
                </a:rPr>
                <a:t>Texto</a:t>
              </a:r>
              <a:endParaRPr lang="ca-ES" sz="1187" dirty="0">
                <a:solidFill>
                  <a:schemeClr val="tx1"/>
                </a:solidFill>
              </a:endParaRPr>
            </a:p>
          </p:txBody>
        </p:sp>
        <p:sp>
          <p:nvSpPr>
            <p:cNvPr id="104" name="103 Trapecio"/>
            <p:cNvSpPr/>
            <p:nvPr/>
          </p:nvSpPr>
          <p:spPr>
            <a:xfrm rot="5400000" flipH="1">
              <a:off x="5089240" y="3148744"/>
              <a:ext cx="3312368" cy="992560"/>
            </a:xfrm>
            <a:prstGeom prst="trapezoid">
              <a:avLst>
                <a:gd name="adj" fmla="val 97996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tx1"/>
                  </a:solidFill>
                </a:rPr>
                <a:t>Texto</a:t>
              </a:r>
              <a:endParaRPr lang="ca-ES" sz="1187" dirty="0">
                <a:solidFill>
                  <a:schemeClr val="tx1"/>
                </a:solidFill>
              </a:endParaRPr>
            </a:p>
          </p:txBody>
        </p:sp>
        <p:sp>
          <p:nvSpPr>
            <p:cNvPr id="105" name="104 Trapecio"/>
            <p:cNvSpPr/>
            <p:nvPr/>
          </p:nvSpPr>
          <p:spPr>
            <a:xfrm flipH="1">
              <a:off x="6393160" y="4444888"/>
              <a:ext cx="3312368" cy="992560"/>
            </a:xfrm>
            <a:prstGeom prst="trapezoid">
              <a:avLst>
                <a:gd name="adj" fmla="val 97996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tx1"/>
                  </a:solidFill>
                </a:rPr>
                <a:t>Texto</a:t>
              </a:r>
              <a:endParaRPr lang="ca-ES" sz="1187" dirty="0">
                <a:solidFill>
                  <a:schemeClr val="tx1"/>
                </a:solidFill>
              </a:endParaRPr>
            </a:p>
          </p:txBody>
        </p:sp>
        <p:sp>
          <p:nvSpPr>
            <p:cNvPr id="106" name="105 Trapecio"/>
            <p:cNvSpPr/>
            <p:nvPr/>
          </p:nvSpPr>
          <p:spPr>
            <a:xfrm rot="10800000" flipH="1">
              <a:off x="6393160" y="1844824"/>
              <a:ext cx="3312368" cy="992560"/>
            </a:xfrm>
            <a:prstGeom prst="trapezoid">
              <a:avLst>
                <a:gd name="adj" fmla="val 97996"/>
              </a:avLst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tx1"/>
                  </a:solidFill>
                </a:rPr>
                <a:t>Texto</a:t>
              </a:r>
              <a:endParaRPr lang="ca-ES" sz="1187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9" name="108 Grupo"/>
          <p:cNvGrpSpPr/>
          <p:nvPr/>
        </p:nvGrpSpPr>
        <p:grpSpPr>
          <a:xfrm>
            <a:off x="3791503" y="3002636"/>
            <a:ext cx="2472918" cy="2170113"/>
            <a:chOff x="2949865" y="1475589"/>
            <a:chExt cx="4167714" cy="3657383"/>
          </a:xfrm>
        </p:grpSpPr>
        <p:sp>
          <p:nvSpPr>
            <p:cNvPr id="110" name="AutoShape 2"/>
            <p:cNvSpPr>
              <a:spLocks noChangeArrowheads="1"/>
            </p:cNvSpPr>
            <p:nvPr/>
          </p:nvSpPr>
          <p:spPr bwMode="blackWhite">
            <a:xfrm flipV="1">
              <a:off x="5099528" y="1475589"/>
              <a:ext cx="1891704" cy="3655764"/>
            </a:xfrm>
            <a:prstGeom prst="curvedRightArrow">
              <a:avLst>
                <a:gd name="adj1" fmla="val 51295"/>
                <a:gd name="adj2" fmla="val 83767"/>
                <a:gd name="adj3" fmla="val 33301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lIns="0" tIns="0" rIns="0" bIns="0" anchor="ctr"/>
            <a:lstStyle/>
            <a:p>
              <a:pPr algn="ctr"/>
              <a:endParaRPr lang="zh-CN" altLang="en-US" sz="1187">
                <a:ea typeface="宋体" pitchFamily="2" charset="-122"/>
              </a:endParaRPr>
            </a:p>
          </p:txBody>
        </p:sp>
        <p:sp>
          <p:nvSpPr>
            <p:cNvPr id="111" name="AutoShape 3"/>
            <p:cNvSpPr>
              <a:spLocks noChangeArrowheads="1"/>
            </p:cNvSpPr>
            <p:nvPr/>
          </p:nvSpPr>
          <p:spPr bwMode="blackWhite">
            <a:xfrm flipH="1" flipV="1">
              <a:off x="2949865" y="1477207"/>
              <a:ext cx="1891704" cy="3655765"/>
            </a:xfrm>
            <a:prstGeom prst="curvedRightArrow">
              <a:avLst>
                <a:gd name="adj1" fmla="val 51295"/>
                <a:gd name="adj2" fmla="val 83767"/>
                <a:gd name="adj3" fmla="val 33301"/>
              </a:avLst>
            </a:prstGeom>
            <a:solidFill>
              <a:schemeClr val="accent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lIns="0" tIns="0" rIns="0" bIns="0" anchor="ctr"/>
            <a:lstStyle/>
            <a:p>
              <a:pPr algn="ctr"/>
              <a:endParaRPr lang="zh-CN" altLang="en-US" sz="1187">
                <a:ea typeface="宋体" pitchFamily="2" charset="-122"/>
              </a:endParaRPr>
            </a:p>
          </p:txBody>
        </p:sp>
        <p:sp>
          <p:nvSpPr>
            <p:cNvPr id="112" name="Rectangle 4"/>
            <p:cNvSpPr>
              <a:spLocks noChangeArrowheads="1"/>
            </p:cNvSpPr>
            <p:nvPr/>
          </p:nvSpPr>
          <p:spPr bwMode="auto">
            <a:xfrm>
              <a:off x="2974433" y="3343154"/>
              <a:ext cx="1667086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13" name="Rectangle 5"/>
            <p:cNvSpPr>
              <a:spLocks noChangeArrowheads="1"/>
            </p:cNvSpPr>
            <p:nvPr/>
          </p:nvSpPr>
          <p:spPr bwMode="auto">
            <a:xfrm>
              <a:off x="5452249" y="3343154"/>
              <a:ext cx="1665330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</p:grpSp>
      <p:grpSp>
        <p:nvGrpSpPr>
          <p:cNvPr id="114" name="113 Grupo"/>
          <p:cNvGrpSpPr/>
          <p:nvPr/>
        </p:nvGrpSpPr>
        <p:grpSpPr>
          <a:xfrm>
            <a:off x="371815" y="3158076"/>
            <a:ext cx="2487046" cy="2182510"/>
            <a:chOff x="2949865" y="1475589"/>
            <a:chExt cx="4167714" cy="3657383"/>
          </a:xfrm>
        </p:grpSpPr>
        <p:sp>
          <p:nvSpPr>
            <p:cNvPr id="115" name="AutoShape 2"/>
            <p:cNvSpPr>
              <a:spLocks noChangeArrowheads="1"/>
            </p:cNvSpPr>
            <p:nvPr/>
          </p:nvSpPr>
          <p:spPr bwMode="blackWhite">
            <a:xfrm>
              <a:off x="5099528" y="1475589"/>
              <a:ext cx="1891704" cy="3655764"/>
            </a:xfrm>
            <a:prstGeom prst="curvedRightArrow">
              <a:avLst>
                <a:gd name="adj1" fmla="val 51295"/>
                <a:gd name="adj2" fmla="val 83767"/>
                <a:gd name="adj3" fmla="val 33301"/>
              </a:avLst>
            </a:prstGeom>
            <a:solidFill>
              <a:schemeClr val="accent2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zh-CN" altLang="en-US" sz="1187">
                <a:ea typeface="宋体" pitchFamily="2" charset="-122"/>
              </a:endParaRPr>
            </a:p>
          </p:txBody>
        </p:sp>
        <p:sp>
          <p:nvSpPr>
            <p:cNvPr id="116" name="AutoShape 3"/>
            <p:cNvSpPr>
              <a:spLocks noChangeArrowheads="1"/>
            </p:cNvSpPr>
            <p:nvPr/>
          </p:nvSpPr>
          <p:spPr bwMode="blackWhite">
            <a:xfrm flipH="1" flipV="1">
              <a:off x="2949865" y="1477207"/>
              <a:ext cx="1891704" cy="3655765"/>
            </a:xfrm>
            <a:prstGeom prst="curvedRightArrow">
              <a:avLst>
                <a:gd name="adj1" fmla="val 51295"/>
                <a:gd name="adj2" fmla="val 83767"/>
                <a:gd name="adj3" fmla="val 33301"/>
              </a:avLst>
            </a:prstGeom>
            <a:solidFill>
              <a:schemeClr val="accent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</p:spPr>
          <p:txBody>
            <a:bodyPr rot="10800000" lIns="0" tIns="0" rIns="0" bIns="0" anchor="ctr"/>
            <a:lstStyle/>
            <a:p>
              <a:pPr algn="ctr"/>
              <a:endParaRPr lang="zh-CN" altLang="en-US" sz="1187">
                <a:ea typeface="宋体" pitchFamily="2" charset="-122"/>
              </a:endParaRPr>
            </a:p>
          </p:txBody>
        </p:sp>
        <p:sp>
          <p:nvSpPr>
            <p:cNvPr id="117" name="Rectangle 4"/>
            <p:cNvSpPr>
              <a:spLocks noChangeArrowheads="1"/>
            </p:cNvSpPr>
            <p:nvPr/>
          </p:nvSpPr>
          <p:spPr bwMode="auto">
            <a:xfrm>
              <a:off x="2974433" y="3396606"/>
              <a:ext cx="1667086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18" name="Rectangle 5"/>
            <p:cNvSpPr>
              <a:spLocks noChangeArrowheads="1"/>
            </p:cNvSpPr>
            <p:nvPr/>
          </p:nvSpPr>
          <p:spPr bwMode="auto">
            <a:xfrm>
              <a:off x="5452249" y="3032163"/>
              <a:ext cx="1665330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</p:grpSp>
      <p:grpSp>
        <p:nvGrpSpPr>
          <p:cNvPr id="119" name="118 Grupo"/>
          <p:cNvGrpSpPr/>
          <p:nvPr/>
        </p:nvGrpSpPr>
        <p:grpSpPr>
          <a:xfrm>
            <a:off x="216375" y="515590"/>
            <a:ext cx="3186527" cy="1922338"/>
            <a:chOff x="1654175" y="1146175"/>
            <a:chExt cx="6018213" cy="3630613"/>
          </a:xfrm>
          <a:noFill/>
        </p:grpSpPr>
        <p:grpSp>
          <p:nvGrpSpPr>
            <p:cNvPr id="120" name="Group 4"/>
            <p:cNvGrpSpPr>
              <a:grpSpLocks/>
            </p:cNvGrpSpPr>
            <p:nvPr/>
          </p:nvGrpSpPr>
          <p:grpSpPr bwMode="auto">
            <a:xfrm>
              <a:off x="1654175" y="1146175"/>
              <a:ext cx="6018213" cy="3630613"/>
              <a:chOff x="1460" y="1728"/>
              <a:chExt cx="3791" cy="2287"/>
            </a:xfrm>
            <a:grpFill/>
          </p:grpSpPr>
          <p:sp>
            <p:nvSpPr>
              <p:cNvPr id="127" name="Freeform 5"/>
              <p:cNvSpPr>
                <a:spLocks/>
              </p:cNvSpPr>
              <p:nvPr/>
            </p:nvSpPr>
            <p:spPr bwMode="auto">
              <a:xfrm>
                <a:off x="1468" y="2871"/>
                <a:ext cx="3783" cy="1144"/>
              </a:xfrm>
              <a:custGeom>
                <a:avLst/>
                <a:gdLst>
                  <a:gd name="T0" fmla="*/ 0 w 3783"/>
                  <a:gd name="T1" fmla="*/ 1143 h 1144"/>
                  <a:gd name="T2" fmla="*/ 3070 w 3783"/>
                  <a:gd name="T3" fmla="*/ 1143 h 1144"/>
                  <a:gd name="T4" fmla="*/ 3782 w 3783"/>
                  <a:gd name="T5" fmla="*/ 0 h 1144"/>
                  <a:gd name="T6" fmla="*/ 18 w 3783"/>
                  <a:gd name="T7" fmla="*/ 0 h 1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783"/>
                  <a:gd name="T13" fmla="*/ 0 h 1144"/>
                  <a:gd name="T14" fmla="*/ 3783 w 3783"/>
                  <a:gd name="T15" fmla="*/ 1144 h 1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783" h="1144">
                    <a:moveTo>
                      <a:pt x="0" y="1143"/>
                    </a:moveTo>
                    <a:lnTo>
                      <a:pt x="3070" y="1143"/>
                    </a:lnTo>
                    <a:lnTo>
                      <a:pt x="3782" y="0"/>
                    </a:lnTo>
                    <a:lnTo>
                      <a:pt x="18" y="0"/>
                    </a:lnTo>
                  </a:path>
                </a:pathLst>
              </a:custGeom>
              <a:grpFill/>
              <a:ln w="28575" cap="rnd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  <p:sp>
            <p:nvSpPr>
              <p:cNvPr id="128" name="Freeform 6"/>
              <p:cNvSpPr>
                <a:spLocks/>
              </p:cNvSpPr>
              <p:nvPr/>
            </p:nvSpPr>
            <p:spPr bwMode="auto">
              <a:xfrm>
                <a:off x="1476" y="2871"/>
                <a:ext cx="3455" cy="728"/>
              </a:xfrm>
              <a:custGeom>
                <a:avLst/>
                <a:gdLst>
                  <a:gd name="T0" fmla="*/ 0 w 3455"/>
                  <a:gd name="T1" fmla="*/ 727 h 728"/>
                  <a:gd name="T2" fmla="*/ 2982 w 3455"/>
                  <a:gd name="T3" fmla="*/ 727 h 728"/>
                  <a:gd name="T4" fmla="*/ 3454 w 3455"/>
                  <a:gd name="T5" fmla="*/ 0 h 728"/>
                  <a:gd name="T6" fmla="*/ 10 w 3455"/>
                  <a:gd name="T7" fmla="*/ 0 h 72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455"/>
                  <a:gd name="T13" fmla="*/ 0 h 728"/>
                  <a:gd name="T14" fmla="*/ 3455 w 3455"/>
                  <a:gd name="T15" fmla="*/ 728 h 72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455" h="728">
                    <a:moveTo>
                      <a:pt x="0" y="727"/>
                    </a:moveTo>
                    <a:lnTo>
                      <a:pt x="2982" y="727"/>
                    </a:lnTo>
                    <a:lnTo>
                      <a:pt x="3454" y="0"/>
                    </a:lnTo>
                    <a:lnTo>
                      <a:pt x="10" y="0"/>
                    </a:lnTo>
                  </a:path>
                </a:pathLst>
              </a:custGeom>
              <a:grpFill/>
              <a:ln w="28575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  <p:sp>
            <p:nvSpPr>
              <p:cNvPr id="129" name="Freeform 7"/>
              <p:cNvSpPr>
                <a:spLocks/>
              </p:cNvSpPr>
              <p:nvPr/>
            </p:nvSpPr>
            <p:spPr bwMode="auto">
              <a:xfrm>
                <a:off x="1476" y="2871"/>
                <a:ext cx="3103" cy="361"/>
              </a:xfrm>
              <a:custGeom>
                <a:avLst/>
                <a:gdLst>
                  <a:gd name="T0" fmla="*/ 0 w 3103"/>
                  <a:gd name="T1" fmla="*/ 360 h 361"/>
                  <a:gd name="T2" fmla="*/ 2902 w 3103"/>
                  <a:gd name="T3" fmla="*/ 360 h 361"/>
                  <a:gd name="T4" fmla="*/ 3102 w 3103"/>
                  <a:gd name="T5" fmla="*/ 0 h 361"/>
                  <a:gd name="T6" fmla="*/ 4 w 3103"/>
                  <a:gd name="T7" fmla="*/ 0 h 36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103"/>
                  <a:gd name="T13" fmla="*/ 0 h 361"/>
                  <a:gd name="T14" fmla="*/ 3103 w 3103"/>
                  <a:gd name="T15" fmla="*/ 361 h 36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103" h="361">
                    <a:moveTo>
                      <a:pt x="0" y="360"/>
                    </a:moveTo>
                    <a:lnTo>
                      <a:pt x="2902" y="360"/>
                    </a:lnTo>
                    <a:lnTo>
                      <a:pt x="3102" y="0"/>
                    </a:lnTo>
                    <a:lnTo>
                      <a:pt x="4" y="0"/>
                    </a:lnTo>
                  </a:path>
                </a:pathLst>
              </a:custGeom>
              <a:grpFill/>
              <a:ln w="28575" cap="rnd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  <p:sp>
            <p:nvSpPr>
              <p:cNvPr id="130" name="Freeform 8"/>
              <p:cNvSpPr>
                <a:spLocks/>
              </p:cNvSpPr>
              <p:nvPr/>
            </p:nvSpPr>
            <p:spPr bwMode="auto">
              <a:xfrm>
                <a:off x="1460" y="1728"/>
                <a:ext cx="3789" cy="1144"/>
              </a:xfrm>
              <a:custGeom>
                <a:avLst/>
                <a:gdLst>
                  <a:gd name="T0" fmla="*/ 0 w 3789"/>
                  <a:gd name="T1" fmla="*/ 0 h 1144"/>
                  <a:gd name="T2" fmla="*/ 3075 w 3789"/>
                  <a:gd name="T3" fmla="*/ 0 h 1144"/>
                  <a:gd name="T4" fmla="*/ 3788 w 3789"/>
                  <a:gd name="T5" fmla="*/ 1143 h 1144"/>
                  <a:gd name="T6" fmla="*/ 16 w 3789"/>
                  <a:gd name="T7" fmla="*/ 1143 h 1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789"/>
                  <a:gd name="T13" fmla="*/ 0 h 1144"/>
                  <a:gd name="T14" fmla="*/ 3789 w 3789"/>
                  <a:gd name="T15" fmla="*/ 1144 h 1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789" h="1144">
                    <a:moveTo>
                      <a:pt x="0" y="0"/>
                    </a:moveTo>
                    <a:lnTo>
                      <a:pt x="3075" y="0"/>
                    </a:lnTo>
                    <a:lnTo>
                      <a:pt x="3788" y="1143"/>
                    </a:lnTo>
                    <a:lnTo>
                      <a:pt x="16" y="1143"/>
                    </a:lnTo>
                  </a:path>
                </a:pathLst>
              </a:custGeom>
              <a:grpFill/>
              <a:ln w="28575" cap="rnd" cmpd="sng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  <p:sp>
            <p:nvSpPr>
              <p:cNvPr id="131" name="Freeform 9"/>
              <p:cNvSpPr>
                <a:spLocks/>
              </p:cNvSpPr>
              <p:nvPr/>
            </p:nvSpPr>
            <p:spPr bwMode="auto">
              <a:xfrm>
                <a:off x="1476" y="2144"/>
                <a:ext cx="3447" cy="728"/>
              </a:xfrm>
              <a:custGeom>
                <a:avLst/>
                <a:gdLst>
                  <a:gd name="T0" fmla="*/ 0 w 3447"/>
                  <a:gd name="T1" fmla="*/ 0 h 728"/>
                  <a:gd name="T2" fmla="*/ 2974 w 3447"/>
                  <a:gd name="T3" fmla="*/ 0 h 728"/>
                  <a:gd name="T4" fmla="*/ 3446 w 3447"/>
                  <a:gd name="T5" fmla="*/ 727 h 728"/>
                  <a:gd name="T6" fmla="*/ 0 w 3447"/>
                  <a:gd name="T7" fmla="*/ 727 h 72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447"/>
                  <a:gd name="T13" fmla="*/ 0 h 728"/>
                  <a:gd name="T14" fmla="*/ 3447 w 3447"/>
                  <a:gd name="T15" fmla="*/ 728 h 72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447" h="728">
                    <a:moveTo>
                      <a:pt x="0" y="0"/>
                    </a:moveTo>
                    <a:lnTo>
                      <a:pt x="2974" y="0"/>
                    </a:lnTo>
                    <a:lnTo>
                      <a:pt x="3446" y="727"/>
                    </a:lnTo>
                    <a:lnTo>
                      <a:pt x="0" y="727"/>
                    </a:lnTo>
                  </a:path>
                </a:pathLst>
              </a:custGeom>
              <a:grpFill/>
              <a:ln w="28575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  <p:sp>
            <p:nvSpPr>
              <p:cNvPr id="132" name="Freeform 10"/>
              <p:cNvSpPr>
                <a:spLocks/>
              </p:cNvSpPr>
              <p:nvPr/>
            </p:nvSpPr>
            <p:spPr bwMode="auto">
              <a:xfrm>
                <a:off x="1468" y="2511"/>
                <a:ext cx="3111" cy="361"/>
              </a:xfrm>
              <a:custGeom>
                <a:avLst/>
                <a:gdLst>
                  <a:gd name="T0" fmla="*/ 0 w 3111"/>
                  <a:gd name="T1" fmla="*/ 0 h 361"/>
                  <a:gd name="T2" fmla="*/ 2902 w 3111"/>
                  <a:gd name="T3" fmla="*/ 0 h 361"/>
                  <a:gd name="T4" fmla="*/ 3110 w 3111"/>
                  <a:gd name="T5" fmla="*/ 360 h 361"/>
                  <a:gd name="T6" fmla="*/ 9 w 3111"/>
                  <a:gd name="T7" fmla="*/ 360 h 36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111"/>
                  <a:gd name="T13" fmla="*/ 0 h 361"/>
                  <a:gd name="T14" fmla="*/ 3111 w 3111"/>
                  <a:gd name="T15" fmla="*/ 361 h 36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111" h="361">
                    <a:moveTo>
                      <a:pt x="0" y="0"/>
                    </a:moveTo>
                    <a:lnTo>
                      <a:pt x="2902" y="0"/>
                    </a:lnTo>
                    <a:lnTo>
                      <a:pt x="3110" y="360"/>
                    </a:lnTo>
                    <a:lnTo>
                      <a:pt x="9" y="360"/>
                    </a:lnTo>
                  </a:path>
                </a:pathLst>
              </a:custGeom>
              <a:grpFill/>
              <a:ln w="28575" cap="rnd" cmpd="sng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anchor="ctr"/>
              <a:lstStyle/>
              <a:p>
                <a:endParaRPr lang="ca-ES" sz="1187"/>
              </a:p>
            </p:txBody>
          </p:sp>
        </p:grpSp>
        <p:sp>
          <p:nvSpPr>
            <p:cNvPr id="121" name="Rectangle 11"/>
            <p:cNvSpPr>
              <a:spLocks noChangeArrowheads="1"/>
            </p:cNvSpPr>
            <p:nvPr/>
          </p:nvSpPr>
          <p:spPr bwMode="auto">
            <a:xfrm>
              <a:off x="1733551" y="1305456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  <p:sp>
          <p:nvSpPr>
            <p:cNvPr id="122" name="Rectangle 12"/>
            <p:cNvSpPr>
              <a:spLocks noChangeArrowheads="1"/>
            </p:cNvSpPr>
            <p:nvPr/>
          </p:nvSpPr>
          <p:spPr bwMode="auto">
            <a:xfrm>
              <a:off x="1733551" y="1926170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  <p:sp>
          <p:nvSpPr>
            <p:cNvPr id="123" name="Rectangle 13"/>
            <p:cNvSpPr>
              <a:spLocks noChangeArrowheads="1"/>
            </p:cNvSpPr>
            <p:nvPr/>
          </p:nvSpPr>
          <p:spPr bwMode="auto">
            <a:xfrm>
              <a:off x="1733551" y="2508781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  <p:sp>
          <p:nvSpPr>
            <p:cNvPr id="124" name="Rectangle 14"/>
            <p:cNvSpPr>
              <a:spLocks noChangeArrowheads="1"/>
            </p:cNvSpPr>
            <p:nvPr/>
          </p:nvSpPr>
          <p:spPr bwMode="auto">
            <a:xfrm>
              <a:off x="1733551" y="3070755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  <p:sp>
          <p:nvSpPr>
            <p:cNvPr id="125" name="Rectangle 15"/>
            <p:cNvSpPr>
              <a:spLocks noChangeArrowheads="1"/>
            </p:cNvSpPr>
            <p:nvPr/>
          </p:nvSpPr>
          <p:spPr bwMode="auto">
            <a:xfrm>
              <a:off x="1733551" y="3653369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  <p:sp>
          <p:nvSpPr>
            <p:cNvPr id="126" name="Rectangle 16"/>
            <p:cNvSpPr>
              <a:spLocks noChangeArrowheads="1"/>
            </p:cNvSpPr>
            <p:nvPr/>
          </p:nvSpPr>
          <p:spPr bwMode="auto">
            <a:xfrm>
              <a:off x="1733551" y="4275668"/>
              <a:ext cx="4614862" cy="345016"/>
            </a:xfrm>
            <a:prstGeom prst="rect">
              <a:avLst/>
            </a:prstGeom>
            <a:grpFill/>
            <a:ln w="19050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defTabSz="966351">
                <a:buSzPct val="120000"/>
              </a:pPr>
              <a:r>
                <a:rPr lang="en-US" altLang="zh-CN" sz="1187"/>
                <a:t>Texto</a:t>
              </a:r>
              <a:endParaRPr lang="en-US" altLang="zh-CN" sz="1187" dirty="0"/>
            </a:p>
          </p:txBody>
        </p:sp>
      </p:grpSp>
      <p:grpSp>
        <p:nvGrpSpPr>
          <p:cNvPr id="133" name="132 Grupo"/>
          <p:cNvGrpSpPr/>
          <p:nvPr/>
        </p:nvGrpSpPr>
        <p:grpSpPr>
          <a:xfrm>
            <a:off x="6265803" y="4168450"/>
            <a:ext cx="4248718" cy="2525844"/>
            <a:chOff x="1765889" y="1685597"/>
            <a:chExt cx="5405851" cy="3213757"/>
          </a:xfrm>
        </p:grpSpPr>
        <p:sp>
          <p:nvSpPr>
            <p:cNvPr id="134" name="Freeform 2"/>
            <p:cNvSpPr>
              <a:spLocks/>
            </p:cNvSpPr>
            <p:nvPr/>
          </p:nvSpPr>
          <p:spPr bwMode="blackWhite">
            <a:xfrm>
              <a:off x="2381250" y="3040063"/>
              <a:ext cx="1881188" cy="938212"/>
            </a:xfrm>
            <a:custGeom>
              <a:avLst/>
              <a:gdLst>
                <a:gd name="T0" fmla="*/ 0 w 1330"/>
                <a:gd name="T1" fmla="*/ 531 h 683"/>
                <a:gd name="T2" fmla="*/ 685 w 1330"/>
                <a:gd name="T3" fmla="*/ 531 h 683"/>
                <a:gd name="T4" fmla="*/ 1162 w 1330"/>
                <a:gd name="T5" fmla="*/ 56 h 683"/>
                <a:gd name="T6" fmla="*/ 1098 w 1330"/>
                <a:gd name="T7" fmla="*/ 0 h 683"/>
                <a:gd name="T8" fmla="*/ 1329 w 1330"/>
                <a:gd name="T9" fmla="*/ 0 h 683"/>
                <a:gd name="T10" fmla="*/ 1329 w 1330"/>
                <a:gd name="T11" fmla="*/ 222 h 683"/>
                <a:gd name="T12" fmla="*/ 1257 w 1330"/>
                <a:gd name="T13" fmla="*/ 143 h 683"/>
                <a:gd name="T14" fmla="*/ 717 w 1330"/>
                <a:gd name="T15" fmla="*/ 682 h 683"/>
                <a:gd name="T16" fmla="*/ 0 w 1330"/>
                <a:gd name="T17" fmla="*/ 682 h 683"/>
                <a:gd name="T18" fmla="*/ 0 w 1330"/>
                <a:gd name="T19" fmla="*/ 531 h 68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30"/>
                <a:gd name="T31" fmla="*/ 0 h 683"/>
                <a:gd name="T32" fmla="*/ 1330 w 1330"/>
                <a:gd name="T33" fmla="*/ 683 h 68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30" h="683">
                  <a:moveTo>
                    <a:pt x="0" y="531"/>
                  </a:moveTo>
                  <a:lnTo>
                    <a:pt x="685" y="531"/>
                  </a:lnTo>
                  <a:lnTo>
                    <a:pt x="1162" y="56"/>
                  </a:lnTo>
                  <a:lnTo>
                    <a:pt x="1098" y="0"/>
                  </a:lnTo>
                  <a:lnTo>
                    <a:pt x="1329" y="0"/>
                  </a:lnTo>
                  <a:lnTo>
                    <a:pt x="1329" y="222"/>
                  </a:lnTo>
                  <a:lnTo>
                    <a:pt x="1257" y="143"/>
                  </a:lnTo>
                  <a:lnTo>
                    <a:pt x="717" y="682"/>
                  </a:lnTo>
                  <a:lnTo>
                    <a:pt x="0" y="682"/>
                  </a:lnTo>
                  <a:lnTo>
                    <a:pt x="0" y="531"/>
                  </a:lnTo>
                </a:path>
              </a:pathLst>
            </a:custGeom>
            <a:solidFill>
              <a:schemeClr val="accent2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35" name="Freeform 3"/>
            <p:cNvSpPr>
              <a:spLocks/>
            </p:cNvSpPr>
            <p:nvPr/>
          </p:nvSpPr>
          <p:spPr bwMode="blackWhite">
            <a:xfrm>
              <a:off x="2381250" y="3348038"/>
              <a:ext cx="2195513" cy="1063625"/>
            </a:xfrm>
            <a:custGeom>
              <a:avLst/>
              <a:gdLst>
                <a:gd name="T0" fmla="*/ 0 w 1383"/>
                <a:gd name="T1" fmla="*/ 534 h 670"/>
                <a:gd name="T2" fmla="*/ 730 w 1383"/>
                <a:gd name="T3" fmla="*/ 534 h 670"/>
                <a:gd name="T4" fmla="*/ 1234 w 1383"/>
                <a:gd name="T5" fmla="*/ 48 h 670"/>
                <a:gd name="T6" fmla="*/ 1185 w 1383"/>
                <a:gd name="T7" fmla="*/ 0 h 670"/>
                <a:gd name="T8" fmla="*/ 1383 w 1383"/>
                <a:gd name="T9" fmla="*/ 0 h 670"/>
                <a:gd name="T10" fmla="*/ 1383 w 1383"/>
                <a:gd name="T11" fmla="*/ 192 h 670"/>
                <a:gd name="T12" fmla="*/ 1319 w 1383"/>
                <a:gd name="T13" fmla="*/ 131 h 670"/>
                <a:gd name="T14" fmla="*/ 772 w 1383"/>
                <a:gd name="T15" fmla="*/ 670 h 670"/>
                <a:gd name="T16" fmla="*/ 0 w 1383"/>
                <a:gd name="T17" fmla="*/ 670 h 670"/>
                <a:gd name="T18" fmla="*/ 0 w 1383"/>
                <a:gd name="T19" fmla="*/ 534 h 67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83"/>
                <a:gd name="T31" fmla="*/ 0 h 670"/>
                <a:gd name="T32" fmla="*/ 1383 w 1383"/>
                <a:gd name="T33" fmla="*/ 670 h 67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83" h="670">
                  <a:moveTo>
                    <a:pt x="0" y="534"/>
                  </a:moveTo>
                  <a:lnTo>
                    <a:pt x="730" y="534"/>
                  </a:lnTo>
                  <a:lnTo>
                    <a:pt x="1234" y="48"/>
                  </a:lnTo>
                  <a:lnTo>
                    <a:pt x="1185" y="0"/>
                  </a:lnTo>
                  <a:lnTo>
                    <a:pt x="1383" y="0"/>
                  </a:lnTo>
                  <a:lnTo>
                    <a:pt x="1383" y="192"/>
                  </a:lnTo>
                  <a:lnTo>
                    <a:pt x="1319" y="131"/>
                  </a:lnTo>
                  <a:lnTo>
                    <a:pt x="772" y="670"/>
                  </a:lnTo>
                  <a:lnTo>
                    <a:pt x="0" y="670"/>
                  </a:lnTo>
                  <a:lnTo>
                    <a:pt x="0" y="534"/>
                  </a:lnTo>
                </a:path>
              </a:pathLst>
            </a:custGeom>
            <a:solidFill>
              <a:schemeClr val="accent2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36" name="Freeform 4"/>
            <p:cNvSpPr>
              <a:spLocks/>
            </p:cNvSpPr>
            <p:nvPr/>
          </p:nvSpPr>
          <p:spPr bwMode="blackWhite">
            <a:xfrm>
              <a:off x="2381250" y="3656013"/>
              <a:ext cx="2513013" cy="1209675"/>
            </a:xfrm>
            <a:custGeom>
              <a:avLst/>
              <a:gdLst>
                <a:gd name="T0" fmla="*/ 0 w 1583"/>
                <a:gd name="T1" fmla="*/ 631 h 762"/>
                <a:gd name="T2" fmla="*/ 845 w 1583"/>
                <a:gd name="T3" fmla="*/ 631 h 762"/>
                <a:gd name="T4" fmla="*/ 1434 w 1583"/>
                <a:gd name="T5" fmla="*/ 48 h 762"/>
                <a:gd name="T6" fmla="*/ 1384 w 1583"/>
                <a:gd name="T7" fmla="*/ 0 h 762"/>
                <a:gd name="T8" fmla="*/ 1583 w 1583"/>
                <a:gd name="T9" fmla="*/ 0 h 762"/>
                <a:gd name="T10" fmla="*/ 1583 w 1583"/>
                <a:gd name="T11" fmla="*/ 192 h 762"/>
                <a:gd name="T12" fmla="*/ 1519 w 1583"/>
                <a:gd name="T13" fmla="*/ 131 h 762"/>
                <a:gd name="T14" fmla="*/ 873 w 1583"/>
                <a:gd name="T15" fmla="*/ 762 h 762"/>
                <a:gd name="T16" fmla="*/ 0 w 1583"/>
                <a:gd name="T17" fmla="*/ 762 h 762"/>
                <a:gd name="T18" fmla="*/ 0 w 1583"/>
                <a:gd name="T19" fmla="*/ 631 h 7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83"/>
                <a:gd name="T31" fmla="*/ 0 h 762"/>
                <a:gd name="T32" fmla="*/ 1583 w 1583"/>
                <a:gd name="T33" fmla="*/ 762 h 76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83" h="762">
                  <a:moveTo>
                    <a:pt x="0" y="631"/>
                  </a:moveTo>
                  <a:lnTo>
                    <a:pt x="845" y="631"/>
                  </a:lnTo>
                  <a:lnTo>
                    <a:pt x="1434" y="48"/>
                  </a:lnTo>
                  <a:lnTo>
                    <a:pt x="1384" y="0"/>
                  </a:lnTo>
                  <a:lnTo>
                    <a:pt x="1583" y="0"/>
                  </a:lnTo>
                  <a:lnTo>
                    <a:pt x="1583" y="192"/>
                  </a:lnTo>
                  <a:lnTo>
                    <a:pt x="1519" y="131"/>
                  </a:lnTo>
                  <a:lnTo>
                    <a:pt x="873" y="762"/>
                  </a:lnTo>
                  <a:lnTo>
                    <a:pt x="0" y="762"/>
                  </a:lnTo>
                  <a:lnTo>
                    <a:pt x="0" y="631"/>
                  </a:lnTo>
                </a:path>
              </a:pathLst>
            </a:custGeom>
            <a:solidFill>
              <a:schemeClr val="accent2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37" name="Freeform 5"/>
            <p:cNvSpPr>
              <a:spLocks/>
            </p:cNvSpPr>
            <p:nvPr/>
          </p:nvSpPr>
          <p:spPr bwMode="blackWhite">
            <a:xfrm>
              <a:off x="4710113" y="2570163"/>
              <a:ext cx="1881187" cy="955675"/>
            </a:xfrm>
            <a:custGeom>
              <a:avLst/>
              <a:gdLst>
                <a:gd name="T0" fmla="*/ 1184 w 1185"/>
                <a:gd name="T1" fmla="*/ 143 h 602"/>
                <a:gd name="T2" fmla="*/ 574 w 1185"/>
                <a:gd name="T3" fmla="*/ 143 h 602"/>
                <a:gd name="T4" fmla="*/ 149 w 1185"/>
                <a:gd name="T5" fmla="*/ 554 h 602"/>
                <a:gd name="T6" fmla="*/ 206 w 1185"/>
                <a:gd name="T7" fmla="*/ 602 h 602"/>
                <a:gd name="T8" fmla="*/ 0 w 1185"/>
                <a:gd name="T9" fmla="*/ 602 h 602"/>
                <a:gd name="T10" fmla="*/ 0 w 1185"/>
                <a:gd name="T11" fmla="*/ 410 h 602"/>
                <a:gd name="T12" fmla="*/ 64 w 1185"/>
                <a:gd name="T13" fmla="*/ 478 h 602"/>
                <a:gd name="T14" fmla="*/ 549 w 1185"/>
                <a:gd name="T15" fmla="*/ 0 h 602"/>
                <a:gd name="T16" fmla="*/ 1185 w 1185"/>
                <a:gd name="T17" fmla="*/ 1 h 602"/>
                <a:gd name="T18" fmla="*/ 1184 w 1185"/>
                <a:gd name="T19" fmla="*/ 143 h 6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5"/>
                <a:gd name="T31" fmla="*/ 0 h 602"/>
                <a:gd name="T32" fmla="*/ 1185 w 1185"/>
                <a:gd name="T33" fmla="*/ 602 h 6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5" h="602">
                  <a:moveTo>
                    <a:pt x="1184" y="143"/>
                  </a:moveTo>
                  <a:lnTo>
                    <a:pt x="574" y="143"/>
                  </a:lnTo>
                  <a:lnTo>
                    <a:pt x="149" y="554"/>
                  </a:lnTo>
                  <a:lnTo>
                    <a:pt x="206" y="602"/>
                  </a:lnTo>
                  <a:lnTo>
                    <a:pt x="0" y="602"/>
                  </a:lnTo>
                  <a:lnTo>
                    <a:pt x="0" y="410"/>
                  </a:lnTo>
                  <a:lnTo>
                    <a:pt x="64" y="478"/>
                  </a:lnTo>
                  <a:lnTo>
                    <a:pt x="549" y="0"/>
                  </a:lnTo>
                  <a:lnTo>
                    <a:pt x="1185" y="1"/>
                  </a:lnTo>
                  <a:lnTo>
                    <a:pt x="1184" y="143"/>
                  </a:lnTo>
                </a:path>
              </a:pathLst>
            </a:custGeom>
            <a:solidFill>
              <a:schemeClr val="accent1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38" name="Freeform 6"/>
            <p:cNvSpPr>
              <a:spLocks/>
            </p:cNvSpPr>
            <p:nvPr/>
          </p:nvSpPr>
          <p:spPr bwMode="blackWhite">
            <a:xfrm>
              <a:off x="4394200" y="2149475"/>
              <a:ext cx="2200275" cy="1068388"/>
            </a:xfrm>
            <a:custGeom>
              <a:avLst/>
              <a:gdLst>
                <a:gd name="T0" fmla="*/ 1383 w 1386"/>
                <a:gd name="T1" fmla="*/ 139 h 673"/>
                <a:gd name="T2" fmla="*/ 653 w 1386"/>
                <a:gd name="T3" fmla="*/ 139 h 673"/>
                <a:gd name="T4" fmla="*/ 149 w 1386"/>
                <a:gd name="T5" fmla="*/ 625 h 673"/>
                <a:gd name="T6" fmla="*/ 199 w 1386"/>
                <a:gd name="T7" fmla="*/ 673 h 673"/>
                <a:gd name="T8" fmla="*/ 0 w 1386"/>
                <a:gd name="T9" fmla="*/ 673 h 673"/>
                <a:gd name="T10" fmla="*/ 0 w 1386"/>
                <a:gd name="T11" fmla="*/ 481 h 673"/>
                <a:gd name="T12" fmla="*/ 64 w 1386"/>
                <a:gd name="T13" fmla="*/ 543 h 673"/>
                <a:gd name="T14" fmla="*/ 616 w 1386"/>
                <a:gd name="T15" fmla="*/ 1 h 673"/>
                <a:gd name="T16" fmla="*/ 1386 w 1386"/>
                <a:gd name="T17" fmla="*/ 0 h 673"/>
                <a:gd name="T18" fmla="*/ 1383 w 1386"/>
                <a:gd name="T19" fmla="*/ 139 h 6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86"/>
                <a:gd name="T31" fmla="*/ 0 h 673"/>
                <a:gd name="T32" fmla="*/ 1386 w 1386"/>
                <a:gd name="T33" fmla="*/ 673 h 6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86" h="673">
                  <a:moveTo>
                    <a:pt x="1383" y="139"/>
                  </a:moveTo>
                  <a:lnTo>
                    <a:pt x="653" y="139"/>
                  </a:lnTo>
                  <a:lnTo>
                    <a:pt x="149" y="625"/>
                  </a:lnTo>
                  <a:lnTo>
                    <a:pt x="199" y="673"/>
                  </a:lnTo>
                  <a:lnTo>
                    <a:pt x="0" y="673"/>
                  </a:lnTo>
                  <a:lnTo>
                    <a:pt x="0" y="481"/>
                  </a:lnTo>
                  <a:lnTo>
                    <a:pt x="64" y="543"/>
                  </a:lnTo>
                  <a:lnTo>
                    <a:pt x="616" y="1"/>
                  </a:lnTo>
                  <a:lnTo>
                    <a:pt x="1386" y="0"/>
                  </a:lnTo>
                  <a:lnTo>
                    <a:pt x="1383" y="139"/>
                  </a:lnTo>
                </a:path>
              </a:pathLst>
            </a:custGeom>
            <a:solidFill>
              <a:schemeClr val="accent1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39" name="Freeform 7"/>
            <p:cNvSpPr>
              <a:spLocks/>
            </p:cNvSpPr>
            <p:nvPr/>
          </p:nvSpPr>
          <p:spPr bwMode="blackWhite">
            <a:xfrm>
              <a:off x="4076700" y="1687513"/>
              <a:ext cx="2514600" cy="1222375"/>
            </a:xfrm>
            <a:custGeom>
              <a:avLst/>
              <a:gdLst>
                <a:gd name="T0" fmla="*/ 1583 w 1584"/>
                <a:gd name="T1" fmla="*/ 139 h 770"/>
                <a:gd name="T2" fmla="*/ 739 w 1584"/>
                <a:gd name="T3" fmla="*/ 139 h 770"/>
                <a:gd name="T4" fmla="*/ 149 w 1584"/>
                <a:gd name="T5" fmla="*/ 722 h 770"/>
                <a:gd name="T6" fmla="*/ 199 w 1584"/>
                <a:gd name="T7" fmla="*/ 770 h 770"/>
                <a:gd name="T8" fmla="*/ 0 w 1584"/>
                <a:gd name="T9" fmla="*/ 770 h 770"/>
                <a:gd name="T10" fmla="*/ 0 w 1584"/>
                <a:gd name="T11" fmla="*/ 578 h 770"/>
                <a:gd name="T12" fmla="*/ 64 w 1584"/>
                <a:gd name="T13" fmla="*/ 640 h 770"/>
                <a:gd name="T14" fmla="*/ 720 w 1584"/>
                <a:gd name="T15" fmla="*/ 0 h 770"/>
                <a:gd name="T16" fmla="*/ 1584 w 1584"/>
                <a:gd name="T17" fmla="*/ 4 h 770"/>
                <a:gd name="T18" fmla="*/ 1583 w 1584"/>
                <a:gd name="T19" fmla="*/ 139 h 77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84"/>
                <a:gd name="T31" fmla="*/ 0 h 770"/>
                <a:gd name="T32" fmla="*/ 1584 w 1584"/>
                <a:gd name="T33" fmla="*/ 770 h 77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84" h="770">
                  <a:moveTo>
                    <a:pt x="1583" y="139"/>
                  </a:moveTo>
                  <a:lnTo>
                    <a:pt x="739" y="139"/>
                  </a:lnTo>
                  <a:lnTo>
                    <a:pt x="149" y="722"/>
                  </a:lnTo>
                  <a:lnTo>
                    <a:pt x="199" y="770"/>
                  </a:lnTo>
                  <a:lnTo>
                    <a:pt x="0" y="770"/>
                  </a:lnTo>
                  <a:lnTo>
                    <a:pt x="0" y="578"/>
                  </a:lnTo>
                  <a:lnTo>
                    <a:pt x="64" y="640"/>
                  </a:lnTo>
                  <a:lnTo>
                    <a:pt x="720" y="0"/>
                  </a:lnTo>
                  <a:lnTo>
                    <a:pt x="1584" y="4"/>
                  </a:lnTo>
                  <a:lnTo>
                    <a:pt x="1583" y="139"/>
                  </a:lnTo>
                </a:path>
              </a:pathLst>
            </a:custGeom>
            <a:solidFill>
              <a:schemeClr val="accent1"/>
            </a:solidFill>
            <a:ln w="12700" cap="rnd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a-ES" sz="1187"/>
            </a:p>
          </p:txBody>
        </p:sp>
        <p:sp>
          <p:nvSpPr>
            <p:cNvPr id="140" name="Rectangle 8"/>
            <p:cNvSpPr>
              <a:spLocks noChangeArrowheads="1"/>
            </p:cNvSpPr>
            <p:nvPr/>
          </p:nvSpPr>
          <p:spPr bwMode="auto">
            <a:xfrm>
              <a:off x="6680201" y="1685597"/>
              <a:ext cx="491539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41" name="Rectangle 9"/>
            <p:cNvSpPr>
              <a:spLocks noChangeArrowheads="1"/>
            </p:cNvSpPr>
            <p:nvPr/>
          </p:nvSpPr>
          <p:spPr bwMode="auto">
            <a:xfrm>
              <a:off x="6680201" y="2150735"/>
              <a:ext cx="491539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42" name="Rectangle 10"/>
            <p:cNvSpPr>
              <a:spLocks noChangeArrowheads="1"/>
            </p:cNvSpPr>
            <p:nvPr/>
          </p:nvSpPr>
          <p:spPr bwMode="auto">
            <a:xfrm>
              <a:off x="6680201" y="2585711"/>
              <a:ext cx="491539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43" name="Rectangle 11"/>
            <p:cNvSpPr>
              <a:spLocks noChangeArrowheads="1"/>
            </p:cNvSpPr>
            <p:nvPr/>
          </p:nvSpPr>
          <p:spPr bwMode="auto">
            <a:xfrm>
              <a:off x="1765889" y="3765222"/>
              <a:ext cx="491538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algn="r"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44" name="Rectangle 12"/>
            <p:cNvSpPr>
              <a:spLocks noChangeArrowheads="1"/>
            </p:cNvSpPr>
            <p:nvPr/>
          </p:nvSpPr>
          <p:spPr bwMode="auto">
            <a:xfrm>
              <a:off x="1765889" y="4200197"/>
              <a:ext cx="491538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algn="r"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145" name="Rectangle 13"/>
            <p:cNvSpPr>
              <a:spLocks noChangeArrowheads="1"/>
            </p:cNvSpPr>
            <p:nvPr/>
          </p:nvSpPr>
          <p:spPr bwMode="auto">
            <a:xfrm>
              <a:off x="1765889" y="4666922"/>
              <a:ext cx="491538" cy="232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0">
              <a:spAutoFit/>
            </a:bodyPr>
            <a:lstStyle/>
            <a:p>
              <a:pPr algn="r"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</p:grpSp>
      <p:grpSp>
        <p:nvGrpSpPr>
          <p:cNvPr id="146" name="145 Grupo"/>
          <p:cNvGrpSpPr/>
          <p:nvPr/>
        </p:nvGrpSpPr>
        <p:grpSpPr>
          <a:xfrm>
            <a:off x="104685" y="5411987"/>
            <a:ext cx="6173863" cy="1487236"/>
            <a:chOff x="560512" y="3831008"/>
            <a:chExt cx="7927975" cy="1909788"/>
          </a:xfrm>
        </p:grpSpPr>
        <p:sp>
          <p:nvSpPr>
            <p:cNvPr id="147" name="Rectangle 5"/>
            <p:cNvSpPr>
              <a:spLocks noChangeArrowheads="1"/>
            </p:cNvSpPr>
            <p:nvPr/>
          </p:nvSpPr>
          <p:spPr bwMode="auto">
            <a:xfrm>
              <a:off x="576388" y="5506214"/>
              <a:ext cx="1955801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>
              <a:spAutoFit/>
            </a:bodyPr>
            <a:lstStyle/>
            <a:p>
              <a:pPr marL="193613" lvl="1" indent="-191900" defTabSz="966351">
                <a:buSzPct val="120000"/>
                <a:buFontTx/>
                <a:buChar char="•"/>
              </a:pPr>
              <a:r>
                <a:rPr lang="en-US" altLang="ko-KR" sz="1187">
                  <a:ea typeface="Gulim" pitchFamily="34" charset="-127"/>
                </a:rPr>
                <a:t>Texto</a:t>
              </a:r>
              <a:endParaRPr lang="en-US" altLang="ko-KR" sz="1187" dirty="0">
                <a:ea typeface="Gulim" pitchFamily="34" charset="-127"/>
              </a:endParaRPr>
            </a:p>
          </p:txBody>
        </p:sp>
        <p:sp>
          <p:nvSpPr>
            <p:cNvPr id="148" name="Rectangle 6"/>
            <p:cNvSpPr>
              <a:spLocks noChangeArrowheads="1"/>
            </p:cNvSpPr>
            <p:nvPr/>
          </p:nvSpPr>
          <p:spPr bwMode="auto">
            <a:xfrm>
              <a:off x="2649661" y="5058537"/>
              <a:ext cx="1824038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>
              <a:spAutoFit/>
            </a:bodyPr>
            <a:lstStyle/>
            <a:p>
              <a:pPr marL="193613" lvl="1" indent="-191900" defTabSz="966351">
                <a:buSzPct val="120000"/>
                <a:buFontTx/>
                <a:buChar char="•"/>
              </a:pPr>
              <a:r>
                <a:rPr lang="en-US" altLang="ko-KR" sz="1187">
                  <a:ea typeface="Gulim" pitchFamily="34" charset="-127"/>
                </a:rPr>
                <a:t>Texto</a:t>
              </a:r>
              <a:endParaRPr lang="en-US" altLang="ko-KR" sz="1187" dirty="0">
                <a:ea typeface="Gulim" pitchFamily="34" charset="-127"/>
              </a:endParaRPr>
            </a:p>
          </p:txBody>
        </p:sp>
        <p:sp>
          <p:nvSpPr>
            <p:cNvPr id="149" name="Rectangle 7"/>
            <p:cNvSpPr>
              <a:spLocks noChangeArrowheads="1"/>
            </p:cNvSpPr>
            <p:nvPr/>
          </p:nvSpPr>
          <p:spPr bwMode="auto">
            <a:xfrm>
              <a:off x="4654675" y="4639437"/>
              <a:ext cx="1866900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>
              <a:spAutoFit/>
            </a:bodyPr>
            <a:lstStyle/>
            <a:p>
              <a:pPr marL="193613" lvl="1" indent="-191900" defTabSz="966351">
                <a:buSzPct val="120000"/>
                <a:buFontTx/>
                <a:buChar char="•"/>
              </a:pPr>
              <a:r>
                <a:rPr lang="en-US" altLang="ko-KR" sz="1187">
                  <a:ea typeface="Gulim" pitchFamily="34" charset="-127"/>
                </a:rPr>
                <a:t>Texto</a:t>
              </a:r>
              <a:endParaRPr lang="en-US" altLang="ko-KR" sz="1187" dirty="0">
                <a:ea typeface="Gulim" pitchFamily="34" charset="-127"/>
              </a:endParaRPr>
            </a:p>
          </p:txBody>
        </p:sp>
        <p:sp>
          <p:nvSpPr>
            <p:cNvPr id="150" name="Freeform 8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001962" y="4949002"/>
              <a:ext cx="581025" cy="447675"/>
            </a:xfrm>
            <a:custGeom>
              <a:avLst/>
              <a:gdLst>
                <a:gd name="T0" fmla="*/ 0 w 384"/>
                <a:gd name="T1" fmla="*/ 295 h 295"/>
                <a:gd name="T2" fmla="*/ 0 w 384"/>
                <a:gd name="T3" fmla="*/ 103 h 295"/>
                <a:gd name="T4" fmla="*/ 384 w 384"/>
                <a:gd name="T5" fmla="*/ 0 h 295"/>
                <a:gd name="T6" fmla="*/ 384 w 384"/>
                <a:gd name="T7" fmla="*/ 295 h 295"/>
                <a:gd name="T8" fmla="*/ 0 w 384"/>
                <a:gd name="T9" fmla="*/ 295 h 29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4"/>
                <a:gd name="T16" fmla="*/ 0 h 295"/>
                <a:gd name="T17" fmla="*/ 384 w 384"/>
                <a:gd name="T18" fmla="*/ 295 h 29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4" h="295">
                  <a:moveTo>
                    <a:pt x="0" y="295"/>
                  </a:moveTo>
                  <a:lnTo>
                    <a:pt x="0" y="103"/>
                  </a:lnTo>
                  <a:lnTo>
                    <a:pt x="384" y="0"/>
                  </a:lnTo>
                  <a:lnTo>
                    <a:pt x="384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151" name="Freeform 9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021262" y="4549269"/>
              <a:ext cx="584200" cy="387350"/>
            </a:xfrm>
            <a:custGeom>
              <a:avLst/>
              <a:gdLst>
                <a:gd name="T0" fmla="*/ 0 w 384"/>
                <a:gd name="T1" fmla="*/ 295 h 295"/>
                <a:gd name="T2" fmla="*/ 0 w 384"/>
                <a:gd name="T3" fmla="*/ 103 h 295"/>
                <a:gd name="T4" fmla="*/ 384 w 384"/>
                <a:gd name="T5" fmla="*/ 0 h 295"/>
                <a:gd name="T6" fmla="*/ 384 w 384"/>
                <a:gd name="T7" fmla="*/ 295 h 295"/>
                <a:gd name="T8" fmla="*/ 0 w 384"/>
                <a:gd name="T9" fmla="*/ 295 h 29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4"/>
                <a:gd name="T16" fmla="*/ 0 h 295"/>
                <a:gd name="T17" fmla="*/ 384 w 384"/>
                <a:gd name="T18" fmla="*/ 295 h 29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4" h="295">
                  <a:moveTo>
                    <a:pt x="0" y="295"/>
                  </a:moveTo>
                  <a:lnTo>
                    <a:pt x="0" y="103"/>
                  </a:lnTo>
                  <a:lnTo>
                    <a:pt x="384" y="0"/>
                  </a:lnTo>
                  <a:lnTo>
                    <a:pt x="384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152" name="Freeform 1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048501" y="4102894"/>
              <a:ext cx="579437" cy="446058"/>
            </a:xfrm>
            <a:custGeom>
              <a:avLst/>
              <a:gdLst>
                <a:gd name="T0" fmla="*/ 0 w 384"/>
                <a:gd name="T1" fmla="*/ 295 h 295"/>
                <a:gd name="T2" fmla="*/ 0 w 384"/>
                <a:gd name="T3" fmla="*/ 103 h 295"/>
                <a:gd name="T4" fmla="*/ 384 w 384"/>
                <a:gd name="T5" fmla="*/ 0 h 295"/>
                <a:gd name="T6" fmla="*/ 384 w 384"/>
                <a:gd name="T7" fmla="*/ 295 h 295"/>
                <a:gd name="T8" fmla="*/ 0 w 384"/>
                <a:gd name="T9" fmla="*/ 295 h 29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4"/>
                <a:gd name="T16" fmla="*/ 0 h 295"/>
                <a:gd name="T17" fmla="*/ 384 w 384"/>
                <a:gd name="T18" fmla="*/ 295 h 29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4" h="295">
                  <a:moveTo>
                    <a:pt x="0" y="295"/>
                  </a:moveTo>
                  <a:lnTo>
                    <a:pt x="0" y="103"/>
                  </a:lnTo>
                  <a:lnTo>
                    <a:pt x="384" y="0"/>
                  </a:lnTo>
                  <a:lnTo>
                    <a:pt x="384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chemeClr val="accent1"/>
            </a:solidFill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153" name="Freeform 1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560512" y="4102864"/>
              <a:ext cx="7927975" cy="1295400"/>
            </a:xfrm>
            <a:custGeom>
              <a:avLst/>
              <a:gdLst>
                <a:gd name="T0" fmla="*/ 0 w 4704"/>
                <a:gd name="T1" fmla="*/ 960 h 960"/>
                <a:gd name="T2" fmla="*/ 1200 w 4704"/>
                <a:gd name="T3" fmla="*/ 960 h 960"/>
                <a:gd name="T4" fmla="*/ 1200 w 4704"/>
                <a:gd name="T5" fmla="*/ 624 h 960"/>
                <a:gd name="T6" fmla="*/ 2400 w 4704"/>
                <a:gd name="T7" fmla="*/ 624 h 960"/>
                <a:gd name="T8" fmla="*/ 2400 w 4704"/>
                <a:gd name="T9" fmla="*/ 336 h 960"/>
                <a:gd name="T10" fmla="*/ 3600 w 4704"/>
                <a:gd name="T11" fmla="*/ 336 h 960"/>
                <a:gd name="T12" fmla="*/ 3600 w 4704"/>
                <a:gd name="T13" fmla="*/ 0 h 960"/>
                <a:gd name="T14" fmla="*/ 4704 w 4704"/>
                <a:gd name="T15" fmla="*/ 0 h 96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704"/>
                <a:gd name="T25" fmla="*/ 0 h 960"/>
                <a:gd name="T26" fmla="*/ 4704 w 4704"/>
                <a:gd name="T27" fmla="*/ 960 h 96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704" h="960">
                  <a:moveTo>
                    <a:pt x="0" y="960"/>
                  </a:moveTo>
                  <a:lnTo>
                    <a:pt x="1200" y="960"/>
                  </a:lnTo>
                  <a:lnTo>
                    <a:pt x="1200" y="624"/>
                  </a:lnTo>
                  <a:lnTo>
                    <a:pt x="2400" y="624"/>
                  </a:lnTo>
                  <a:lnTo>
                    <a:pt x="2400" y="336"/>
                  </a:lnTo>
                  <a:lnTo>
                    <a:pt x="3600" y="336"/>
                  </a:lnTo>
                  <a:lnTo>
                    <a:pt x="3600" y="0"/>
                  </a:lnTo>
                  <a:lnTo>
                    <a:pt x="4704" y="0"/>
                  </a:lnTo>
                </a:path>
              </a:pathLst>
            </a:custGeom>
            <a:noFill/>
            <a:ln w="127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154" name="Rectangle 12"/>
            <p:cNvSpPr>
              <a:spLocks noChangeArrowheads="1"/>
            </p:cNvSpPr>
            <p:nvPr/>
          </p:nvSpPr>
          <p:spPr bwMode="auto">
            <a:xfrm>
              <a:off x="6699375" y="4188588"/>
              <a:ext cx="1757361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>
              <a:spAutoFit/>
            </a:bodyPr>
            <a:lstStyle/>
            <a:p>
              <a:pPr marL="193613" lvl="1" indent="-191900" defTabSz="966351">
                <a:buSzPct val="120000"/>
                <a:buFontTx/>
                <a:buChar char="•"/>
              </a:pPr>
              <a:r>
                <a:rPr lang="en-US" altLang="ko-KR" sz="1187">
                  <a:ea typeface="Gulim" pitchFamily="34" charset="-127"/>
                </a:rPr>
                <a:t>Texto</a:t>
              </a:r>
              <a:endParaRPr lang="en-US" altLang="ko-KR" sz="1187" dirty="0">
                <a:ea typeface="Gulim" pitchFamily="34" charset="-127"/>
              </a:endParaRPr>
            </a:p>
          </p:txBody>
        </p:sp>
        <p:sp>
          <p:nvSpPr>
            <p:cNvPr id="155" name="Rectangle 13"/>
            <p:cNvSpPr>
              <a:spLocks noChangeArrowheads="1"/>
            </p:cNvSpPr>
            <p:nvPr/>
          </p:nvSpPr>
          <p:spPr bwMode="auto">
            <a:xfrm>
              <a:off x="576388" y="5130825"/>
              <a:ext cx="1317626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 anchor="b">
              <a:spAutoFit/>
            </a:bodyPr>
            <a:lstStyle/>
            <a:p>
              <a:pPr defTabSz="966351">
                <a:buSzPct val="120000"/>
              </a:pPr>
              <a:r>
                <a:rPr lang="en-US" altLang="ko-KR" sz="1187" b="1">
                  <a:solidFill>
                    <a:schemeClr val="accent1"/>
                  </a:solidFill>
                  <a:ea typeface="Gulim" pitchFamily="34" charset="-127"/>
                </a:rPr>
                <a:t>Texto</a:t>
              </a:r>
              <a:endParaRPr lang="en-US" altLang="ko-KR" sz="1187" b="1" dirty="0">
                <a:solidFill>
                  <a:schemeClr val="accent1"/>
                </a:solidFill>
                <a:ea typeface="Gulim" pitchFamily="34" charset="-127"/>
              </a:endParaRPr>
            </a:p>
          </p:txBody>
        </p:sp>
        <p:sp>
          <p:nvSpPr>
            <p:cNvPr id="156" name="Rectangle 14"/>
            <p:cNvSpPr>
              <a:spLocks noChangeArrowheads="1"/>
            </p:cNvSpPr>
            <p:nvPr/>
          </p:nvSpPr>
          <p:spPr bwMode="auto">
            <a:xfrm>
              <a:off x="2649661" y="4666033"/>
              <a:ext cx="1317626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 anchor="b">
              <a:spAutoFit/>
            </a:bodyPr>
            <a:lstStyle/>
            <a:p>
              <a:pPr defTabSz="966351">
                <a:buSzPct val="120000"/>
              </a:pPr>
              <a:r>
                <a:rPr lang="en-US" altLang="ko-KR" sz="1187" b="1">
                  <a:solidFill>
                    <a:schemeClr val="accent1"/>
                  </a:solidFill>
                  <a:ea typeface="Gulim" pitchFamily="34" charset="-127"/>
                </a:rPr>
                <a:t>Texto</a:t>
              </a:r>
              <a:endParaRPr lang="en-US" altLang="ko-KR" sz="1187" b="1" dirty="0">
                <a:solidFill>
                  <a:schemeClr val="accent1"/>
                </a:solidFill>
                <a:ea typeface="Gulim" pitchFamily="34" charset="-127"/>
              </a:endParaRPr>
            </a:p>
          </p:txBody>
        </p:sp>
        <p:sp>
          <p:nvSpPr>
            <p:cNvPr id="157" name="Rectangle 15"/>
            <p:cNvSpPr>
              <a:spLocks noChangeArrowheads="1"/>
            </p:cNvSpPr>
            <p:nvPr/>
          </p:nvSpPr>
          <p:spPr bwMode="auto">
            <a:xfrm>
              <a:off x="4654675" y="4294214"/>
              <a:ext cx="1317626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 anchor="b">
              <a:spAutoFit/>
            </a:bodyPr>
            <a:lstStyle/>
            <a:p>
              <a:pPr defTabSz="966351">
                <a:buSzPct val="120000"/>
              </a:pPr>
              <a:r>
                <a:rPr lang="en-US" altLang="ko-KR" sz="1187" b="1">
                  <a:solidFill>
                    <a:schemeClr val="accent1"/>
                  </a:solidFill>
                  <a:ea typeface="Gulim" pitchFamily="34" charset="-127"/>
                </a:rPr>
                <a:t>Texto</a:t>
              </a:r>
              <a:endParaRPr lang="en-US" altLang="ko-KR" sz="1187" b="1" dirty="0">
                <a:solidFill>
                  <a:schemeClr val="accent1"/>
                </a:solidFill>
                <a:ea typeface="Gulim" pitchFamily="34" charset="-127"/>
              </a:endParaRPr>
            </a:p>
          </p:txBody>
        </p:sp>
        <p:sp>
          <p:nvSpPr>
            <p:cNvPr id="158" name="Rectangle 16"/>
            <p:cNvSpPr>
              <a:spLocks noChangeArrowheads="1"/>
            </p:cNvSpPr>
            <p:nvPr/>
          </p:nvSpPr>
          <p:spPr bwMode="auto">
            <a:xfrm>
              <a:off x="6699375" y="3831008"/>
              <a:ext cx="1317626" cy="234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112" tIns="0" rIns="4112" bIns="0" anchor="b">
              <a:spAutoFit/>
            </a:bodyPr>
            <a:lstStyle/>
            <a:p>
              <a:pPr defTabSz="966351">
                <a:buSzPct val="120000"/>
              </a:pPr>
              <a:r>
                <a:rPr lang="en-US" altLang="ko-KR" sz="1187" b="1">
                  <a:solidFill>
                    <a:schemeClr val="accent1"/>
                  </a:solidFill>
                  <a:ea typeface="Gulim" pitchFamily="34" charset="-127"/>
                </a:rPr>
                <a:t>Texto</a:t>
              </a:r>
              <a:endParaRPr lang="en-US" altLang="ko-KR" sz="1187" b="1" dirty="0">
                <a:solidFill>
                  <a:schemeClr val="accent1"/>
                </a:solidFill>
                <a:ea typeface="Gulim" pitchFamily="34" charset="-127"/>
              </a:endParaRPr>
            </a:p>
          </p:txBody>
        </p:sp>
      </p:grpSp>
      <p:sp>
        <p:nvSpPr>
          <p:cNvPr id="75" name="Título 7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6" name="Espaço Reservado para Texto 7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293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30 Grupo"/>
          <p:cNvGrpSpPr/>
          <p:nvPr/>
        </p:nvGrpSpPr>
        <p:grpSpPr>
          <a:xfrm>
            <a:off x="329051" y="139687"/>
            <a:ext cx="5069278" cy="3241109"/>
            <a:chOff x="2026826" y="1362206"/>
            <a:chExt cx="7374648" cy="4715077"/>
          </a:xfrm>
        </p:grpSpPr>
        <p:grpSp>
          <p:nvGrpSpPr>
            <p:cNvPr id="29" name="28 Grupo"/>
            <p:cNvGrpSpPr/>
            <p:nvPr/>
          </p:nvGrpSpPr>
          <p:grpSpPr>
            <a:xfrm>
              <a:off x="2026826" y="1362206"/>
              <a:ext cx="5590879" cy="4715077"/>
              <a:chOff x="2026826" y="1362206"/>
              <a:chExt cx="5590879" cy="4715077"/>
            </a:xfrm>
          </p:grpSpPr>
          <p:grpSp>
            <p:nvGrpSpPr>
              <p:cNvPr id="2" name="30 Grupo"/>
              <p:cNvGrpSpPr/>
              <p:nvPr/>
            </p:nvGrpSpPr>
            <p:grpSpPr>
              <a:xfrm>
                <a:off x="2026826" y="1362206"/>
                <a:ext cx="5403113" cy="4715077"/>
                <a:chOff x="2026826" y="1362206"/>
                <a:chExt cx="5403113" cy="4715077"/>
              </a:xfrm>
            </p:grpSpPr>
            <p:sp>
              <p:nvSpPr>
                <p:cNvPr id="179203" name="Freeform 2"/>
                <p:cNvSpPr>
                  <a:spLocks/>
                </p:cNvSpPr>
                <p:nvPr/>
              </p:nvSpPr>
              <p:spPr bwMode="blackWhite">
                <a:xfrm>
                  <a:off x="2044375" y="3749711"/>
                  <a:ext cx="5385564" cy="1912918"/>
                </a:xfrm>
                <a:custGeom>
                  <a:avLst/>
                  <a:gdLst>
                    <a:gd name="T0" fmla="*/ 0 w 2503"/>
                    <a:gd name="T1" fmla="*/ 56 h 992"/>
                    <a:gd name="T2" fmla="*/ 72 w 2503"/>
                    <a:gd name="T3" fmla="*/ 0 h 992"/>
                    <a:gd name="T4" fmla="*/ 2463 w 2503"/>
                    <a:gd name="T5" fmla="*/ 32 h 992"/>
                    <a:gd name="T6" fmla="*/ 2502 w 2503"/>
                    <a:gd name="T7" fmla="*/ 64 h 992"/>
                    <a:gd name="T8" fmla="*/ 1255 w 2503"/>
                    <a:gd name="T9" fmla="*/ 991 h 992"/>
                    <a:gd name="T10" fmla="*/ 0 w 2503"/>
                    <a:gd name="T11" fmla="*/ 56 h 99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503"/>
                    <a:gd name="T19" fmla="*/ 0 h 992"/>
                    <a:gd name="T20" fmla="*/ 2503 w 2503"/>
                    <a:gd name="T21" fmla="*/ 992 h 99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503" h="992">
                      <a:moveTo>
                        <a:pt x="0" y="56"/>
                      </a:moveTo>
                      <a:lnTo>
                        <a:pt x="72" y="0"/>
                      </a:lnTo>
                      <a:lnTo>
                        <a:pt x="2463" y="32"/>
                      </a:lnTo>
                      <a:lnTo>
                        <a:pt x="2502" y="64"/>
                      </a:lnTo>
                      <a:lnTo>
                        <a:pt x="1255" y="991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chemeClr val="accent4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4" name="Freeform 3"/>
                <p:cNvSpPr>
                  <a:spLocks/>
                </p:cNvSpPr>
                <p:nvPr/>
              </p:nvSpPr>
              <p:spPr bwMode="blackWhite">
                <a:xfrm>
                  <a:off x="2047885" y="3863092"/>
                  <a:ext cx="2698924" cy="2214191"/>
                </a:xfrm>
                <a:custGeom>
                  <a:avLst/>
                  <a:gdLst>
                    <a:gd name="T0" fmla="*/ 1254 w 1255"/>
                    <a:gd name="T1" fmla="*/ 933 h 1149"/>
                    <a:gd name="T2" fmla="*/ 1254 w 1255"/>
                    <a:gd name="T3" fmla="*/ 1148 h 1149"/>
                    <a:gd name="T4" fmla="*/ 0 w 1255"/>
                    <a:gd name="T5" fmla="*/ 178 h 1149"/>
                    <a:gd name="T6" fmla="*/ 0 w 1255"/>
                    <a:gd name="T7" fmla="*/ 0 h 1149"/>
                    <a:gd name="T8" fmla="*/ 1254 w 1255"/>
                    <a:gd name="T9" fmla="*/ 933 h 11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55"/>
                    <a:gd name="T16" fmla="*/ 0 h 1149"/>
                    <a:gd name="T17" fmla="*/ 1255 w 1255"/>
                    <a:gd name="T18" fmla="*/ 1149 h 114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55" h="1149">
                      <a:moveTo>
                        <a:pt x="1254" y="933"/>
                      </a:moveTo>
                      <a:lnTo>
                        <a:pt x="1254" y="1148"/>
                      </a:lnTo>
                      <a:lnTo>
                        <a:pt x="0" y="178"/>
                      </a:lnTo>
                      <a:lnTo>
                        <a:pt x="0" y="0"/>
                      </a:lnTo>
                      <a:lnTo>
                        <a:pt x="1254" y="933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5" name="Freeform 4"/>
                <p:cNvSpPr>
                  <a:spLocks/>
                </p:cNvSpPr>
                <p:nvPr/>
              </p:nvSpPr>
              <p:spPr bwMode="blackWhite">
                <a:xfrm>
                  <a:off x="2026826" y="3317238"/>
                  <a:ext cx="5403112" cy="1818974"/>
                </a:xfrm>
                <a:custGeom>
                  <a:avLst/>
                  <a:gdLst>
                    <a:gd name="T0" fmla="*/ 0 w 2511"/>
                    <a:gd name="T1" fmla="*/ 40 h 944"/>
                    <a:gd name="T2" fmla="*/ 56 w 2511"/>
                    <a:gd name="T3" fmla="*/ 0 h 944"/>
                    <a:gd name="T4" fmla="*/ 2463 w 2511"/>
                    <a:gd name="T5" fmla="*/ 24 h 944"/>
                    <a:gd name="T6" fmla="*/ 2510 w 2511"/>
                    <a:gd name="T7" fmla="*/ 56 h 944"/>
                    <a:gd name="T8" fmla="*/ 1263 w 2511"/>
                    <a:gd name="T9" fmla="*/ 943 h 944"/>
                    <a:gd name="T10" fmla="*/ 0 w 2511"/>
                    <a:gd name="T11" fmla="*/ 40 h 94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511"/>
                    <a:gd name="T19" fmla="*/ 0 h 944"/>
                    <a:gd name="T20" fmla="*/ 2511 w 2511"/>
                    <a:gd name="T21" fmla="*/ 944 h 94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511" h="944">
                      <a:moveTo>
                        <a:pt x="0" y="40"/>
                      </a:moveTo>
                      <a:lnTo>
                        <a:pt x="56" y="0"/>
                      </a:lnTo>
                      <a:lnTo>
                        <a:pt x="2463" y="24"/>
                      </a:lnTo>
                      <a:lnTo>
                        <a:pt x="2510" y="56"/>
                      </a:lnTo>
                      <a:lnTo>
                        <a:pt x="1263" y="943"/>
                      </a:lnTo>
                      <a:lnTo>
                        <a:pt x="0" y="40"/>
                      </a:lnTo>
                    </a:path>
                  </a:pathLst>
                </a:custGeom>
                <a:solidFill>
                  <a:schemeClr val="accent4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6" name="Freeform 5"/>
                <p:cNvSpPr>
                  <a:spLocks/>
                </p:cNvSpPr>
                <p:nvPr/>
              </p:nvSpPr>
              <p:spPr bwMode="blackWhite">
                <a:xfrm>
                  <a:off x="2044374" y="2978712"/>
                  <a:ext cx="1361746" cy="1188893"/>
                </a:xfrm>
                <a:custGeom>
                  <a:avLst/>
                  <a:gdLst>
                    <a:gd name="T0" fmla="*/ 0 w 633"/>
                    <a:gd name="T1" fmla="*/ 0 h 617"/>
                    <a:gd name="T2" fmla="*/ 0 w 633"/>
                    <a:gd name="T3" fmla="*/ 168 h 617"/>
                    <a:gd name="T4" fmla="*/ 632 w 633"/>
                    <a:gd name="T5" fmla="*/ 616 h 617"/>
                    <a:gd name="T6" fmla="*/ 632 w 633"/>
                    <a:gd name="T7" fmla="*/ 424 h 617"/>
                    <a:gd name="T8" fmla="*/ 0 w 633"/>
                    <a:gd name="T9" fmla="*/ 0 h 6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33"/>
                    <a:gd name="T16" fmla="*/ 0 h 617"/>
                    <a:gd name="T17" fmla="*/ 633 w 633"/>
                    <a:gd name="T18" fmla="*/ 617 h 6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33" h="617">
                      <a:moveTo>
                        <a:pt x="0" y="0"/>
                      </a:moveTo>
                      <a:lnTo>
                        <a:pt x="0" y="168"/>
                      </a:lnTo>
                      <a:lnTo>
                        <a:pt x="632" y="616"/>
                      </a:lnTo>
                      <a:lnTo>
                        <a:pt x="632" y="42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7" name="Freeform 6"/>
                <p:cNvSpPr>
                  <a:spLocks/>
                </p:cNvSpPr>
                <p:nvPr/>
              </p:nvSpPr>
              <p:spPr bwMode="blackWhite">
                <a:xfrm>
                  <a:off x="4743299" y="3790203"/>
                  <a:ext cx="1326649" cy="1234246"/>
                </a:xfrm>
                <a:custGeom>
                  <a:avLst/>
                  <a:gdLst>
                    <a:gd name="T0" fmla="*/ 0 w 617"/>
                    <a:gd name="T1" fmla="*/ 416 h 640"/>
                    <a:gd name="T2" fmla="*/ 0 w 617"/>
                    <a:gd name="T3" fmla="*/ 639 h 640"/>
                    <a:gd name="T4" fmla="*/ 616 w 617"/>
                    <a:gd name="T5" fmla="*/ 200 h 640"/>
                    <a:gd name="T6" fmla="*/ 616 w 617"/>
                    <a:gd name="T7" fmla="*/ 0 h 640"/>
                    <a:gd name="T8" fmla="*/ 0 w 617"/>
                    <a:gd name="T9" fmla="*/ 416 h 6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7"/>
                    <a:gd name="T16" fmla="*/ 0 h 640"/>
                    <a:gd name="T17" fmla="*/ 617 w 617"/>
                    <a:gd name="T18" fmla="*/ 640 h 6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7" h="640">
                      <a:moveTo>
                        <a:pt x="0" y="416"/>
                      </a:moveTo>
                      <a:lnTo>
                        <a:pt x="0" y="639"/>
                      </a:lnTo>
                      <a:lnTo>
                        <a:pt x="616" y="200"/>
                      </a:lnTo>
                      <a:lnTo>
                        <a:pt x="616" y="0"/>
                      </a:lnTo>
                      <a:lnTo>
                        <a:pt x="0" y="416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8" name="Freeform 7"/>
                <p:cNvSpPr>
                  <a:spLocks/>
                </p:cNvSpPr>
                <p:nvPr/>
              </p:nvSpPr>
              <p:spPr bwMode="blackWhite">
                <a:xfrm>
                  <a:off x="6068192" y="2978711"/>
                  <a:ext cx="1361746" cy="1203470"/>
                </a:xfrm>
                <a:custGeom>
                  <a:avLst/>
                  <a:gdLst>
                    <a:gd name="T0" fmla="*/ 0 w 632"/>
                    <a:gd name="T1" fmla="*/ 424 h 625"/>
                    <a:gd name="T2" fmla="*/ 0 w 632"/>
                    <a:gd name="T3" fmla="*/ 624 h 625"/>
                    <a:gd name="T4" fmla="*/ 631 w 632"/>
                    <a:gd name="T5" fmla="*/ 168 h 625"/>
                    <a:gd name="T6" fmla="*/ 631 w 632"/>
                    <a:gd name="T7" fmla="*/ 0 h 625"/>
                    <a:gd name="T8" fmla="*/ 0 w 632"/>
                    <a:gd name="T9" fmla="*/ 424 h 6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32"/>
                    <a:gd name="T16" fmla="*/ 0 h 625"/>
                    <a:gd name="T17" fmla="*/ 632 w 632"/>
                    <a:gd name="T18" fmla="*/ 625 h 6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32" h="625">
                      <a:moveTo>
                        <a:pt x="0" y="424"/>
                      </a:moveTo>
                      <a:lnTo>
                        <a:pt x="0" y="624"/>
                      </a:lnTo>
                      <a:lnTo>
                        <a:pt x="631" y="168"/>
                      </a:lnTo>
                      <a:lnTo>
                        <a:pt x="631" y="0"/>
                      </a:lnTo>
                      <a:lnTo>
                        <a:pt x="0" y="424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09" name="Freeform 8"/>
                <p:cNvSpPr>
                  <a:spLocks/>
                </p:cNvSpPr>
                <p:nvPr/>
              </p:nvSpPr>
              <p:spPr bwMode="blackWhite">
                <a:xfrm>
                  <a:off x="3402611" y="3795063"/>
                  <a:ext cx="1344198" cy="1234246"/>
                </a:xfrm>
                <a:custGeom>
                  <a:avLst/>
                  <a:gdLst>
                    <a:gd name="T0" fmla="*/ 0 w 624"/>
                    <a:gd name="T1" fmla="*/ 0 h 640"/>
                    <a:gd name="T2" fmla="*/ 0 w 624"/>
                    <a:gd name="T3" fmla="*/ 192 h 640"/>
                    <a:gd name="T4" fmla="*/ 623 w 624"/>
                    <a:gd name="T5" fmla="*/ 639 h 640"/>
                    <a:gd name="T6" fmla="*/ 623 w 624"/>
                    <a:gd name="T7" fmla="*/ 416 h 640"/>
                    <a:gd name="T8" fmla="*/ 0 w 624"/>
                    <a:gd name="T9" fmla="*/ 0 h 6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24"/>
                    <a:gd name="T16" fmla="*/ 0 h 640"/>
                    <a:gd name="T17" fmla="*/ 624 w 624"/>
                    <a:gd name="T18" fmla="*/ 640 h 6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24" h="640">
                      <a:moveTo>
                        <a:pt x="0" y="0"/>
                      </a:moveTo>
                      <a:lnTo>
                        <a:pt x="0" y="192"/>
                      </a:lnTo>
                      <a:lnTo>
                        <a:pt x="623" y="639"/>
                      </a:lnTo>
                      <a:lnTo>
                        <a:pt x="623" y="41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0" name="Freeform 9"/>
                <p:cNvSpPr>
                  <a:spLocks/>
                </p:cNvSpPr>
                <p:nvPr/>
              </p:nvSpPr>
              <p:spPr bwMode="blackWhite">
                <a:xfrm>
                  <a:off x="4743298" y="3872811"/>
                  <a:ext cx="2686640" cy="2204472"/>
                </a:xfrm>
                <a:custGeom>
                  <a:avLst/>
                  <a:gdLst>
                    <a:gd name="T0" fmla="*/ 1247 w 1248"/>
                    <a:gd name="T1" fmla="*/ 0 h 1144"/>
                    <a:gd name="T2" fmla="*/ 1247 w 1248"/>
                    <a:gd name="T3" fmla="*/ 176 h 1144"/>
                    <a:gd name="T4" fmla="*/ 0 w 1248"/>
                    <a:gd name="T5" fmla="*/ 1143 h 1144"/>
                    <a:gd name="T6" fmla="*/ 0 w 1248"/>
                    <a:gd name="T7" fmla="*/ 927 h 1144"/>
                    <a:gd name="T8" fmla="*/ 1247 w 1248"/>
                    <a:gd name="T9" fmla="*/ 0 h 11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48"/>
                    <a:gd name="T16" fmla="*/ 0 h 1144"/>
                    <a:gd name="T17" fmla="*/ 1248 w 1248"/>
                    <a:gd name="T18" fmla="*/ 1144 h 11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48" h="1144">
                      <a:moveTo>
                        <a:pt x="1247" y="0"/>
                      </a:moveTo>
                      <a:lnTo>
                        <a:pt x="1247" y="176"/>
                      </a:lnTo>
                      <a:lnTo>
                        <a:pt x="0" y="1143"/>
                      </a:lnTo>
                      <a:lnTo>
                        <a:pt x="0" y="927"/>
                      </a:lnTo>
                      <a:lnTo>
                        <a:pt x="1247" y="0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1" name="Freeform 10"/>
                <p:cNvSpPr>
                  <a:spLocks/>
                </p:cNvSpPr>
                <p:nvPr/>
              </p:nvSpPr>
              <p:spPr bwMode="blackWhite">
                <a:xfrm>
                  <a:off x="4743298" y="3425761"/>
                  <a:ext cx="2686640" cy="2128345"/>
                </a:xfrm>
                <a:custGeom>
                  <a:avLst/>
                  <a:gdLst>
                    <a:gd name="T0" fmla="*/ 1247 w 1248"/>
                    <a:gd name="T1" fmla="*/ 0 h 1104"/>
                    <a:gd name="T2" fmla="*/ 1247 w 1248"/>
                    <a:gd name="T3" fmla="*/ 176 h 1104"/>
                    <a:gd name="T4" fmla="*/ 0 w 1248"/>
                    <a:gd name="T5" fmla="*/ 1103 h 1104"/>
                    <a:gd name="T6" fmla="*/ 0 w 1248"/>
                    <a:gd name="T7" fmla="*/ 887 h 1104"/>
                    <a:gd name="T8" fmla="*/ 1247 w 1248"/>
                    <a:gd name="T9" fmla="*/ 0 h 11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48"/>
                    <a:gd name="T16" fmla="*/ 0 h 1104"/>
                    <a:gd name="T17" fmla="*/ 1248 w 1248"/>
                    <a:gd name="T18" fmla="*/ 1104 h 11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48" h="1104">
                      <a:moveTo>
                        <a:pt x="1247" y="0"/>
                      </a:moveTo>
                      <a:lnTo>
                        <a:pt x="1247" y="176"/>
                      </a:lnTo>
                      <a:lnTo>
                        <a:pt x="0" y="1103"/>
                      </a:lnTo>
                      <a:lnTo>
                        <a:pt x="0" y="887"/>
                      </a:lnTo>
                      <a:lnTo>
                        <a:pt x="1247" y="0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2" name="Freeform 11"/>
                <p:cNvSpPr>
                  <a:spLocks/>
                </p:cNvSpPr>
                <p:nvPr/>
              </p:nvSpPr>
              <p:spPr bwMode="blackWhite">
                <a:xfrm>
                  <a:off x="2026827" y="3394986"/>
                  <a:ext cx="2719982" cy="2159120"/>
                </a:xfrm>
                <a:custGeom>
                  <a:avLst/>
                  <a:gdLst>
                    <a:gd name="T0" fmla="*/ 1263 w 1264"/>
                    <a:gd name="T1" fmla="*/ 903 h 1120"/>
                    <a:gd name="T2" fmla="*/ 1263 w 1264"/>
                    <a:gd name="T3" fmla="*/ 1119 h 1120"/>
                    <a:gd name="T4" fmla="*/ 0 w 1264"/>
                    <a:gd name="T5" fmla="*/ 192 h 1120"/>
                    <a:gd name="T6" fmla="*/ 0 w 1264"/>
                    <a:gd name="T7" fmla="*/ 0 h 1120"/>
                    <a:gd name="T8" fmla="*/ 1263 w 1264"/>
                    <a:gd name="T9" fmla="*/ 903 h 11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64"/>
                    <a:gd name="T16" fmla="*/ 0 h 1120"/>
                    <a:gd name="T17" fmla="*/ 1264 w 1264"/>
                    <a:gd name="T18" fmla="*/ 1120 h 112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64" h="1120">
                      <a:moveTo>
                        <a:pt x="1263" y="903"/>
                      </a:moveTo>
                      <a:lnTo>
                        <a:pt x="1263" y="1119"/>
                      </a:lnTo>
                      <a:lnTo>
                        <a:pt x="0" y="192"/>
                      </a:lnTo>
                      <a:lnTo>
                        <a:pt x="0" y="0"/>
                      </a:lnTo>
                      <a:lnTo>
                        <a:pt x="1263" y="903"/>
                      </a:lnTo>
                    </a:path>
                  </a:pathLst>
                </a:custGeom>
                <a:solidFill>
                  <a:schemeClr val="accent6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3" name="Freeform 12"/>
                <p:cNvSpPr>
                  <a:spLocks/>
                </p:cNvSpPr>
                <p:nvPr/>
              </p:nvSpPr>
              <p:spPr bwMode="blackWhite">
                <a:xfrm>
                  <a:off x="3402610" y="1362206"/>
                  <a:ext cx="2686640" cy="1619745"/>
                </a:xfrm>
                <a:custGeom>
                  <a:avLst/>
                  <a:gdLst>
                    <a:gd name="T0" fmla="*/ 0 w 1248"/>
                    <a:gd name="T1" fmla="*/ 424 h 840"/>
                    <a:gd name="T2" fmla="*/ 623 w 1248"/>
                    <a:gd name="T3" fmla="*/ 0 h 840"/>
                    <a:gd name="T4" fmla="*/ 1247 w 1248"/>
                    <a:gd name="T5" fmla="*/ 424 h 840"/>
                    <a:gd name="T6" fmla="*/ 623 w 1248"/>
                    <a:gd name="T7" fmla="*/ 839 h 840"/>
                    <a:gd name="T8" fmla="*/ 0 w 1248"/>
                    <a:gd name="T9" fmla="*/ 424 h 8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48"/>
                    <a:gd name="T16" fmla="*/ 0 h 840"/>
                    <a:gd name="T17" fmla="*/ 1248 w 1248"/>
                    <a:gd name="T18" fmla="*/ 840 h 8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48" h="840">
                      <a:moveTo>
                        <a:pt x="0" y="424"/>
                      </a:moveTo>
                      <a:lnTo>
                        <a:pt x="623" y="0"/>
                      </a:lnTo>
                      <a:lnTo>
                        <a:pt x="1247" y="424"/>
                      </a:lnTo>
                      <a:lnTo>
                        <a:pt x="623" y="839"/>
                      </a:lnTo>
                      <a:lnTo>
                        <a:pt x="0" y="424"/>
                      </a:lnTo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4" name="Freeform 13"/>
                <p:cNvSpPr>
                  <a:spLocks/>
                </p:cNvSpPr>
                <p:nvPr/>
              </p:nvSpPr>
              <p:spPr bwMode="blackWhite">
                <a:xfrm>
                  <a:off x="4743298" y="2180177"/>
                  <a:ext cx="2686640" cy="1616505"/>
                </a:xfrm>
                <a:custGeom>
                  <a:avLst/>
                  <a:gdLst>
                    <a:gd name="T0" fmla="*/ 0 w 1248"/>
                    <a:gd name="T1" fmla="*/ 415 h 840"/>
                    <a:gd name="T2" fmla="*/ 624 w 1248"/>
                    <a:gd name="T3" fmla="*/ 0 h 840"/>
                    <a:gd name="T4" fmla="*/ 1247 w 1248"/>
                    <a:gd name="T5" fmla="*/ 415 h 840"/>
                    <a:gd name="T6" fmla="*/ 624 w 1248"/>
                    <a:gd name="T7" fmla="*/ 839 h 840"/>
                    <a:gd name="T8" fmla="*/ 0 w 1248"/>
                    <a:gd name="T9" fmla="*/ 415 h 8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48"/>
                    <a:gd name="T16" fmla="*/ 0 h 840"/>
                    <a:gd name="T17" fmla="*/ 1248 w 1248"/>
                    <a:gd name="T18" fmla="*/ 840 h 8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48" h="840">
                      <a:moveTo>
                        <a:pt x="0" y="415"/>
                      </a:moveTo>
                      <a:lnTo>
                        <a:pt x="624" y="0"/>
                      </a:lnTo>
                      <a:lnTo>
                        <a:pt x="1247" y="415"/>
                      </a:lnTo>
                      <a:lnTo>
                        <a:pt x="624" y="839"/>
                      </a:lnTo>
                      <a:lnTo>
                        <a:pt x="0" y="415"/>
                      </a:lnTo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5" name="Freeform 14"/>
                <p:cNvSpPr>
                  <a:spLocks/>
                </p:cNvSpPr>
                <p:nvPr/>
              </p:nvSpPr>
              <p:spPr bwMode="blackWhite">
                <a:xfrm>
                  <a:off x="2044374" y="2180177"/>
                  <a:ext cx="2702434" cy="1616505"/>
                </a:xfrm>
                <a:custGeom>
                  <a:avLst/>
                  <a:gdLst>
                    <a:gd name="T0" fmla="*/ 0 w 1256"/>
                    <a:gd name="T1" fmla="*/ 415 h 840"/>
                    <a:gd name="T2" fmla="*/ 632 w 1256"/>
                    <a:gd name="T3" fmla="*/ 0 h 840"/>
                    <a:gd name="T4" fmla="*/ 1255 w 1256"/>
                    <a:gd name="T5" fmla="*/ 415 h 840"/>
                    <a:gd name="T6" fmla="*/ 632 w 1256"/>
                    <a:gd name="T7" fmla="*/ 839 h 840"/>
                    <a:gd name="T8" fmla="*/ 0 w 1256"/>
                    <a:gd name="T9" fmla="*/ 415 h 8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56"/>
                    <a:gd name="T16" fmla="*/ 0 h 840"/>
                    <a:gd name="T17" fmla="*/ 1256 w 1256"/>
                    <a:gd name="T18" fmla="*/ 840 h 8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56" h="840">
                      <a:moveTo>
                        <a:pt x="0" y="415"/>
                      </a:moveTo>
                      <a:lnTo>
                        <a:pt x="632" y="0"/>
                      </a:lnTo>
                      <a:lnTo>
                        <a:pt x="1255" y="415"/>
                      </a:lnTo>
                      <a:lnTo>
                        <a:pt x="632" y="839"/>
                      </a:lnTo>
                      <a:lnTo>
                        <a:pt x="0" y="415"/>
                      </a:lnTo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6" name="Freeform 15"/>
                <p:cNvSpPr>
                  <a:spLocks/>
                </p:cNvSpPr>
                <p:nvPr/>
              </p:nvSpPr>
              <p:spPr bwMode="blackWhite">
                <a:xfrm>
                  <a:off x="3402610" y="2978712"/>
                  <a:ext cx="2686640" cy="1621364"/>
                </a:xfrm>
                <a:custGeom>
                  <a:avLst/>
                  <a:gdLst>
                    <a:gd name="T0" fmla="*/ 0 w 1248"/>
                    <a:gd name="T1" fmla="*/ 424 h 841"/>
                    <a:gd name="T2" fmla="*/ 623 w 1248"/>
                    <a:gd name="T3" fmla="*/ 0 h 841"/>
                    <a:gd name="T4" fmla="*/ 1247 w 1248"/>
                    <a:gd name="T5" fmla="*/ 424 h 841"/>
                    <a:gd name="T6" fmla="*/ 623 w 1248"/>
                    <a:gd name="T7" fmla="*/ 840 h 841"/>
                    <a:gd name="T8" fmla="*/ 0 w 1248"/>
                    <a:gd name="T9" fmla="*/ 424 h 84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48"/>
                    <a:gd name="T16" fmla="*/ 0 h 841"/>
                    <a:gd name="T17" fmla="*/ 1248 w 1248"/>
                    <a:gd name="T18" fmla="*/ 841 h 84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48" h="841">
                      <a:moveTo>
                        <a:pt x="0" y="424"/>
                      </a:moveTo>
                      <a:lnTo>
                        <a:pt x="623" y="0"/>
                      </a:lnTo>
                      <a:lnTo>
                        <a:pt x="1247" y="424"/>
                      </a:lnTo>
                      <a:lnTo>
                        <a:pt x="623" y="840"/>
                      </a:lnTo>
                      <a:lnTo>
                        <a:pt x="0" y="424"/>
                      </a:lnTo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accent4"/>
                  </a:solidFill>
                  <a:prstDash val="solid"/>
                  <a:round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endParaRPr lang="ca-ES" sz="1511"/>
                </a:p>
              </p:txBody>
            </p:sp>
            <p:sp>
              <p:nvSpPr>
                <p:cNvPr id="179217" name="Rectangle 16"/>
                <p:cNvSpPr>
                  <a:spLocks noChangeArrowheads="1"/>
                </p:cNvSpPr>
                <p:nvPr/>
              </p:nvSpPr>
              <p:spPr bwMode="blackWhite">
                <a:xfrm>
                  <a:off x="4694164" y="1446433"/>
                  <a:ext cx="275507" cy="24944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zh-CN" altLang="en-US" sz="1511" b="1" dirty="0">
                      <a:solidFill>
                        <a:schemeClr val="accent1"/>
                      </a:solidFill>
                      <a:ea typeface="宋体" pitchFamily="2" charset="-122"/>
                    </a:rPr>
                    <a:t>3.</a:t>
                  </a:r>
                </a:p>
              </p:txBody>
            </p:sp>
            <p:sp>
              <p:nvSpPr>
                <p:cNvPr id="179218" name="Rectangle 17"/>
                <p:cNvSpPr>
                  <a:spLocks noChangeArrowheads="1"/>
                </p:cNvSpPr>
                <p:nvPr/>
              </p:nvSpPr>
              <p:spPr bwMode="blackWhite">
                <a:xfrm>
                  <a:off x="3979948" y="1804396"/>
                  <a:ext cx="1693409" cy="616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en-US" altLang="zh-CN" sz="1133">
                      <a:ea typeface="宋体" pitchFamily="2" charset="-122"/>
                    </a:rPr>
                    <a:t>xxxxx</a:t>
                  </a:r>
                  <a:endParaRPr lang="en-US" altLang="zh-CN" sz="1133" dirty="0">
                    <a:ea typeface="宋体" pitchFamily="2" charset="-122"/>
                  </a:endParaRPr>
                </a:p>
              </p:txBody>
            </p:sp>
            <p:sp>
              <p:nvSpPr>
                <p:cNvPr id="179219" name="Rectangle 18"/>
                <p:cNvSpPr>
                  <a:spLocks noChangeArrowheads="1"/>
                </p:cNvSpPr>
                <p:nvPr/>
              </p:nvSpPr>
              <p:spPr bwMode="blackWhite">
                <a:xfrm>
                  <a:off x="3256959" y="2369688"/>
                  <a:ext cx="315869" cy="24944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zh-CN" altLang="en-US" sz="1511" b="1" dirty="0">
                      <a:solidFill>
                        <a:schemeClr val="accent1"/>
                      </a:solidFill>
                      <a:ea typeface="宋体" pitchFamily="2" charset="-122"/>
                    </a:rPr>
                    <a:t>2.</a:t>
                  </a:r>
                </a:p>
              </p:txBody>
            </p:sp>
            <p:sp>
              <p:nvSpPr>
                <p:cNvPr id="179220" name="Rectangle 19"/>
                <p:cNvSpPr>
                  <a:spLocks noChangeArrowheads="1"/>
                </p:cNvSpPr>
                <p:nvPr/>
              </p:nvSpPr>
              <p:spPr bwMode="blackWhite">
                <a:xfrm>
                  <a:off x="2442720" y="2685538"/>
                  <a:ext cx="1905742" cy="3834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en-US" altLang="zh-CN" sz="1133">
                      <a:ea typeface="宋体" pitchFamily="2" charset="-122"/>
                    </a:rPr>
                    <a:t>xxxxxxx</a:t>
                  </a:r>
                  <a:endParaRPr lang="en-US" altLang="zh-CN" sz="1133" dirty="0">
                    <a:ea typeface="宋体" pitchFamily="2" charset="-122"/>
                  </a:endParaRPr>
                </a:p>
              </p:txBody>
            </p:sp>
            <p:sp>
              <p:nvSpPr>
                <p:cNvPr id="179221" name="Rectangle 20"/>
                <p:cNvSpPr>
                  <a:spLocks noChangeArrowheads="1"/>
                </p:cNvSpPr>
                <p:nvPr/>
              </p:nvSpPr>
              <p:spPr bwMode="blackWhite">
                <a:xfrm>
                  <a:off x="6010284" y="2369688"/>
                  <a:ext cx="322888" cy="24944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zh-CN" altLang="en-US" sz="1511" b="1" dirty="0">
                      <a:solidFill>
                        <a:schemeClr val="accent1"/>
                      </a:solidFill>
                      <a:ea typeface="宋体" pitchFamily="2" charset="-122"/>
                    </a:rPr>
                    <a:t>4.</a:t>
                  </a:r>
                </a:p>
              </p:txBody>
            </p:sp>
            <p:sp>
              <p:nvSpPr>
                <p:cNvPr id="179222" name="Rectangle 21"/>
                <p:cNvSpPr>
                  <a:spLocks noChangeArrowheads="1"/>
                </p:cNvSpPr>
                <p:nvPr/>
              </p:nvSpPr>
              <p:spPr bwMode="blackWhite">
                <a:xfrm>
                  <a:off x="5334675" y="2661241"/>
                  <a:ext cx="1568816" cy="62374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en-US" altLang="zh-CN" sz="1133">
                      <a:ea typeface="宋体" pitchFamily="2" charset="-122"/>
                    </a:rPr>
                    <a:t>xxxxxx</a:t>
                  </a:r>
                  <a:endParaRPr lang="en-US" altLang="zh-CN" sz="1133" dirty="0">
                    <a:ea typeface="宋体" pitchFamily="2" charset="-122"/>
                  </a:endParaRPr>
                </a:p>
              </p:txBody>
            </p:sp>
            <p:sp>
              <p:nvSpPr>
                <p:cNvPr id="179223" name="Rectangle 22"/>
                <p:cNvSpPr>
                  <a:spLocks noChangeArrowheads="1"/>
                </p:cNvSpPr>
                <p:nvPr/>
              </p:nvSpPr>
              <p:spPr bwMode="blackWhite">
                <a:xfrm>
                  <a:off x="4604667" y="3137447"/>
                  <a:ext cx="368514" cy="24944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zh-CN" altLang="en-US" sz="1511" b="1" dirty="0">
                      <a:solidFill>
                        <a:schemeClr val="accent1"/>
                      </a:solidFill>
                      <a:ea typeface="宋体" pitchFamily="2" charset="-122"/>
                    </a:rPr>
                    <a:t>1.</a:t>
                  </a:r>
                </a:p>
              </p:txBody>
            </p:sp>
            <p:sp>
              <p:nvSpPr>
                <p:cNvPr id="179224" name="Rectangle 23"/>
                <p:cNvSpPr>
                  <a:spLocks noChangeArrowheads="1"/>
                </p:cNvSpPr>
                <p:nvPr/>
              </p:nvSpPr>
              <p:spPr bwMode="blackWhite">
                <a:xfrm>
                  <a:off x="4076464" y="3407944"/>
                  <a:ext cx="1359991" cy="59712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>
                  <a:noAutofit/>
                </a:bodyPr>
                <a:lstStyle/>
                <a:p>
                  <a:pPr algn="ctr" defTabSz="928541" eaLnBrk="0" hangingPunct="0"/>
                  <a:r>
                    <a:rPr lang="en-US" altLang="zh-CN" sz="1133">
                      <a:ea typeface="宋体" pitchFamily="2" charset="-122"/>
                    </a:rPr>
                    <a:t>xxxxx</a:t>
                  </a:r>
                  <a:endParaRPr lang="en-US" altLang="zh-CN" sz="1133" dirty="0">
                    <a:ea typeface="宋体" pitchFamily="2" charset="-122"/>
                  </a:endParaRPr>
                </a:p>
              </p:txBody>
            </p:sp>
          </p:grpSp>
          <p:sp>
            <p:nvSpPr>
              <p:cNvPr id="179225" name="Line 24"/>
              <p:cNvSpPr>
                <a:spLocks noChangeShapeType="1"/>
              </p:cNvSpPr>
              <p:nvPr/>
            </p:nvSpPr>
            <p:spPr bwMode="blackWhite">
              <a:xfrm>
                <a:off x="7617705" y="2956035"/>
                <a:ext cx="0" cy="1260162"/>
              </a:xfrm>
              <a:prstGeom prst="line">
                <a:avLst/>
              </a:prstGeom>
              <a:noFill/>
              <a:ln w="12700">
                <a:solidFill>
                  <a:schemeClr val="accent4"/>
                </a:solidFill>
                <a:round/>
                <a:headEnd type="triangle" w="med" len="lg"/>
                <a:tailEnd type="triangle" w="med" len="lg"/>
              </a:ln>
            </p:spPr>
            <p:txBody>
              <a:bodyPr lIns="0" tIns="0" rIns="0" bIns="0">
                <a:noAutofit/>
              </a:bodyPr>
              <a:lstStyle/>
              <a:p>
                <a:endParaRPr lang="ca-ES" sz="1511"/>
              </a:p>
            </p:txBody>
          </p:sp>
        </p:grpSp>
        <p:sp>
          <p:nvSpPr>
            <p:cNvPr id="179226" name="Rectangle 25"/>
            <p:cNvSpPr>
              <a:spLocks noChangeArrowheads="1"/>
            </p:cNvSpPr>
            <p:nvPr/>
          </p:nvSpPr>
          <p:spPr bwMode="blackWhite">
            <a:xfrm>
              <a:off x="7689304" y="3467946"/>
              <a:ext cx="1712170" cy="236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noAutofit/>
            </a:bodyPr>
            <a:lstStyle/>
            <a:p>
              <a:pPr defTabSz="928541" eaLnBrk="0" hangingPunct="0"/>
              <a:r>
                <a:rPr lang="en-US" altLang="zh-CN" sz="1187">
                  <a:ea typeface="宋体" pitchFamily="2" charset="-122"/>
                </a:rPr>
                <a:t>xxxxx</a:t>
              </a:r>
              <a:endParaRPr lang="en-US" altLang="zh-CN" sz="1187" dirty="0">
                <a:ea typeface="宋体" pitchFamily="2" charset="-122"/>
              </a:endParaRPr>
            </a:p>
          </p:txBody>
        </p:sp>
      </p:grpSp>
      <p:grpSp>
        <p:nvGrpSpPr>
          <p:cNvPr id="33" name="32 Grupo"/>
          <p:cNvGrpSpPr/>
          <p:nvPr/>
        </p:nvGrpSpPr>
        <p:grpSpPr>
          <a:xfrm>
            <a:off x="5345906" y="671030"/>
            <a:ext cx="3859608" cy="2039034"/>
            <a:chOff x="1953124" y="2226930"/>
            <a:chExt cx="6166462" cy="3257747"/>
          </a:xfrm>
        </p:grpSpPr>
        <p:sp>
          <p:nvSpPr>
            <p:cNvPr id="34" name="Freeform 2"/>
            <p:cNvSpPr>
              <a:spLocks/>
            </p:cNvSpPr>
            <p:nvPr/>
          </p:nvSpPr>
          <p:spPr bwMode="blackWhite">
            <a:xfrm>
              <a:off x="3297322" y="2463632"/>
              <a:ext cx="3525447" cy="944311"/>
            </a:xfrm>
            <a:custGeom>
              <a:avLst/>
              <a:gdLst>
                <a:gd name="T0" fmla="*/ 1135 w 1136"/>
                <a:gd name="T1" fmla="*/ 78 h 340"/>
                <a:gd name="T2" fmla="*/ 1093 w 1136"/>
                <a:gd name="T3" fmla="*/ 66 h 340"/>
                <a:gd name="T4" fmla="*/ 1051 w 1136"/>
                <a:gd name="T5" fmla="*/ 56 h 340"/>
                <a:gd name="T6" fmla="*/ 1006 w 1136"/>
                <a:gd name="T7" fmla="*/ 46 h 340"/>
                <a:gd name="T8" fmla="*/ 960 w 1136"/>
                <a:gd name="T9" fmla="*/ 37 h 340"/>
                <a:gd name="T10" fmla="*/ 912 w 1136"/>
                <a:gd name="T11" fmla="*/ 28 h 340"/>
                <a:gd name="T12" fmla="*/ 864 w 1136"/>
                <a:gd name="T13" fmla="*/ 21 h 340"/>
                <a:gd name="T14" fmla="*/ 814 w 1136"/>
                <a:gd name="T15" fmla="*/ 15 h 340"/>
                <a:gd name="T16" fmla="*/ 763 w 1136"/>
                <a:gd name="T17" fmla="*/ 10 h 340"/>
                <a:gd name="T18" fmla="*/ 711 w 1136"/>
                <a:gd name="T19" fmla="*/ 6 h 340"/>
                <a:gd name="T20" fmla="*/ 660 w 1136"/>
                <a:gd name="T21" fmla="*/ 2 h 340"/>
                <a:gd name="T22" fmla="*/ 607 w 1136"/>
                <a:gd name="T23" fmla="*/ 1 h 340"/>
                <a:gd name="T24" fmla="*/ 556 w 1136"/>
                <a:gd name="T25" fmla="*/ 0 h 340"/>
                <a:gd name="T26" fmla="*/ 503 w 1136"/>
                <a:gd name="T27" fmla="*/ 0 h 340"/>
                <a:gd name="T28" fmla="*/ 451 w 1136"/>
                <a:gd name="T29" fmla="*/ 2 h 340"/>
                <a:gd name="T30" fmla="*/ 401 w 1136"/>
                <a:gd name="T31" fmla="*/ 3 h 340"/>
                <a:gd name="T32" fmla="*/ 351 w 1136"/>
                <a:gd name="T33" fmla="*/ 7 h 340"/>
                <a:gd name="T34" fmla="*/ 301 w 1136"/>
                <a:gd name="T35" fmla="*/ 12 h 340"/>
                <a:gd name="T36" fmla="*/ 253 w 1136"/>
                <a:gd name="T37" fmla="*/ 17 h 340"/>
                <a:gd name="T38" fmla="*/ 207 w 1136"/>
                <a:gd name="T39" fmla="*/ 24 h 340"/>
                <a:gd name="T40" fmla="*/ 162 w 1136"/>
                <a:gd name="T41" fmla="*/ 31 h 340"/>
                <a:gd name="T42" fmla="*/ 118 w 1136"/>
                <a:gd name="T43" fmla="*/ 40 h 340"/>
                <a:gd name="T44" fmla="*/ 77 w 1136"/>
                <a:gd name="T45" fmla="*/ 50 h 340"/>
                <a:gd name="T46" fmla="*/ 38 w 1136"/>
                <a:gd name="T47" fmla="*/ 60 h 340"/>
                <a:gd name="T48" fmla="*/ 0 w 1136"/>
                <a:gd name="T49" fmla="*/ 71 h 340"/>
                <a:gd name="T50" fmla="*/ 572 w 1136"/>
                <a:gd name="T51" fmla="*/ 339 h 340"/>
                <a:gd name="T52" fmla="*/ 853 w 1136"/>
                <a:gd name="T53" fmla="*/ 209 h 340"/>
                <a:gd name="T54" fmla="*/ 1135 w 1136"/>
                <a:gd name="T55" fmla="*/ 78 h 3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36"/>
                <a:gd name="T85" fmla="*/ 0 h 340"/>
                <a:gd name="T86" fmla="*/ 1136 w 1136"/>
                <a:gd name="T87" fmla="*/ 340 h 3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36" h="340">
                  <a:moveTo>
                    <a:pt x="1135" y="78"/>
                  </a:moveTo>
                  <a:lnTo>
                    <a:pt x="1093" y="66"/>
                  </a:lnTo>
                  <a:lnTo>
                    <a:pt x="1051" y="56"/>
                  </a:lnTo>
                  <a:lnTo>
                    <a:pt x="1006" y="46"/>
                  </a:lnTo>
                  <a:lnTo>
                    <a:pt x="960" y="37"/>
                  </a:lnTo>
                  <a:lnTo>
                    <a:pt x="912" y="28"/>
                  </a:lnTo>
                  <a:lnTo>
                    <a:pt x="864" y="21"/>
                  </a:lnTo>
                  <a:lnTo>
                    <a:pt x="814" y="15"/>
                  </a:lnTo>
                  <a:lnTo>
                    <a:pt x="763" y="10"/>
                  </a:lnTo>
                  <a:lnTo>
                    <a:pt x="711" y="6"/>
                  </a:lnTo>
                  <a:lnTo>
                    <a:pt x="660" y="2"/>
                  </a:lnTo>
                  <a:lnTo>
                    <a:pt x="607" y="1"/>
                  </a:lnTo>
                  <a:lnTo>
                    <a:pt x="556" y="0"/>
                  </a:lnTo>
                  <a:lnTo>
                    <a:pt x="503" y="0"/>
                  </a:lnTo>
                  <a:lnTo>
                    <a:pt x="451" y="2"/>
                  </a:lnTo>
                  <a:lnTo>
                    <a:pt x="401" y="3"/>
                  </a:lnTo>
                  <a:lnTo>
                    <a:pt x="351" y="7"/>
                  </a:lnTo>
                  <a:lnTo>
                    <a:pt x="301" y="12"/>
                  </a:lnTo>
                  <a:lnTo>
                    <a:pt x="253" y="17"/>
                  </a:lnTo>
                  <a:lnTo>
                    <a:pt x="207" y="24"/>
                  </a:lnTo>
                  <a:lnTo>
                    <a:pt x="162" y="31"/>
                  </a:lnTo>
                  <a:lnTo>
                    <a:pt x="118" y="40"/>
                  </a:lnTo>
                  <a:lnTo>
                    <a:pt x="77" y="50"/>
                  </a:lnTo>
                  <a:lnTo>
                    <a:pt x="38" y="60"/>
                  </a:lnTo>
                  <a:lnTo>
                    <a:pt x="0" y="71"/>
                  </a:lnTo>
                  <a:lnTo>
                    <a:pt x="572" y="339"/>
                  </a:lnTo>
                  <a:lnTo>
                    <a:pt x="853" y="209"/>
                  </a:lnTo>
                  <a:lnTo>
                    <a:pt x="1135" y="78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35" name="Freeform 3"/>
            <p:cNvSpPr>
              <a:spLocks/>
            </p:cNvSpPr>
            <p:nvPr/>
          </p:nvSpPr>
          <p:spPr bwMode="blackWhite">
            <a:xfrm>
              <a:off x="3302585" y="2664481"/>
              <a:ext cx="1777640" cy="1116004"/>
            </a:xfrm>
            <a:custGeom>
              <a:avLst/>
              <a:gdLst>
                <a:gd name="T0" fmla="*/ 571 w 572"/>
                <a:gd name="T1" fmla="*/ 266 h 402"/>
                <a:gd name="T2" fmla="*/ 571 w 572"/>
                <a:gd name="T3" fmla="*/ 401 h 402"/>
                <a:gd name="T4" fmla="*/ 0 w 572"/>
                <a:gd name="T5" fmla="*/ 139 h 402"/>
                <a:gd name="T6" fmla="*/ 0 w 572"/>
                <a:gd name="T7" fmla="*/ 0 h 402"/>
                <a:gd name="T8" fmla="*/ 571 w 572"/>
                <a:gd name="T9" fmla="*/ 266 h 4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2"/>
                <a:gd name="T16" fmla="*/ 0 h 402"/>
                <a:gd name="T17" fmla="*/ 572 w 572"/>
                <a:gd name="T18" fmla="*/ 402 h 4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2" h="402">
                  <a:moveTo>
                    <a:pt x="571" y="266"/>
                  </a:moveTo>
                  <a:lnTo>
                    <a:pt x="571" y="401"/>
                  </a:lnTo>
                  <a:lnTo>
                    <a:pt x="0" y="139"/>
                  </a:lnTo>
                  <a:lnTo>
                    <a:pt x="0" y="0"/>
                  </a:lnTo>
                  <a:lnTo>
                    <a:pt x="571" y="266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36" name="Freeform 4"/>
            <p:cNvSpPr>
              <a:spLocks/>
            </p:cNvSpPr>
            <p:nvPr/>
          </p:nvSpPr>
          <p:spPr bwMode="blackWhite">
            <a:xfrm>
              <a:off x="5073207" y="2679058"/>
              <a:ext cx="1749562" cy="1101427"/>
            </a:xfrm>
            <a:custGeom>
              <a:avLst/>
              <a:gdLst>
                <a:gd name="T0" fmla="*/ 0 w 563"/>
                <a:gd name="T1" fmla="*/ 260 h 396"/>
                <a:gd name="T2" fmla="*/ 0 w 563"/>
                <a:gd name="T3" fmla="*/ 395 h 396"/>
                <a:gd name="T4" fmla="*/ 562 w 563"/>
                <a:gd name="T5" fmla="*/ 142 h 396"/>
                <a:gd name="T6" fmla="*/ 562 w 563"/>
                <a:gd name="T7" fmla="*/ 72 h 396"/>
                <a:gd name="T8" fmla="*/ 562 w 563"/>
                <a:gd name="T9" fmla="*/ 0 h 396"/>
                <a:gd name="T10" fmla="*/ 0 w 563"/>
                <a:gd name="T11" fmla="*/ 260 h 3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3"/>
                <a:gd name="T19" fmla="*/ 0 h 396"/>
                <a:gd name="T20" fmla="*/ 563 w 563"/>
                <a:gd name="T21" fmla="*/ 396 h 39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3" h="396">
                  <a:moveTo>
                    <a:pt x="0" y="260"/>
                  </a:moveTo>
                  <a:lnTo>
                    <a:pt x="0" y="395"/>
                  </a:lnTo>
                  <a:lnTo>
                    <a:pt x="562" y="142"/>
                  </a:lnTo>
                  <a:lnTo>
                    <a:pt x="562" y="72"/>
                  </a:lnTo>
                  <a:lnTo>
                    <a:pt x="562" y="0"/>
                  </a:lnTo>
                  <a:lnTo>
                    <a:pt x="0" y="260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37" name="Freeform 5"/>
            <p:cNvSpPr>
              <a:spLocks/>
            </p:cNvSpPr>
            <p:nvPr/>
          </p:nvSpPr>
          <p:spPr bwMode="ltGray">
            <a:xfrm>
              <a:off x="2404113" y="2228769"/>
              <a:ext cx="5715473" cy="2926880"/>
            </a:xfrm>
            <a:custGeom>
              <a:avLst/>
              <a:gdLst>
                <a:gd name="T0" fmla="*/ 1707 w 1841"/>
                <a:gd name="T1" fmla="*/ 65 h 1052"/>
                <a:gd name="T2" fmla="*/ 39 w 1841"/>
                <a:gd name="T3" fmla="*/ 848 h 1052"/>
                <a:gd name="T4" fmla="*/ 0 w 1841"/>
                <a:gd name="T5" fmla="*/ 1051 h 1052"/>
                <a:gd name="T6" fmla="*/ 1714 w 1841"/>
                <a:gd name="T7" fmla="*/ 261 h 1052"/>
                <a:gd name="T8" fmla="*/ 1714 w 1841"/>
                <a:gd name="T9" fmla="*/ 323 h 1052"/>
                <a:gd name="T10" fmla="*/ 1840 w 1841"/>
                <a:gd name="T11" fmla="*/ 128 h 1052"/>
                <a:gd name="T12" fmla="*/ 1707 w 1841"/>
                <a:gd name="T13" fmla="*/ 0 h 1052"/>
                <a:gd name="T14" fmla="*/ 1707 w 1841"/>
                <a:gd name="T15" fmla="*/ 65 h 10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41"/>
                <a:gd name="T25" fmla="*/ 0 h 1052"/>
                <a:gd name="T26" fmla="*/ 1841 w 1841"/>
                <a:gd name="T27" fmla="*/ 1052 h 10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41" h="1052">
                  <a:moveTo>
                    <a:pt x="1707" y="65"/>
                  </a:moveTo>
                  <a:lnTo>
                    <a:pt x="39" y="848"/>
                  </a:lnTo>
                  <a:lnTo>
                    <a:pt x="0" y="1051"/>
                  </a:lnTo>
                  <a:lnTo>
                    <a:pt x="1714" y="261"/>
                  </a:lnTo>
                  <a:lnTo>
                    <a:pt x="1714" y="323"/>
                  </a:lnTo>
                  <a:lnTo>
                    <a:pt x="1840" y="128"/>
                  </a:lnTo>
                  <a:lnTo>
                    <a:pt x="1707" y="0"/>
                  </a:lnTo>
                  <a:lnTo>
                    <a:pt x="1707" y="65"/>
                  </a:lnTo>
                </a:path>
              </a:pathLst>
            </a:custGeom>
            <a:solidFill>
              <a:schemeClr val="accent2"/>
            </a:solidFill>
            <a:ln w="127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38" name="Freeform 6"/>
            <p:cNvSpPr>
              <a:spLocks/>
            </p:cNvSpPr>
            <p:nvPr/>
          </p:nvSpPr>
          <p:spPr bwMode="blackWhite">
            <a:xfrm>
              <a:off x="5394339" y="3534284"/>
              <a:ext cx="1760092" cy="1303895"/>
            </a:xfrm>
            <a:custGeom>
              <a:avLst/>
              <a:gdLst>
                <a:gd name="T0" fmla="*/ 0 w 567"/>
                <a:gd name="T1" fmla="*/ 0 h 469"/>
                <a:gd name="T2" fmla="*/ 565 w 567"/>
                <a:gd name="T3" fmla="*/ 292 h 469"/>
                <a:gd name="T4" fmla="*/ 566 w 567"/>
                <a:gd name="T5" fmla="*/ 380 h 469"/>
                <a:gd name="T6" fmla="*/ 565 w 567"/>
                <a:gd name="T7" fmla="*/ 468 h 469"/>
                <a:gd name="T8" fmla="*/ 0 w 567"/>
                <a:gd name="T9" fmla="*/ 137 h 469"/>
                <a:gd name="T10" fmla="*/ 0 w 567"/>
                <a:gd name="T11" fmla="*/ 0 h 4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67"/>
                <a:gd name="T19" fmla="*/ 0 h 469"/>
                <a:gd name="T20" fmla="*/ 567 w 567"/>
                <a:gd name="T21" fmla="*/ 469 h 46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67" h="469">
                  <a:moveTo>
                    <a:pt x="0" y="0"/>
                  </a:moveTo>
                  <a:lnTo>
                    <a:pt x="565" y="292"/>
                  </a:lnTo>
                  <a:lnTo>
                    <a:pt x="566" y="380"/>
                  </a:lnTo>
                  <a:lnTo>
                    <a:pt x="565" y="468"/>
                  </a:lnTo>
                  <a:lnTo>
                    <a:pt x="0" y="137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39" name="Freeform 7"/>
            <p:cNvSpPr>
              <a:spLocks/>
            </p:cNvSpPr>
            <p:nvPr/>
          </p:nvSpPr>
          <p:spPr bwMode="blackWhite">
            <a:xfrm>
              <a:off x="7149166" y="3691399"/>
              <a:ext cx="800201" cy="1140300"/>
            </a:xfrm>
            <a:custGeom>
              <a:avLst/>
              <a:gdLst>
                <a:gd name="T0" fmla="*/ 257 w 258"/>
                <a:gd name="T1" fmla="*/ 0 h 410"/>
                <a:gd name="T2" fmla="*/ 257 w 258"/>
                <a:gd name="T3" fmla="*/ 147 h 410"/>
                <a:gd name="T4" fmla="*/ 257 w 258"/>
                <a:gd name="T5" fmla="*/ 169 h 410"/>
                <a:gd name="T6" fmla="*/ 255 w 258"/>
                <a:gd name="T7" fmla="*/ 191 h 410"/>
                <a:gd name="T8" fmla="*/ 249 w 258"/>
                <a:gd name="T9" fmla="*/ 212 h 410"/>
                <a:gd name="T10" fmla="*/ 240 w 258"/>
                <a:gd name="T11" fmla="*/ 233 h 410"/>
                <a:gd name="T12" fmla="*/ 229 w 258"/>
                <a:gd name="T13" fmla="*/ 253 h 410"/>
                <a:gd name="T14" fmla="*/ 215 w 258"/>
                <a:gd name="T15" fmla="*/ 273 h 410"/>
                <a:gd name="T16" fmla="*/ 197 w 258"/>
                <a:gd name="T17" fmla="*/ 293 h 410"/>
                <a:gd name="T18" fmla="*/ 177 w 258"/>
                <a:gd name="T19" fmla="*/ 311 h 410"/>
                <a:gd name="T20" fmla="*/ 155 w 258"/>
                <a:gd name="T21" fmla="*/ 329 h 410"/>
                <a:gd name="T22" fmla="*/ 126 w 258"/>
                <a:gd name="T23" fmla="*/ 350 h 410"/>
                <a:gd name="T24" fmla="*/ 96 w 258"/>
                <a:gd name="T25" fmla="*/ 367 h 410"/>
                <a:gd name="T26" fmla="*/ 65 w 258"/>
                <a:gd name="T27" fmla="*/ 383 h 410"/>
                <a:gd name="T28" fmla="*/ 32 w 258"/>
                <a:gd name="T29" fmla="*/ 397 h 410"/>
                <a:gd name="T30" fmla="*/ 0 w 258"/>
                <a:gd name="T31" fmla="*/ 409 h 410"/>
                <a:gd name="T32" fmla="*/ 0 w 258"/>
                <a:gd name="T33" fmla="*/ 235 h 410"/>
                <a:gd name="T34" fmla="*/ 35 w 258"/>
                <a:gd name="T35" fmla="*/ 221 h 410"/>
                <a:gd name="T36" fmla="*/ 68 w 258"/>
                <a:gd name="T37" fmla="*/ 205 h 410"/>
                <a:gd name="T38" fmla="*/ 99 w 258"/>
                <a:gd name="T39" fmla="*/ 188 h 410"/>
                <a:gd name="T40" fmla="*/ 126 w 258"/>
                <a:gd name="T41" fmla="*/ 171 h 410"/>
                <a:gd name="T42" fmla="*/ 152 w 258"/>
                <a:gd name="T43" fmla="*/ 153 h 410"/>
                <a:gd name="T44" fmla="*/ 175 w 258"/>
                <a:gd name="T45" fmla="*/ 134 h 410"/>
                <a:gd name="T46" fmla="*/ 196 w 258"/>
                <a:gd name="T47" fmla="*/ 113 h 410"/>
                <a:gd name="T48" fmla="*/ 214 w 258"/>
                <a:gd name="T49" fmla="*/ 92 h 410"/>
                <a:gd name="T50" fmla="*/ 229 w 258"/>
                <a:gd name="T51" fmla="*/ 70 h 410"/>
                <a:gd name="T52" fmla="*/ 241 w 258"/>
                <a:gd name="T53" fmla="*/ 48 h 410"/>
                <a:gd name="T54" fmla="*/ 250 w 258"/>
                <a:gd name="T55" fmla="*/ 24 h 410"/>
                <a:gd name="T56" fmla="*/ 257 w 258"/>
                <a:gd name="T57" fmla="*/ 0 h 41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58"/>
                <a:gd name="T88" fmla="*/ 0 h 410"/>
                <a:gd name="T89" fmla="*/ 258 w 258"/>
                <a:gd name="T90" fmla="*/ 410 h 410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58" h="410">
                  <a:moveTo>
                    <a:pt x="257" y="0"/>
                  </a:moveTo>
                  <a:lnTo>
                    <a:pt x="257" y="147"/>
                  </a:lnTo>
                  <a:lnTo>
                    <a:pt x="257" y="169"/>
                  </a:lnTo>
                  <a:lnTo>
                    <a:pt x="255" y="191"/>
                  </a:lnTo>
                  <a:lnTo>
                    <a:pt x="249" y="212"/>
                  </a:lnTo>
                  <a:lnTo>
                    <a:pt x="240" y="233"/>
                  </a:lnTo>
                  <a:lnTo>
                    <a:pt x="229" y="253"/>
                  </a:lnTo>
                  <a:lnTo>
                    <a:pt x="215" y="273"/>
                  </a:lnTo>
                  <a:lnTo>
                    <a:pt x="197" y="293"/>
                  </a:lnTo>
                  <a:lnTo>
                    <a:pt x="177" y="311"/>
                  </a:lnTo>
                  <a:lnTo>
                    <a:pt x="155" y="329"/>
                  </a:lnTo>
                  <a:lnTo>
                    <a:pt x="126" y="350"/>
                  </a:lnTo>
                  <a:lnTo>
                    <a:pt x="96" y="367"/>
                  </a:lnTo>
                  <a:lnTo>
                    <a:pt x="65" y="383"/>
                  </a:lnTo>
                  <a:lnTo>
                    <a:pt x="32" y="397"/>
                  </a:lnTo>
                  <a:lnTo>
                    <a:pt x="0" y="409"/>
                  </a:lnTo>
                  <a:lnTo>
                    <a:pt x="0" y="235"/>
                  </a:lnTo>
                  <a:lnTo>
                    <a:pt x="35" y="221"/>
                  </a:lnTo>
                  <a:lnTo>
                    <a:pt x="68" y="205"/>
                  </a:lnTo>
                  <a:lnTo>
                    <a:pt x="99" y="188"/>
                  </a:lnTo>
                  <a:lnTo>
                    <a:pt x="126" y="171"/>
                  </a:lnTo>
                  <a:lnTo>
                    <a:pt x="152" y="153"/>
                  </a:lnTo>
                  <a:lnTo>
                    <a:pt x="175" y="134"/>
                  </a:lnTo>
                  <a:lnTo>
                    <a:pt x="196" y="113"/>
                  </a:lnTo>
                  <a:lnTo>
                    <a:pt x="214" y="92"/>
                  </a:lnTo>
                  <a:lnTo>
                    <a:pt x="229" y="70"/>
                  </a:lnTo>
                  <a:lnTo>
                    <a:pt x="241" y="48"/>
                  </a:lnTo>
                  <a:lnTo>
                    <a:pt x="250" y="24"/>
                  </a:lnTo>
                  <a:lnTo>
                    <a:pt x="257" y="0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0" name="Freeform 8"/>
            <p:cNvSpPr>
              <a:spLocks/>
            </p:cNvSpPr>
            <p:nvPr/>
          </p:nvSpPr>
          <p:spPr bwMode="blackWhite">
            <a:xfrm>
              <a:off x="5394339" y="2884766"/>
              <a:ext cx="2555028" cy="1462629"/>
            </a:xfrm>
            <a:custGeom>
              <a:avLst/>
              <a:gdLst>
                <a:gd name="T0" fmla="*/ 563 w 823"/>
                <a:gd name="T1" fmla="*/ 525 h 526"/>
                <a:gd name="T2" fmla="*/ 600 w 823"/>
                <a:gd name="T3" fmla="*/ 510 h 526"/>
                <a:gd name="T4" fmla="*/ 635 w 823"/>
                <a:gd name="T5" fmla="*/ 494 h 526"/>
                <a:gd name="T6" fmla="*/ 666 w 823"/>
                <a:gd name="T7" fmla="*/ 478 h 526"/>
                <a:gd name="T8" fmla="*/ 696 w 823"/>
                <a:gd name="T9" fmla="*/ 460 h 526"/>
                <a:gd name="T10" fmla="*/ 722 w 823"/>
                <a:gd name="T11" fmla="*/ 442 h 526"/>
                <a:gd name="T12" fmla="*/ 746 w 823"/>
                <a:gd name="T13" fmla="*/ 423 h 526"/>
                <a:gd name="T14" fmla="*/ 766 w 823"/>
                <a:gd name="T15" fmla="*/ 404 h 526"/>
                <a:gd name="T16" fmla="*/ 784 w 823"/>
                <a:gd name="T17" fmla="*/ 384 h 526"/>
                <a:gd name="T18" fmla="*/ 798 w 823"/>
                <a:gd name="T19" fmla="*/ 363 h 526"/>
                <a:gd name="T20" fmla="*/ 809 w 823"/>
                <a:gd name="T21" fmla="*/ 342 h 526"/>
                <a:gd name="T22" fmla="*/ 816 w 823"/>
                <a:gd name="T23" fmla="*/ 321 h 526"/>
                <a:gd name="T24" fmla="*/ 821 w 823"/>
                <a:gd name="T25" fmla="*/ 300 h 526"/>
                <a:gd name="T26" fmla="*/ 822 w 823"/>
                <a:gd name="T27" fmla="*/ 278 h 526"/>
                <a:gd name="T28" fmla="*/ 821 w 823"/>
                <a:gd name="T29" fmla="*/ 256 h 526"/>
                <a:gd name="T30" fmla="*/ 815 w 823"/>
                <a:gd name="T31" fmla="*/ 235 h 526"/>
                <a:gd name="T32" fmla="*/ 806 w 823"/>
                <a:gd name="T33" fmla="*/ 213 h 526"/>
                <a:gd name="T34" fmla="*/ 795 w 823"/>
                <a:gd name="T35" fmla="*/ 191 h 526"/>
                <a:gd name="T36" fmla="*/ 780 w 823"/>
                <a:gd name="T37" fmla="*/ 171 h 526"/>
                <a:gd name="T38" fmla="*/ 761 w 823"/>
                <a:gd name="T39" fmla="*/ 149 h 526"/>
                <a:gd name="T40" fmla="*/ 740 w 823"/>
                <a:gd name="T41" fmla="*/ 129 h 526"/>
                <a:gd name="T42" fmla="*/ 715 w 823"/>
                <a:gd name="T43" fmla="*/ 108 h 526"/>
                <a:gd name="T44" fmla="*/ 689 w 823"/>
                <a:gd name="T45" fmla="*/ 89 h 526"/>
                <a:gd name="T46" fmla="*/ 659 w 823"/>
                <a:gd name="T47" fmla="*/ 70 h 526"/>
                <a:gd name="T48" fmla="*/ 626 w 823"/>
                <a:gd name="T49" fmla="*/ 52 h 526"/>
                <a:gd name="T50" fmla="*/ 591 w 823"/>
                <a:gd name="T51" fmla="*/ 33 h 526"/>
                <a:gd name="T52" fmla="*/ 553 w 823"/>
                <a:gd name="T53" fmla="*/ 17 h 526"/>
                <a:gd name="T54" fmla="*/ 513 w 823"/>
                <a:gd name="T55" fmla="*/ 0 h 526"/>
                <a:gd name="T56" fmla="*/ 0 w 823"/>
                <a:gd name="T57" fmla="*/ 233 h 526"/>
                <a:gd name="T58" fmla="*/ 563 w 823"/>
                <a:gd name="T59" fmla="*/ 525 h 5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23"/>
                <a:gd name="T91" fmla="*/ 0 h 526"/>
                <a:gd name="T92" fmla="*/ 823 w 823"/>
                <a:gd name="T93" fmla="*/ 526 h 5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23" h="526">
                  <a:moveTo>
                    <a:pt x="563" y="525"/>
                  </a:moveTo>
                  <a:lnTo>
                    <a:pt x="600" y="510"/>
                  </a:lnTo>
                  <a:lnTo>
                    <a:pt x="635" y="494"/>
                  </a:lnTo>
                  <a:lnTo>
                    <a:pt x="666" y="478"/>
                  </a:lnTo>
                  <a:lnTo>
                    <a:pt x="696" y="460"/>
                  </a:lnTo>
                  <a:lnTo>
                    <a:pt x="722" y="442"/>
                  </a:lnTo>
                  <a:lnTo>
                    <a:pt x="746" y="423"/>
                  </a:lnTo>
                  <a:lnTo>
                    <a:pt x="766" y="404"/>
                  </a:lnTo>
                  <a:lnTo>
                    <a:pt x="784" y="384"/>
                  </a:lnTo>
                  <a:lnTo>
                    <a:pt x="798" y="363"/>
                  </a:lnTo>
                  <a:lnTo>
                    <a:pt x="809" y="342"/>
                  </a:lnTo>
                  <a:lnTo>
                    <a:pt x="816" y="321"/>
                  </a:lnTo>
                  <a:lnTo>
                    <a:pt x="821" y="300"/>
                  </a:lnTo>
                  <a:lnTo>
                    <a:pt x="822" y="278"/>
                  </a:lnTo>
                  <a:lnTo>
                    <a:pt x="821" y="256"/>
                  </a:lnTo>
                  <a:lnTo>
                    <a:pt x="815" y="235"/>
                  </a:lnTo>
                  <a:lnTo>
                    <a:pt x="806" y="213"/>
                  </a:lnTo>
                  <a:lnTo>
                    <a:pt x="795" y="191"/>
                  </a:lnTo>
                  <a:lnTo>
                    <a:pt x="780" y="171"/>
                  </a:lnTo>
                  <a:lnTo>
                    <a:pt x="761" y="149"/>
                  </a:lnTo>
                  <a:lnTo>
                    <a:pt x="740" y="129"/>
                  </a:lnTo>
                  <a:lnTo>
                    <a:pt x="715" y="108"/>
                  </a:lnTo>
                  <a:lnTo>
                    <a:pt x="689" y="89"/>
                  </a:lnTo>
                  <a:lnTo>
                    <a:pt x="659" y="70"/>
                  </a:lnTo>
                  <a:lnTo>
                    <a:pt x="626" y="52"/>
                  </a:lnTo>
                  <a:lnTo>
                    <a:pt x="591" y="33"/>
                  </a:lnTo>
                  <a:lnTo>
                    <a:pt x="553" y="17"/>
                  </a:lnTo>
                  <a:lnTo>
                    <a:pt x="513" y="0"/>
                  </a:lnTo>
                  <a:lnTo>
                    <a:pt x="0" y="233"/>
                  </a:lnTo>
                  <a:lnTo>
                    <a:pt x="563" y="525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1" name="Freeform 9"/>
            <p:cNvSpPr>
              <a:spLocks/>
            </p:cNvSpPr>
            <p:nvPr/>
          </p:nvSpPr>
          <p:spPr bwMode="ltGray">
            <a:xfrm>
              <a:off x="5067941" y="3523166"/>
              <a:ext cx="3004264" cy="1961511"/>
            </a:xfrm>
            <a:custGeom>
              <a:avLst/>
              <a:gdLst>
                <a:gd name="T0" fmla="*/ 1 w 968"/>
                <a:gd name="T1" fmla="*/ 230 h 705"/>
                <a:gd name="T2" fmla="*/ 806 w 968"/>
                <a:gd name="T3" fmla="*/ 609 h 705"/>
                <a:gd name="T4" fmla="*/ 806 w 968"/>
                <a:gd name="T5" fmla="*/ 704 h 705"/>
                <a:gd name="T6" fmla="*/ 967 w 968"/>
                <a:gd name="T7" fmla="*/ 539 h 705"/>
                <a:gd name="T8" fmla="*/ 811 w 968"/>
                <a:gd name="T9" fmla="*/ 328 h 705"/>
                <a:gd name="T10" fmla="*/ 811 w 968"/>
                <a:gd name="T11" fmla="*/ 369 h 705"/>
                <a:gd name="T12" fmla="*/ 811 w 968"/>
                <a:gd name="T13" fmla="*/ 410 h 705"/>
                <a:gd name="T14" fmla="*/ 0 w 968"/>
                <a:gd name="T15" fmla="*/ 0 h 705"/>
                <a:gd name="T16" fmla="*/ 1 w 968"/>
                <a:gd name="T17" fmla="*/ 230 h 7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68"/>
                <a:gd name="T28" fmla="*/ 0 h 705"/>
                <a:gd name="T29" fmla="*/ 968 w 968"/>
                <a:gd name="T30" fmla="*/ 705 h 7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68" h="705">
                  <a:moveTo>
                    <a:pt x="1" y="230"/>
                  </a:moveTo>
                  <a:lnTo>
                    <a:pt x="806" y="609"/>
                  </a:lnTo>
                  <a:lnTo>
                    <a:pt x="806" y="704"/>
                  </a:lnTo>
                  <a:lnTo>
                    <a:pt x="967" y="539"/>
                  </a:lnTo>
                  <a:lnTo>
                    <a:pt x="811" y="328"/>
                  </a:lnTo>
                  <a:lnTo>
                    <a:pt x="811" y="369"/>
                  </a:lnTo>
                  <a:lnTo>
                    <a:pt x="811" y="410"/>
                  </a:lnTo>
                  <a:lnTo>
                    <a:pt x="0" y="0"/>
                  </a:lnTo>
                  <a:lnTo>
                    <a:pt x="1" y="230"/>
                  </a:lnTo>
                </a:path>
              </a:pathLst>
            </a:custGeom>
            <a:solidFill>
              <a:schemeClr val="accent2"/>
            </a:solidFill>
            <a:ln w="127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2" name="Freeform 10"/>
            <p:cNvSpPr>
              <a:spLocks/>
            </p:cNvSpPr>
            <p:nvPr/>
          </p:nvSpPr>
          <p:spPr bwMode="ltGray">
            <a:xfrm>
              <a:off x="1953124" y="2226930"/>
              <a:ext cx="3118327" cy="1817354"/>
            </a:xfrm>
            <a:custGeom>
              <a:avLst/>
              <a:gdLst>
                <a:gd name="T0" fmla="*/ 1004 w 1005"/>
                <a:gd name="T1" fmla="*/ 652 h 653"/>
                <a:gd name="T2" fmla="*/ 1004 w 1005"/>
                <a:gd name="T3" fmla="*/ 464 h 653"/>
                <a:gd name="T4" fmla="*/ 133 w 1005"/>
                <a:gd name="T5" fmla="*/ 65 h 653"/>
                <a:gd name="T6" fmla="*/ 133 w 1005"/>
                <a:gd name="T7" fmla="*/ 0 h 653"/>
                <a:gd name="T8" fmla="*/ 0 w 1005"/>
                <a:gd name="T9" fmla="*/ 128 h 653"/>
                <a:gd name="T10" fmla="*/ 126 w 1005"/>
                <a:gd name="T11" fmla="*/ 323 h 653"/>
                <a:gd name="T12" fmla="*/ 126 w 1005"/>
                <a:gd name="T13" fmla="*/ 261 h 653"/>
                <a:gd name="T14" fmla="*/ 1004 w 1005"/>
                <a:gd name="T15" fmla="*/ 652 h 65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05"/>
                <a:gd name="T25" fmla="*/ 0 h 653"/>
                <a:gd name="T26" fmla="*/ 1005 w 1005"/>
                <a:gd name="T27" fmla="*/ 653 h 65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05" h="653">
                  <a:moveTo>
                    <a:pt x="1004" y="652"/>
                  </a:moveTo>
                  <a:lnTo>
                    <a:pt x="1004" y="464"/>
                  </a:lnTo>
                  <a:lnTo>
                    <a:pt x="133" y="65"/>
                  </a:lnTo>
                  <a:lnTo>
                    <a:pt x="133" y="0"/>
                  </a:lnTo>
                  <a:lnTo>
                    <a:pt x="0" y="128"/>
                  </a:lnTo>
                  <a:lnTo>
                    <a:pt x="126" y="323"/>
                  </a:lnTo>
                  <a:lnTo>
                    <a:pt x="126" y="261"/>
                  </a:lnTo>
                  <a:lnTo>
                    <a:pt x="1004" y="652"/>
                  </a:lnTo>
                </a:path>
              </a:pathLst>
            </a:custGeom>
            <a:solidFill>
              <a:schemeClr val="accent2"/>
            </a:solidFill>
            <a:ln w="127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3" name="Freeform 11"/>
            <p:cNvSpPr>
              <a:spLocks/>
            </p:cNvSpPr>
            <p:nvPr/>
          </p:nvSpPr>
          <p:spPr bwMode="blackWhite">
            <a:xfrm>
              <a:off x="2907750" y="3547241"/>
              <a:ext cx="1833794" cy="1193753"/>
            </a:xfrm>
            <a:custGeom>
              <a:avLst/>
              <a:gdLst>
                <a:gd name="T0" fmla="*/ 591 w 592"/>
                <a:gd name="T1" fmla="*/ 0 h 429"/>
                <a:gd name="T2" fmla="*/ 394 w 592"/>
                <a:gd name="T3" fmla="*/ 94 h 429"/>
                <a:gd name="T4" fmla="*/ 197 w 592"/>
                <a:gd name="T5" fmla="*/ 188 h 429"/>
                <a:gd name="T6" fmla="*/ 0 w 592"/>
                <a:gd name="T7" fmla="*/ 280 h 429"/>
                <a:gd name="T8" fmla="*/ 0 w 592"/>
                <a:gd name="T9" fmla="*/ 355 h 429"/>
                <a:gd name="T10" fmla="*/ 1 w 592"/>
                <a:gd name="T11" fmla="*/ 428 h 429"/>
                <a:gd name="T12" fmla="*/ 591 w 592"/>
                <a:gd name="T13" fmla="*/ 137 h 429"/>
                <a:gd name="T14" fmla="*/ 591 w 592"/>
                <a:gd name="T15" fmla="*/ 0 h 4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92"/>
                <a:gd name="T25" fmla="*/ 0 h 429"/>
                <a:gd name="T26" fmla="*/ 592 w 592"/>
                <a:gd name="T27" fmla="*/ 429 h 4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92" h="429">
                  <a:moveTo>
                    <a:pt x="591" y="0"/>
                  </a:moveTo>
                  <a:lnTo>
                    <a:pt x="394" y="94"/>
                  </a:lnTo>
                  <a:lnTo>
                    <a:pt x="197" y="188"/>
                  </a:lnTo>
                  <a:lnTo>
                    <a:pt x="0" y="280"/>
                  </a:lnTo>
                  <a:lnTo>
                    <a:pt x="0" y="355"/>
                  </a:lnTo>
                  <a:lnTo>
                    <a:pt x="1" y="428"/>
                  </a:lnTo>
                  <a:lnTo>
                    <a:pt x="591" y="137"/>
                  </a:lnTo>
                  <a:lnTo>
                    <a:pt x="591" y="0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4" name="Freeform 12"/>
            <p:cNvSpPr>
              <a:spLocks/>
            </p:cNvSpPr>
            <p:nvPr/>
          </p:nvSpPr>
          <p:spPr bwMode="blackWhite">
            <a:xfrm>
              <a:off x="2198799" y="3736752"/>
              <a:ext cx="715969" cy="1101427"/>
            </a:xfrm>
            <a:custGeom>
              <a:avLst/>
              <a:gdLst>
                <a:gd name="T0" fmla="*/ 1 w 231"/>
                <a:gd name="T1" fmla="*/ 0 h 396"/>
                <a:gd name="T2" fmla="*/ 0 w 231"/>
                <a:gd name="T3" fmla="*/ 158 h 396"/>
                <a:gd name="T4" fmla="*/ 1 w 231"/>
                <a:gd name="T5" fmla="*/ 171 h 396"/>
                <a:gd name="T6" fmla="*/ 4 w 231"/>
                <a:gd name="T7" fmla="*/ 185 h 396"/>
                <a:gd name="T8" fmla="*/ 10 w 231"/>
                <a:gd name="T9" fmla="*/ 200 h 396"/>
                <a:gd name="T10" fmla="*/ 19 w 231"/>
                <a:gd name="T11" fmla="*/ 216 h 396"/>
                <a:gd name="T12" fmla="*/ 29 w 231"/>
                <a:gd name="T13" fmla="*/ 232 h 396"/>
                <a:gd name="T14" fmla="*/ 41 w 231"/>
                <a:gd name="T15" fmla="*/ 248 h 396"/>
                <a:gd name="T16" fmla="*/ 55 w 231"/>
                <a:gd name="T17" fmla="*/ 265 h 396"/>
                <a:gd name="T18" fmla="*/ 71 w 231"/>
                <a:gd name="T19" fmla="*/ 281 h 396"/>
                <a:gd name="T20" fmla="*/ 109 w 231"/>
                <a:gd name="T21" fmla="*/ 312 h 396"/>
                <a:gd name="T22" fmla="*/ 148 w 231"/>
                <a:gd name="T23" fmla="*/ 341 h 396"/>
                <a:gd name="T24" fmla="*/ 189 w 231"/>
                <a:gd name="T25" fmla="*/ 369 h 396"/>
                <a:gd name="T26" fmla="*/ 230 w 231"/>
                <a:gd name="T27" fmla="*/ 395 h 396"/>
                <a:gd name="T28" fmla="*/ 230 w 231"/>
                <a:gd name="T29" fmla="*/ 207 h 396"/>
                <a:gd name="T30" fmla="*/ 195 w 231"/>
                <a:gd name="T31" fmla="*/ 193 h 396"/>
                <a:gd name="T32" fmla="*/ 162 w 231"/>
                <a:gd name="T33" fmla="*/ 178 h 396"/>
                <a:gd name="T34" fmla="*/ 132 w 231"/>
                <a:gd name="T35" fmla="*/ 162 h 396"/>
                <a:gd name="T36" fmla="*/ 105 w 231"/>
                <a:gd name="T37" fmla="*/ 145 h 396"/>
                <a:gd name="T38" fmla="*/ 81 w 231"/>
                <a:gd name="T39" fmla="*/ 128 h 396"/>
                <a:gd name="T40" fmla="*/ 59 w 231"/>
                <a:gd name="T41" fmla="*/ 109 h 396"/>
                <a:gd name="T42" fmla="*/ 42 w 231"/>
                <a:gd name="T43" fmla="*/ 88 h 396"/>
                <a:gd name="T44" fmla="*/ 27 w 231"/>
                <a:gd name="T45" fmla="*/ 67 h 396"/>
                <a:gd name="T46" fmla="*/ 15 w 231"/>
                <a:gd name="T47" fmla="*/ 45 h 396"/>
                <a:gd name="T48" fmla="*/ 6 w 231"/>
                <a:gd name="T49" fmla="*/ 23 h 396"/>
                <a:gd name="T50" fmla="*/ 1 w 231"/>
                <a:gd name="T51" fmla="*/ 0 h 39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31"/>
                <a:gd name="T79" fmla="*/ 0 h 396"/>
                <a:gd name="T80" fmla="*/ 231 w 231"/>
                <a:gd name="T81" fmla="*/ 396 h 39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31" h="396">
                  <a:moveTo>
                    <a:pt x="1" y="0"/>
                  </a:moveTo>
                  <a:lnTo>
                    <a:pt x="0" y="158"/>
                  </a:lnTo>
                  <a:lnTo>
                    <a:pt x="1" y="171"/>
                  </a:lnTo>
                  <a:lnTo>
                    <a:pt x="4" y="185"/>
                  </a:lnTo>
                  <a:lnTo>
                    <a:pt x="10" y="200"/>
                  </a:lnTo>
                  <a:lnTo>
                    <a:pt x="19" y="216"/>
                  </a:lnTo>
                  <a:lnTo>
                    <a:pt x="29" y="232"/>
                  </a:lnTo>
                  <a:lnTo>
                    <a:pt x="41" y="248"/>
                  </a:lnTo>
                  <a:lnTo>
                    <a:pt x="55" y="265"/>
                  </a:lnTo>
                  <a:lnTo>
                    <a:pt x="71" y="281"/>
                  </a:lnTo>
                  <a:lnTo>
                    <a:pt x="109" y="312"/>
                  </a:lnTo>
                  <a:lnTo>
                    <a:pt x="148" y="341"/>
                  </a:lnTo>
                  <a:lnTo>
                    <a:pt x="189" y="369"/>
                  </a:lnTo>
                  <a:lnTo>
                    <a:pt x="230" y="395"/>
                  </a:lnTo>
                  <a:lnTo>
                    <a:pt x="230" y="207"/>
                  </a:lnTo>
                  <a:lnTo>
                    <a:pt x="195" y="193"/>
                  </a:lnTo>
                  <a:lnTo>
                    <a:pt x="162" y="178"/>
                  </a:lnTo>
                  <a:lnTo>
                    <a:pt x="132" y="162"/>
                  </a:lnTo>
                  <a:lnTo>
                    <a:pt x="105" y="145"/>
                  </a:lnTo>
                  <a:lnTo>
                    <a:pt x="81" y="128"/>
                  </a:lnTo>
                  <a:lnTo>
                    <a:pt x="59" y="109"/>
                  </a:lnTo>
                  <a:lnTo>
                    <a:pt x="42" y="88"/>
                  </a:lnTo>
                  <a:lnTo>
                    <a:pt x="27" y="67"/>
                  </a:lnTo>
                  <a:lnTo>
                    <a:pt x="15" y="45"/>
                  </a:lnTo>
                  <a:lnTo>
                    <a:pt x="6" y="23"/>
                  </a:lnTo>
                  <a:lnTo>
                    <a:pt x="1" y="0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5" name="Freeform 13"/>
            <p:cNvSpPr>
              <a:spLocks/>
            </p:cNvSpPr>
            <p:nvPr/>
          </p:nvSpPr>
          <p:spPr bwMode="blackWhite">
            <a:xfrm>
              <a:off x="2195290" y="2896104"/>
              <a:ext cx="2549763" cy="1435094"/>
            </a:xfrm>
            <a:custGeom>
              <a:avLst/>
              <a:gdLst>
                <a:gd name="T0" fmla="*/ 228 w 822"/>
                <a:gd name="T1" fmla="*/ 515 h 516"/>
                <a:gd name="T2" fmla="*/ 194 w 822"/>
                <a:gd name="T3" fmla="*/ 504 h 516"/>
                <a:gd name="T4" fmla="*/ 163 w 822"/>
                <a:gd name="T5" fmla="*/ 491 h 516"/>
                <a:gd name="T6" fmla="*/ 134 w 822"/>
                <a:gd name="T7" fmla="*/ 477 h 516"/>
                <a:gd name="T8" fmla="*/ 107 w 822"/>
                <a:gd name="T9" fmla="*/ 461 h 516"/>
                <a:gd name="T10" fmla="*/ 84 w 822"/>
                <a:gd name="T11" fmla="*/ 445 h 516"/>
                <a:gd name="T12" fmla="*/ 63 w 822"/>
                <a:gd name="T13" fmla="*/ 427 h 516"/>
                <a:gd name="T14" fmla="*/ 45 w 822"/>
                <a:gd name="T15" fmla="*/ 408 h 516"/>
                <a:gd name="T16" fmla="*/ 30 w 822"/>
                <a:gd name="T17" fmla="*/ 389 h 516"/>
                <a:gd name="T18" fmla="*/ 17 w 822"/>
                <a:gd name="T19" fmla="*/ 368 h 516"/>
                <a:gd name="T20" fmla="*/ 9 w 822"/>
                <a:gd name="T21" fmla="*/ 347 h 516"/>
                <a:gd name="T22" fmla="*/ 3 w 822"/>
                <a:gd name="T23" fmla="*/ 326 h 516"/>
                <a:gd name="T24" fmla="*/ 0 w 822"/>
                <a:gd name="T25" fmla="*/ 303 h 516"/>
                <a:gd name="T26" fmla="*/ 1 w 822"/>
                <a:gd name="T27" fmla="*/ 281 h 516"/>
                <a:gd name="T28" fmla="*/ 5 w 822"/>
                <a:gd name="T29" fmla="*/ 258 h 516"/>
                <a:gd name="T30" fmla="*/ 13 w 822"/>
                <a:gd name="T31" fmla="*/ 236 h 516"/>
                <a:gd name="T32" fmla="*/ 24 w 822"/>
                <a:gd name="T33" fmla="*/ 213 h 516"/>
                <a:gd name="T34" fmla="*/ 37 w 822"/>
                <a:gd name="T35" fmla="*/ 191 h 516"/>
                <a:gd name="T36" fmla="*/ 54 w 822"/>
                <a:gd name="T37" fmla="*/ 168 h 516"/>
                <a:gd name="T38" fmla="*/ 74 w 822"/>
                <a:gd name="T39" fmla="*/ 147 h 516"/>
                <a:gd name="T40" fmla="*/ 96 w 822"/>
                <a:gd name="T41" fmla="*/ 125 h 516"/>
                <a:gd name="T42" fmla="*/ 121 w 822"/>
                <a:gd name="T43" fmla="*/ 105 h 516"/>
                <a:gd name="T44" fmla="*/ 149 w 822"/>
                <a:gd name="T45" fmla="*/ 85 h 516"/>
                <a:gd name="T46" fmla="*/ 180 w 822"/>
                <a:gd name="T47" fmla="*/ 66 h 516"/>
                <a:gd name="T48" fmla="*/ 212 w 822"/>
                <a:gd name="T49" fmla="*/ 48 h 516"/>
                <a:gd name="T50" fmla="*/ 246 w 822"/>
                <a:gd name="T51" fmla="*/ 31 h 516"/>
                <a:gd name="T52" fmla="*/ 283 w 822"/>
                <a:gd name="T53" fmla="*/ 15 h 516"/>
                <a:gd name="T54" fmla="*/ 321 w 822"/>
                <a:gd name="T55" fmla="*/ 0 h 516"/>
                <a:gd name="T56" fmla="*/ 821 w 822"/>
                <a:gd name="T57" fmla="*/ 234 h 516"/>
                <a:gd name="T58" fmla="*/ 228 w 822"/>
                <a:gd name="T59" fmla="*/ 515 h 51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22"/>
                <a:gd name="T91" fmla="*/ 0 h 516"/>
                <a:gd name="T92" fmla="*/ 822 w 822"/>
                <a:gd name="T93" fmla="*/ 516 h 51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22" h="516">
                  <a:moveTo>
                    <a:pt x="228" y="515"/>
                  </a:moveTo>
                  <a:lnTo>
                    <a:pt x="194" y="504"/>
                  </a:lnTo>
                  <a:lnTo>
                    <a:pt x="163" y="491"/>
                  </a:lnTo>
                  <a:lnTo>
                    <a:pt x="134" y="477"/>
                  </a:lnTo>
                  <a:lnTo>
                    <a:pt x="107" y="461"/>
                  </a:lnTo>
                  <a:lnTo>
                    <a:pt x="84" y="445"/>
                  </a:lnTo>
                  <a:lnTo>
                    <a:pt x="63" y="427"/>
                  </a:lnTo>
                  <a:lnTo>
                    <a:pt x="45" y="408"/>
                  </a:lnTo>
                  <a:lnTo>
                    <a:pt x="30" y="389"/>
                  </a:lnTo>
                  <a:lnTo>
                    <a:pt x="17" y="368"/>
                  </a:lnTo>
                  <a:lnTo>
                    <a:pt x="9" y="347"/>
                  </a:lnTo>
                  <a:lnTo>
                    <a:pt x="3" y="326"/>
                  </a:lnTo>
                  <a:lnTo>
                    <a:pt x="0" y="303"/>
                  </a:lnTo>
                  <a:lnTo>
                    <a:pt x="1" y="281"/>
                  </a:lnTo>
                  <a:lnTo>
                    <a:pt x="5" y="258"/>
                  </a:lnTo>
                  <a:lnTo>
                    <a:pt x="13" y="236"/>
                  </a:lnTo>
                  <a:lnTo>
                    <a:pt x="24" y="213"/>
                  </a:lnTo>
                  <a:lnTo>
                    <a:pt x="37" y="191"/>
                  </a:lnTo>
                  <a:lnTo>
                    <a:pt x="54" y="168"/>
                  </a:lnTo>
                  <a:lnTo>
                    <a:pt x="74" y="147"/>
                  </a:lnTo>
                  <a:lnTo>
                    <a:pt x="96" y="125"/>
                  </a:lnTo>
                  <a:lnTo>
                    <a:pt x="121" y="105"/>
                  </a:lnTo>
                  <a:lnTo>
                    <a:pt x="149" y="85"/>
                  </a:lnTo>
                  <a:lnTo>
                    <a:pt x="180" y="66"/>
                  </a:lnTo>
                  <a:lnTo>
                    <a:pt x="212" y="48"/>
                  </a:lnTo>
                  <a:lnTo>
                    <a:pt x="246" y="31"/>
                  </a:lnTo>
                  <a:lnTo>
                    <a:pt x="283" y="15"/>
                  </a:lnTo>
                  <a:lnTo>
                    <a:pt x="321" y="0"/>
                  </a:lnTo>
                  <a:lnTo>
                    <a:pt x="821" y="234"/>
                  </a:lnTo>
                  <a:lnTo>
                    <a:pt x="228" y="515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6" name="Freeform 14"/>
            <p:cNvSpPr>
              <a:spLocks/>
            </p:cNvSpPr>
            <p:nvPr/>
          </p:nvSpPr>
          <p:spPr bwMode="ltGray">
            <a:xfrm>
              <a:off x="2067186" y="3529425"/>
              <a:ext cx="3004264" cy="1929116"/>
            </a:xfrm>
            <a:custGeom>
              <a:avLst/>
              <a:gdLst>
                <a:gd name="T0" fmla="*/ 967 w 968"/>
                <a:gd name="T1" fmla="*/ 220 h 694"/>
                <a:gd name="T2" fmla="*/ 162 w 968"/>
                <a:gd name="T3" fmla="*/ 599 h 694"/>
                <a:gd name="T4" fmla="*/ 162 w 968"/>
                <a:gd name="T5" fmla="*/ 693 h 694"/>
                <a:gd name="T6" fmla="*/ 0 w 968"/>
                <a:gd name="T7" fmla="*/ 529 h 694"/>
                <a:gd name="T8" fmla="*/ 152 w 968"/>
                <a:gd name="T9" fmla="*/ 289 h 694"/>
                <a:gd name="T10" fmla="*/ 153 w 968"/>
                <a:gd name="T11" fmla="*/ 333 h 694"/>
                <a:gd name="T12" fmla="*/ 152 w 968"/>
                <a:gd name="T13" fmla="*/ 378 h 694"/>
                <a:gd name="T14" fmla="*/ 967 w 968"/>
                <a:gd name="T15" fmla="*/ 0 h 694"/>
                <a:gd name="T16" fmla="*/ 967 w 968"/>
                <a:gd name="T17" fmla="*/ 220 h 69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68"/>
                <a:gd name="T28" fmla="*/ 0 h 694"/>
                <a:gd name="T29" fmla="*/ 968 w 968"/>
                <a:gd name="T30" fmla="*/ 694 h 69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68" h="694">
                  <a:moveTo>
                    <a:pt x="967" y="220"/>
                  </a:moveTo>
                  <a:lnTo>
                    <a:pt x="162" y="599"/>
                  </a:lnTo>
                  <a:lnTo>
                    <a:pt x="162" y="693"/>
                  </a:lnTo>
                  <a:lnTo>
                    <a:pt x="0" y="529"/>
                  </a:lnTo>
                  <a:lnTo>
                    <a:pt x="152" y="289"/>
                  </a:lnTo>
                  <a:lnTo>
                    <a:pt x="153" y="333"/>
                  </a:lnTo>
                  <a:lnTo>
                    <a:pt x="152" y="378"/>
                  </a:lnTo>
                  <a:lnTo>
                    <a:pt x="967" y="0"/>
                  </a:lnTo>
                  <a:lnTo>
                    <a:pt x="967" y="220"/>
                  </a:lnTo>
                </a:path>
              </a:pathLst>
            </a:custGeom>
            <a:solidFill>
              <a:schemeClr val="accent2"/>
            </a:solidFill>
            <a:ln w="1270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7" name="Freeform 15"/>
            <p:cNvSpPr>
              <a:spLocks/>
            </p:cNvSpPr>
            <p:nvPr/>
          </p:nvSpPr>
          <p:spPr bwMode="blackWhite">
            <a:xfrm>
              <a:off x="3328909" y="4462398"/>
              <a:ext cx="3462273" cy="733744"/>
            </a:xfrm>
            <a:custGeom>
              <a:avLst/>
              <a:gdLst>
                <a:gd name="T0" fmla="*/ 0 w 1116"/>
                <a:gd name="T1" fmla="*/ 179 h 264"/>
                <a:gd name="T2" fmla="*/ 39 w 1116"/>
                <a:gd name="T3" fmla="*/ 192 h 264"/>
                <a:gd name="T4" fmla="*/ 78 w 1116"/>
                <a:gd name="T5" fmla="*/ 204 h 264"/>
                <a:gd name="T6" fmla="*/ 120 w 1116"/>
                <a:gd name="T7" fmla="*/ 215 h 264"/>
                <a:gd name="T8" fmla="*/ 164 w 1116"/>
                <a:gd name="T9" fmla="*/ 225 h 264"/>
                <a:gd name="T10" fmla="*/ 210 w 1116"/>
                <a:gd name="T11" fmla="*/ 234 h 264"/>
                <a:gd name="T12" fmla="*/ 257 w 1116"/>
                <a:gd name="T13" fmla="*/ 243 h 264"/>
                <a:gd name="T14" fmla="*/ 305 w 1116"/>
                <a:gd name="T15" fmla="*/ 249 h 264"/>
                <a:gd name="T16" fmla="*/ 354 w 1116"/>
                <a:gd name="T17" fmla="*/ 254 h 264"/>
                <a:gd name="T18" fmla="*/ 405 w 1116"/>
                <a:gd name="T19" fmla="*/ 258 h 264"/>
                <a:gd name="T20" fmla="*/ 456 w 1116"/>
                <a:gd name="T21" fmla="*/ 262 h 264"/>
                <a:gd name="T22" fmla="*/ 507 w 1116"/>
                <a:gd name="T23" fmla="*/ 263 h 264"/>
                <a:gd name="T24" fmla="*/ 560 w 1116"/>
                <a:gd name="T25" fmla="*/ 263 h 264"/>
                <a:gd name="T26" fmla="*/ 612 w 1116"/>
                <a:gd name="T27" fmla="*/ 263 h 264"/>
                <a:gd name="T28" fmla="*/ 665 w 1116"/>
                <a:gd name="T29" fmla="*/ 261 h 264"/>
                <a:gd name="T30" fmla="*/ 718 w 1116"/>
                <a:gd name="T31" fmla="*/ 258 h 264"/>
                <a:gd name="T32" fmla="*/ 770 w 1116"/>
                <a:gd name="T33" fmla="*/ 254 h 264"/>
                <a:gd name="T34" fmla="*/ 822 w 1116"/>
                <a:gd name="T35" fmla="*/ 248 h 264"/>
                <a:gd name="T36" fmla="*/ 874 w 1116"/>
                <a:gd name="T37" fmla="*/ 241 h 264"/>
                <a:gd name="T38" fmla="*/ 924 w 1116"/>
                <a:gd name="T39" fmla="*/ 233 h 264"/>
                <a:gd name="T40" fmla="*/ 973 w 1116"/>
                <a:gd name="T41" fmla="*/ 223 h 264"/>
                <a:gd name="T42" fmla="*/ 1022 w 1116"/>
                <a:gd name="T43" fmla="*/ 213 h 264"/>
                <a:gd name="T44" fmla="*/ 1069 w 1116"/>
                <a:gd name="T45" fmla="*/ 202 h 264"/>
                <a:gd name="T46" fmla="*/ 1115 w 1116"/>
                <a:gd name="T47" fmla="*/ 189 h 264"/>
                <a:gd name="T48" fmla="*/ 1115 w 1116"/>
                <a:gd name="T49" fmla="*/ 97 h 264"/>
                <a:gd name="T50" fmla="*/ 1115 w 1116"/>
                <a:gd name="T51" fmla="*/ 4 h 264"/>
                <a:gd name="T52" fmla="*/ 0 w 1116"/>
                <a:gd name="T53" fmla="*/ 0 h 264"/>
                <a:gd name="T54" fmla="*/ 0 w 1116"/>
                <a:gd name="T55" fmla="*/ 179 h 26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6"/>
                <a:gd name="T85" fmla="*/ 0 h 264"/>
                <a:gd name="T86" fmla="*/ 1116 w 1116"/>
                <a:gd name="T87" fmla="*/ 264 h 26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6" h="264">
                  <a:moveTo>
                    <a:pt x="0" y="179"/>
                  </a:moveTo>
                  <a:lnTo>
                    <a:pt x="39" y="192"/>
                  </a:lnTo>
                  <a:lnTo>
                    <a:pt x="78" y="204"/>
                  </a:lnTo>
                  <a:lnTo>
                    <a:pt x="120" y="215"/>
                  </a:lnTo>
                  <a:lnTo>
                    <a:pt x="164" y="225"/>
                  </a:lnTo>
                  <a:lnTo>
                    <a:pt x="210" y="234"/>
                  </a:lnTo>
                  <a:lnTo>
                    <a:pt x="257" y="243"/>
                  </a:lnTo>
                  <a:lnTo>
                    <a:pt x="305" y="249"/>
                  </a:lnTo>
                  <a:lnTo>
                    <a:pt x="354" y="254"/>
                  </a:lnTo>
                  <a:lnTo>
                    <a:pt x="405" y="258"/>
                  </a:lnTo>
                  <a:lnTo>
                    <a:pt x="456" y="262"/>
                  </a:lnTo>
                  <a:lnTo>
                    <a:pt x="507" y="263"/>
                  </a:lnTo>
                  <a:lnTo>
                    <a:pt x="560" y="263"/>
                  </a:lnTo>
                  <a:lnTo>
                    <a:pt x="612" y="263"/>
                  </a:lnTo>
                  <a:lnTo>
                    <a:pt x="665" y="261"/>
                  </a:lnTo>
                  <a:lnTo>
                    <a:pt x="718" y="258"/>
                  </a:lnTo>
                  <a:lnTo>
                    <a:pt x="770" y="254"/>
                  </a:lnTo>
                  <a:lnTo>
                    <a:pt x="822" y="248"/>
                  </a:lnTo>
                  <a:lnTo>
                    <a:pt x="874" y="241"/>
                  </a:lnTo>
                  <a:lnTo>
                    <a:pt x="924" y="233"/>
                  </a:lnTo>
                  <a:lnTo>
                    <a:pt x="973" y="223"/>
                  </a:lnTo>
                  <a:lnTo>
                    <a:pt x="1022" y="213"/>
                  </a:lnTo>
                  <a:lnTo>
                    <a:pt x="1069" y="202"/>
                  </a:lnTo>
                  <a:lnTo>
                    <a:pt x="1115" y="189"/>
                  </a:lnTo>
                  <a:lnTo>
                    <a:pt x="1115" y="97"/>
                  </a:lnTo>
                  <a:lnTo>
                    <a:pt x="1115" y="4"/>
                  </a:lnTo>
                  <a:lnTo>
                    <a:pt x="0" y="0"/>
                  </a:lnTo>
                  <a:lnTo>
                    <a:pt x="0" y="179"/>
                  </a:lnTo>
                </a:path>
              </a:pathLst>
            </a:custGeom>
            <a:solidFill>
              <a:schemeClr val="accent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8" name="Freeform 16"/>
            <p:cNvSpPr>
              <a:spLocks/>
            </p:cNvSpPr>
            <p:nvPr/>
          </p:nvSpPr>
          <p:spPr bwMode="blackWhite">
            <a:xfrm>
              <a:off x="3328909" y="3678441"/>
              <a:ext cx="3462273" cy="996143"/>
            </a:xfrm>
            <a:custGeom>
              <a:avLst/>
              <a:gdLst>
                <a:gd name="T0" fmla="*/ 0 w 1116"/>
                <a:gd name="T1" fmla="*/ 282 h 358"/>
                <a:gd name="T2" fmla="*/ 40 w 1116"/>
                <a:gd name="T3" fmla="*/ 293 h 358"/>
                <a:gd name="T4" fmla="*/ 83 w 1116"/>
                <a:gd name="T5" fmla="*/ 303 h 358"/>
                <a:gd name="T6" fmla="*/ 127 w 1116"/>
                <a:gd name="T7" fmla="*/ 313 h 358"/>
                <a:gd name="T8" fmla="*/ 172 w 1116"/>
                <a:gd name="T9" fmla="*/ 323 h 358"/>
                <a:gd name="T10" fmla="*/ 219 w 1116"/>
                <a:gd name="T11" fmla="*/ 330 h 358"/>
                <a:gd name="T12" fmla="*/ 267 w 1116"/>
                <a:gd name="T13" fmla="*/ 337 h 358"/>
                <a:gd name="T14" fmla="*/ 316 w 1116"/>
                <a:gd name="T15" fmla="*/ 342 h 358"/>
                <a:gd name="T16" fmla="*/ 366 w 1116"/>
                <a:gd name="T17" fmla="*/ 347 h 358"/>
                <a:gd name="T18" fmla="*/ 416 w 1116"/>
                <a:gd name="T19" fmla="*/ 352 h 358"/>
                <a:gd name="T20" fmla="*/ 467 w 1116"/>
                <a:gd name="T21" fmla="*/ 354 h 358"/>
                <a:gd name="T22" fmla="*/ 519 w 1116"/>
                <a:gd name="T23" fmla="*/ 356 h 358"/>
                <a:gd name="T24" fmla="*/ 570 w 1116"/>
                <a:gd name="T25" fmla="*/ 357 h 358"/>
                <a:gd name="T26" fmla="*/ 621 w 1116"/>
                <a:gd name="T27" fmla="*/ 356 h 358"/>
                <a:gd name="T28" fmla="*/ 671 w 1116"/>
                <a:gd name="T29" fmla="*/ 355 h 358"/>
                <a:gd name="T30" fmla="*/ 721 w 1116"/>
                <a:gd name="T31" fmla="*/ 352 h 358"/>
                <a:gd name="T32" fmla="*/ 771 w 1116"/>
                <a:gd name="T33" fmla="*/ 348 h 358"/>
                <a:gd name="T34" fmla="*/ 820 w 1116"/>
                <a:gd name="T35" fmla="*/ 343 h 358"/>
                <a:gd name="T36" fmla="*/ 866 w 1116"/>
                <a:gd name="T37" fmla="*/ 338 h 358"/>
                <a:gd name="T38" fmla="*/ 912 w 1116"/>
                <a:gd name="T39" fmla="*/ 331 h 358"/>
                <a:gd name="T40" fmla="*/ 956 w 1116"/>
                <a:gd name="T41" fmla="*/ 323 h 358"/>
                <a:gd name="T42" fmla="*/ 999 w 1116"/>
                <a:gd name="T43" fmla="*/ 315 h 358"/>
                <a:gd name="T44" fmla="*/ 1040 w 1116"/>
                <a:gd name="T45" fmla="*/ 305 h 358"/>
                <a:gd name="T46" fmla="*/ 1079 w 1116"/>
                <a:gd name="T47" fmla="*/ 295 h 358"/>
                <a:gd name="T48" fmla="*/ 1115 w 1116"/>
                <a:gd name="T49" fmla="*/ 283 h 358"/>
                <a:gd name="T50" fmla="*/ 562 w 1116"/>
                <a:gd name="T51" fmla="*/ 0 h 358"/>
                <a:gd name="T52" fmla="*/ 0 w 1116"/>
                <a:gd name="T53" fmla="*/ 282 h 3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16"/>
                <a:gd name="T82" fmla="*/ 0 h 358"/>
                <a:gd name="T83" fmla="*/ 1116 w 1116"/>
                <a:gd name="T84" fmla="*/ 358 h 3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16" h="358">
                  <a:moveTo>
                    <a:pt x="0" y="282"/>
                  </a:moveTo>
                  <a:lnTo>
                    <a:pt x="40" y="293"/>
                  </a:lnTo>
                  <a:lnTo>
                    <a:pt x="83" y="303"/>
                  </a:lnTo>
                  <a:lnTo>
                    <a:pt x="127" y="313"/>
                  </a:lnTo>
                  <a:lnTo>
                    <a:pt x="172" y="323"/>
                  </a:lnTo>
                  <a:lnTo>
                    <a:pt x="219" y="330"/>
                  </a:lnTo>
                  <a:lnTo>
                    <a:pt x="267" y="337"/>
                  </a:lnTo>
                  <a:lnTo>
                    <a:pt x="316" y="342"/>
                  </a:lnTo>
                  <a:lnTo>
                    <a:pt x="366" y="347"/>
                  </a:lnTo>
                  <a:lnTo>
                    <a:pt x="416" y="352"/>
                  </a:lnTo>
                  <a:lnTo>
                    <a:pt x="467" y="354"/>
                  </a:lnTo>
                  <a:lnTo>
                    <a:pt x="519" y="356"/>
                  </a:lnTo>
                  <a:lnTo>
                    <a:pt x="570" y="357"/>
                  </a:lnTo>
                  <a:lnTo>
                    <a:pt x="621" y="356"/>
                  </a:lnTo>
                  <a:lnTo>
                    <a:pt x="671" y="355"/>
                  </a:lnTo>
                  <a:lnTo>
                    <a:pt x="721" y="352"/>
                  </a:lnTo>
                  <a:lnTo>
                    <a:pt x="771" y="348"/>
                  </a:lnTo>
                  <a:lnTo>
                    <a:pt x="820" y="343"/>
                  </a:lnTo>
                  <a:lnTo>
                    <a:pt x="866" y="338"/>
                  </a:lnTo>
                  <a:lnTo>
                    <a:pt x="912" y="331"/>
                  </a:lnTo>
                  <a:lnTo>
                    <a:pt x="956" y="323"/>
                  </a:lnTo>
                  <a:lnTo>
                    <a:pt x="999" y="315"/>
                  </a:lnTo>
                  <a:lnTo>
                    <a:pt x="1040" y="305"/>
                  </a:lnTo>
                  <a:lnTo>
                    <a:pt x="1079" y="295"/>
                  </a:lnTo>
                  <a:lnTo>
                    <a:pt x="1115" y="283"/>
                  </a:lnTo>
                  <a:lnTo>
                    <a:pt x="562" y="0"/>
                  </a:lnTo>
                  <a:lnTo>
                    <a:pt x="0" y="282"/>
                  </a:lnTo>
                </a:path>
              </a:pathLst>
            </a:custGeom>
            <a:solidFill>
              <a:schemeClr val="bg1"/>
            </a:solidFill>
            <a:ln w="12700" cap="rnd" cmpd="sng">
              <a:solidFill>
                <a:schemeClr val="accent1"/>
              </a:solidFill>
              <a:prstDash val="solid"/>
              <a:round/>
              <a:headEnd/>
              <a:tailEnd/>
            </a:ln>
          </p:spPr>
          <p:txBody>
            <a:bodyPr lIns="105493" tIns="52747" rIns="105493" bIns="52747"/>
            <a:lstStyle/>
            <a:p>
              <a:pPr algn="ctr"/>
              <a:endParaRPr lang="ca-ES" sz="971"/>
            </a:p>
          </p:txBody>
        </p:sp>
        <p:sp>
          <p:nvSpPr>
            <p:cNvPr id="49" name="Rectangle 17"/>
            <p:cNvSpPr>
              <a:spLocks noChangeArrowheads="1"/>
            </p:cNvSpPr>
            <p:nvPr/>
          </p:nvSpPr>
          <p:spPr bwMode="auto">
            <a:xfrm>
              <a:off x="4292308" y="2551099"/>
              <a:ext cx="1514416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Ctr="1"/>
            <a:lstStyle/>
            <a:p>
              <a:pPr algn="ctr" defTabSz="908395">
                <a:buSzPct val="120000"/>
              </a:pPr>
              <a:r>
                <a:rPr lang="en-US" altLang="zh-CN" sz="971">
                  <a:ea typeface="宋体" pitchFamily="2" charset="-122"/>
                </a:rPr>
                <a:t>Texto</a:t>
              </a:r>
              <a:endParaRPr lang="en-US" altLang="zh-CN" sz="971" dirty="0">
                <a:ea typeface="宋体" pitchFamily="2" charset="-122"/>
              </a:endParaRPr>
            </a:p>
          </p:txBody>
        </p:sp>
        <p:sp>
          <p:nvSpPr>
            <p:cNvPr id="50" name="Rectangle 18"/>
            <p:cNvSpPr>
              <a:spLocks noChangeArrowheads="1"/>
            </p:cNvSpPr>
            <p:nvPr/>
          </p:nvSpPr>
          <p:spPr bwMode="auto">
            <a:xfrm>
              <a:off x="6154179" y="3445198"/>
              <a:ext cx="1516171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971">
                  <a:ea typeface="宋体" pitchFamily="2" charset="-122"/>
                </a:rPr>
                <a:t>Texto</a:t>
              </a:r>
              <a:endParaRPr lang="en-US" altLang="zh-CN" sz="971" dirty="0">
                <a:ea typeface="宋体" pitchFamily="2" charset="-122"/>
              </a:endParaRPr>
            </a:p>
          </p:txBody>
        </p:sp>
        <p:sp>
          <p:nvSpPr>
            <p:cNvPr id="51" name="Rectangle 19"/>
            <p:cNvSpPr>
              <a:spLocks noChangeArrowheads="1"/>
            </p:cNvSpPr>
            <p:nvPr/>
          </p:nvSpPr>
          <p:spPr bwMode="auto">
            <a:xfrm>
              <a:off x="4292308" y="4313382"/>
              <a:ext cx="1514416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 anchorCtr="1"/>
            <a:lstStyle/>
            <a:p>
              <a:pPr algn="ctr" defTabSz="908395">
                <a:buSzPct val="120000"/>
              </a:pPr>
              <a:r>
                <a:rPr lang="en-US" altLang="zh-CN" sz="971">
                  <a:ea typeface="宋体" pitchFamily="2" charset="-122"/>
                </a:rPr>
                <a:t>Texto</a:t>
              </a:r>
              <a:endParaRPr lang="en-US" altLang="zh-CN" sz="971" dirty="0">
                <a:ea typeface="宋体" pitchFamily="2" charset="-122"/>
              </a:endParaRPr>
            </a:p>
          </p:txBody>
        </p:sp>
        <p:sp>
          <p:nvSpPr>
            <p:cNvPr id="52" name="Rectangle 20"/>
            <p:cNvSpPr>
              <a:spLocks noChangeArrowheads="1"/>
            </p:cNvSpPr>
            <p:nvPr/>
          </p:nvSpPr>
          <p:spPr bwMode="auto">
            <a:xfrm>
              <a:off x="2502384" y="3445198"/>
              <a:ext cx="1517926" cy="24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 defTabSz="908395">
                <a:buSzPct val="120000"/>
              </a:pPr>
              <a:r>
                <a:rPr lang="en-US" altLang="zh-CN" sz="971">
                  <a:ea typeface="宋体" pitchFamily="2" charset="-122"/>
                </a:rPr>
                <a:t>Texto</a:t>
              </a:r>
              <a:endParaRPr lang="en-US" altLang="zh-CN" sz="971" dirty="0">
                <a:ea typeface="宋体" pitchFamily="2" charset="-122"/>
              </a:endParaRPr>
            </a:p>
          </p:txBody>
        </p:sp>
      </p:grpSp>
      <p:grpSp>
        <p:nvGrpSpPr>
          <p:cNvPr id="53" name="52 Grupo"/>
          <p:cNvGrpSpPr/>
          <p:nvPr/>
        </p:nvGrpSpPr>
        <p:grpSpPr>
          <a:xfrm>
            <a:off x="5734507" y="2847196"/>
            <a:ext cx="3509563" cy="4003654"/>
            <a:chOff x="2500313" y="1166813"/>
            <a:chExt cx="4048125" cy="4618037"/>
          </a:xfrm>
        </p:grpSpPr>
        <p:grpSp>
          <p:nvGrpSpPr>
            <p:cNvPr id="54" name="24 Grupo"/>
            <p:cNvGrpSpPr/>
            <p:nvPr/>
          </p:nvGrpSpPr>
          <p:grpSpPr>
            <a:xfrm>
              <a:off x="3090863" y="1781175"/>
              <a:ext cx="2838450" cy="3371850"/>
              <a:chOff x="3090863" y="1781175"/>
              <a:chExt cx="2838450" cy="3371850"/>
            </a:xfrm>
          </p:grpSpPr>
          <p:sp>
            <p:nvSpPr>
              <p:cNvPr id="62" name="Line 2"/>
              <p:cNvSpPr>
                <a:spLocks noChangeShapeType="1"/>
              </p:cNvSpPr>
              <p:nvPr/>
            </p:nvSpPr>
            <p:spPr bwMode="blackWhite">
              <a:xfrm>
                <a:off x="4522788" y="1801813"/>
                <a:ext cx="1357312" cy="2427287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3" name="Line 3"/>
              <p:cNvSpPr>
                <a:spLocks noChangeShapeType="1"/>
              </p:cNvSpPr>
              <p:nvPr/>
            </p:nvSpPr>
            <p:spPr bwMode="blackWhite">
              <a:xfrm flipH="1">
                <a:off x="3138488" y="1801813"/>
                <a:ext cx="1357312" cy="2427287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4" name="Line 4"/>
              <p:cNvSpPr>
                <a:spLocks noChangeShapeType="1"/>
              </p:cNvSpPr>
              <p:nvPr/>
            </p:nvSpPr>
            <p:spPr bwMode="blackWhite">
              <a:xfrm>
                <a:off x="3125788" y="2690813"/>
                <a:ext cx="1357312" cy="2427287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5" name="Line 5"/>
              <p:cNvSpPr>
                <a:spLocks noChangeShapeType="1"/>
              </p:cNvSpPr>
              <p:nvPr/>
            </p:nvSpPr>
            <p:spPr bwMode="blackWhite">
              <a:xfrm flipH="1">
                <a:off x="4548188" y="2690813"/>
                <a:ext cx="1357312" cy="2427287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6" name="Line 6"/>
              <p:cNvSpPr>
                <a:spLocks noChangeShapeType="1"/>
              </p:cNvSpPr>
              <p:nvPr/>
            </p:nvSpPr>
            <p:spPr bwMode="blackWhite">
              <a:xfrm>
                <a:off x="5929313" y="2657475"/>
                <a:ext cx="0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7" name="Line 7"/>
              <p:cNvSpPr>
                <a:spLocks noChangeShapeType="1"/>
              </p:cNvSpPr>
              <p:nvPr/>
            </p:nvSpPr>
            <p:spPr bwMode="blackWhite">
              <a:xfrm>
                <a:off x="3090863" y="2657475"/>
                <a:ext cx="0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8" name="Line 8"/>
              <p:cNvSpPr>
                <a:spLocks noChangeShapeType="1"/>
              </p:cNvSpPr>
              <p:nvPr/>
            </p:nvSpPr>
            <p:spPr bwMode="blackWhite">
              <a:xfrm rot="16200000" flipH="1" flipV="1">
                <a:off x="3386138" y="1524000"/>
                <a:ext cx="847725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69" name="Line 9"/>
              <p:cNvSpPr>
                <a:spLocks noChangeShapeType="1"/>
              </p:cNvSpPr>
              <p:nvPr/>
            </p:nvSpPr>
            <p:spPr bwMode="blackWhite">
              <a:xfrm rot="5400000" flipV="1">
                <a:off x="4776788" y="1524000"/>
                <a:ext cx="847725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0" name="Line 10"/>
              <p:cNvSpPr>
                <a:spLocks noChangeShapeType="1"/>
              </p:cNvSpPr>
              <p:nvPr/>
            </p:nvSpPr>
            <p:spPr bwMode="blackWhite">
              <a:xfrm rot="5400000" flipH="1">
                <a:off x="3386138" y="4048125"/>
                <a:ext cx="847725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1" name="Line 11"/>
              <p:cNvSpPr>
                <a:spLocks noChangeShapeType="1"/>
              </p:cNvSpPr>
              <p:nvPr/>
            </p:nvSpPr>
            <p:spPr bwMode="blackWhite">
              <a:xfrm rot="16200000">
                <a:off x="4776788" y="4048125"/>
                <a:ext cx="847725" cy="136207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2" name="Line 12"/>
              <p:cNvSpPr>
                <a:spLocks noChangeShapeType="1"/>
              </p:cNvSpPr>
              <p:nvPr/>
            </p:nvSpPr>
            <p:spPr bwMode="blackWhite">
              <a:xfrm rot="16200000">
                <a:off x="3690938" y="2085975"/>
                <a:ext cx="1647825" cy="275272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3" name="Line 13"/>
              <p:cNvSpPr>
                <a:spLocks noChangeShapeType="1"/>
              </p:cNvSpPr>
              <p:nvPr/>
            </p:nvSpPr>
            <p:spPr bwMode="blackWhite">
              <a:xfrm rot="5400000" flipH="1">
                <a:off x="3676651" y="2052637"/>
                <a:ext cx="1657350" cy="2828925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4" name="Line 14"/>
              <p:cNvSpPr>
                <a:spLocks noChangeShapeType="1"/>
              </p:cNvSpPr>
              <p:nvPr/>
            </p:nvSpPr>
            <p:spPr bwMode="blackWhite">
              <a:xfrm>
                <a:off x="4519613" y="2219325"/>
                <a:ext cx="0" cy="2724150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  <p:sp>
            <p:nvSpPr>
              <p:cNvPr id="75" name="Line 22"/>
              <p:cNvSpPr>
                <a:spLocks noChangeShapeType="1"/>
              </p:cNvSpPr>
              <p:nvPr/>
            </p:nvSpPr>
            <p:spPr bwMode="blackWhite">
              <a:xfrm rot="16200000">
                <a:off x="4529138" y="3514725"/>
                <a:ext cx="0" cy="1562100"/>
              </a:xfrm>
              <a:prstGeom prst="line">
                <a:avLst/>
              </a:prstGeom>
              <a:noFill/>
              <a:ln w="28575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endParaRPr lang="ca-ES" sz="2159"/>
              </a:p>
            </p:txBody>
          </p:sp>
        </p:grpSp>
        <p:sp>
          <p:nvSpPr>
            <p:cNvPr id="55" name="Oval 15"/>
            <p:cNvSpPr>
              <a:spLocks noChangeArrowheads="1"/>
            </p:cNvSpPr>
            <p:nvPr/>
          </p:nvSpPr>
          <p:spPr bwMode="blackWhite">
            <a:xfrm>
              <a:off x="2500313" y="2035175"/>
              <a:ext cx="1238250" cy="123825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ea typeface="宋体" pitchFamily="2" charset="-122"/>
                </a:rPr>
                <a:t>xxxx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56" name="Oval 16"/>
            <p:cNvSpPr>
              <a:spLocks noChangeArrowheads="1"/>
            </p:cNvSpPr>
            <p:nvPr/>
          </p:nvSpPr>
          <p:spPr bwMode="blackWhite">
            <a:xfrm>
              <a:off x="5310188" y="2035175"/>
              <a:ext cx="1238250" cy="123825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xxxx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57" name="Oval 17"/>
            <p:cNvSpPr>
              <a:spLocks noChangeArrowheads="1"/>
            </p:cNvSpPr>
            <p:nvPr/>
          </p:nvSpPr>
          <p:spPr bwMode="blackWhite">
            <a:xfrm>
              <a:off x="5310188" y="3676650"/>
              <a:ext cx="1238250" cy="123825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xxxx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58" name="Oval 18"/>
            <p:cNvSpPr>
              <a:spLocks noChangeArrowheads="1"/>
            </p:cNvSpPr>
            <p:nvPr/>
          </p:nvSpPr>
          <p:spPr bwMode="blackWhite">
            <a:xfrm>
              <a:off x="2514600" y="3676650"/>
              <a:ext cx="1238250" cy="123825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ea typeface="宋体" pitchFamily="2" charset="-122"/>
                </a:rPr>
                <a:t>xxxx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59" name="Oval 19"/>
            <p:cNvSpPr>
              <a:spLocks noChangeArrowheads="1"/>
            </p:cNvSpPr>
            <p:nvPr/>
          </p:nvSpPr>
          <p:spPr bwMode="blackWhite">
            <a:xfrm>
              <a:off x="3905250" y="2833688"/>
              <a:ext cx="1238250" cy="123825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xxxx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60" name="Oval 20"/>
            <p:cNvSpPr>
              <a:spLocks noChangeArrowheads="1"/>
            </p:cNvSpPr>
            <p:nvPr/>
          </p:nvSpPr>
          <p:spPr bwMode="blackWhite">
            <a:xfrm>
              <a:off x="3905250" y="4546600"/>
              <a:ext cx="1238250" cy="123825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xxxx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61" name="Oval 21"/>
            <p:cNvSpPr>
              <a:spLocks noChangeArrowheads="1"/>
            </p:cNvSpPr>
            <p:nvPr/>
          </p:nvSpPr>
          <p:spPr bwMode="blackWhite">
            <a:xfrm>
              <a:off x="3905250" y="1166813"/>
              <a:ext cx="1238250" cy="1238250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966351" eaLnBrk="0" hangingPunct="0">
                <a:buSzPct val="75000"/>
                <a:defRPr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xxx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76" name="75 Grupo"/>
          <p:cNvGrpSpPr/>
          <p:nvPr/>
        </p:nvGrpSpPr>
        <p:grpSpPr>
          <a:xfrm>
            <a:off x="993576" y="3546676"/>
            <a:ext cx="3811516" cy="3340392"/>
            <a:chOff x="5169024" y="1124744"/>
            <a:chExt cx="4320360" cy="3786340"/>
          </a:xfrm>
        </p:grpSpPr>
        <p:grpSp>
          <p:nvGrpSpPr>
            <p:cNvPr id="77" name="48 Grupo"/>
            <p:cNvGrpSpPr/>
            <p:nvPr/>
          </p:nvGrpSpPr>
          <p:grpSpPr>
            <a:xfrm flipV="1">
              <a:off x="5608041" y="3140968"/>
              <a:ext cx="3441588" cy="1040350"/>
              <a:chOff x="5608041" y="1850933"/>
              <a:chExt cx="3441588" cy="1040350"/>
            </a:xfrm>
          </p:grpSpPr>
          <p:sp>
            <p:nvSpPr>
              <p:cNvPr id="86" name="85 Extracto"/>
              <p:cNvSpPr/>
              <p:nvPr/>
            </p:nvSpPr>
            <p:spPr>
              <a:xfrm rot="13846915">
                <a:off x="7558073" y="1399727"/>
                <a:ext cx="1040350" cy="1942762"/>
              </a:xfrm>
              <a:prstGeom prst="flowChartExtra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8856" rIns="38856" rtlCol="0" anchor="ctr"/>
              <a:lstStyle/>
              <a:p>
                <a:pPr algn="ctr"/>
                <a:endParaRPr lang="ca-ES" sz="118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86 Extracto"/>
              <p:cNvSpPr/>
              <p:nvPr/>
            </p:nvSpPr>
            <p:spPr>
              <a:xfrm rot="7753085" flipH="1">
                <a:off x="6059247" y="1399727"/>
                <a:ext cx="1040350" cy="1942762"/>
              </a:xfrm>
              <a:prstGeom prst="flowChartExtra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8856" rIns="38856" rtlCol="0" anchor="ctr"/>
              <a:lstStyle/>
              <a:p>
                <a:pPr algn="ctr"/>
                <a:endParaRPr lang="ca-ES" sz="1187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8" name="47 Grupo"/>
            <p:cNvGrpSpPr/>
            <p:nvPr/>
          </p:nvGrpSpPr>
          <p:grpSpPr>
            <a:xfrm>
              <a:off x="5608041" y="1850933"/>
              <a:ext cx="3441588" cy="1040350"/>
              <a:chOff x="5608041" y="1850933"/>
              <a:chExt cx="3441588" cy="1040350"/>
            </a:xfrm>
          </p:grpSpPr>
          <p:sp>
            <p:nvSpPr>
              <p:cNvPr id="84" name="83 Extracto"/>
              <p:cNvSpPr/>
              <p:nvPr/>
            </p:nvSpPr>
            <p:spPr>
              <a:xfrm rot="13846915">
                <a:off x="7558073" y="1399727"/>
                <a:ext cx="1040350" cy="1942762"/>
              </a:xfrm>
              <a:prstGeom prst="flowChartExtra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8856" rIns="38856" rtlCol="0" anchor="ctr"/>
              <a:lstStyle/>
              <a:p>
                <a:pPr algn="ctr"/>
                <a:endParaRPr lang="ca-ES" sz="1187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84 Extracto"/>
              <p:cNvSpPr/>
              <p:nvPr/>
            </p:nvSpPr>
            <p:spPr>
              <a:xfrm rot="7753085" flipH="1">
                <a:off x="6059247" y="1399727"/>
                <a:ext cx="1040350" cy="1942762"/>
              </a:xfrm>
              <a:prstGeom prst="flowChartExtra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8856" rIns="38856" rtlCol="0" anchor="ctr"/>
              <a:lstStyle/>
              <a:p>
                <a:pPr algn="ctr"/>
                <a:endParaRPr lang="ca-ES" sz="1187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79" name="Oval 6"/>
            <p:cNvSpPr>
              <a:spLocks noChangeArrowheads="1"/>
            </p:cNvSpPr>
            <p:nvPr/>
          </p:nvSpPr>
          <p:spPr bwMode="blackWhite">
            <a:xfrm>
              <a:off x="7021802" y="2694919"/>
              <a:ext cx="642102" cy="642102"/>
            </a:xfrm>
            <a:prstGeom prst="ellipse">
              <a:avLst/>
            </a:prstGeom>
            <a:solidFill>
              <a:schemeClr val="accent2"/>
            </a:solidFill>
            <a:ln w="9525">
              <a:round/>
              <a:headEnd/>
              <a:tailEnd/>
            </a:ln>
            <a:effectLst/>
          </p:spPr>
          <p:txBody>
            <a:bodyPr wrap="none" lIns="0" tIns="0" rIns="0" bIns="0" anchor="ctr">
              <a:flatTx/>
            </a:bodyPr>
            <a:lstStyle/>
            <a:p>
              <a:pPr algn="ctr"/>
              <a:r>
                <a:rPr lang="es-ES" altLang="zh-CN" sz="1295">
                  <a:solidFill>
                    <a:schemeClr val="bg1"/>
                  </a:solidFill>
                  <a:ea typeface="宋体" pitchFamily="2" charset="-122"/>
                </a:rPr>
                <a:t>xxx</a:t>
              </a:r>
              <a:endParaRPr lang="zh-CN" altLang="en-US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80" name="79 Elipse"/>
            <p:cNvSpPr/>
            <p:nvPr/>
          </p:nvSpPr>
          <p:spPr>
            <a:xfrm>
              <a:off x="5169024" y="1124744"/>
              <a:ext cx="1080000" cy="108000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  <p:sp>
          <p:nvSpPr>
            <p:cNvPr id="81" name="80 Elipse"/>
            <p:cNvSpPr/>
            <p:nvPr/>
          </p:nvSpPr>
          <p:spPr>
            <a:xfrm>
              <a:off x="8409384" y="1124744"/>
              <a:ext cx="1080000" cy="108000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  <p:sp>
          <p:nvSpPr>
            <p:cNvPr id="82" name="81 Elipse"/>
            <p:cNvSpPr/>
            <p:nvPr/>
          </p:nvSpPr>
          <p:spPr>
            <a:xfrm>
              <a:off x="5169024" y="3831084"/>
              <a:ext cx="1080000" cy="108000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  <p:sp>
          <p:nvSpPr>
            <p:cNvPr id="83" name="82 Elipse"/>
            <p:cNvSpPr/>
            <p:nvPr/>
          </p:nvSpPr>
          <p:spPr>
            <a:xfrm>
              <a:off x="8409384" y="3831084"/>
              <a:ext cx="1080000" cy="108000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</p:grpSp>
      <p:sp>
        <p:nvSpPr>
          <p:cNvPr id="88" name="Título 8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89" name="Espaço Reservado para Texto 8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13352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to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473036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16" imgW="325" imgH="325" progId="TCLayout.ActiveDocument.1">
                  <p:embed/>
                </p:oleObj>
              </mc:Choice>
              <mc:Fallback>
                <p:oleObj name="think-cell Slide" r:id="rId16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4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279083" y="3988868"/>
            <a:ext cx="5010074" cy="2892272"/>
            <a:chOff x="1056" y="1636"/>
            <a:chExt cx="4130" cy="2384"/>
          </a:xfrm>
        </p:grpSpPr>
        <p:sp>
          <p:nvSpPr>
            <p:cNvPr id="1424407" name="Line 4"/>
            <p:cNvSpPr>
              <a:spLocks noChangeShapeType="1"/>
            </p:cNvSpPr>
            <p:nvPr/>
          </p:nvSpPr>
          <p:spPr bwMode="auto">
            <a:xfrm>
              <a:off x="3119" y="1992"/>
              <a:ext cx="0" cy="172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08" name="Line 5"/>
            <p:cNvSpPr>
              <a:spLocks noChangeShapeType="1"/>
            </p:cNvSpPr>
            <p:nvPr/>
          </p:nvSpPr>
          <p:spPr bwMode="auto">
            <a:xfrm>
              <a:off x="2497" y="2120"/>
              <a:ext cx="1312" cy="1432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09" name="Line 6"/>
            <p:cNvSpPr>
              <a:spLocks noChangeShapeType="1"/>
            </p:cNvSpPr>
            <p:nvPr/>
          </p:nvSpPr>
          <p:spPr bwMode="auto">
            <a:xfrm flipH="1">
              <a:off x="2513" y="2112"/>
              <a:ext cx="1208" cy="1408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10" name="Line 7"/>
            <p:cNvSpPr>
              <a:spLocks noChangeShapeType="1"/>
            </p:cNvSpPr>
            <p:nvPr/>
          </p:nvSpPr>
          <p:spPr bwMode="auto">
            <a:xfrm>
              <a:off x="1897" y="2774"/>
              <a:ext cx="2512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11" name="Line 8"/>
            <p:cNvSpPr>
              <a:spLocks noChangeShapeType="1"/>
            </p:cNvSpPr>
            <p:nvPr/>
          </p:nvSpPr>
          <p:spPr bwMode="auto">
            <a:xfrm>
              <a:off x="2073" y="2408"/>
              <a:ext cx="2152" cy="80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12" name="Line 9"/>
            <p:cNvSpPr>
              <a:spLocks noChangeShapeType="1"/>
            </p:cNvSpPr>
            <p:nvPr/>
          </p:nvSpPr>
          <p:spPr bwMode="auto">
            <a:xfrm flipV="1">
              <a:off x="2033" y="2416"/>
              <a:ext cx="2112" cy="752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ca-ES" sz="2159"/>
            </a:p>
          </p:txBody>
        </p:sp>
        <p:sp>
          <p:nvSpPr>
            <p:cNvPr id="1424413" name="Oval 10"/>
            <p:cNvSpPr>
              <a:spLocks noChangeArrowheads="1"/>
            </p:cNvSpPr>
            <p:nvPr/>
          </p:nvSpPr>
          <p:spPr bwMode="auto">
            <a:xfrm>
              <a:off x="2421" y="2371"/>
              <a:ext cx="1400" cy="914"/>
            </a:xfrm>
            <a:prstGeom prst="ellipse">
              <a:avLst/>
            </a:prstGeom>
            <a:solidFill>
              <a:schemeClr val="accent1"/>
            </a:solidFill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r>
                <a:rPr lang="en-GB" sz="1295">
                  <a:solidFill>
                    <a:schemeClr val="bg1"/>
                  </a:solidFill>
                </a:rPr>
                <a:t>xxx</a:t>
              </a:r>
              <a:endParaRPr lang="en-GB" sz="1295" dirty="0">
                <a:solidFill>
                  <a:schemeClr val="bg1"/>
                </a:solidFill>
              </a:endParaRPr>
            </a:p>
          </p:txBody>
        </p:sp>
        <p:sp>
          <p:nvSpPr>
            <p:cNvPr id="1424414" name="Oval 11"/>
            <p:cNvSpPr>
              <a:spLocks noChangeArrowheads="1"/>
            </p:cNvSpPr>
            <p:nvPr/>
          </p:nvSpPr>
          <p:spPr bwMode="auto">
            <a:xfrm>
              <a:off x="2672" y="1636"/>
              <a:ext cx="895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15" name="Oval 12"/>
            <p:cNvSpPr>
              <a:spLocks noChangeArrowheads="1"/>
            </p:cNvSpPr>
            <p:nvPr/>
          </p:nvSpPr>
          <p:spPr bwMode="auto">
            <a:xfrm>
              <a:off x="3522" y="1836"/>
              <a:ext cx="895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16" name="Oval 13"/>
            <p:cNvSpPr>
              <a:spLocks noChangeArrowheads="1"/>
            </p:cNvSpPr>
            <p:nvPr/>
          </p:nvSpPr>
          <p:spPr bwMode="auto">
            <a:xfrm>
              <a:off x="4002" y="2196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17" name="Oval 14"/>
            <p:cNvSpPr>
              <a:spLocks noChangeArrowheads="1"/>
            </p:cNvSpPr>
            <p:nvPr/>
          </p:nvSpPr>
          <p:spPr bwMode="auto">
            <a:xfrm>
              <a:off x="4002" y="3024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18" name="Oval 15"/>
            <p:cNvSpPr>
              <a:spLocks noChangeArrowheads="1"/>
            </p:cNvSpPr>
            <p:nvPr/>
          </p:nvSpPr>
          <p:spPr bwMode="auto">
            <a:xfrm rot="10800000" flipH="1">
              <a:off x="2672" y="3656"/>
              <a:ext cx="894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19" name="Oval 16"/>
            <p:cNvSpPr>
              <a:spLocks noChangeArrowheads="1"/>
            </p:cNvSpPr>
            <p:nvPr/>
          </p:nvSpPr>
          <p:spPr bwMode="auto">
            <a:xfrm rot="10800000" flipH="1">
              <a:off x="3522" y="3432"/>
              <a:ext cx="895" cy="363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0" name="Oval 17"/>
            <p:cNvSpPr>
              <a:spLocks noChangeArrowheads="1"/>
            </p:cNvSpPr>
            <p:nvPr/>
          </p:nvSpPr>
          <p:spPr bwMode="auto">
            <a:xfrm rot="10800000">
              <a:off x="1825" y="3430"/>
              <a:ext cx="895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1" name="Oval 18"/>
            <p:cNvSpPr>
              <a:spLocks noChangeArrowheads="1"/>
            </p:cNvSpPr>
            <p:nvPr/>
          </p:nvSpPr>
          <p:spPr bwMode="auto">
            <a:xfrm rot="10800000">
              <a:off x="1248" y="3018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2" name="Oval 19"/>
            <p:cNvSpPr>
              <a:spLocks noChangeArrowheads="1"/>
            </p:cNvSpPr>
            <p:nvPr/>
          </p:nvSpPr>
          <p:spPr bwMode="auto">
            <a:xfrm flipH="1">
              <a:off x="1825" y="1836"/>
              <a:ext cx="895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3" name="Oval 20"/>
            <p:cNvSpPr>
              <a:spLocks noChangeArrowheads="1"/>
            </p:cNvSpPr>
            <p:nvPr/>
          </p:nvSpPr>
          <p:spPr bwMode="auto">
            <a:xfrm flipH="1">
              <a:off x="1248" y="2196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4" name="Oval 21"/>
            <p:cNvSpPr>
              <a:spLocks noChangeArrowheads="1"/>
            </p:cNvSpPr>
            <p:nvPr/>
          </p:nvSpPr>
          <p:spPr bwMode="auto">
            <a:xfrm>
              <a:off x="4290" y="2592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  <p:sp>
          <p:nvSpPr>
            <p:cNvPr id="1424425" name="Oval 22"/>
            <p:cNvSpPr>
              <a:spLocks noChangeArrowheads="1"/>
            </p:cNvSpPr>
            <p:nvPr/>
          </p:nvSpPr>
          <p:spPr bwMode="auto">
            <a:xfrm rot="10800000">
              <a:off x="1056" y="2607"/>
              <a:ext cx="896" cy="364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accent5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/>
              <a:r>
                <a:rPr lang="es-ES" sz="1079"/>
                <a:t>xxx</a:t>
              </a:r>
              <a:endParaRPr lang="es-ES" sz="1079" dirty="0"/>
            </a:p>
          </p:txBody>
        </p:sp>
      </p:grpSp>
      <p:grpSp>
        <p:nvGrpSpPr>
          <p:cNvPr id="51" name="Grupo 50"/>
          <p:cNvGrpSpPr/>
          <p:nvPr/>
        </p:nvGrpSpPr>
        <p:grpSpPr>
          <a:xfrm>
            <a:off x="414651" y="4340123"/>
            <a:ext cx="4396665" cy="2189765"/>
            <a:chOff x="304800" y="4186238"/>
            <a:chExt cx="4397375" cy="2028825"/>
          </a:xfrm>
        </p:grpSpPr>
        <p:sp>
          <p:nvSpPr>
            <p:cNvPr id="1424428" name="Freeform 3"/>
            <p:cNvSpPr>
              <a:spLocks/>
            </p:cNvSpPr>
            <p:nvPr/>
          </p:nvSpPr>
          <p:spPr bwMode="auto">
            <a:xfrm>
              <a:off x="2050463" y="4725955"/>
              <a:ext cx="905298" cy="949391"/>
            </a:xfrm>
            <a:custGeom>
              <a:avLst/>
              <a:gdLst>
                <a:gd name="T0" fmla="*/ 487 w 983"/>
                <a:gd name="T1" fmla="*/ 0 h 1096"/>
                <a:gd name="T2" fmla="*/ 983 w 983"/>
                <a:gd name="T3" fmla="*/ 276 h 1096"/>
                <a:gd name="T4" fmla="*/ 983 w 983"/>
                <a:gd name="T5" fmla="*/ 829 h 1096"/>
                <a:gd name="T6" fmla="*/ 487 w 983"/>
                <a:gd name="T7" fmla="*/ 1096 h 1096"/>
                <a:gd name="T8" fmla="*/ 0 w 983"/>
                <a:gd name="T9" fmla="*/ 829 h 1096"/>
                <a:gd name="T10" fmla="*/ 0 w 983"/>
                <a:gd name="T11" fmla="*/ 276 h 1096"/>
                <a:gd name="T12" fmla="*/ 487 w 983"/>
                <a:gd name="T13" fmla="*/ 0 h 10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83"/>
                <a:gd name="T22" fmla="*/ 0 h 1096"/>
                <a:gd name="T23" fmla="*/ 983 w 983"/>
                <a:gd name="T24" fmla="*/ 1096 h 10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83" h="1096">
                  <a:moveTo>
                    <a:pt x="487" y="0"/>
                  </a:moveTo>
                  <a:lnTo>
                    <a:pt x="983" y="276"/>
                  </a:lnTo>
                  <a:lnTo>
                    <a:pt x="983" y="829"/>
                  </a:lnTo>
                  <a:lnTo>
                    <a:pt x="487" y="1096"/>
                  </a:lnTo>
                  <a:lnTo>
                    <a:pt x="0" y="829"/>
                  </a:lnTo>
                  <a:lnTo>
                    <a:pt x="0" y="276"/>
                  </a:lnTo>
                  <a:lnTo>
                    <a:pt x="487" y="0"/>
                  </a:lnTo>
                </a:path>
              </a:pathLst>
            </a:custGeom>
            <a:solidFill>
              <a:schemeClr val="accent3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s-ES" sz="1187"/>
                <a:t>xxx</a:t>
              </a:r>
              <a:endParaRPr lang="es-ES" sz="1187" dirty="0"/>
            </a:p>
          </p:txBody>
        </p:sp>
        <p:sp>
          <p:nvSpPr>
            <p:cNvPr id="1424429" name="Freeform 4"/>
            <p:cNvSpPr>
              <a:spLocks/>
            </p:cNvSpPr>
            <p:nvPr/>
          </p:nvSpPr>
          <p:spPr bwMode="auto">
            <a:xfrm>
              <a:off x="312307" y="4916885"/>
              <a:ext cx="1553869" cy="567530"/>
            </a:xfrm>
            <a:custGeom>
              <a:avLst/>
              <a:gdLst>
                <a:gd name="T0" fmla="*/ 0 w 1889"/>
                <a:gd name="T1" fmla="*/ 543 h 733"/>
                <a:gd name="T2" fmla="*/ 0 w 1889"/>
                <a:gd name="T3" fmla="*/ 171 h 733"/>
                <a:gd name="T4" fmla="*/ 1694 w 1889"/>
                <a:gd name="T5" fmla="*/ 171 h 733"/>
                <a:gd name="T6" fmla="*/ 1694 w 1889"/>
                <a:gd name="T7" fmla="*/ 0 h 733"/>
                <a:gd name="T8" fmla="*/ 1889 w 1889"/>
                <a:gd name="T9" fmla="*/ 362 h 733"/>
                <a:gd name="T10" fmla="*/ 1694 w 1889"/>
                <a:gd name="T11" fmla="*/ 733 h 733"/>
                <a:gd name="T12" fmla="*/ 1694 w 1889"/>
                <a:gd name="T13" fmla="*/ 543 h 733"/>
                <a:gd name="T14" fmla="*/ 0 w 1889"/>
                <a:gd name="T15" fmla="*/ 543 h 7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89"/>
                <a:gd name="T25" fmla="*/ 0 h 733"/>
                <a:gd name="T26" fmla="*/ 1889 w 1889"/>
                <a:gd name="T27" fmla="*/ 733 h 7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89" h="733">
                  <a:moveTo>
                    <a:pt x="0" y="543"/>
                  </a:moveTo>
                  <a:lnTo>
                    <a:pt x="0" y="171"/>
                  </a:lnTo>
                  <a:lnTo>
                    <a:pt x="1694" y="171"/>
                  </a:lnTo>
                  <a:lnTo>
                    <a:pt x="1694" y="0"/>
                  </a:lnTo>
                  <a:lnTo>
                    <a:pt x="1889" y="362"/>
                  </a:lnTo>
                  <a:lnTo>
                    <a:pt x="1694" y="733"/>
                  </a:lnTo>
                  <a:lnTo>
                    <a:pt x="1694" y="543"/>
                  </a:lnTo>
                  <a:lnTo>
                    <a:pt x="0" y="543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r>
                <a:rPr lang="es-ES" sz="1187">
                  <a:solidFill>
                    <a:schemeClr val="bg1"/>
                  </a:solidFill>
                </a:rPr>
                <a:t>x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1424430" name="Freeform 5"/>
            <p:cNvSpPr>
              <a:spLocks/>
            </p:cNvSpPr>
            <p:nvPr/>
          </p:nvSpPr>
          <p:spPr bwMode="auto">
            <a:xfrm>
              <a:off x="304800" y="4186238"/>
              <a:ext cx="2010271" cy="620148"/>
            </a:xfrm>
            <a:custGeom>
              <a:avLst/>
              <a:gdLst>
                <a:gd name="T0" fmla="*/ 0 w 2443"/>
                <a:gd name="T1" fmla="*/ 0 h 801"/>
                <a:gd name="T2" fmla="*/ 1908 w 2443"/>
                <a:gd name="T3" fmla="*/ 0 h 801"/>
                <a:gd name="T4" fmla="*/ 2297 w 2443"/>
                <a:gd name="T5" fmla="*/ 448 h 801"/>
                <a:gd name="T6" fmla="*/ 2443 w 2443"/>
                <a:gd name="T7" fmla="*/ 324 h 801"/>
                <a:gd name="T8" fmla="*/ 2288 w 2443"/>
                <a:gd name="T9" fmla="*/ 705 h 801"/>
                <a:gd name="T10" fmla="*/ 1879 w 2443"/>
                <a:gd name="T11" fmla="*/ 801 h 801"/>
                <a:gd name="T12" fmla="*/ 2015 w 2443"/>
                <a:gd name="T13" fmla="*/ 686 h 801"/>
                <a:gd name="T14" fmla="*/ 1752 w 2443"/>
                <a:gd name="T15" fmla="*/ 391 h 801"/>
                <a:gd name="T16" fmla="*/ 0 w 2443"/>
                <a:gd name="T17" fmla="*/ 391 h 801"/>
                <a:gd name="T18" fmla="*/ 0 w 2443"/>
                <a:gd name="T19" fmla="*/ 0 h 8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3"/>
                <a:gd name="T31" fmla="*/ 0 h 801"/>
                <a:gd name="T32" fmla="*/ 2443 w 2443"/>
                <a:gd name="T33" fmla="*/ 801 h 80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3" h="801">
                  <a:moveTo>
                    <a:pt x="0" y="0"/>
                  </a:moveTo>
                  <a:lnTo>
                    <a:pt x="1908" y="0"/>
                  </a:lnTo>
                  <a:lnTo>
                    <a:pt x="2297" y="448"/>
                  </a:lnTo>
                  <a:lnTo>
                    <a:pt x="2443" y="324"/>
                  </a:lnTo>
                  <a:lnTo>
                    <a:pt x="2288" y="705"/>
                  </a:lnTo>
                  <a:lnTo>
                    <a:pt x="1879" y="801"/>
                  </a:lnTo>
                  <a:lnTo>
                    <a:pt x="2015" y="686"/>
                  </a:lnTo>
                  <a:lnTo>
                    <a:pt x="1752" y="391"/>
                  </a:lnTo>
                  <a:lnTo>
                    <a:pt x="0" y="391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t"/>
            <a:lstStyle/>
            <a:p>
              <a:r>
                <a:rPr lang="es-ES" sz="1187">
                  <a:solidFill>
                    <a:schemeClr val="bg1"/>
                  </a:solidFill>
                </a:rPr>
                <a:t>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1424431" name="Freeform 6"/>
            <p:cNvSpPr>
              <a:spLocks/>
            </p:cNvSpPr>
            <p:nvPr/>
          </p:nvSpPr>
          <p:spPr bwMode="auto">
            <a:xfrm>
              <a:off x="2691153" y="4186238"/>
              <a:ext cx="2011022" cy="620148"/>
            </a:xfrm>
            <a:custGeom>
              <a:avLst/>
              <a:gdLst>
                <a:gd name="T0" fmla="*/ 2444 w 2444"/>
                <a:gd name="T1" fmla="*/ 0 h 801"/>
                <a:gd name="T2" fmla="*/ 535 w 2444"/>
                <a:gd name="T3" fmla="*/ 0 h 801"/>
                <a:gd name="T4" fmla="*/ 146 w 2444"/>
                <a:gd name="T5" fmla="*/ 448 h 801"/>
                <a:gd name="T6" fmla="*/ 0 w 2444"/>
                <a:gd name="T7" fmla="*/ 324 h 801"/>
                <a:gd name="T8" fmla="*/ 156 w 2444"/>
                <a:gd name="T9" fmla="*/ 705 h 801"/>
                <a:gd name="T10" fmla="*/ 565 w 2444"/>
                <a:gd name="T11" fmla="*/ 801 h 801"/>
                <a:gd name="T12" fmla="*/ 428 w 2444"/>
                <a:gd name="T13" fmla="*/ 686 h 801"/>
                <a:gd name="T14" fmla="*/ 681 w 2444"/>
                <a:gd name="T15" fmla="*/ 391 h 801"/>
                <a:gd name="T16" fmla="*/ 2444 w 2444"/>
                <a:gd name="T17" fmla="*/ 391 h 801"/>
                <a:gd name="T18" fmla="*/ 2444 w 2444"/>
                <a:gd name="T19" fmla="*/ 0 h 8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4"/>
                <a:gd name="T31" fmla="*/ 0 h 801"/>
                <a:gd name="T32" fmla="*/ 2444 w 2444"/>
                <a:gd name="T33" fmla="*/ 801 h 80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4" h="801">
                  <a:moveTo>
                    <a:pt x="2444" y="0"/>
                  </a:moveTo>
                  <a:lnTo>
                    <a:pt x="535" y="0"/>
                  </a:lnTo>
                  <a:lnTo>
                    <a:pt x="146" y="448"/>
                  </a:lnTo>
                  <a:lnTo>
                    <a:pt x="0" y="324"/>
                  </a:lnTo>
                  <a:lnTo>
                    <a:pt x="156" y="705"/>
                  </a:lnTo>
                  <a:lnTo>
                    <a:pt x="565" y="801"/>
                  </a:lnTo>
                  <a:lnTo>
                    <a:pt x="428" y="686"/>
                  </a:lnTo>
                  <a:lnTo>
                    <a:pt x="681" y="391"/>
                  </a:lnTo>
                  <a:lnTo>
                    <a:pt x="2444" y="391"/>
                  </a:lnTo>
                  <a:lnTo>
                    <a:pt x="2444" y="0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t"/>
            <a:lstStyle/>
            <a:p>
              <a:pPr algn="r"/>
              <a:r>
                <a:rPr lang="es-ES" sz="1187">
                  <a:solidFill>
                    <a:schemeClr val="bg1"/>
                  </a:solidFill>
                </a:rPr>
                <a:t>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1424432" name="Freeform 7"/>
            <p:cNvSpPr>
              <a:spLocks/>
            </p:cNvSpPr>
            <p:nvPr/>
          </p:nvSpPr>
          <p:spPr bwMode="auto">
            <a:xfrm>
              <a:off x="304800" y="5594915"/>
              <a:ext cx="2010271" cy="620148"/>
            </a:xfrm>
            <a:custGeom>
              <a:avLst/>
              <a:gdLst>
                <a:gd name="T0" fmla="*/ 0 w 2443"/>
                <a:gd name="T1" fmla="*/ 801 h 801"/>
                <a:gd name="T2" fmla="*/ 1908 w 2443"/>
                <a:gd name="T3" fmla="*/ 801 h 801"/>
                <a:gd name="T4" fmla="*/ 2297 w 2443"/>
                <a:gd name="T5" fmla="*/ 363 h 801"/>
                <a:gd name="T6" fmla="*/ 2443 w 2443"/>
                <a:gd name="T7" fmla="*/ 477 h 801"/>
                <a:gd name="T8" fmla="*/ 2288 w 2443"/>
                <a:gd name="T9" fmla="*/ 96 h 801"/>
                <a:gd name="T10" fmla="*/ 1879 w 2443"/>
                <a:gd name="T11" fmla="*/ 0 h 801"/>
                <a:gd name="T12" fmla="*/ 2015 w 2443"/>
                <a:gd name="T13" fmla="*/ 115 h 801"/>
                <a:gd name="T14" fmla="*/ 1752 w 2443"/>
                <a:gd name="T15" fmla="*/ 410 h 801"/>
                <a:gd name="T16" fmla="*/ 0 w 2443"/>
                <a:gd name="T17" fmla="*/ 410 h 801"/>
                <a:gd name="T18" fmla="*/ 0 w 2443"/>
                <a:gd name="T19" fmla="*/ 801 h 8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3"/>
                <a:gd name="T31" fmla="*/ 0 h 801"/>
                <a:gd name="T32" fmla="*/ 2443 w 2443"/>
                <a:gd name="T33" fmla="*/ 801 h 80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3" h="801">
                  <a:moveTo>
                    <a:pt x="0" y="801"/>
                  </a:moveTo>
                  <a:lnTo>
                    <a:pt x="1908" y="801"/>
                  </a:lnTo>
                  <a:lnTo>
                    <a:pt x="2297" y="363"/>
                  </a:lnTo>
                  <a:lnTo>
                    <a:pt x="2443" y="477"/>
                  </a:lnTo>
                  <a:lnTo>
                    <a:pt x="2288" y="96"/>
                  </a:lnTo>
                  <a:lnTo>
                    <a:pt x="1879" y="0"/>
                  </a:lnTo>
                  <a:lnTo>
                    <a:pt x="2015" y="115"/>
                  </a:lnTo>
                  <a:lnTo>
                    <a:pt x="1752" y="410"/>
                  </a:lnTo>
                  <a:lnTo>
                    <a:pt x="0" y="410"/>
                  </a:lnTo>
                  <a:lnTo>
                    <a:pt x="0" y="801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b"/>
            <a:lstStyle/>
            <a:p>
              <a:r>
                <a:rPr lang="es-ES" sz="1187">
                  <a:solidFill>
                    <a:schemeClr val="bg1"/>
                  </a:solidFill>
                </a:rPr>
                <a:t>x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1424433" name="Freeform 8"/>
            <p:cNvSpPr>
              <a:spLocks/>
            </p:cNvSpPr>
            <p:nvPr/>
          </p:nvSpPr>
          <p:spPr bwMode="auto">
            <a:xfrm>
              <a:off x="2691153" y="5594915"/>
              <a:ext cx="2011022" cy="620148"/>
            </a:xfrm>
            <a:custGeom>
              <a:avLst/>
              <a:gdLst>
                <a:gd name="T0" fmla="*/ 2444 w 2444"/>
                <a:gd name="T1" fmla="*/ 801 h 801"/>
                <a:gd name="T2" fmla="*/ 535 w 2444"/>
                <a:gd name="T3" fmla="*/ 801 h 801"/>
                <a:gd name="T4" fmla="*/ 146 w 2444"/>
                <a:gd name="T5" fmla="*/ 363 h 801"/>
                <a:gd name="T6" fmla="*/ 0 w 2444"/>
                <a:gd name="T7" fmla="*/ 477 h 801"/>
                <a:gd name="T8" fmla="*/ 156 w 2444"/>
                <a:gd name="T9" fmla="*/ 96 h 801"/>
                <a:gd name="T10" fmla="*/ 565 w 2444"/>
                <a:gd name="T11" fmla="*/ 0 h 801"/>
                <a:gd name="T12" fmla="*/ 428 w 2444"/>
                <a:gd name="T13" fmla="*/ 115 h 801"/>
                <a:gd name="T14" fmla="*/ 681 w 2444"/>
                <a:gd name="T15" fmla="*/ 410 h 801"/>
                <a:gd name="T16" fmla="*/ 2444 w 2444"/>
                <a:gd name="T17" fmla="*/ 410 h 801"/>
                <a:gd name="T18" fmla="*/ 2444 w 2444"/>
                <a:gd name="T19" fmla="*/ 801 h 8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4"/>
                <a:gd name="T31" fmla="*/ 0 h 801"/>
                <a:gd name="T32" fmla="*/ 2444 w 2444"/>
                <a:gd name="T33" fmla="*/ 801 h 80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4" h="801">
                  <a:moveTo>
                    <a:pt x="2444" y="801"/>
                  </a:moveTo>
                  <a:lnTo>
                    <a:pt x="535" y="801"/>
                  </a:lnTo>
                  <a:lnTo>
                    <a:pt x="146" y="363"/>
                  </a:lnTo>
                  <a:lnTo>
                    <a:pt x="0" y="477"/>
                  </a:lnTo>
                  <a:lnTo>
                    <a:pt x="156" y="96"/>
                  </a:lnTo>
                  <a:lnTo>
                    <a:pt x="565" y="0"/>
                  </a:lnTo>
                  <a:lnTo>
                    <a:pt x="428" y="115"/>
                  </a:lnTo>
                  <a:lnTo>
                    <a:pt x="681" y="410"/>
                  </a:lnTo>
                  <a:lnTo>
                    <a:pt x="2444" y="410"/>
                  </a:lnTo>
                  <a:lnTo>
                    <a:pt x="2444" y="801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b"/>
            <a:lstStyle/>
            <a:p>
              <a:pPr algn="r"/>
              <a:r>
                <a:rPr lang="es-ES" sz="1187">
                  <a:solidFill>
                    <a:schemeClr val="bg1"/>
                  </a:solidFill>
                </a:rPr>
                <a:t>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1424434" name="Freeform 9"/>
            <p:cNvSpPr>
              <a:spLocks/>
            </p:cNvSpPr>
            <p:nvPr/>
          </p:nvSpPr>
          <p:spPr bwMode="auto">
            <a:xfrm>
              <a:off x="3140048" y="4916885"/>
              <a:ext cx="1553869" cy="567530"/>
            </a:xfrm>
            <a:custGeom>
              <a:avLst/>
              <a:gdLst>
                <a:gd name="T0" fmla="*/ 1889 w 1889"/>
                <a:gd name="T1" fmla="*/ 543 h 733"/>
                <a:gd name="T2" fmla="*/ 1889 w 1889"/>
                <a:gd name="T3" fmla="*/ 171 h 733"/>
                <a:gd name="T4" fmla="*/ 195 w 1889"/>
                <a:gd name="T5" fmla="*/ 171 h 733"/>
                <a:gd name="T6" fmla="*/ 185 w 1889"/>
                <a:gd name="T7" fmla="*/ 0 h 733"/>
                <a:gd name="T8" fmla="*/ 0 w 1889"/>
                <a:gd name="T9" fmla="*/ 362 h 733"/>
                <a:gd name="T10" fmla="*/ 195 w 1889"/>
                <a:gd name="T11" fmla="*/ 733 h 733"/>
                <a:gd name="T12" fmla="*/ 195 w 1889"/>
                <a:gd name="T13" fmla="*/ 543 h 733"/>
                <a:gd name="T14" fmla="*/ 1889 w 1889"/>
                <a:gd name="T15" fmla="*/ 543 h 7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89"/>
                <a:gd name="T25" fmla="*/ 0 h 733"/>
                <a:gd name="T26" fmla="*/ 1889 w 1889"/>
                <a:gd name="T27" fmla="*/ 733 h 7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89" h="733">
                  <a:moveTo>
                    <a:pt x="1889" y="543"/>
                  </a:moveTo>
                  <a:lnTo>
                    <a:pt x="1889" y="171"/>
                  </a:lnTo>
                  <a:lnTo>
                    <a:pt x="195" y="171"/>
                  </a:lnTo>
                  <a:lnTo>
                    <a:pt x="185" y="0"/>
                  </a:lnTo>
                  <a:lnTo>
                    <a:pt x="0" y="362"/>
                  </a:lnTo>
                  <a:lnTo>
                    <a:pt x="195" y="733"/>
                  </a:lnTo>
                  <a:lnTo>
                    <a:pt x="195" y="543"/>
                  </a:lnTo>
                  <a:lnTo>
                    <a:pt x="1889" y="543"/>
                  </a:lnTo>
                </a:path>
              </a:pathLst>
            </a:custGeom>
            <a:solidFill>
              <a:schemeClr val="accent1"/>
            </a:solidFill>
            <a:ln w="12700">
              <a:solidFill>
                <a:srgbClr val="3366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r"/>
              <a:r>
                <a:rPr lang="es-ES" sz="1187">
                  <a:solidFill>
                    <a:schemeClr val="bg1"/>
                  </a:solidFill>
                </a:rPr>
                <a:t>x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</p:grpSp>
      <p:sp>
        <p:nvSpPr>
          <p:cNvPr id="1424387" name="Freeform 4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802530" y="681040"/>
            <a:ext cx="8289582" cy="747373"/>
          </a:xfrm>
          <a:custGeom>
            <a:avLst/>
            <a:gdLst>
              <a:gd name="T0" fmla="*/ 0 w 5381"/>
              <a:gd name="T1" fmla="*/ 0 h 518"/>
              <a:gd name="T2" fmla="*/ 5220 w 5381"/>
              <a:gd name="T3" fmla="*/ 0 h 518"/>
              <a:gd name="T4" fmla="*/ 5381 w 5381"/>
              <a:gd name="T5" fmla="*/ 267 h 518"/>
              <a:gd name="T6" fmla="*/ 5220 w 5381"/>
              <a:gd name="T7" fmla="*/ 518 h 518"/>
              <a:gd name="T8" fmla="*/ 0 w 5381"/>
              <a:gd name="T9" fmla="*/ 518 h 518"/>
              <a:gd name="T10" fmla="*/ 0 w 5381"/>
              <a:gd name="T11" fmla="*/ 0 h 5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81"/>
              <a:gd name="T19" fmla="*/ 0 h 518"/>
              <a:gd name="T20" fmla="*/ 5381 w 5381"/>
              <a:gd name="T21" fmla="*/ 518 h 5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81" h="518">
                <a:moveTo>
                  <a:pt x="0" y="0"/>
                </a:moveTo>
                <a:lnTo>
                  <a:pt x="5220" y="0"/>
                </a:lnTo>
                <a:lnTo>
                  <a:pt x="5381" y="267"/>
                </a:lnTo>
                <a:lnTo>
                  <a:pt x="5220" y="518"/>
                </a:lnTo>
                <a:lnTo>
                  <a:pt x="0" y="518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endParaRPr lang="pt-BR" sz="1295" dirty="0"/>
          </a:p>
        </p:txBody>
      </p:sp>
      <p:sp>
        <p:nvSpPr>
          <p:cNvPr id="1424388" name="Freeform 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802530" y="1591452"/>
            <a:ext cx="8289582" cy="747373"/>
          </a:xfrm>
          <a:custGeom>
            <a:avLst/>
            <a:gdLst>
              <a:gd name="T0" fmla="*/ 0 w 5381"/>
              <a:gd name="T1" fmla="*/ 0 h 518"/>
              <a:gd name="T2" fmla="*/ 5220 w 5381"/>
              <a:gd name="T3" fmla="*/ 0 h 518"/>
              <a:gd name="T4" fmla="*/ 5381 w 5381"/>
              <a:gd name="T5" fmla="*/ 267 h 518"/>
              <a:gd name="T6" fmla="*/ 5220 w 5381"/>
              <a:gd name="T7" fmla="*/ 518 h 518"/>
              <a:gd name="T8" fmla="*/ 0 w 5381"/>
              <a:gd name="T9" fmla="*/ 518 h 518"/>
              <a:gd name="T10" fmla="*/ 0 w 5381"/>
              <a:gd name="T11" fmla="*/ 0 h 5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81"/>
              <a:gd name="T19" fmla="*/ 0 h 518"/>
              <a:gd name="T20" fmla="*/ 5381 w 5381"/>
              <a:gd name="T21" fmla="*/ 518 h 5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81" h="518">
                <a:moveTo>
                  <a:pt x="0" y="0"/>
                </a:moveTo>
                <a:lnTo>
                  <a:pt x="5220" y="0"/>
                </a:lnTo>
                <a:lnTo>
                  <a:pt x="5381" y="267"/>
                </a:lnTo>
                <a:lnTo>
                  <a:pt x="5220" y="518"/>
                </a:lnTo>
                <a:lnTo>
                  <a:pt x="0" y="518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endParaRPr lang="pt-BR" sz="1295" dirty="0"/>
          </a:p>
        </p:txBody>
      </p:sp>
      <p:sp>
        <p:nvSpPr>
          <p:cNvPr id="1424389" name="Freeform 6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802530" y="2514849"/>
            <a:ext cx="8289582" cy="734389"/>
          </a:xfrm>
          <a:custGeom>
            <a:avLst/>
            <a:gdLst>
              <a:gd name="T0" fmla="*/ 0 w 5381"/>
              <a:gd name="T1" fmla="*/ 0 h 509"/>
              <a:gd name="T2" fmla="*/ 5220 w 5381"/>
              <a:gd name="T3" fmla="*/ 0 h 509"/>
              <a:gd name="T4" fmla="*/ 5381 w 5381"/>
              <a:gd name="T5" fmla="*/ 267 h 509"/>
              <a:gd name="T6" fmla="*/ 5220 w 5381"/>
              <a:gd name="T7" fmla="*/ 509 h 509"/>
              <a:gd name="T8" fmla="*/ 0 w 5381"/>
              <a:gd name="T9" fmla="*/ 509 h 509"/>
              <a:gd name="T10" fmla="*/ 0 w 5381"/>
              <a:gd name="T11" fmla="*/ 0 h 50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381"/>
              <a:gd name="T19" fmla="*/ 0 h 509"/>
              <a:gd name="T20" fmla="*/ 5381 w 5381"/>
              <a:gd name="T21" fmla="*/ 509 h 50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381" h="509">
                <a:moveTo>
                  <a:pt x="0" y="0"/>
                </a:moveTo>
                <a:lnTo>
                  <a:pt x="5220" y="0"/>
                </a:lnTo>
                <a:lnTo>
                  <a:pt x="5381" y="267"/>
                </a:lnTo>
                <a:lnTo>
                  <a:pt x="5220" y="509"/>
                </a:lnTo>
                <a:lnTo>
                  <a:pt x="0" y="509"/>
                </a:lnTo>
                <a:lnTo>
                  <a:pt x="0" y="0"/>
                </a:lnTo>
              </a:path>
            </a:pathLst>
          </a:custGeom>
          <a:solidFill>
            <a:schemeClr val="bg2"/>
          </a:solidFill>
          <a:ln w="12700">
            <a:solidFill>
              <a:schemeClr val="tx2"/>
            </a:solidFill>
            <a:round/>
            <a:headEnd/>
            <a:tailEnd/>
          </a:ln>
        </p:spPr>
        <p:txBody>
          <a:bodyPr anchor="ctr"/>
          <a:lstStyle/>
          <a:p>
            <a:endParaRPr lang="pt-BR" sz="1295" dirty="0"/>
          </a:p>
        </p:txBody>
      </p:sp>
      <p:sp>
        <p:nvSpPr>
          <p:cNvPr id="1424390" name="Freeform 7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2038850" y="493476"/>
            <a:ext cx="1347163" cy="3142433"/>
          </a:xfrm>
          <a:custGeom>
            <a:avLst/>
            <a:gdLst>
              <a:gd name="T0" fmla="*/ 875 w 875"/>
              <a:gd name="T1" fmla="*/ 0 h 2178"/>
              <a:gd name="T2" fmla="*/ 875 w 875"/>
              <a:gd name="T3" fmla="*/ 2024 h 2178"/>
              <a:gd name="T4" fmla="*/ 442 w 875"/>
              <a:gd name="T5" fmla="*/ 2178 h 2178"/>
              <a:gd name="T6" fmla="*/ 0 w 875"/>
              <a:gd name="T7" fmla="*/ 2024 h 2178"/>
              <a:gd name="T8" fmla="*/ 0 w 875"/>
              <a:gd name="T9" fmla="*/ 0 h 2178"/>
              <a:gd name="T10" fmla="*/ 875 w 875"/>
              <a:gd name="T11" fmla="*/ 0 h 21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5"/>
              <a:gd name="T19" fmla="*/ 0 h 2178"/>
              <a:gd name="T20" fmla="*/ 875 w 875"/>
              <a:gd name="T21" fmla="*/ 2178 h 21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5" h="2178">
                <a:moveTo>
                  <a:pt x="875" y="0"/>
                </a:moveTo>
                <a:lnTo>
                  <a:pt x="875" y="2024"/>
                </a:lnTo>
                <a:lnTo>
                  <a:pt x="442" y="2178"/>
                </a:lnTo>
                <a:lnTo>
                  <a:pt x="0" y="2024"/>
                </a:lnTo>
                <a:lnTo>
                  <a:pt x="0" y="0"/>
                </a:lnTo>
                <a:lnTo>
                  <a:pt x="8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 w="12700">
            <a:solidFill>
              <a:schemeClr val="accent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pt-BR" sz="1295" dirty="0"/>
          </a:p>
        </p:txBody>
      </p:sp>
      <p:sp>
        <p:nvSpPr>
          <p:cNvPr id="1424391" name="Freeform 8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609598" y="493476"/>
            <a:ext cx="1348579" cy="3142433"/>
          </a:xfrm>
          <a:custGeom>
            <a:avLst/>
            <a:gdLst>
              <a:gd name="T0" fmla="*/ 875 w 875"/>
              <a:gd name="T1" fmla="*/ 0 h 2178"/>
              <a:gd name="T2" fmla="*/ 875 w 875"/>
              <a:gd name="T3" fmla="*/ 2024 h 2178"/>
              <a:gd name="T4" fmla="*/ 434 w 875"/>
              <a:gd name="T5" fmla="*/ 2178 h 2178"/>
              <a:gd name="T6" fmla="*/ 0 w 875"/>
              <a:gd name="T7" fmla="*/ 2024 h 2178"/>
              <a:gd name="T8" fmla="*/ 0 w 875"/>
              <a:gd name="T9" fmla="*/ 0 h 2178"/>
              <a:gd name="T10" fmla="*/ 875 w 875"/>
              <a:gd name="T11" fmla="*/ 0 h 21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5"/>
              <a:gd name="T19" fmla="*/ 0 h 2178"/>
              <a:gd name="T20" fmla="*/ 875 w 875"/>
              <a:gd name="T21" fmla="*/ 2178 h 21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5" h="2178">
                <a:moveTo>
                  <a:pt x="875" y="0"/>
                </a:moveTo>
                <a:lnTo>
                  <a:pt x="875" y="2024"/>
                </a:lnTo>
                <a:lnTo>
                  <a:pt x="434" y="2178"/>
                </a:lnTo>
                <a:lnTo>
                  <a:pt x="0" y="2024"/>
                </a:lnTo>
                <a:lnTo>
                  <a:pt x="0" y="0"/>
                </a:lnTo>
                <a:lnTo>
                  <a:pt x="8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 w="12700">
            <a:solidFill>
              <a:schemeClr val="accent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pt-BR" sz="1295" dirty="0"/>
          </a:p>
        </p:txBody>
      </p:sp>
      <p:sp>
        <p:nvSpPr>
          <p:cNvPr id="1424392" name="Freeform 9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169023" y="493476"/>
            <a:ext cx="1347163" cy="3142433"/>
          </a:xfrm>
          <a:custGeom>
            <a:avLst/>
            <a:gdLst>
              <a:gd name="T0" fmla="*/ 875 w 875"/>
              <a:gd name="T1" fmla="*/ 0 h 2178"/>
              <a:gd name="T2" fmla="*/ 875 w 875"/>
              <a:gd name="T3" fmla="*/ 2024 h 2178"/>
              <a:gd name="T4" fmla="*/ 441 w 875"/>
              <a:gd name="T5" fmla="*/ 2178 h 2178"/>
              <a:gd name="T6" fmla="*/ 0 w 875"/>
              <a:gd name="T7" fmla="*/ 2024 h 2178"/>
              <a:gd name="T8" fmla="*/ 0 w 875"/>
              <a:gd name="T9" fmla="*/ 0 h 2178"/>
              <a:gd name="T10" fmla="*/ 875 w 875"/>
              <a:gd name="T11" fmla="*/ 0 h 21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5"/>
              <a:gd name="T19" fmla="*/ 0 h 2178"/>
              <a:gd name="T20" fmla="*/ 875 w 875"/>
              <a:gd name="T21" fmla="*/ 2178 h 21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5" h="2178">
                <a:moveTo>
                  <a:pt x="875" y="0"/>
                </a:moveTo>
                <a:lnTo>
                  <a:pt x="875" y="2024"/>
                </a:lnTo>
                <a:lnTo>
                  <a:pt x="441" y="2178"/>
                </a:lnTo>
                <a:lnTo>
                  <a:pt x="0" y="2024"/>
                </a:lnTo>
                <a:lnTo>
                  <a:pt x="0" y="0"/>
                </a:lnTo>
                <a:lnTo>
                  <a:pt x="8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 w="12700">
            <a:solidFill>
              <a:schemeClr val="accent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pt-BR" sz="1295" dirty="0"/>
          </a:p>
        </p:txBody>
      </p:sp>
      <p:sp>
        <p:nvSpPr>
          <p:cNvPr id="1424393" name="Freeform 10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727034" y="493476"/>
            <a:ext cx="1347163" cy="3142433"/>
          </a:xfrm>
          <a:custGeom>
            <a:avLst/>
            <a:gdLst>
              <a:gd name="T0" fmla="*/ 875 w 875"/>
              <a:gd name="T1" fmla="*/ 0 h 2178"/>
              <a:gd name="T2" fmla="*/ 875 w 875"/>
              <a:gd name="T3" fmla="*/ 2024 h 2178"/>
              <a:gd name="T4" fmla="*/ 441 w 875"/>
              <a:gd name="T5" fmla="*/ 2178 h 2178"/>
              <a:gd name="T6" fmla="*/ 0 w 875"/>
              <a:gd name="T7" fmla="*/ 2024 h 2178"/>
              <a:gd name="T8" fmla="*/ 0 w 875"/>
              <a:gd name="T9" fmla="*/ 0 h 2178"/>
              <a:gd name="T10" fmla="*/ 875 w 875"/>
              <a:gd name="T11" fmla="*/ 0 h 21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5"/>
              <a:gd name="T19" fmla="*/ 0 h 2178"/>
              <a:gd name="T20" fmla="*/ 875 w 875"/>
              <a:gd name="T21" fmla="*/ 2178 h 21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5" h="2178">
                <a:moveTo>
                  <a:pt x="875" y="0"/>
                </a:moveTo>
                <a:lnTo>
                  <a:pt x="875" y="2024"/>
                </a:lnTo>
                <a:lnTo>
                  <a:pt x="441" y="2178"/>
                </a:lnTo>
                <a:lnTo>
                  <a:pt x="0" y="2024"/>
                </a:lnTo>
                <a:lnTo>
                  <a:pt x="0" y="0"/>
                </a:lnTo>
                <a:lnTo>
                  <a:pt x="8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 w="12700">
            <a:solidFill>
              <a:schemeClr val="accent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pt-BR" sz="1295" dirty="0"/>
          </a:p>
        </p:txBody>
      </p:sp>
      <p:sp>
        <p:nvSpPr>
          <p:cNvPr id="1424394" name="Freeform 11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299196" y="493476"/>
            <a:ext cx="1347163" cy="3142433"/>
          </a:xfrm>
          <a:custGeom>
            <a:avLst/>
            <a:gdLst>
              <a:gd name="T0" fmla="*/ 875 w 875"/>
              <a:gd name="T1" fmla="*/ 0 h 2178"/>
              <a:gd name="T2" fmla="*/ 875 w 875"/>
              <a:gd name="T3" fmla="*/ 2024 h 2178"/>
              <a:gd name="T4" fmla="*/ 433 w 875"/>
              <a:gd name="T5" fmla="*/ 2178 h 2178"/>
              <a:gd name="T6" fmla="*/ 0 w 875"/>
              <a:gd name="T7" fmla="*/ 2024 h 2178"/>
              <a:gd name="T8" fmla="*/ 0 w 875"/>
              <a:gd name="T9" fmla="*/ 0 h 2178"/>
              <a:gd name="T10" fmla="*/ 875 w 875"/>
              <a:gd name="T11" fmla="*/ 0 h 217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75"/>
              <a:gd name="T19" fmla="*/ 0 h 2178"/>
              <a:gd name="T20" fmla="*/ 875 w 875"/>
              <a:gd name="T21" fmla="*/ 2178 h 217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75" h="2178">
                <a:moveTo>
                  <a:pt x="875" y="0"/>
                </a:moveTo>
                <a:lnTo>
                  <a:pt x="875" y="2024"/>
                </a:lnTo>
                <a:lnTo>
                  <a:pt x="433" y="2178"/>
                </a:lnTo>
                <a:lnTo>
                  <a:pt x="0" y="2024"/>
                </a:lnTo>
                <a:lnTo>
                  <a:pt x="0" y="0"/>
                </a:lnTo>
                <a:lnTo>
                  <a:pt x="875" y="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 w="12700">
            <a:solidFill>
              <a:schemeClr val="accent6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pt-BR" sz="1295" dirty="0"/>
          </a:p>
        </p:txBody>
      </p:sp>
      <p:sp>
        <p:nvSpPr>
          <p:cNvPr id="40" name="Freeform 4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9701" y="681040"/>
            <a:ext cx="1202829" cy="747373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1" name="Freeform 5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99701" y="1591452"/>
            <a:ext cx="1202829" cy="747373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2" name="Freeform 6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99701" y="2514849"/>
            <a:ext cx="1202829" cy="734389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2038849" y="263906"/>
            <a:ext cx="1348295" cy="1992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pt-BR" sz="1295" b="1">
                <a:solidFill>
                  <a:schemeClr val="accent1"/>
                </a:solidFill>
              </a:rPr>
              <a:t>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3603936" y="263906"/>
            <a:ext cx="1348295" cy="1992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pt-BR" sz="1295" b="1">
                <a:solidFill>
                  <a:schemeClr val="accent1"/>
                </a:solidFill>
              </a:rPr>
              <a:t>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47" name="CaixaDeTexto 46"/>
          <p:cNvSpPr txBox="1"/>
          <p:nvPr/>
        </p:nvSpPr>
        <p:spPr>
          <a:xfrm>
            <a:off x="5169023" y="263906"/>
            <a:ext cx="1348295" cy="1992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pt-BR" sz="1295" b="1">
                <a:solidFill>
                  <a:schemeClr val="accent1"/>
                </a:solidFill>
              </a:rPr>
              <a:t>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6734109" y="263906"/>
            <a:ext cx="1348295" cy="1992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pt-BR" sz="1295" b="1">
                <a:solidFill>
                  <a:schemeClr val="accent1"/>
                </a:solidFill>
              </a:rPr>
              <a:t>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49" name="CaixaDeTexto 48"/>
          <p:cNvSpPr txBox="1"/>
          <p:nvPr/>
        </p:nvSpPr>
        <p:spPr>
          <a:xfrm>
            <a:off x="8299196" y="263906"/>
            <a:ext cx="1348295" cy="19928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pt-BR" sz="1295" b="1">
                <a:solidFill>
                  <a:schemeClr val="accent1"/>
                </a:solidFill>
              </a:rPr>
              <a:t>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038849" y="855412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3" name="CaixaDeTexto 52"/>
          <p:cNvSpPr txBox="1"/>
          <p:nvPr/>
        </p:nvSpPr>
        <p:spPr>
          <a:xfrm>
            <a:off x="3603936" y="855412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4" name="CaixaDeTexto 53"/>
          <p:cNvSpPr txBox="1"/>
          <p:nvPr/>
        </p:nvSpPr>
        <p:spPr>
          <a:xfrm>
            <a:off x="5169023" y="855412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5" name="CaixaDeTexto 54"/>
          <p:cNvSpPr txBox="1"/>
          <p:nvPr/>
        </p:nvSpPr>
        <p:spPr>
          <a:xfrm>
            <a:off x="6734109" y="855412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6" name="CaixaDeTexto 55"/>
          <p:cNvSpPr txBox="1"/>
          <p:nvPr/>
        </p:nvSpPr>
        <p:spPr>
          <a:xfrm>
            <a:off x="8299196" y="855412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7" name="CaixaDeTexto 56"/>
          <p:cNvSpPr txBox="1"/>
          <p:nvPr/>
        </p:nvSpPr>
        <p:spPr>
          <a:xfrm>
            <a:off x="2038849" y="1765825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8" name="CaixaDeTexto 57"/>
          <p:cNvSpPr txBox="1"/>
          <p:nvPr/>
        </p:nvSpPr>
        <p:spPr>
          <a:xfrm>
            <a:off x="3603936" y="1765825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59" name="CaixaDeTexto 58"/>
          <p:cNvSpPr txBox="1"/>
          <p:nvPr/>
        </p:nvSpPr>
        <p:spPr>
          <a:xfrm>
            <a:off x="5169023" y="1765825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0" name="CaixaDeTexto 59"/>
          <p:cNvSpPr txBox="1"/>
          <p:nvPr/>
        </p:nvSpPr>
        <p:spPr>
          <a:xfrm>
            <a:off x="6734109" y="1765825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1" name="CaixaDeTexto 60"/>
          <p:cNvSpPr txBox="1"/>
          <p:nvPr/>
        </p:nvSpPr>
        <p:spPr>
          <a:xfrm>
            <a:off x="8299196" y="1765825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2" name="CaixaDeTexto 61"/>
          <p:cNvSpPr txBox="1"/>
          <p:nvPr/>
        </p:nvSpPr>
        <p:spPr>
          <a:xfrm>
            <a:off x="2038849" y="2682729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3" name="CaixaDeTexto 62"/>
          <p:cNvSpPr txBox="1"/>
          <p:nvPr/>
        </p:nvSpPr>
        <p:spPr>
          <a:xfrm>
            <a:off x="3603936" y="2682729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4" name="CaixaDeTexto 63"/>
          <p:cNvSpPr txBox="1"/>
          <p:nvPr/>
        </p:nvSpPr>
        <p:spPr>
          <a:xfrm>
            <a:off x="5169023" y="2682729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5" name="CaixaDeTexto 64"/>
          <p:cNvSpPr txBox="1"/>
          <p:nvPr/>
        </p:nvSpPr>
        <p:spPr>
          <a:xfrm>
            <a:off x="6734109" y="2682729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6" name="CaixaDeTexto 65"/>
          <p:cNvSpPr txBox="1"/>
          <p:nvPr/>
        </p:nvSpPr>
        <p:spPr>
          <a:xfrm>
            <a:off x="8299196" y="2682729"/>
            <a:ext cx="1348295" cy="398571"/>
          </a:xfrm>
          <a:prstGeom prst="rect">
            <a:avLst/>
          </a:prstGeom>
          <a:noFill/>
        </p:spPr>
        <p:txBody>
          <a:bodyPr wrap="square" lIns="77712" tIns="0" rIns="77712" bIns="0" rtlCol="0" anchor="t">
            <a:spAutoFit/>
          </a:bodyPr>
          <a:lstStyle/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92523" indent="-92523">
              <a:buFont typeface="Arial" pitchFamily="34" charset="0"/>
              <a:buChar char="•"/>
            </a:pPr>
            <a:r>
              <a:rPr lang="pt-BR" sz="1295"/>
              <a:t>Xxxxxx </a:t>
            </a:r>
            <a:endParaRPr lang="pt-BR" sz="1295" dirty="0"/>
          </a:p>
        </p:txBody>
      </p:sp>
      <p:sp>
        <p:nvSpPr>
          <p:cNvPr id="67" name="Título 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8" name="Espaço Reservado para Texto 6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452295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7 Grupo"/>
          <p:cNvGrpSpPr/>
          <p:nvPr/>
        </p:nvGrpSpPr>
        <p:grpSpPr>
          <a:xfrm>
            <a:off x="371815" y="360149"/>
            <a:ext cx="3136782" cy="1702187"/>
            <a:chOff x="1419225" y="1446213"/>
            <a:chExt cx="6029325" cy="3271837"/>
          </a:xfrm>
        </p:grpSpPr>
        <p:sp>
          <p:nvSpPr>
            <p:cNvPr id="2" name="Freeform 2"/>
            <p:cNvSpPr>
              <a:spLocks/>
            </p:cNvSpPr>
            <p:nvPr/>
          </p:nvSpPr>
          <p:spPr bwMode="blackWhite">
            <a:xfrm>
              <a:off x="1419225" y="1446213"/>
              <a:ext cx="6029325" cy="3271837"/>
            </a:xfrm>
            <a:custGeom>
              <a:avLst/>
              <a:gdLst>
                <a:gd name="T0" fmla="*/ 0 w 4263"/>
                <a:gd name="T1" fmla="*/ 991 h 2383"/>
                <a:gd name="T2" fmla="*/ 3750 w 4263"/>
                <a:gd name="T3" fmla="*/ 991 h 2383"/>
                <a:gd name="T4" fmla="*/ 3207 w 4263"/>
                <a:gd name="T5" fmla="*/ 0 h 2383"/>
                <a:gd name="T6" fmla="*/ 3630 w 4263"/>
                <a:gd name="T7" fmla="*/ 0 h 2383"/>
                <a:gd name="T8" fmla="*/ 4262 w 4263"/>
                <a:gd name="T9" fmla="*/ 1207 h 2383"/>
                <a:gd name="T10" fmla="*/ 3630 w 4263"/>
                <a:gd name="T11" fmla="*/ 2382 h 2383"/>
                <a:gd name="T12" fmla="*/ 3254 w 4263"/>
                <a:gd name="T13" fmla="*/ 2382 h 2383"/>
                <a:gd name="T14" fmla="*/ 3774 w 4263"/>
                <a:gd name="T15" fmla="*/ 1391 h 2383"/>
                <a:gd name="T16" fmla="*/ 0 w 4263"/>
                <a:gd name="T17" fmla="*/ 1391 h 238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63"/>
                <a:gd name="T28" fmla="*/ 0 h 2383"/>
                <a:gd name="T29" fmla="*/ 4263 w 4263"/>
                <a:gd name="T30" fmla="*/ 2383 h 238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63" h="2383">
                  <a:moveTo>
                    <a:pt x="0" y="991"/>
                  </a:moveTo>
                  <a:lnTo>
                    <a:pt x="3750" y="991"/>
                  </a:lnTo>
                  <a:lnTo>
                    <a:pt x="3207" y="0"/>
                  </a:lnTo>
                  <a:lnTo>
                    <a:pt x="3630" y="0"/>
                  </a:lnTo>
                  <a:lnTo>
                    <a:pt x="4262" y="1207"/>
                  </a:lnTo>
                  <a:lnTo>
                    <a:pt x="3630" y="2382"/>
                  </a:lnTo>
                  <a:lnTo>
                    <a:pt x="3254" y="2382"/>
                  </a:lnTo>
                  <a:lnTo>
                    <a:pt x="3774" y="1391"/>
                  </a:lnTo>
                  <a:lnTo>
                    <a:pt x="0" y="1391"/>
                  </a:ln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</p:spPr>
          <p:txBody>
            <a:bodyPr>
              <a:flatTx/>
            </a:bodyPr>
            <a:lstStyle/>
            <a:p>
              <a:endParaRPr lang="ca-ES" sz="1295"/>
            </a:p>
          </p:txBody>
        </p:sp>
        <p:sp>
          <p:nvSpPr>
            <p:cNvPr id="3" name="Freeform 3"/>
            <p:cNvSpPr>
              <a:spLocks/>
            </p:cNvSpPr>
            <p:nvPr/>
          </p:nvSpPr>
          <p:spPr bwMode="blackWhite">
            <a:xfrm>
              <a:off x="1419225" y="1446213"/>
              <a:ext cx="5033963" cy="1230312"/>
            </a:xfrm>
            <a:custGeom>
              <a:avLst/>
              <a:gdLst>
                <a:gd name="T0" fmla="*/ 0 w 3559"/>
                <a:gd name="T1" fmla="*/ 496 h 896"/>
                <a:gd name="T2" fmla="*/ 2943 w 3559"/>
                <a:gd name="T3" fmla="*/ 496 h 896"/>
                <a:gd name="T4" fmla="*/ 2663 w 3559"/>
                <a:gd name="T5" fmla="*/ 0 h 896"/>
                <a:gd name="T6" fmla="*/ 3063 w 3559"/>
                <a:gd name="T7" fmla="*/ 0 h 896"/>
                <a:gd name="T8" fmla="*/ 3558 w 3559"/>
                <a:gd name="T9" fmla="*/ 895 h 896"/>
                <a:gd name="T10" fmla="*/ 0 w 3559"/>
                <a:gd name="T11" fmla="*/ 895 h 8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59"/>
                <a:gd name="T19" fmla="*/ 0 h 896"/>
                <a:gd name="T20" fmla="*/ 3559 w 3559"/>
                <a:gd name="T21" fmla="*/ 896 h 89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59" h="896">
                  <a:moveTo>
                    <a:pt x="0" y="496"/>
                  </a:moveTo>
                  <a:lnTo>
                    <a:pt x="2943" y="496"/>
                  </a:lnTo>
                  <a:lnTo>
                    <a:pt x="2663" y="0"/>
                  </a:lnTo>
                  <a:lnTo>
                    <a:pt x="3063" y="0"/>
                  </a:lnTo>
                  <a:lnTo>
                    <a:pt x="3558" y="895"/>
                  </a:lnTo>
                  <a:lnTo>
                    <a:pt x="0" y="895"/>
                  </a:lnTo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>
              <a:flatTx/>
            </a:bodyPr>
            <a:lstStyle/>
            <a:p>
              <a:endParaRPr lang="ca-ES" sz="1295"/>
            </a:p>
          </p:txBody>
        </p:sp>
        <p:sp>
          <p:nvSpPr>
            <p:cNvPr id="4" name="Freeform 4"/>
            <p:cNvSpPr>
              <a:spLocks/>
            </p:cNvSpPr>
            <p:nvPr/>
          </p:nvSpPr>
          <p:spPr bwMode="blackWhite">
            <a:xfrm>
              <a:off x="1419225" y="3487738"/>
              <a:ext cx="5033963" cy="1230312"/>
            </a:xfrm>
            <a:custGeom>
              <a:avLst/>
              <a:gdLst>
                <a:gd name="T0" fmla="*/ 0 w 3559"/>
                <a:gd name="T1" fmla="*/ 399 h 896"/>
                <a:gd name="T2" fmla="*/ 2943 w 3559"/>
                <a:gd name="T3" fmla="*/ 399 h 896"/>
                <a:gd name="T4" fmla="*/ 2687 w 3559"/>
                <a:gd name="T5" fmla="*/ 895 h 896"/>
                <a:gd name="T6" fmla="*/ 3087 w 3559"/>
                <a:gd name="T7" fmla="*/ 895 h 896"/>
                <a:gd name="T8" fmla="*/ 3558 w 3559"/>
                <a:gd name="T9" fmla="*/ 0 h 896"/>
                <a:gd name="T10" fmla="*/ 0 w 3559"/>
                <a:gd name="T11" fmla="*/ 0 h 89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59"/>
                <a:gd name="T19" fmla="*/ 0 h 896"/>
                <a:gd name="T20" fmla="*/ 3559 w 3559"/>
                <a:gd name="T21" fmla="*/ 896 h 89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59" h="896">
                  <a:moveTo>
                    <a:pt x="0" y="399"/>
                  </a:moveTo>
                  <a:lnTo>
                    <a:pt x="2943" y="399"/>
                  </a:lnTo>
                  <a:lnTo>
                    <a:pt x="2687" y="895"/>
                  </a:lnTo>
                  <a:lnTo>
                    <a:pt x="3087" y="895"/>
                  </a:lnTo>
                  <a:lnTo>
                    <a:pt x="3558" y="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>
              <a:flatTx/>
            </a:bodyPr>
            <a:lstStyle/>
            <a:p>
              <a:endParaRPr lang="ca-ES" sz="1295"/>
            </a:p>
          </p:txBody>
        </p:sp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1508125" y="2308225"/>
              <a:ext cx="425291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1508125" y="2944813"/>
              <a:ext cx="530701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1508125" y="3630613"/>
              <a:ext cx="425291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15" name="14 Grupo"/>
          <p:cNvGrpSpPr/>
          <p:nvPr/>
        </p:nvGrpSpPr>
        <p:grpSpPr>
          <a:xfrm>
            <a:off x="3869223" y="143893"/>
            <a:ext cx="3093239" cy="2227943"/>
            <a:chOff x="3296816" y="1455738"/>
            <a:chExt cx="5805488" cy="4181475"/>
          </a:xfrm>
        </p:grpSpPr>
        <p:grpSp>
          <p:nvGrpSpPr>
            <p:cNvPr id="9" name="Group 2"/>
            <p:cNvGrpSpPr>
              <a:grpSpLocks/>
            </p:cNvGrpSpPr>
            <p:nvPr/>
          </p:nvGrpSpPr>
          <p:grpSpPr bwMode="auto">
            <a:xfrm>
              <a:off x="3296816" y="1455738"/>
              <a:ext cx="5805488" cy="4181475"/>
              <a:chOff x="898" y="920"/>
              <a:chExt cx="3657" cy="2634"/>
            </a:xfrm>
          </p:grpSpPr>
          <p:sp>
            <p:nvSpPr>
              <p:cNvPr id="10" name="Freeform 3"/>
              <p:cNvSpPr>
                <a:spLocks/>
              </p:cNvSpPr>
              <p:nvPr/>
            </p:nvSpPr>
            <p:spPr bwMode="blackWhite">
              <a:xfrm>
                <a:off x="898" y="2282"/>
                <a:ext cx="3656" cy="1272"/>
              </a:xfrm>
              <a:custGeom>
                <a:avLst/>
                <a:gdLst>
                  <a:gd name="T0" fmla="*/ 0 w 3656"/>
                  <a:gd name="T1" fmla="*/ 283 h 1272"/>
                  <a:gd name="T2" fmla="*/ 0 w 3656"/>
                  <a:gd name="T3" fmla="*/ 941 h 1272"/>
                  <a:gd name="T4" fmla="*/ 3303 w 3656"/>
                  <a:gd name="T5" fmla="*/ 938 h 1272"/>
                  <a:gd name="T6" fmla="*/ 3303 w 3656"/>
                  <a:gd name="T7" fmla="*/ 1271 h 1272"/>
                  <a:gd name="T8" fmla="*/ 3655 w 3656"/>
                  <a:gd name="T9" fmla="*/ 0 h 1272"/>
                  <a:gd name="T10" fmla="*/ 3303 w 3656"/>
                  <a:gd name="T11" fmla="*/ 0 h 1272"/>
                  <a:gd name="T12" fmla="*/ 3102 w 3656"/>
                  <a:gd name="T13" fmla="*/ 616 h 1272"/>
                  <a:gd name="T14" fmla="*/ 3102 w 3656"/>
                  <a:gd name="T15" fmla="*/ 286 h 1272"/>
                  <a:gd name="T16" fmla="*/ 0 w 3656"/>
                  <a:gd name="T17" fmla="*/ 283 h 12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56"/>
                  <a:gd name="T28" fmla="*/ 0 h 1272"/>
                  <a:gd name="T29" fmla="*/ 3656 w 3656"/>
                  <a:gd name="T30" fmla="*/ 1272 h 12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56" h="1272">
                    <a:moveTo>
                      <a:pt x="0" y="283"/>
                    </a:moveTo>
                    <a:lnTo>
                      <a:pt x="0" y="941"/>
                    </a:lnTo>
                    <a:lnTo>
                      <a:pt x="3303" y="938"/>
                    </a:lnTo>
                    <a:lnTo>
                      <a:pt x="3303" y="1271"/>
                    </a:lnTo>
                    <a:lnTo>
                      <a:pt x="3655" y="0"/>
                    </a:lnTo>
                    <a:lnTo>
                      <a:pt x="3303" y="0"/>
                    </a:lnTo>
                    <a:lnTo>
                      <a:pt x="3102" y="616"/>
                    </a:lnTo>
                    <a:lnTo>
                      <a:pt x="3102" y="286"/>
                    </a:lnTo>
                    <a:lnTo>
                      <a:pt x="0" y="283"/>
                    </a:lnTo>
                  </a:path>
                </a:pathLst>
              </a:custGeom>
              <a:solidFill>
                <a:schemeClr val="accent2"/>
              </a:solidFill>
              <a:ln w="9525">
                <a:round/>
                <a:headEnd/>
                <a:tailEnd/>
              </a:ln>
            </p:spPr>
            <p:txBody>
              <a:bodyPr anchor="ctr">
                <a:flatTx/>
              </a:bodyPr>
              <a:lstStyle/>
              <a:p>
                <a:endParaRPr lang="ca-ES" sz="1295"/>
              </a:p>
            </p:txBody>
          </p:sp>
          <p:sp>
            <p:nvSpPr>
              <p:cNvPr id="11" name="Freeform 4"/>
              <p:cNvSpPr>
                <a:spLocks/>
              </p:cNvSpPr>
              <p:nvPr/>
            </p:nvSpPr>
            <p:spPr bwMode="blackWhite">
              <a:xfrm>
                <a:off x="899" y="920"/>
                <a:ext cx="3656" cy="1272"/>
              </a:xfrm>
              <a:custGeom>
                <a:avLst/>
                <a:gdLst>
                  <a:gd name="T0" fmla="*/ 0 w 3656"/>
                  <a:gd name="T1" fmla="*/ 987 h 1272"/>
                  <a:gd name="T2" fmla="*/ 0 w 3656"/>
                  <a:gd name="T3" fmla="*/ 329 h 1272"/>
                  <a:gd name="T4" fmla="*/ 3303 w 3656"/>
                  <a:gd name="T5" fmla="*/ 331 h 1272"/>
                  <a:gd name="T6" fmla="*/ 3303 w 3656"/>
                  <a:gd name="T7" fmla="*/ 0 h 1272"/>
                  <a:gd name="T8" fmla="*/ 3655 w 3656"/>
                  <a:gd name="T9" fmla="*/ 1271 h 1272"/>
                  <a:gd name="T10" fmla="*/ 3303 w 3656"/>
                  <a:gd name="T11" fmla="*/ 1271 h 1272"/>
                  <a:gd name="T12" fmla="*/ 3102 w 3656"/>
                  <a:gd name="T13" fmla="*/ 654 h 1272"/>
                  <a:gd name="T14" fmla="*/ 3102 w 3656"/>
                  <a:gd name="T15" fmla="*/ 985 h 1272"/>
                  <a:gd name="T16" fmla="*/ 0 w 3656"/>
                  <a:gd name="T17" fmla="*/ 987 h 12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656"/>
                  <a:gd name="T28" fmla="*/ 0 h 1272"/>
                  <a:gd name="T29" fmla="*/ 3656 w 3656"/>
                  <a:gd name="T30" fmla="*/ 1272 h 12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656" h="1272">
                    <a:moveTo>
                      <a:pt x="0" y="987"/>
                    </a:moveTo>
                    <a:lnTo>
                      <a:pt x="0" y="329"/>
                    </a:lnTo>
                    <a:lnTo>
                      <a:pt x="3303" y="331"/>
                    </a:lnTo>
                    <a:lnTo>
                      <a:pt x="3303" y="0"/>
                    </a:lnTo>
                    <a:lnTo>
                      <a:pt x="3655" y="1271"/>
                    </a:lnTo>
                    <a:lnTo>
                      <a:pt x="3303" y="1271"/>
                    </a:lnTo>
                    <a:lnTo>
                      <a:pt x="3102" y="654"/>
                    </a:lnTo>
                    <a:lnTo>
                      <a:pt x="3102" y="985"/>
                    </a:lnTo>
                    <a:lnTo>
                      <a:pt x="0" y="987"/>
                    </a:lnTo>
                  </a:path>
                </a:pathLst>
              </a:custGeom>
              <a:solidFill>
                <a:schemeClr val="accent2"/>
              </a:solidFill>
              <a:ln w="9525">
                <a:round/>
                <a:headEnd/>
                <a:tailEnd/>
              </a:ln>
            </p:spPr>
            <p:txBody>
              <a:bodyPr anchor="ctr">
                <a:flatTx/>
              </a:bodyPr>
              <a:lstStyle/>
              <a:p>
                <a:endParaRPr lang="ca-ES" sz="1295"/>
              </a:p>
            </p:txBody>
          </p:sp>
        </p:grp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3485728" y="2361986"/>
              <a:ext cx="3970336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/>
          </p:nvSpPr>
          <p:spPr bwMode="auto">
            <a:xfrm>
              <a:off x="3485729" y="3422650"/>
              <a:ext cx="3970337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3485728" y="4458559"/>
              <a:ext cx="3970336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16" name="15 Grupo"/>
          <p:cNvGrpSpPr/>
          <p:nvPr/>
        </p:nvGrpSpPr>
        <p:grpSpPr>
          <a:xfrm>
            <a:off x="371816" y="2225433"/>
            <a:ext cx="3186527" cy="2374511"/>
            <a:chOff x="1528831" y="1241425"/>
            <a:chExt cx="5743507" cy="4279900"/>
          </a:xfrm>
        </p:grpSpPr>
        <p:sp>
          <p:nvSpPr>
            <p:cNvPr id="17" name="Freeform 2"/>
            <p:cNvSpPr>
              <a:spLocks/>
            </p:cNvSpPr>
            <p:nvPr/>
          </p:nvSpPr>
          <p:spPr bwMode="blackWhite">
            <a:xfrm>
              <a:off x="4132263" y="1241425"/>
              <a:ext cx="3140075" cy="4279900"/>
            </a:xfrm>
            <a:custGeom>
              <a:avLst/>
              <a:gdLst>
                <a:gd name="T0" fmla="*/ 0 w 1978"/>
                <a:gd name="T1" fmla="*/ 340 h 2696"/>
                <a:gd name="T2" fmla="*/ 1564 w 1978"/>
                <a:gd name="T3" fmla="*/ 340 h 2696"/>
                <a:gd name="T4" fmla="*/ 1564 w 1978"/>
                <a:gd name="T5" fmla="*/ 0 h 2696"/>
                <a:gd name="T6" fmla="*/ 1977 w 1978"/>
                <a:gd name="T7" fmla="*/ 1361 h 2696"/>
                <a:gd name="T8" fmla="*/ 1564 w 1978"/>
                <a:gd name="T9" fmla="*/ 2695 h 2696"/>
                <a:gd name="T10" fmla="*/ 1564 w 1978"/>
                <a:gd name="T11" fmla="*/ 2392 h 2696"/>
                <a:gd name="T12" fmla="*/ 0 w 1978"/>
                <a:gd name="T13" fmla="*/ 2392 h 26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78"/>
                <a:gd name="T22" fmla="*/ 0 h 2696"/>
                <a:gd name="T23" fmla="*/ 1978 w 1978"/>
                <a:gd name="T24" fmla="*/ 2696 h 26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78" h="2696">
                  <a:moveTo>
                    <a:pt x="0" y="340"/>
                  </a:moveTo>
                  <a:lnTo>
                    <a:pt x="1564" y="340"/>
                  </a:lnTo>
                  <a:lnTo>
                    <a:pt x="1564" y="0"/>
                  </a:lnTo>
                  <a:lnTo>
                    <a:pt x="1977" y="1361"/>
                  </a:lnTo>
                  <a:lnTo>
                    <a:pt x="1564" y="2695"/>
                  </a:lnTo>
                  <a:lnTo>
                    <a:pt x="1564" y="2392"/>
                  </a:lnTo>
                  <a:lnTo>
                    <a:pt x="0" y="2392"/>
                  </a:lnTo>
                </a:path>
              </a:pathLst>
            </a:custGeom>
            <a:solidFill>
              <a:schemeClr val="accent2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18" name="Freeform 3"/>
            <p:cNvSpPr>
              <a:spLocks/>
            </p:cNvSpPr>
            <p:nvPr/>
          </p:nvSpPr>
          <p:spPr bwMode="blackWhite">
            <a:xfrm>
              <a:off x="1528831" y="1781175"/>
              <a:ext cx="3213100" cy="1577975"/>
            </a:xfrm>
            <a:custGeom>
              <a:avLst/>
              <a:gdLst>
                <a:gd name="T0" fmla="*/ 1638 w 2024"/>
                <a:gd name="T1" fmla="*/ 434 h 994"/>
                <a:gd name="T2" fmla="*/ 1638 w 2024"/>
                <a:gd name="T3" fmla="*/ 0 h 994"/>
                <a:gd name="T4" fmla="*/ 2023 w 2024"/>
                <a:gd name="T5" fmla="*/ 993 h 994"/>
                <a:gd name="T6" fmla="*/ 0 w 2024"/>
                <a:gd name="T7" fmla="*/ 993 h 994"/>
                <a:gd name="T8" fmla="*/ 0 w 2024"/>
                <a:gd name="T9" fmla="*/ 434 h 994"/>
                <a:gd name="T10" fmla="*/ 1638 w 2024"/>
                <a:gd name="T11" fmla="*/ 434 h 99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24"/>
                <a:gd name="T19" fmla="*/ 0 h 994"/>
                <a:gd name="T20" fmla="*/ 2024 w 2024"/>
                <a:gd name="T21" fmla="*/ 994 h 99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24" h="994">
                  <a:moveTo>
                    <a:pt x="1638" y="434"/>
                  </a:moveTo>
                  <a:lnTo>
                    <a:pt x="1638" y="0"/>
                  </a:lnTo>
                  <a:lnTo>
                    <a:pt x="2023" y="993"/>
                  </a:lnTo>
                  <a:lnTo>
                    <a:pt x="0" y="993"/>
                  </a:lnTo>
                  <a:lnTo>
                    <a:pt x="0" y="434"/>
                  </a:lnTo>
                  <a:lnTo>
                    <a:pt x="1638" y="434"/>
                  </a:lnTo>
                </a:path>
              </a:pathLst>
            </a:custGeom>
            <a:solidFill>
              <a:schemeClr val="accent3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19" name="Freeform 4"/>
            <p:cNvSpPr>
              <a:spLocks/>
            </p:cNvSpPr>
            <p:nvPr/>
          </p:nvSpPr>
          <p:spPr bwMode="blackWhite">
            <a:xfrm>
              <a:off x="1528831" y="3465513"/>
              <a:ext cx="3213100" cy="1576387"/>
            </a:xfrm>
            <a:custGeom>
              <a:avLst/>
              <a:gdLst>
                <a:gd name="T0" fmla="*/ 1638 w 2024"/>
                <a:gd name="T1" fmla="*/ 558 h 993"/>
                <a:gd name="T2" fmla="*/ 1638 w 2024"/>
                <a:gd name="T3" fmla="*/ 992 h 993"/>
                <a:gd name="T4" fmla="*/ 2023 w 2024"/>
                <a:gd name="T5" fmla="*/ 0 h 993"/>
                <a:gd name="T6" fmla="*/ 0 w 2024"/>
                <a:gd name="T7" fmla="*/ 0 h 993"/>
                <a:gd name="T8" fmla="*/ 0 w 2024"/>
                <a:gd name="T9" fmla="*/ 558 h 993"/>
                <a:gd name="T10" fmla="*/ 1638 w 2024"/>
                <a:gd name="T11" fmla="*/ 558 h 9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24"/>
                <a:gd name="T19" fmla="*/ 0 h 993"/>
                <a:gd name="T20" fmla="*/ 2024 w 2024"/>
                <a:gd name="T21" fmla="*/ 993 h 9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24" h="993">
                  <a:moveTo>
                    <a:pt x="1638" y="558"/>
                  </a:moveTo>
                  <a:lnTo>
                    <a:pt x="1638" y="992"/>
                  </a:lnTo>
                  <a:lnTo>
                    <a:pt x="2023" y="0"/>
                  </a:lnTo>
                  <a:lnTo>
                    <a:pt x="0" y="0"/>
                  </a:lnTo>
                  <a:lnTo>
                    <a:pt x="0" y="558"/>
                  </a:lnTo>
                  <a:lnTo>
                    <a:pt x="1638" y="558"/>
                  </a:lnTo>
                </a:path>
              </a:pathLst>
            </a:custGeom>
            <a:solidFill>
              <a:schemeClr val="accent3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1651069" y="2778919"/>
              <a:ext cx="1952624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1651069" y="3778218"/>
              <a:ext cx="1952624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4854644" y="3297405"/>
              <a:ext cx="1617662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23" name="22 Grupo"/>
          <p:cNvGrpSpPr/>
          <p:nvPr/>
        </p:nvGrpSpPr>
        <p:grpSpPr>
          <a:xfrm>
            <a:off x="3713782" y="2225433"/>
            <a:ext cx="3575128" cy="2489239"/>
            <a:chOff x="1693863" y="1446213"/>
            <a:chExt cx="5738812" cy="3995737"/>
          </a:xfrm>
        </p:grpSpPr>
        <p:sp>
          <p:nvSpPr>
            <p:cNvPr id="24" name="Freeform 2"/>
            <p:cNvSpPr>
              <a:spLocks/>
            </p:cNvSpPr>
            <p:nvPr/>
          </p:nvSpPr>
          <p:spPr bwMode="blackWhite">
            <a:xfrm>
              <a:off x="4357688" y="1446213"/>
              <a:ext cx="3074987" cy="3995737"/>
            </a:xfrm>
            <a:custGeom>
              <a:avLst/>
              <a:gdLst>
                <a:gd name="T0" fmla="*/ 0 w 1864"/>
                <a:gd name="T1" fmla="*/ 312 h 2495"/>
                <a:gd name="T2" fmla="*/ 1471 w 1864"/>
                <a:gd name="T3" fmla="*/ 312 h 2495"/>
                <a:gd name="T4" fmla="*/ 1471 w 1864"/>
                <a:gd name="T5" fmla="*/ 0 h 2495"/>
                <a:gd name="T6" fmla="*/ 1863 w 1864"/>
                <a:gd name="T7" fmla="*/ 1247 h 2495"/>
                <a:gd name="T8" fmla="*/ 1471 w 1864"/>
                <a:gd name="T9" fmla="*/ 2494 h 2495"/>
                <a:gd name="T10" fmla="*/ 1471 w 1864"/>
                <a:gd name="T11" fmla="*/ 2214 h 2495"/>
                <a:gd name="T12" fmla="*/ 0 w 1864"/>
                <a:gd name="T13" fmla="*/ 2214 h 2495"/>
                <a:gd name="T14" fmla="*/ 432 w 1864"/>
                <a:gd name="T15" fmla="*/ 1263 h 2495"/>
                <a:gd name="T16" fmla="*/ 0 w 1864"/>
                <a:gd name="T17" fmla="*/ 312 h 249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64"/>
                <a:gd name="T28" fmla="*/ 0 h 2495"/>
                <a:gd name="T29" fmla="*/ 1864 w 1864"/>
                <a:gd name="T30" fmla="*/ 2495 h 249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64" h="2495">
                  <a:moveTo>
                    <a:pt x="0" y="312"/>
                  </a:moveTo>
                  <a:lnTo>
                    <a:pt x="1471" y="312"/>
                  </a:lnTo>
                  <a:lnTo>
                    <a:pt x="1471" y="0"/>
                  </a:lnTo>
                  <a:lnTo>
                    <a:pt x="1863" y="1247"/>
                  </a:lnTo>
                  <a:lnTo>
                    <a:pt x="1471" y="2494"/>
                  </a:lnTo>
                  <a:lnTo>
                    <a:pt x="1471" y="2214"/>
                  </a:lnTo>
                  <a:lnTo>
                    <a:pt x="0" y="2214"/>
                  </a:lnTo>
                  <a:lnTo>
                    <a:pt x="432" y="1263"/>
                  </a:lnTo>
                  <a:lnTo>
                    <a:pt x="0" y="312"/>
                  </a:lnTo>
                </a:path>
              </a:pathLst>
            </a:custGeom>
            <a:solidFill>
              <a:schemeClr val="accent2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25" name="Freeform 3"/>
            <p:cNvSpPr>
              <a:spLocks/>
            </p:cNvSpPr>
            <p:nvPr/>
          </p:nvSpPr>
          <p:spPr bwMode="blackWhite">
            <a:xfrm>
              <a:off x="1693863" y="3840163"/>
              <a:ext cx="3062287" cy="1154112"/>
            </a:xfrm>
            <a:custGeom>
              <a:avLst/>
              <a:gdLst>
                <a:gd name="T0" fmla="*/ 1527 w 1856"/>
                <a:gd name="T1" fmla="*/ 312 h 720"/>
                <a:gd name="T2" fmla="*/ 1527 w 1856"/>
                <a:gd name="T3" fmla="*/ 719 h 720"/>
                <a:gd name="T4" fmla="*/ 1855 w 1856"/>
                <a:gd name="T5" fmla="*/ 0 h 720"/>
                <a:gd name="T6" fmla="*/ 0 w 1856"/>
                <a:gd name="T7" fmla="*/ 0 h 720"/>
                <a:gd name="T8" fmla="*/ 0 w 1856"/>
                <a:gd name="T9" fmla="*/ 312 h 720"/>
                <a:gd name="T10" fmla="*/ 1527 w 1856"/>
                <a:gd name="T11" fmla="*/ 312 h 7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56"/>
                <a:gd name="T19" fmla="*/ 0 h 720"/>
                <a:gd name="T20" fmla="*/ 1856 w 1856"/>
                <a:gd name="T21" fmla="*/ 720 h 7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56" h="720">
                  <a:moveTo>
                    <a:pt x="1527" y="312"/>
                  </a:moveTo>
                  <a:lnTo>
                    <a:pt x="1527" y="719"/>
                  </a:lnTo>
                  <a:lnTo>
                    <a:pt x="1855" y="0"/>
                  </a:lnTo>
                  <a:lnTo>
                    <a:pt x="0" y="0"/>
                  </a:lnTo>
                  <a:lnTo>
                    <a:pt x="0" y="312"/>
                  </a:lnTo>
                  <a:lnTo>
                    <a:pt x="1527" y="312"/>
                  </a:lnTo>
                </a:path>
              </a:pathLst>
            </a:custGeom>
            <a:solidFill>
              <a:schemeClr val="accent3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26" name="Freeform 4"/>
            <p:cNvSpPr>
              <a:spLocks/>
            </p:cNvSpPr>
            <p:nvPr/>
          </p:nvSpPr>
          <p:spPr bwMode="blackWhite">
            <a:xfrm>
              <a:off x="1693863" y="1946275"/>
              <a:ext cx="3062287" cy="1152525"/>
            </a:xfrm>
            <a:custGeom>
              <a:avLst/>
              <a:gdLst>
                <a:gd name="T0" fmla="*/ 1527 w 1856"/>
                <a:gd name="T1" fmla="*/ 407 h 720"/>
                <a:gd name="T2" fmla="*/ 1527 w 1856"/>
                <a:gd name="T3" fmla="*/ 0 h 720"/>
                <a:gd name="T4" fmla="*/ 1855 w 1856"/>
                <a:gd name="T5" fmla="*/ 719 h 720"/>
                <a:gd name="T6" fmla="*/ 0 w 1856"/>
                <a:gd name="T7" fmla="*/ 719 h 720"/>
                <a:gd name="T8" fmla="*/ 0 w 1856"/>
                <a:gd name="T9" fmla="*/ 407 h 720"/>
                <a:gd name="T10" fmla="*/ 1527 w 1856"/>
                <a:gd name="T11" fmla="*/ 407 h 7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56"/>
                <a:gd name="T19" fmla="*/ 0 h 720"/>
                <a:gd name="T20" fmla="*/ 1856 w 1856"/>
                <a:gd name="T21" fmla="*/ 720 h 7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56" h="720">
                  <a:moveTo>
                    <a:pt x="1527" y="407"/>
                  </a:moveTo>
                  <a:lnTo>
                    <a:pt x="1527" y="0"/>
                  </a:lnTo>
                  <a:lnTo>
                    <a:pt x="1855" y="719"/>
                  </a:lnTo>
                  <a:lnTo>
                    <a:pt x="0" y="719"/>
                  </a:lnTo>
                  <a:lnTo>
                    <a:pt x="0" y="407"/>
                  </a:lnTo>
                  <a:lnTo>
                    <a:pt x="1527" y="407"/>
                  </a:lnTo>
                </a:path>
              </a:pathLst>
            </a:custGeom>
            <a:solidFill>
              <a:schemeClr val="accent3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27" name="Freeform 5"/>
            <p:cNvSpPr>
              <a:spLocks/>
            </p:cNvSpPr>
            <p:nvPr/>
          </p:nvSpPr>
          <p:spPr bwMode="blackWhite">
            <a:xfrm>
              <a:off x="1695450" y="3179762"/>
              <a:ext cx="3232150" cy="579438"/>
            </a:xfrm>
            <a:custGeom>
              <a:avLst/>
              <a:gdLst>
                <a:gd name="T0" fmla="*/ 0 w 1959"/>
                <a:gd name="T1" fmla="*/ 0 h 362"/>
                <a:gd name="T2" fmla="*/ 1885 w 1959"/>
                <a:gd name="T3" fmla="*/ 0 h 362"/>
                <a:gd name="T4" fmla="*/ 1958 w 1959"/>
                <a:gd name="T5" fmla="*/ 184 h 362"/>
                <a:gd name="T6" fmla="*/ 1882 w 1959"/>
                <a:gd name="T7" fmla="*/ 361 h 362"/>
                <a:gd name="T8" fmla="*/ 0 w 1959"/>
                <a:gd name="T9" fmla="*/ 360 h 362"/>
                <a:gd name="T10" fmla="*/ 0 w 1959"/>
                <a:gd name="T11" fmla="*/ 0 h 3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59"/>
                <a:gd name="T19" fmla="*/ 0 h 362"/>
                <a:gd name="T20" fmla="*/ 1959 w 1959"/>
                <a:gd name="T21" fmla="*/ 362 h 36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59" h="362">
                  <a:moveTo>
                    <a:pt x="0" y="0"/>
                  </a:moveTo>
                  <a:lnTo>
                    <a:pt x="1885" y="0"/>
                  </a:lnTo>
                  <a:lnTo>
                    <a:pt x="1958" y="184"/>
                  </a:lnTo>
                  <a:lnTo>
                    <a:pt x="1882" y="361"/>
                  </a:lnTo>
                  <a:lnTo>
                    <a:pt x="0" y="360"/>
                  </a:lnTo>
                  <a:lnTo>
                    <a:pt x="0" y="0"/>
                  </a:lnTo>
                </a:path>
              </a:pathLst>
            </a:custGeom>
            <a:solidFill>
              <a:schemeClr val="accent3"/>
            </a:solidFill>
            <a:ln w="9525">
              <a:round/>
              <a:headEnd/>
              <a:tailEnd/>
            </a:ln>
          </p:spPr>
          <p:txBody>
            <a:bodyPr anchor="ctr">
              <a:flatTx/>
            </a:bodyPr>
            <a:lstStyle/>
            <a:p>
              <a:endParaRPr lang="ca-ES" sz="1295"/>
            </a:p>
          </p:txBody>
        </p:sp>
        <p:sp>
          <p:nvSpPr>
            <p:cNvPr id="28" name="Rectangle 6"/>
            <p:cNvSpPr>
              <a:spLocks noChangeArrowheads="1"/>
            </p:cNvSpPr>
            <p:nvPr/>
          </p:nvSpPr>
          <p:spPr bwMode="auto">
            <a:xfrm>
              <a:off x="1779589" y="2723521"/>
              <a:ext cx="263525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1779589" y="3334083"/>
              <a:ext cx="263525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auto">
            <a:xfrm>
              <a:off x="1779589" y="3949700"/>
              <a:ext cx="263525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auto">
            <a:xfrm>
              <a:off x="5203825" y="3336925"/>
              <a:ext cx="206851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371816" y="4557039"/>
            <a:ext cx="4084368" cy="1952418"/>
            <a:chOff x="1371600" y="1660525"/>
            <a:chExt cx="6934200" cy="3314700"/>
          </a:xfrm>
        </p:grpSpPr>
        <p:sp>
          <p:nvSpPr>
            <p:cNvPr id="33" name="Freeform 2"/>
            <p:cNvSpPr>
              <a:spLocks/>
            </p:cNvSpPr>
            <p:nvPr/>
          </p:nvSpPr>
          <p:spPr bwMode="blackWhite">
            <a:xfrm>
              <a:off x="1371602" y="2690813"/>
              <a:ext cx="2257425" cy="1352549"/>
            </a:xfrm>
            <a:custGeom>
              <a:avLst/>
              <a:gdLst>
                <a:gd name="T0" fmla="*/ 0 w 1528"/>
                <a:gd name="T1" fmla="*/ 208 h 985"/>
                <a:gd name="T2" fmla="*/ 1284 w 1528"/>
                <a:gd name="T3" fmla="*/ 208 h 985"/>
                <a:gd name="T4" fmla="*/ 1284 w 1528"/>
                <a:gd name="T5" fmla="*/ 0 h 985"/>
                <a:gd name="T6" fmla="*/ 1527 w 1528"/>
                <a:gd name="T7" fmla="*/ 472 h 985"/>
                <a:gd name="T8" fmla="*/ 1284 w 1528"/>
                <a:gd name="T9" fmla="*/ 984 h 985"/>
                <a:gd name="T10" fmla="*/ 1284 w 1528"/>
                <a:gd name="T11" fmla="*/ 752 h 985"/>
                <a:gd name="T12" fmla="*/ 0 w 1528"/>
                <a:gd name="T13" fmla="*/ 752 h 98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28"/>
                <a:gd name="T22" fmla="*/ 0 h 985"/>
                <a:gd name="T23" fmla="*/ 1528 w 1528"/>
                <a:gd name="T24" fmla="*/ 985 h 98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28" h="985">
                  <a:moveTo>
                    <a:pt x="0" y="208"/>
                  </a:moveTo>
                  <a:lnTo>
                    <a:pt x="1284" y="208"/>
                  </a:lnTo>
                  <a:lnTo>
                    <a:pt x="1284" y="0"/>
                  </a:lnTo>
                  <a:lnTo>
                    <a:pt x="1527" y="472"/>
                  </a:lnTo>
                  <a:lnTo>
                    <a:pt x="1284" y="984"/>
                  </a:lnTo>
                  <a:lnTo>
                    <a:pt x="1284" y="752"/>
                  </a:lnTo>
                  <a:lnTo>
                    <a:pt x="0" y="752"/>
                  </a:lnTo>
                </a:path>
              </a:pathLst>
            </a:custGeom>
            <a:solidFill>
              <a:schemeClr val="accent6"/>
            </a:solidFill>
            <a:ln w="9525">
              <a:round/>
              <a:headEnd/>
              <a:tailEnd/>
            </a:ln>
          </p:spPr>
          <p:txBody>
            <a:bodyPr>
              <a:flatTx/>
            </a:bodyPr>
            <a:lstStyle/>
            <a:p>
              <a:endParaRPr lang="ca-ES" sz="1187"/>
            </a:p>
          </p:txBody>
        </p:sp>
        <p:sp>
          <p:nvSpPr>
            <p:cNvPr id="34" name="Line 3"/>
            <p:cNvSpPr>
              <a:spLocks noChangeShapeType="1"/>
            </p:cNvSpPr>
            <p:nvPr/>
          </p:nvSpPr>
          <p:spPr bwMode="blackWhite">
            <a:xfrm flipH="1">
              <a:off x="1371600" y="1990443"/>
              <a:ext cx="6107430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35" name="Line 4"/>
            <p:cNvSpPr>
              <a:spLocks noChangeShapeType="1"/>
            </p:cNvSpPr>
            <p:nvPr/>
          </p:nvSpPr>
          <p:spPr bwMode="blackWhite">
            <a:xfrm flipH="1">
              <a:off x="1371600" y="2352726"/>
              <a:ext cx="3913188" cy="0"/>
            </a:xfrm>
            <a:prstGeom prst="line">
              <a:avLst/>
            </a:prstGeom>
            <a:noFill/>
            <a:ln w="12700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36" name="Line 5"/>
            <p:cNvSpPr>
              <a:spLocks noChangeShapeType="1"/>
            </p:cNvSpPr>
            <p:nvPr/>
          </p:nvSpPr>
          <p:spPr bwMode="blackWhite">
            <a:xfrm flipH="1">
              <a:off x="1371600" y="2694877"/>
              <a:ext cx="2745640" cy="0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37" name="Line 6"/>
            <p:cNvSpPr>
              <a:spLocks noChangeShapeType="1"/>
            </p:cNvSpPr>
            <p:nvPr/>
          </p:nvSpPr>
          <p:spPr bwMode="blackWhite">
            <a:xfrm flipH="1">
              <a:off x="1371600" y="4056953"/>
              <a:ext cx="2713307" cy="0"/>
            </a:xfrm>
            <a:prstGeom prst="line">
              <a:avLst/>
            </a:prstGeom>
            <a:noFill/>
            <a:ln w="12700">
              <a:solidFill>
                <a:schemeClr val="accent3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38" name="Line 7"/>
            <p:cNvSpPr>
              <a:spLocks noChangeShapeType="1"/>
            </p:cNvSpPr>
            <p:nvPr/>
          </p:nvSpPr>
          <p:spPr bwMode="blackWhite">
            <a:xfrm flipH="1">
              <a:off x="1371600" y="4385565"/>
              <a:ext cx="3913188" cy="0"/>
            </a:xfrm>
            <a:prstGeom prst="line">
              <a:avLst/>
            </a:prstGeom>
            <a:noFill/>
            <a:ln w="12700">
              <a:solidFill>
                <a:schemeClr val="hlink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39" name="Line 8"/>
            <p:cNvSpPr>
              <a:spLocks noChangeShapeType="1"/>
            </p:cNvSpPr>
            <p:nvPr/>
          </p:nvSpPr>
          <p:spPr bwMode="blackWhite">
            <a:xfrm flipH="1">
              <a:off x="1371600" y="4695631"/>
              <a:ext cx="6107430" cy="0"/>
            </a:xfrm>
            <a:prstGeom prst="line">
              <a:avLst/>
            </a:prstGeom>
            <a:noFill/>
            <a:ln w="12700">
              <a:solidFill>
                <a:schemeClr val="accent1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ca-ES" sz="1187"/>
            </a:p>
          </p:txBody>
        </p:sp>
        <p:sp>
          <p:nvSpPr>
            <p:cNvPr id="40" name="Rectangle 9"/>
            <p:cNvSpPr>
              <a:spLocks noChangeArrowheads="1"/>
            </p:cNvSpPr>
            <p:nvPr/>
          </p:nvSpPr>
          <p:spPr bwMode="auto">
            <a:xfrm>
              <a:off x="1566863" y="3206626"/>
              <a:ext cx="1682750" cy="244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blackWhite">
            <a:xfrm>
              <a:off x="6076950" y="1660525"/>
              <a:ext cx="2228850" cy="3314700"/>
            </a:xfrm>
            <a:custGeom>
              <a:avLst/>
              <a:gdLst>
                <a:gd name="T0" fmla="*/ 0 w 1576"/>
                <a:gd name="T1" fmla="*/ 224 h 2415"/>
                <a:gd name="T2" fmla="*/ 983 w 1576"/>
                <a:gd name="T3" fmla="*/ 224 h 2415"/>
                <a:gd name="T4" fmla="*/ 983 w 1576"/>
                <a:gd name="T5" fmla="*/ 0 h 2415"/>
                <a:gd name="T6" fmla="*/ 1575 w 1576"/>
                <a:gd name="T7" fmla="*/ 1191 h 2415"/>
                <a:gd name="T8" fmla="*/ 983 w 1576"/>
                <a:gd name="T9" fmla="*/ 2414 h 2415"/>
                <a:gd name="T10" fmla="*/ 983 w 1576"/>
                <a:gd name="T11" fmla="*/ 2222 h 2415"/>
                <a:gd name="T12" fmla="*/ 0 w 1576"/>
                <a:gd name="T13" fmla="*/ 2222 h 24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6"/>
                <a:gd name="T22" fmla="*/ 0 h 2415"/>
                <a:gd name="T23" fmla="*/ 1576 w 1576"/>
                <a:gd name="T24" fmla="*/ 2415 h 24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6" h="2415">
                  <a:moveTo>
                    <a:pt x="0" y="224"/>
                  </a:moveTo>
                  <a:lnTo>
                    <a:pt x="983" y="224"/>
                  </a:lnTo>
                  <a:lnTo>
                    <a:pt x="983" y="0"/>
                  </a:lnTo>
                  <a:lnTo>
                    <a:pt x="1575" y="1191"/>
                  </a:lnTo>
                  <a:lnTo>
                    <a:pt x="983" y="2414"/>
                  </a:lnTo>
                  <a:lnTo>
                    <a:pt x="983" y="2222"/>
                  </a:lnTo>
                  <a:lnTo>
                    <a:pt x="0" y="2222"/>
                  </a:lnTo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flatTx/>
            </a:bodyPr>
            <a:lstStyle/>
            <a:p>
              <a:endParaRPr lang="ca-ES" sz="1187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blackWhite">
            <a:xfrm>
              <a:off x="4956175" y="1968500"/>
              <a:ext cx="1789113" cy="2743200"/>
            </a:xfrm>
            <a:custGeom>
              <a:avLst/>
              <a:gdLst>
                <a:gd name="T0" fmla="*/ 0 w 1265"/>
                <a:gd name="T1" fmla="*/ 264 h 1999"/>
                <a:gd name="T2" fmla="*/ 792 w 1265"/>
                <a:gd name="T3" fmla="*/ 264 h 1999"/>
                <a:gd name="T4" fmla="*/ 792 w 1265"/>
                <a:gd name="T5" fmla="*/ 0 h 1999"/>
                <a:gd name="T6" fmla="*/ 1264 w 1265"/>
                <a:gd name="T7" fmla="*/ 983 h 1999"/>
                <a:gd name="T8" fmla="*/ 792 w 1265"/>
                <a:gd name="T9" fmla="*/ 1998 h 1999"/>
                <a:gd name="T10" fmla="*/ 792 w 1265"/>
                <a:gd name="T11" fmla="*/ 1766 h 1999"/>
                <a:gd name="T12" fmla="*/ 8 w 1265"/>
                <a:gd name="T13" fmla="*/ 1766 h 19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65"/>
                <a:gd name="T22" fmla="*/ 0 h 1999"/>
                <a:gd name="T23" fmla="*/ 1265 w 1265"/>
                <a:gd name="T24" fmla="*/ 1999 h 19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65" h="1999">
                  <a:moveTo>
                    <a:pt x="0" y="264"/>
                  </a:moveTo>
                  <a:lnTo>
                    <a:pt x="792" y="264"/>
                  </a:lnTo>
                  <a:lnTo>
                    <a:pt x="792" y="0"/>
                  </a:lnTo>
                  <a:lnTo>
                    <a:pt x="1264" y="983"/>
                  </a:lnTo>
                  <a:lnTo>
                    <a:pt x="792" y="1998"/>
                  </a:lnTo>
                  <a:lnTo>
                    <a:pt x="792" y="1766"/>
                  </a:lnTo>
                  <a:lnTo>
                    <a:pt x="8" y="1766"/>
                  </a:lnTo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flatTx/>
            </a:bodyPr>
            <a:lstStyle/>
            <a:p>
              <a:endParaRPr lang="ca-ES" sz="1187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blackWhite">
            <a:xfrm>
              <a:off x="4095750" y="2330450"/>
              <a:ext cx="1382713" cy="2062163"/>
            </a:xfrm>
            <a:custGeom>
              <a:avLst/>
              <a:gdLst>
                <a:gd name="T0" fmla="*/ 0 w 977"/>
                <a:gd name="T1" fmla="*/ 263 h 1503"/>
                <a:gd name="T2" fmla="*/ 608 w 977"/>
                <a:gd name="T3" fmla="*/ 263 h 1503"/>
                <a:gd name="T4" fmla="*/ 608 w 977"/>
                <a:gd name="T5" fmla="*/ 0 h 1503"/>
                <a:gd name="T6" fmla="*/ 976 w 977"/>
                <a:gd name="T7" fmla="*/ 751 h 1503"/>
                <a:gd name="T8" fmla="*/ 608 w 977"/>
                <a:gd name="T9" fmla="*/ 1502 h 1503"/>
                <a:gd name="T10" fmla="*/ 608 w 977"/>
                <a:gd name="T11" fmla="*/ 1247 h 1503"/>
                <a:gd name="T12" fmla="*/ 0 w 977"/>
                <a:gd name="T13" fmla="*/ 1247 h 150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77"/>
                <a:gd name="T22" fmla="*/ 0 h 1503"/>
                <a:gd name="T23" fmla="*/ 977 w 977"/>
                <a:gd name="T24" fmla="*/ 1503 h 150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77" h="1503">
                  <a:moveTo>
                    <a:pt x="0" y="263"/>
                  </a:moveTo>
                  <a:lnTo>
                    <a:pt x="608" y="263"/>
                  </a:lnTo>
                  <a:lnTo>
                    <a:pt x="608" y="0"/>
                  </a:lnTo>
                  <a:lnTo>
                    <a:pt x="976" y="751"/>
                  </a:lnTo>
                  <a:lnTo>
                    <a:pt x="608" y="1502"/>
                  </a:lnTo>
                  <a:lnTo>
                    <a:pt x="608" y="1247"/>
                  </a:lnTo>
                  <a:lnTo>
                    <a:pt x="0" y="1247"/>
                  </a:lnTo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flatTx/>
            </a:bodyPr>
            <a:lstStyle/>
            <a:p>
              <a:endParaRPr lang="ca-ES" sz="1187"/>
            </a:p>
          </p:txBody>
        </p:sp>
        <p:sp>
          <p:nvSpPr>
            <p:cNvPr id="44" name="Rectangle 14"/>
            <p:cNvSpPr>
              <a:spLocks noChangeArrowheads="1"/>
            </p:cNvSpPr>
            <p:nvPr/>
          </p:nvSpPr>
          <p:spPr bwMode="auto">
            <a:xfrm>
              <a:off x="4190999" y="3206626"/>
              <a:ext cx="1066801" cy="244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187">
                  <a:ea typeface="宋体" pitchFamily="2" charset="-122"/>
                </a:rPr>
                <a:t>Texto</a:t>
              </a:r>
              <a:endParaRPr lang="en-US" altLang="zh-CN" sz="1187" dirty="0">
                <a:ea typeface="宋体" pitchFamily="2" charset="-122"/>
              </a:endParaRPr>
            </a:p>
          </p:txBody>
        </p:sp>
        <p:sp>
          <p:nvSpPr>
            <p:cNvPr id="45" name="Rectangle 15"/>
            <p:cNvSpPr>
              <a:spLocks noChangeArrowheads="1"/>
            </p:cNvSpPr>
            <p:nvPr/>
          </p:nvSpPr>
          <p:spPr bwMode="auto">
            <a:xfrm>
              <a:off x="5545137" y="3206626"/>
              <a:ext cx="1011236" cy="244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187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187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46" name="Rectangle 16"/>
            <p:cNvSpPr>
              <a:spLocks noChangeArrowheads="1"/>
            </p:cNvSpPr>
            <p:nvPr/>
          </p:nvSpPr>
          <p:spPr bwMode="auto">
            <a:xfrm>
              <a:off x="6842126" y="3206626"/>
              <a:ext cx="1296989" cy="244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187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187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47" name="46 Grupo"/>
          <p:cNvGrpSpPr/>
          <p:nvPr/>
        </p:nvGrpSpPr>
        <p:grpSpPr>
          <a:xfrm>
            <a:off x="7444351" y="126989"/>
            <a:ext cx="2568582" cy="2354255"/>
            <a:chOff x="2047875" y="1146175"/>
            <a:chExt cx="4870450" cy="4464050"/>
          </a:xfrm>
        </p:grpSpPr>
        <p:sp>
          <p:nvSpPr>
            <p:cNvPr id="48" name="Freeform 3"/>
            <p:cNvSpPr>
              <a:spLocks/>
            </p:cNvSpPr>
            <p:nvPr/>
          </p:nvSpPr>
          <p:spPr bwMode="blackWhite">
            <a:xfrm>
              <a:off x="2047875" y="1146175"/>
              <a:ext cx="4870450" cy="4464050"/>
            </a:xfrm>
            <a:custGeom>
              <a:avLst/>
              <a:gdLst>
                <a:gd name="T0" fmla="*/ 2629 w 3068"/>
                <a:gd name="T1" fmla="*/ 350 h 2812"/>
                <a:gd name="T2" fmla="*/ 0 w 3068"/>
                <a:gd name="T3" fmla="*/ 350 h 2812"/>
                <a:gd name="T4" fmla="*/ 0 w 3068"/>
                <a:gd name="T5" fmla="*/ 870 h 2812"/>
                <a:gd name="T6" fmla="*/ 1196 w 3068"/>
                <a:gd name="T7" fmla="*/ 870 h 2812"/>
                <a:gd name="T8" fmla="*/ 1196 w 3068"/>
                <a:gd name="T9" fmla="*/ 615 h 2812"/>
                <a:gd name="T10" fmla="*/ 1433 w 3068"/>
                <a:gd name="T11" fmla="*/ 1410 h 2812"/>
                <a:gd name="T12" fmla="*/ 1196 w 3068"/>
                <a:gd name="T13" fmla="*/ 2204 h 2812"/>
                <a:gd name="T14" fmla="*/ 1196 w 3068"/>
                <a:gd name="T15" fmla="*/ 1940 h 2812"/>
                <a:gd name="T16" fmla="*/ 0 w 3068"/>
                <a:gd name="T17" fmla="*/ 1940 h 2812"/>
                <a:gd name="T18" fmla="*/ 0 w 3068"/>
                <a:gd name="T19" fmla="*/ 2479 h 2812"/>
                <a:gd name="T20" fmla="*/ 2629 w 3068"/>
                <a:gd name="T21" fmla="*/ 2479 h 2812"/>
                <a:gd name="T22" fmla="*/ 2629 w 3068"/>
                <a:gd name="T23" fmla="*/ 2811 h 2812"/>
                <a:gd name="T24" fmla="*/ 3067 w 3068"/>
                <a:gd name="T25" fmla="*/ 1410 h 2812"/>
                <a:gd name="T26" fmla="*/ 2629 w 3068"/>
                <a:gd name="T27" fmla="*/ 0 h 2812"/>
                <a:gd name="T28" fmla="*/ 2629 w 3068"/>
                <a:gd name="T29" fmla="*/ 350 h 281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068"/>
                <a:gd name="T46" fmla="*/ 0 h 2812"/>
                <a:gd name="T47" fmla="*/ 3068 w 3068"/>
                <a:gd name="T48" fmla="*/ 2812 h 281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068" h="2812">
                  <a:moveTo>
                    <a:pt x="2629" y="350"/>
                  </a:moveTo>
                  <a:lnTo>
                    <a:pt x="0" y="350"/>
                  </a:lnTo>
                  <a:lnTo>
                    <a:pt x="0" y="870"/>
                  </a:lnTo>
                  <a:lnTo>
                    <a:pt x="1196" y="870"/>
                  </a:lnTo>
                  <a:lnTo>
                    <a:pt x="1196" y="615"/>
                  </a:lnTo>
                  <a:lnTo>
                    <a:pt x="1433" y="1410"/>
                  </a:lnTo>
                  <a:lnTo>
                    <a:pt x="1196" y="2204"/>
                  </a:lnTo>
                  <a:lnTo>
                    <a:pt x="1196" y="1940"/>
                  </a:lnTo>
                  <a:lnTo>
                    <a:pt x="0" y="1940"/>
                  </a:lnTo>
                  <a:lnTo>
                    <a:pt x="0" y="2479"/>
                  </a:lnTo>
                  <a:lnTo>
                    <a:pt x="2629" y="2479"/>
                  </a:lnTo>
                  <a:lnTo>
                    <a:pt x="2629" y="2811"/>
                  </a:lnTo>
                  <a:lnTo>
                    <a:pt x="3067" y="1410"/>
                  </a:lnTo>
                  <a:lnTo>
                    <a:pt x="2629" y="0"/>
                  </a:lnTo>
                  <a:lnTo>
                    <a:pt x="2629" y="350"/>
                  </a:lnTo>
                </a:path>
              </a:pathLst>
            </a:custGeom>
            <a:solidFill>
              <a:schemeClr val="accent4"/>
            </a:solidFill>
            <a:ln w="9525">
              <a:round/>
              <a:headEnd/>
              <a:tailEnd/>
            </a:ln>
          </p:spPr>
          <p:txBody>
            <a:bodyPr>
              <a:flatTx/>
            </a:bodyPr>
            <a:lstStyle/>
            <a:p>
              <a:endParaRPr lang="ca-ES" sz="1295"/>
            </a:p>
          </p:txBody>
        </p:sp>
        <p:sp>
          <p:nvSpPr>
            <p:cNvPr id="49" name="Rectangle 4"/>
            <p:cNvSpPr>
              <a:spLocks noChangeArrowheads="1"/>
            </p:cNvSpPr>
            <p:nvPr/>
          </p:nvSpPr>
          <p:spPr bwMode="auto">
            <a:xfrm>
              <a:off x="2090739" y="3255963"/>
              <a:ext cx="2219325" cy="24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50" name="Rectangle 5"/>
            <p:cNvSpPr>
              <a:spLocks noChangeArrowheads="1"/>
            </p:cNvSpPr>
            <p:nvPr/>
          </p:nvSpPr>
          <p:spPr bwMode="auto">
            <a:xfrm>
              <a:off x="4602164" y="3255963"/>
              <a:ext cx="2286001" cy="24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grpSp>
        <p:nvGrpSpPr>
          <p:cNvPr id="51" name="50 Grupo"/>
          <p:cNvGrpSpPr/>
          <p:nvPr/>
        </p:nvGrpSpPr>
        <p:grpSpPr>
          <a:xfrm>
            <a:off x="7411300" y="2303154"/>
            <a:ext cx="3162511" cy="2905632"/>
            <a:chOff x="1868488" y="1146175"/>
            <a:chExt cx="5022850" cy="4614863"/>
          </a:xfrm>
        </p:grpSpPr>
        <p:grpSp>
          <p:nvGrpSpPr>
            <p:cNvPr id="52" name="Group 2"/>
            <p:cNvGrpSpPr>
              <a:grpSpLocks/>
            </p:cNvGrpSpPr>
            <p:nvPr/>
          </p:nvGrpSpPr>
          <p:grpSpPr bwMode="auto">
            <a:xfrm>
              <a:off x="1868488" y="1146175"/>
              <a:ext cx="5022850" cy="4614863"/>
              <a:chOff x="2149" y="1744"/>
              <a:chExt cx="2052" cy="1937"/>
            </a:xfrm>
          </p:grpSpPr>
          <p:sp>
            <p:nvSpPr>
              <p:cNvPr id="56" name="Freeform 3"/>
              <p:cNvSpPr>
                <a:spLocks/>
              </p:cNvSpPr>
              <p:nvPr/>
            </p:nvSpPr>
            <p:spPr bwMode="blackWhite">
              <a:xfrm>
                <a:off x="3010" y="2535"/>
                <a:ext cx="898" cy="1146"/>
              </a:xfrm>
              <a:custGeom>
                <a:avLst/>
                <a:gdLst>
                  <a:gd name="T0" fmla="*/ 286 w 898"/>
                  <a:gd name="T1" fmla="*/ 0 h 1146"/>
                  <a:gd name="T2" fmla="*/ 297 w 898"/>
                  <a:gd name="T3" fmla="*/ 6 h 1146"/>
                  <a:gd name="T4" fmla="*/ 308 w 898"/>
                  <a:gd name="T5" fmla="*/ 14 h 1146"/>
                  <a:gd name="T6" fmla="*/ 319 w 898"/>
                  <a:gd name="T7" fmla="*/ 25 h 1146"/>
                  <a:gd name="T8" fmla="*/ 330 w 898"/>
                  <a:gd name="T9" fmla="*/ 38 h 1146"/>
                  <a:gd name="T10" fmla="*/ 339 w 898"/>
                  <a:gd name="T11" fmla="*/ 53 h 1146"/>
                  <a:gd name="T12" fmla="*/ 348 w 898"/>
                  <a:gd name="T13" fmla="*/ 67 h 1146"/>
                  <a:gd name="T14" fmla="*/ 356 w 898"/>
                  <a:gd name="T15" fmla="*/ 85 h 1146"/>
                  <a:gd name="T16" fmla="*/ 362 w 898"/>
                  <a:gd name="T17" fmla="*/ 101 h 1146"/>
                  <a:gd name="T18" fmla="*/ 367 w 898"/>
                  <a:gd name="T19" fmla="*/ 118 h 1146"/>
                  <a:gd name="T20" fmla="*/ 370 w 898"/>
                  <a:gd name="T21" fmla="*/ 135 h 1146"/>
                  <a:gd name="T22" fmla="*/ 371 w 898"/>
                  <a:gd name="T23" fmla="*/ 151 h 1146"/>
                  <a:gd name="T24" fmla="*/ 371 w 898"/>
                  <a:gd name="T25" fmla="*/ 166 h 1146"/>
                  <a:gd name="T26" fmla="*/ 197 w 898"/>
                  <a:gd name="T27" fmla="*/ 842 h 1146"/>
                  <a:gd name="T28" fmla="*/ 196 w 898"/>
                  <a:gd name="T29" fmla="*/ 853 h 1146"/>
                  <a:gd name="T30" fmla="*/ 195 w 898"/>
                  <a:gd name="T31" fmla="*/ 862 h 1146"/>
                  <a:gd name="T32" fmla="*/ 0 w 898"/>
                  <a:gd name="T33" fmla="*/ 810 h 1146"/>
                  <a:gd name="T34" fmla="*/ 379 w 898"/>
                  <a:gd name="T35" fmla="*/ 1145 h 1146"/>
                  <a:gd name="T36" fmla="*/ 874 w 898"/>
                  <a:gd name="T37" fmla="*/ 1044 h 1146"/>
                  <a:gd name="T38" fmla="*/ 674 w 898"/>
                  <a:gd name="T39" fmla="*/ 990 h 1146"/>
                  <a:gd name="T40" fmla="*/ 679 w 898"/>
                  <a:gd name="T41" fmla="*/ 982 h 1146"/>
                  <a:gd name="T42" fmla="*/ 682 w 898"/>
                  <a:gd name="T43" fmla="*/ 972 h 1146"/>
                  <a:gd name="T44" fmla="*/ 895 w 898"/>
                  <a:gd name="T45" fmla="*/ 180 h 1146"/>
                  <a:gd name="T46" fmla="*/ 897 w 898"/>
                  <a:gd name="T47" fmla="*/ 168 h 1146"/>
                  <a:gd name="T48" fmla="*/ 897 w 898"/>
                  <a:gd name="T49" fmla="*/ 156 h 1146"/>
                  <a:gd name="T50" fmla="*/ 894 w 898"/>
                  <a:gd name="T51" fmla="*/ 143 h 1146"/>
                  <a:gd name="T52" fmla="*/ 889 w 898"/>
                  <a:gd name="T53" fmla="*/ 132 h 1146"/>
                  <a:gd name="T54" fmla="*/ 881 w 898"/>
                  <a:gd name="T55" fmla="*/ 122 h 1146"/>
                  <a:gd name="T56" fmla="*/ 873 w 898"/>
                  <a:gd name="T57" fmla="*/ 114 h 1146"/>
                  <a:gd name="T58" fmla="*/ 862 w 898"/>
                  <a:gd name="T59" fmla="*/ 107 h 1146"/>
                  <a:gd name="T60" fmla="*/ 851 w 898"/>
                  <a:gd name="T61" fmla="*/ 103 h 1146"/>
                  <a:gd name="T62" fmla="*/ 800 w 898"/>
                  <a:gd name="T63" fmla="*/ 86 h 1146"/>
                  <a:gd name="T64" fmla="*/ 750 w 898"/>
                  <a:gd name="T65" fmla="*/ 72 h 1146"/>
                  <a:gd name="T66" fmla="*/ 698 w 898"/>
                  <a:gd name="T67" fmla="*/ 60 h 1146"/>
                  <a:gd name="T68" fmla="*/ 646 w 898"/>
                  <a:gd name="T69" fmla="*/ 50 h 1146"/>
                  <a:gd name="T70" fmla="*/ 594 w 898"/>
                  <a:gd name="T71" fmla="*/ 43 h 1146"/>
                  <a:gd name="T72" fmla="*/ 286 w 898"/>
                  <a:gd name="T73" fmla="*/ 0 h 11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98"/>
                  <a:gd name="T112" fmla="*/ 0 h 1146"/>
                  <a:gd name="T113" fmla="*/ 898 w 898"/>
                  <a:gd name="T114" fmla="*/ 1146 h 11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98" h="1146">
                    <a:moveTo>
                      <a:pt x="286" y="0"/>
                    </a:moveTo>
                    <a:lnTo>
                      <a:pt x="297" y="6"/>
                    </a:lnTo>
                    <a:lnTo>
                      <a:pt x="308" y="14"/>
                    </a:lnTo>
                    <a:lnTo>
                      <a:pt x="319" y="25"/>
                    </a:lnTo>
                    <a:lnTo>
                      <a:pt x="330" y="38"/>
                    </a:lnTo>
                    <a:lnTo>
                      <a:pt x="339" y="53"/>
                    </a:lnTo>
                    <a:lnTo>
                      <a:pt x="348" y="67"/>
                    </a:lnTo>
                    <a:lnTo>
                      <a:pt x="356" y="85"/>
                    </a:lnTo>
                    <a:lnTo>
                      <a:pt x="362" y="101"/>
                    </a:lnTo>
                    <a:lnTo>
                      <a:pt x="367" y="118"/>
                    </a:lnTo>
                    <a:lnTo>
                      <a:pt x="370" y="135"/>
                    </a:lnTo>
                    <a:lnTo>
                      <a:pt x="371" y="151"/>
                    </a:lnTo>
                    <a:lnTo>
                      <a:pt x="371" y="166"/>
                    </a:lnTo>
                    <a:lnTo>
                      <a:pt x="197" y="842"/>
                    </a:lnTo>
                    <a:lnTo>
                      <a:pt x="196" y="853"/>
                    </a:lnTo>
                    <a:lnTo>
                      <a:pt x="195" y="862"/>
                    </a:lnTo>
                    <a:lnTo>
                      <a:pt x="0" y="810"/>
                    </a:lnTo>
                    <a:lnTo>
                      <a:pt x="379" y="1145"/>
                    </a:lnTo>
                    <a:lnTo>
                      <a:pt x="874" y="1044"/>
                    </a:lnTo>
                    <a:lnTo>
                      <a:pt x="674" y="990"/>
                    </a:lnTo>
                    <a:lnTo>
                      <a:pt x="679" y="982"/>
                    </a:lnTo>
                    <a:lnTo>
                      <a:pt x="682" y="972"/>
                    </a:lnTo>
                    <a:lnTo>
                      <a:pt x="895" y="180"/>
                    </a:lnTo>
                    <a:lnTo>
                      <a:pt x="897" y="168"/>
                    </a:lnTo>
                    <a:lnTo>
                      <a:pt x="897" y="156"/>
                    </a:lnTo>
                    <a:lnTo>
                      <a:pt x="894" y="143"/>
                    </a:lnTo>
                    <a:lnTo>
                      <a:pt x="889" y="132"/>
                    </a:lnTo>
                    <a:lnTo>
                      <a:pt x="881" y="122"/>
                    </a:lnTo>
                    <a:lnTo>
                      <a:pt x="873" y="114"/>
                    </a:lnTo>
                    <a:lnTo>
                      <a:pt x="862" y="107"/>
                    </a:lnTo>
                    <a:lnTo>
                      <a:pt x="851" y="103"/>
                    </a:lnTo>
                    <a:lnTo>
                      <a:pt x="800" y="86"/>
                    </a:lnTo>
                    <a:lnTo>
                      <a:pt x="750" y="72"/>
                    </a:lnTo>
                    <a:lnTo>
                      <a:pt x="698" y="60"/>
                    </a:lnTo>
                    <a:lnTo>
                      <a:pt x="646" y="50"/>
                    </a:lnTo>
                    <a:lnTo>
                      <a:pt x="594" y="43"/>
                    </a:lnTo>
                    <a:lnTo>
                      <a:pt x="286" y="0"/>
                    </a:lnTo>
                  </a:path>
                </a:pathLst>
              </a:custGeom>
              <a:solidFill>
                <a:schemeClr val="accent6"/>
              </a:solidFill>
              <a:ln w="9525">
                <a:round/>
                <a:headEnd/>
                <a:tailEnd/>
              </a:ln>
            </p:spPr>
            <p:txBody>
              <a:bodyPr>
                <a:flatTx/>
              </a:bodyPr>
              <a:lstStyle/>
              <a:p>
                <a:pPr algn="ctr"/>
                <a:endParaRPr lang="ca-ES" sz="1295" dirty="0"/>
              </a:p>
            </p:txBody>
          </p:sp>
          <p:sp>
            <p:nvSpPr>
              <p:cNvPr id="57" name="Freeform 4"/>
              <p:cNvSpPr>
                <a:spLocks/>
              </p:cNvSpPr>
              <p:nvPr/>
            </p:nvSpPr>
            <p:spPr bwMode="blackWhite">
              <a:xfrm>
                <a:off x="3059" y="1744"/>
                <a:ext cx="1142" cy="903"/>
              </a:xfrm>
              <a:custGeom>
                <a:avLst/>
                <a:gdLst>
                  <a:gd name="T0" fmla="*/ 95 w 1142"/>
                  <a:gd name="T1" fmla="*/ 902 h 903"/>
                  <a:gd name="T2" fmla="*/ 100 w 1142"/>
                  <a:gd name="T3" fmla="*/ 885 h 903"/>
                  <a:gd name="T4" fmla="*/ 109 w 1142"/>
                  <a:gd name="T5" fmla="*/ 869 h 903"/>
                  <a:gd name="T6" fmla="*/ 120 w 1142"/>
                  <a:gd name="T7" fmla="*/ 852 h 903"/>
                  <a:gd name="T8" fmla="*/ 134 w 1142"/>
                  <a:gd name="T9" fmla="*/ 837 h 903"/>
                  <a:gd name="T10" fmla="*/ 151 w 1142"/>
                  <a:gd name="T11" fmla="*/ 822 h 903"/>
                  <a:gd name="T12" fmla="*/ 170 w 1142"/>
                  <a:gd name="T13" fmla="*/ 807 h 903"/>
                  <a:gd name="T14" fmla="*/ 192 w 1142"/>
                  <a:gd name="T15" fmla="*/ 793 h 903"/>
                  <a:gd name="T16" fmla="*/ 215 w 1142"/>
                  <a:gd name="T17" fmla="*/ 782 h 903"/>
                  <a:gd name="T18" fmla="*/ 240 w 1142"/>
                  <a:gd name="T19" fmla="*/ 771 h 903"/>
                  <a:gd name="T20" fmla="*/ 267 w 1142"/>
                  <a:gd name="T21" fmla="*/ 761 h 903"/>
                  <a:gd name="T22" fmla="*/ 919 w 1142"/>
                  <a:gd name="T23" fmla="*/ 704 h 903"/>
                  <a:gd name="T24" fmla="*/ 929 w 1142"/>
                  <a:gd name="T25" fmla="*/ 702 h 903"/>
                  <a:gd name="T26" fmla="*/ 939 w 1142"/>
                  <a:gd name="T27" fmla="*/ 699 h 903"/>
                  <a:gd name="T28" fmla="*/ 956 w 1142"/>
                  <a:gd name="T29" fmla="*/ 900 h 903"/>
                  <a:gd name="T30" fmla="*/ 1141 w 1142"/>
                  <a:gd name="T31" fmla="*/ 430 h 903"/>
                  <a:gd name="T32" fmla="*/ 877 w 1142"/>
                  <a:gd name="T33" fmla="*/ 0 h 903"/>
                  <a:gd name="T34" fmla="*/ 895 w 1142"/>
                  <a:gd name="T35" fmla="*/ 205 h 903"/>
                  <a:gd name="T36" fmla="*/ 885 w 1142"/>
                  <a:gd name="T37" fmla="*/ 204 h 903"/>
                  <a:gd name="T38" fmla="*/ 875 w 1142"/>
                  <a:gd name="T39" fmla="*/ 204 h 903"/>
                  <a:gd name="T40" fmla="*/ 57 w 1142"/>
                  <a:gd name="T41" fmla="*/ 275 h 903"/>
                  <a:gd name="T42" fmla="*/ 45 w 1142"/>
                  <a:gd name="T43" fmla="*/ 277 h 903"/>
                  <a:gd name="T44" fmla="*/ 34 w 1142"/>
                  <a:gd name="T45" fmla="*/ 282 h 903"/>
                  <a:gd name="T46" fmla="*/ 24 w 1142"/>
                  <a:gd name="T47" fmla="*/ 289 h 903"/>
                  <a:gd name="T48" fmla="*/ 14 w 1142"/>
                  <a:gd name="T49" fmla="*/ 298 h 903"/>
                  <a:gd name="T50" fmla="*/ 7 w 1142"/>
                  <a:gd name="T51" fmla="*/ 308 h 903"/>
                  <a:gd name="T52" fmla="*/ 2 w 1142"/>
                  <a:gd name="T53" fmla="*/ 319 h 903"/>
                  <a:gd name="T54" fmla="*/ 0 w 1142"/>
                  <a:gd name="T55" fmla="*/ 331 h 903"/>
                  <a:gd name="T56" fmla="*/ 0 w 1142"/>
                  <a:gd name="T57" fmla="*/ 343 h 903"/>
                  <a:gd name="T58" fmla="*/ 6 w 1142"/>
                  <a:gd name="T59" fmla="*/ 419 h 903"/>
                  <a:gd name="T60" fmla="*/ 14 w 1142"/>
                  <a:gd name="T61" fmla="*/ 494 h 903"/>
                  <a:gd name="T62" fmla="*/ 25 w 1142"/>
                  <a:gd name="T63" fmla="*/ 569 h 903"/>
                  <a:gd name="T64" fmla="*/ 39 w 1142"/>
                  <a:gd name="T65" fmla="*/ 643 h 903"/>
                  <a:gd name="T66" fmla="*/ 57 w 1142"/>
                  <a:gd name="T67" fmla="*/ 729 h 903"/>
                  <a:gd name="T68" fmla="*/ 75 w 1142"/>
                  <a:gd name="T69" fmla="*/ 816 h 903"/>
                  <a:gd name="T70" fmla="*/ 95 w 1142"/>
                  <a:gd name="T71" fmla="*/ 902 h 90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142"/>
                  <a:gd name="T109" fmla="*/ 0 h 903"/>
                  <a:gd name="T110" fmla="*/ 1142 w 1142"/>
                  <a:gd name="T111" fmla="*/ 903 h 903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142" h="903">
                    <a:moveTo>
                      <a:pt x="95" y="902"/>
                    </a:moveTo>
                    <a:lnTo>
                      <a:pt x="100" y="885"/>
                    </a:lnTo>
                    <a:lnTo>
                      <a:pt x="109" y="869"/>
                    </a:lnTo>
                    <a:lnTo>
                      <a:pt x="120" y="852"/>
                    </a:lnTo>
                    <a:lnTo>
                      <a:pt x="134" y="837"/>
                    </a:lnTo>
                    <a:lnTo>
                      <a:pt x="151" y="822"/>
                    </a:lnTo>
                    <a:lnTo>
                      <a:pt x="170" y="807"/>
                    </a:lnTo>
                    <a:lnTo>
                      <a:pt x="192" y="793"/>
                    </a:lnTo>
                    <a:lnTo>
                      <a:pt x="215" y="782"/>
                    </a:lnTo>
                    <a:lnTo>
                      <a:pt x="240" y="771"/>
                    </a:lnTo>
                    <a:lnTo>
                      <a:pt x="267" y="761"/>
                    </a:lnTo>
                    <a:lnTo>
                      <a:pt x="919" y="704"/>
                    </a:lnTo>
                    <a:lnTo>
                      <a:pt x="929" y="702"/>
                    </a:lnTo>
                    <a:lnTo>
                      <a:pt x="939" y="699"/>
                    </a:lnTo>
                    <a:lnTo>
                      <a:pt x="956" y="900"/>
                    </a:lnTo>
                    <a:lnTo>
                      <a:pt x="1141" y="430"/>
                    </a:lnTo>
                    <a:lnTo>
                      <a:pt x="877" y="0"/>
                    </a:lnTo>
                    <a:lnTo>
                      <a:pt x="895" y="205"/>
                    </a:lnTo>
                    <a:lnTo>
                      <a:pt x="885" y="204"/>
                    </a:lnTo>
                    <a:lnTo>
                      <a:pt x="875" y="204"/>
                    </a:lnTo>
                    <a:lnTo>
                      <a:pt x="57" y="275"/>
                    </a:lnTo>
                    <a:lnTo>
                      <a:pt x="45" y="277"/>
                    </a:lnTo>
                    <a:lnTo>
                      <a:pt x="34" y="282"/>
                    </a:lnTo>
                    <a:lnTo>
                      <a:pt x="24" y="289"/>
                    </a:lnTo>
                    <a:lnTo>
                      <a:pt x="14" y="298"/>
                    </a:lnTo>
                    <a:lnTo>
                      <a:pt x="7" y="308"/>
                    </a:lnTo>
                    <a:lnTo>
                      <a:pt x="2" y="319"/>
                    </a:lnTo>
                    <a:lnTo>
                      <a:pt x="0" y="331"/>
                    </a:lnTo>
                    <a:lnTo>
                      <a:pt x="0" y="343"/>
                    </a:lnTo>
                    <a:lnTo>
                      <a:pt x="6" y="419"/>
                    </a:lnTo>
                    <a:lnTo>
                      <a:pt x="14" y="494"/>
                    </a:lnTo>
                    <a:lnTo>
                      <a:pt x="25" y="569"/>
                    </a:lnTo>
                    <a:lnTo>
                      <a:pt x="39" y="643"/>
                    </a:lnTo>
                    <a:lnTo>
                      <a:pt x="57" y="729"/>
                    </a:lnTo>
                    <a:lnTo>
                      <a:pt x="75" y="816"/>
                    </a:lnTo>
                    <a:lnTo>
                      <a:pt x="95" y="902"/>
                    </a:lnTo>
                  </a:path>
                </a:pathLst>
              </a:custGeom>
              <a:solidFill>
                <a:schemeClr val="accent3"/>
              </a:solidFill>
              <a:ln w="9525">
                <a:round/>
                <a:headEnd/>
                <a:tailEnd/>
              </a:ln>
            </p:spPr>
            <p:txBody>
              <a:bodyPr>
                <a:flatTx/>
              </a:bodyPr>
              <a:lstStyle/>
              <a:p>
                <a:pPr algn="ctr"/>
                <a:endParaRPr lang="ca-ES" sz="1295"/>
              </a:p>
            </p:txBody>
          </p:sp>
          <p:sp>
            <p:nvSpPr>
              <p:cNvPr id="58" name="Freeform 5"/>
              <p:cNvSpPr>
                <a:spLocks/>
              </p:cNvSpPr>
              <p:nvPr/>
            </p:nvSpPr>
            <p:spPr bwMode="blackWhite">
              <a:xfrm>
                <a:off x="2149" y="2090"/>
                <a:ext cx="1214" cy="1092"/>
              </a:xfrm>
              <a:custGeom>
                <a:avLst/>
                <a:gdLst>
                  <a:gd name="T0" fmla="*/ 1213 w 1214"/>
                  <a:gd name="T1" fmla="*/ 609 h 1092"/>
                  <a:gd name="T2" fmla="*/ 1196 w 1214"/>
                  <a:gd name="T3" fmla="*/ 626 h 1092"/>
                  <a:gd name="T4" fmla="*/ 1178 w 1214"/>
                  <a:gd name="T5" fmla="*/ 640 h 1092"/>
                  <a:gd name="T6" fmla="*/ 1159 w 1214"/>
                  <a:gd name="T7" fmla="*/ 652 h 1092"/>
                  <a:gd name="T8" fmla="*/ 1138 w 1214"/>
                  <a:gd name="T9" fmla="*/ 661 h 1092"/>
                  <a:gd name="T10" fmla="*/ 1116 w 1214"/>
                  <a:gd name="T11" fmla="*/ 667 h 1092"/>
                  <a:gd name="T12" fmla="*/ 1099 w 1214"/>
                  <a:gd name="T13" fmla="*/ 666 h 1092"/>
                  <a:gd name="T14" fmla="*/ 1082 w 1214"/>
                  <a:gd name="T15" fmla="*/ 662 h 1092"/>
                  <a:gd name="T16" fmla="*/ 1065 w 1214"/>
                  <a:gd name="T17" fmla="*/ 656 h 1092"/>
                  <a:gd name="T18" fmla="*/ 1047 w 1214"/>
                  <a:gd name="T19" fmla="*/ 647 h 1092"/>
                  <a:gd name="T20" fmla="*/ 1029 w 1214"/>
                  <a:gd name="T21" fmla="*/ 636 h 1092"/>
                  <a:gd name="T22" fmla="*/ 1011 w 1214"/>
                  <a:gd name="T23" fmla="*/ 623 h 1092"/>
                  <a:gd name="T24" fmla="*/ 993 w 1214"/>
                  <a:gd name="T25" fmla="*/ 608 h 1092"/>
                  <a:gd name="T26" fmla="*/ 977 w 1214"/>
                  <a:gd name="T27" fmla="*/ 591 h 1092"/>
                  <a:gd name="T28" fmla="*/ 469 w 1214"/>
                  <a:gd name="T29" fmla="*/ 165 h 1092"/>
                  <a:gd name="T30" fmla="*/ 461 w 1214"/>
                  <a:gd name="T31" fmla="*/ 159 h 1092"/>
                  <a:gd name="T32" fmla="*/ 451 w 1214"/>
                  <a:gd name="T33" fmla="*/ 155 h 1092"/>
                  <a:gd name="T34" fmla="*/ 581 w 1214"/>
                  <a:gd name="T35" fmla="*/ 0 h 1092"/>
                  <a:gd name="T36" fmla="*/ 117 w 1214"/>
                  <a:gd name="T37" fmla="*/ 201 h 1092"/>
                  <a:gd name="T38" fmla="*/ 0 w 1214"/>
                  <a:gd name="T39" fmla="*/ 693 h 1092"/>
                  <a:gd name="T40" fmla="*/ 133 w 1214"/>
                  <a:gd name="T41" fmla="*/ 534 h 1092"/>
                  <a:gd name="T42" fmla="*/ 138 w 1214"/>
                  <a:gd name="T43" fmla="*/ 543 h 1092"/>
                  <a:gd name="T44" fmla="*/ 145 w 1214"/>
                  <a:gd name="T45" fmla="*/ 549 h 1092"/>
                  <a:gd name="T46" fmla="*/ 775 w 1214"/>
                  <a:gd name="T47" fmla="*/ 1077 h 1092"/>
                  <a:gd name="T48" fmla="*/ 785 w 1214"/>
                  <a:gd name="T49" fmla="*/ 1084 h 1092"/>
                  <a:gd name="T50" fmla="*/ 797 w 1214"/>
                  <a:gd name="T51" fmla="*/ 1089 h 1092"/>
                  <a:gd name="T52" fmla="*/ 808 w 1214"/>
                  <a:gd name="T53" fmla="*/ 1091 h 1092"/>
                  <a:gd name="T54" fmla="*/ 821 w 1214"/>
                  <a:gd name="T55" fmla="*/ 1091 h 1092"/>
                  <a:gd name="T56" fmla="*/ 833 w 1214"/>
                  <a:gd name="T57" fmla="*/ 1089 h 1092"/>
                  <a:gd name="T58" fmla="*/ 844 w 1214"/>
                  <a:gd name="T59" fmla="*/ 1085 h 1092"/>
                  <a:gd name="T60" fmla="*/ 855 w 1214"/>
                  <a:gd name="T61" fmla="*/ 1078 h 1092"/>
                  <a:gd name="T62" fmla="*/ 863 w 1214"/>
                  <a:gd name="T63" fmla="*/ 1069 h 1092"/>
                  <a:gd name="T64" fmla="*/ 1089 w 1214"/>
                  <a:gd name="T65" fmla="*/ 803 h 1092"/>
                  <a:gd name="T66" fmla="*/ 1108 w 1214"/>
                  <a:gd name="T67" fmla="*/ 778 h 1092"/>
                  <a:gd name="T68" fmla="*/ 1128 w 1214"/>
                  <a:gd name="T69" fmla="*/ 752 h 1092"/>
                  <a:gd name="T70" fmla="*/ 1146 w 1214"/>
                  <a:gd name="T71" fmla="*/ 724 h 1092"/>
                  <a:gd name="T72" fmla="*/ 1164 w 1214"/>
                  <a:gd name="T73" fmla="*/ 696 h 1092"/>
                  <a:gd name="T74" fmla="*/ 1182 w 1214"/>
                  <a:gd name="T75" fmla="*/ 667 h 1092"/>
                  <a:gd name="T76" fmla="*/ 1198 w 1214"/>
                  <a:gd name="T77" fmla="*/ 638 h 1092"/>
                  <a:gd name="T78" fmla="*/ 1213 w 1214"/>
                  <a:gd name="T79" fmla="*/ 609 h 1092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214"/>
                  <a:gd name="T121" fmla="*/ 0 h 1092"/>
                  <a:gd name="T122" fmla="*/ 1214 w 1214"/>
                  <a:gd name="T123" fmla="*/ 1092 h 1092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214" h="1092">
                    <a:moveTo>
                      <a:pt x="1213" y="609"/>
                    </a:moveTo>
                    <a:lnTo>
                      <a:pt x="1196" y="626"/>
                    </a:lnTo>
                    <a:lnTo>
                      <a:pt x="1178" y="640"/>
                    </a:lnTo>
                    <a:lnTo>
                      <a:pt x="1159" y="652"/>
                    </a:lnTo>
                    <a:lnTo>
                      <a:pt x="1138" y="661"/>
                    </a:lnTo>
                    <a:lnTo>
                      <a:pt x="1116" y="667"/>
                    </a:lnTo>
                    <a:lnTo>
                      <a:pt x="1099" y="666"/>
                    </a:lnTo>
                    <a:lnTo>
                      <a:pt x="1082" y="662"/>
                    </a:lnTo>
                    <a:lnTo>
                      <a:pt x="1065" y="656"/>
                    </a:lnTo>
                    <a:lnTo>
                      <a:pt x="1047" y="647"/>
                    </a:lnTo>
                    <a:lnTo>
                      <a:pt x="1029" y="636"/>
                    </a:lnTo>
                    <a:lnTo>
                      <a:pt x="1011" y="623"/>
                    </a:lnTo>
                    <a:lnTo>
                      <a:pt x="993" y="608"/>
                    </a:lnTo>
                    <a:lnTo>
                      <a:pt x="977" y="591"/>
                    </a:lnTo>
                    <a:lnTo>
                      <a:pt x="469" y="165"/>
                    </a:lnTo>
                    <a:lnTo>
                      <a:pt x="461" y="159"/>
                    </a:lnTo>
                    <a:lnTo>
                      <a:pt x="451" y="155"/>
                    </a:lnTo>
                    <a:lnTo>
                      <a:pt x="581" y="0"/>
                    </a:lnTo>
                    <a:lnTo>
                      <a:pt x="117" y="201"/>
                    </a:lnTo>
                    <a:lnTo>
                      <a:pt x="0" y="693"/>
                    </a:lnTo>
                    <a:lnTo>
                      <a:pt x="133" y="534"/>
                    </a:lnTo>
                    <a:lnTo>
                      <a:pt x="138" y="543"/>
                    </a:lnTo>
                    <a:lnTo>
                      <a:pt x="145" y="549"/>
                    </a:lnTo>
                    <a:lnTo>
                      <a:pt x="775" y="1077"/>
                    </a:lnTo>
                    <a:lnTo>
                      <a:pt x="785" y="1084"/>
                    </a:lnTo>
                    <a:lnTo>
                      <a:pt x="797" y="1089"/>
                    </a:lnTo>
                    <a:lnTo>
                      <a:pt x="808" y="1091"/>
                    </a:lnTo>
                    <a:lnTo>
                      <a:pt x="821" y="1091"/>
                    </a:lnTo>
                    <a:lnTo>
                      <a:pt x="833" y="1089"/>
                    </a:lnTo>
                    <a:lnTo>
                      <a:pt x="844" y="1085"/>
                    </a:lnTo>
                    <a:lnTo>
                      <a:pt x="855" y="1078"/>
                    </a:lnTo>
                    <a:lnTo>
                      <a:pt x="863" y="1069"/>
                    </a:lnTo>
                    <a:lnTo>
                      <a:pt x="1089" y="803"/>
                    </a:lnTo>
                    <a:lnTo>
                      <a:pt x="1108" y="778"/>
                    </a:lnTo>
                    <a:lnTo>
                      <a:pt x="1128" y="752"/>
                    </a:lnTo>
                    <a:lnTo>
                      <a:pt x="1146" y="724"/>
                    </a:lnTo>
                    <a:lnTo>
                      <a:pt x="1164" y="696"/>
                    </a:lnTo>
                    <a:lnTo>
                      <a:pt x="1182" y="667"/>
                    </a:lnTo>
                    <a:lnTo>
                      <a:pt x="1198" y="638"/>
                    </a:lnTo>
                    <a:lnTo>
                      <a:pt x="1213" y="609"/>
                    </a:lnTo>
                  </a:path>
                </a:pathLst>
              </a:custGeom>
              <a:solidFill>
                <a:schemeClr val="accent2"/>
              </a:solidFill>
              <a:ln w="9525">
                <a:round/>
                <a:headEnd/>
                <a:tailEnd/>
              </a:ln>
            </p:spPr>
            <p:txBody>
              <a:bodyPr>
                <a:flatTx/>
              </a:bodyPr>
              <a:lstStyle/>
              <a:p>
                <a:pPr algn="ctr"/>
                <a:endParaRPr lang="ca-ES" sz="1295" dirty="0"/>
              </a:p>
            </p:txBody>
          </p:sp>
          <p:sp>
            <p:nvSpPr>
              <p:cNvPr id="59" name="Oval 6"/>
              <p:cNvSpPr>
                <a:spLocks noChangeArrowheads="1"/>
              </p:cNvSpPr>
              <p:nvPr/>
            </p:nvSpPr>
            <p:spPr bwMode="blackWhite">
              <a:xfrm>
                <a:off x="3148" y="2512"/>
                <a:ext cx="250" cy="250"/>
              </a:xfrm>
              <a:prstGeom prst="ellipse">
                <a:avLst/>
              </a:prstGeom>
              <a:solidFill>
                <a:schemeClr val="accent1"/>
              </a:solidFill>
              <a:ln w="9525">
                <a:round/>
                <a:headEnd/>
                <a:tailEnd/>
              </a:ln>
            </p:spPr>
            <p:txBody>
              <a:bodyPr>
                <a:flatTx/>
              </a:bodyPr>
              <a:lstStyle/>
              <a:p>
                <a:pPr algn="ctr"/>
                <a:endParaRPr lang="zh-CN" altLang="en-US" sz="1295">
                  <a:ea typeface="宋体" pitchFamily="2" charset="-122"/>
                </a:endParaRPr>
              </a:p>
            </p:txBody>
          </p:sp>
        </p:grpSp>
        <p:sp>
          <p:nvSpPr>
            <p:cNvPr id="53" name="Rectangle 7"/>
            <p:cNvSpPr>
              <a:spLocks noChangeArrowheads="1"/>
            </p:cNvSpPr>
            <p:nvPr/>
          </p:nvSpPr>
          <p:spPr bwMode="auto">
            <a:xfrm rot="2297149">
              <a:off x="2571521" y="3244145"/>
              <a:ext cx="1444625" cy="24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49841">
                <a:buSzPct val="120000"/>
              </a:pPr>
              <a:r>
                <a:rPr lang="en-US" altLang="zh-CN" sz="1295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en-US" altLang="zh-CN" sz="1295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  <p:sp>
          <p:nvSpPr>
            <p:cNvPr id="54" name="Rectangle 8"/>
            <p:cNvSpPr>
              <a:spLocks noChangeArrowheads="1"/>
            </p:cNvSpPr>
            <p:nvPr/>
          </p:nvSpPr>
          <p:spPr bwMode="auto">
            <a:xfrm rot="21303448">
              <a:off x="4685761" y="2164618"/>
              <a:ext cx="1447799" cy="24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  <p:sp>
          <p:nvSpPr>
            <p:cNvPr id="55" name="Rectangle 9"/>
            <p:cNvSpPr>
              <a:spLocks noChangeArrowheads="1"/>
            </p:cNvSpPr>
            <p:nvPr/>
          </p:nvSpPr>
          <p:spPr bwMode="auto">
            <a:xfrm rot="17224825">
              <a:off x="4574843" y="4271881"/>
              <a:ext cx="1404937" cy="244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 defTabSz="849841">
                <a:buSzPct val="120000"/>
              </a:pPr>
              <a:r>
                <a:rPr lang="en-US" altLang="zh-CN" sz="1295">
                  <a:ea typeface="宋体" pitchFamily="2" charset="-122"/>
                </a:rPr>
                <a:t>Texto</a:t>
              </a:r>
              <a:endParaRPr lang="en-US" altLang="zh-CN" sz="1295" dirty="0">
                <a:ea typeface="宋体" pitchFamily="2" charset="-122"/>
              </a:endParaRPr>
            </a:p>
          </p:txBody>
        </p:sp>
      </p:grpSp>
      <p:grpSp>
        <p:nvGrpSpPr>
          <p:cNvPr id="82" name="81 Grupo"/>
          <p:cNvGrpSpPr/>
          <p:nvPr/>
        </p:nvGrpSpPr>
        <p:grpSpPr>
          <a:xfrm>
            <a:off x="6045388" y="4251587"/>
            <a:ext cx="3129276" cy="3103378"/>
            <a:chOff x="2251075" y="1130300"/>
            <a:chExt cx="4603751" cy="4565650"/>
          </a:xfrm>
        </p:grpSpPr>
        <p:grpSp>
          <p:nvGrpSpPr>
            <p:cNvPr id="83" name="Group 3"/>
            <p:cNvGrpSpPr>
              <a:grpSpLocks/>
            </p:cNvGrpSpPr>
            <p:nvPr/>
          </p:nvGrpSpPr>
          <p:grpSpPr bwMode="auto">
            <a:xfrm>
              <a:off x="2251075" y="1130300"/>
              <a:ext cx="4603751" cy="4565650"/>
              <a:chOff x="1384" y="918"/>
              <a:chExt cx="2900" cy="2876"/>
            </a:xfrm>
          </p:grpSpPr>
          <p:sp>
            <p:nvSpPr>
              <p:cNvPr id="85" name="Freeform 4"/>
              <p:cNvSpPr>
                <a:spLocks/>
              </p:cNvSpPr>
              <p:nvPr/>
            </p:nvSpPr>
            <p:spPr bwMode="blackWhite">
              <a:xfrm>
                <a:off x="1384" y="1654"/>
                <a:ext cx="1759" cy="735"/>
              </a:xfrm>
              <a:custGeom>
                <a:avLst/>
                <a:gdLst>
                  <a:gd name="T0" fmla="*/ 1132 w 1136"/>
                  <a:gd name="T1" fmla="*/ 437 h 491"/>
                  <a:gd name="T2" fmla="*/ 1117 w 1136"/>
                  <a:gd name="T3" fmla="*/ 366 h 491"/>
                  <a:gd name="T4" fmla="*/ 1090 w 1136"/>
                  <a:gd name="T5" fmla="*/ 298 h 491"/>
                  <a:gd name="T6" fmla="*/ 1051 w 1136"/>
                  <a:gd name="T7" fmla="*/ 233 h 491"/>
                  <a:gd name="T8" fmla="*/ 1002 w 1136"/>
                  <a:gd name="T9" fmla="*/ 174 h 491"/>
                  <a:gd name="T10" fmla="*/ 943 w 1136"/>
                  <a:gd name="T11" fmla="*/ 123 h 491"/>
                  <a:gd name="T12" fmla="*/ 876 w 1136"/>
                  <a:gd name="T13" fmla="*/ 78 h 491"/>
                  <a:gd name="T14" fmla="*/ 803 w 1136"/>
                  <a:gd name="T15" fmla="*/ 44 h 491"/>
                  <a:gd name="T16" fmla="*/ 724 w 1136"/>
                  <a:gd name="T17" fmla="*/ 19 h 491"/>
                  <a:gd name="T18" fmla="*/ 642 w 1136"/>
                  <a:gd name="T19" fmla="*/ 4 h 491"/>
                  <a:gd name="T20" fmla="*/ 559 w 1136"/>
                  <a:gd name="T21" fmla="*/ 0 h 491"/>
                  <a:gd name="T22" fmla="*/ 474 w 1136"/>
                  <a:gd name="T23" fmla="*/ 6 h 491"/>
                  <a:gd name="T24" fmla="*/ 394 w 1136"/>
                  <a:gd name="T25" fmla="*/ 24 h 491"/>
                  <a:gd name="T26" fmla="*/ 316 w 1136"/>
                  <a:gd name="T27" fmla="*/ 51 h 491"/>
                  <a:gd name="T28" fmla="*/ 243 w 1136"/>
                  <a:gd name="T29" fmla="*/ 88 h 491"/>
                  <a:gd name="T30" fmla="*/ 179 w 1136"/>
                  <a:gd name="T31" fmla="*/ 134 h 491"/>
                  <a:gd name="T32" fmla="*/ 122 w 1136"/>
                  <a:gd name="T33" fmla="*/ 187 h 491"/>
                  <a:gd name="T34" fmla="*/ 75 w 1136"/>
                  <a:gd name="T35" fmla="*/ 247 h 491"/>
                  <a:gd name="T36" fmla="*/ 39 w 1136"/>
                  <a:gd name="T37" fmla="*/ 312 h 491"/>
                  <a:gd name="T38" fmla="*/ 14 w 1136"/>
                  <a:gd name="T39" fmla="*/ 382 h 491"/>
                  <a:gd name="T40" fmla="*/ 2 w 1136"/>
                  <a:gd name="T41" fmla="*/ 454 h 491"/>
                  <a:gd name="T42" fmla="*/ 568 w 1136"/>
                  <a:gd name="T43" fmla="*/ 490 h 491"/>
                  <a:gd name="T44" fmla="*/ 651 w 1136"/>
                  <a:gd name="T45" fmla="*/ 467 h 491"/>
                  <a:gd name="T46" fmla="*/ 679 w 1136"/>
                  <a:gd name="T47" fmla="*/ 425 h 491"/>
                  <a:gd name="T48" fmla="*/ 716 w 1136"/>
                  <a:gd name="T49" fmla="*/ 389 h 491"/>
                  <a:gd name="T50" fmla="*/ 761 w 1136"/>
                  <a:gd name="T51" fmla="*/ 361 h 491"/>
                  <a:gd name="T52" fmla="*/ 811 w 1136"/>
                  <a:gd name="T53" fmla="*/ 340 h 491"/>
                  <a:gd name="T54" fmla="*/ 864 w 1136"/>
                  <a:gd name="T55" fmla="*/ 330 h 491"/>
                  <a:gd name="T56" fmla="*/ 919 w 1136"/>
                  <a:gd name="T57" fmla="*/ 330 h 491"/>
                  <a:gd name="T58" fmla="*/ 974 w 1136"/>
                  <a:gd name="T59" fmla="*/ 341 h 491"/>
                  <a:gd name="T60" fmla="*/ 1025 w 1136"/>
                  <a:gd name="T61" fmla="*/ 362 h 491"/>
                  <a:gd name="T62" fmla="*/ 1070 w 1136"/>
                  <a:gd name="T63" fmla="*/ 392 h 491"/>
                  <a:gd name="T64" fmla="*/ 1107 w 1136"/>
                  <a:gd name="T65" fmla="*/ 429 h 491"/>
                  <a:gd name="T66" fmla="*/ 1135 w 1136"/>
                  <a:gd name="T67" fmla="*/ 473 h 491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36"/>
                  <a:gd name="T103" fmla="*/ 0 h 491"/>
                  <a:gd name="T104" fmla="*/ 1136 w 1136"/>
                  <a:gd name="T105" fmla="*/ 491 h 491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36" h="491">
                    <a:moveTo>
                      <a:pt x="1135" y="473"/>
                    </a:moveTo>
                    <a:lnTo>
                      <a:pt x="1132" y="437"/>
                    </a:lnTo>
                    <a:lnTo>
                      <a:pt x="1126" y="401"/>
                    </a:lnTo>
                    <a:lnTo>
                      <a:pt x="1117" y="366"/>
                    </a:lnTo>
                    <a:lnTo>
                      <a:pt x="1104" y="331"/>
                    </a:lnTo>
                    <a:lnTo>
                      <a:pt x="1090" y="298"/>
                    </a:lnTo>
                    <a:lnTo>
                      <a:pt x="1072" y="264"/>
                    </a:lnTo>
                    <a:lnTo>
                      <a:pt x="1051" y="233"/>
                    </a:lnTo>
                    <a:lnTo>
                      <a:pt x="1027" y="203"/>
                    </a:lnTo>
                    <a:lnTo>
                      <a:pt x="1002" y="174"/>
                    </a:lnTo>
                    <a:lnTo>
                      <a:pt x="974" y="148"/>
                    </a:lnTo>
                    <a:lnTo>
                      <a:pt x="943" y="123"/>
                    </a:lnTo>
                    <a:lnTo>
                      <a:pt x="911" y="99"/>
                    </a:lnTo>
                    <a:lnTo>
                      <a:pt x="876" y="78"/>
                    </a:lnTo>
                    <a:lnTo>
                      <a:pt x="840" y="60"/>
                    </a:lnTo>
                    <a:lnTo>
                      <a:pt x="803" y="44"/>
                    </a:lnTo>
                    <a:lnTo>
                      <a:pt x="764" y="30"/>
                    </a:lnTo>
                    <a:lnTo>
                      <a:pt x="724" y="19"/>
                    </a:lnTo>
                    <a:lnTo>
                      <a:pt x="683" y="10"/>
                    </a:lnTo>
                    <a:lnTo>
                      <a:pt x="642" y="4"/>
                    </a:lnTo>
                    <a:lnTo>
                      <a:pt x="600" y="1"/>
                    </a:lnTo>
                    <a:lnTo>
                      <a:pt x="559" y="0"/>
                    </a:lnTo>
                    <a:lnTo>
                      <a:pt x="517" y="2"/>
                    </a:lnTo>
                    <a:lnTo>
                      <a:pt x="474" y="6"/>
                    </a:lnTo>
                    <a:lnTo>
                      <a:pt x="433" y="14"/>
                    </a:lnTo>
                    <a:lnTo>
                      <a:pt x="394" y="24"/>
                    </a:lnTo>
                    <a:lnTo>
                      <a:pt x="354" y="37"/>
                    </a:lnTo>
                    <a:lnTo>
                      <a:pt x="316" y="51"/>
                    </a:lnTo>
                    <a:lnTo>
                      <a:pt x="279" y="68"/>
                    </a:lnTo>
                    <a:lnTo>
                      <a:pt x="243" y="88"/>
                    </a:lnTo>
                    <a:lnTo>
                      <a:pt x="210" y="110"/>
                    </a:lnTo>
                    <a:lnTo>
                      <a:pt x="179" y="134"/>
                    </a:lnTo>
                    <a:lnTo>
                      <a:pt x="149" y="159"/>
                    </a:lnTo>
                    <a:lnTo>
                      <a:pt x="122" y="187"/>
                    </a:lnTo>
                    <a:lnTo>
                      <a:pt x="97" y="217"/>
                    </a:lnTo>
                    <a:lnTo>
                      <a:pt x="75" y="247"/>
                    </a:lnTo>
                    <a:lnTo>
                      <a:pt x="56" y="280"/>
                    </a:lnTo>
                    <a:lnTo>
                      <a:pt x="39" y="312"/>
                    </a:lnTo>
                    <a:lnTo>
                      <a:pt x="25" y="347"/>
                    </a:lnTo>
                    <a:lnTo>
                      <a:pt x="14" y="382"/>
                    </a:lnTo>
                    <a:lnTo>
                      <a:pt x="7" y="417"/>
                    </a:lnTo>
                    <a:lnTo>
                      <a:pt x="2" y="454"/>
                    </a:lnTo>
                    <a:lnTo>
                      <a:pt x="0" y="490"/>
                    </a:lnTo>
                    <a:lnTo>
                      <a:pt x="568" y="490"/>
                    </a:lnTo>
                    <a:lnTo>
                      <a:pt x="640" y="490"/>
                    </a:lnTo>
                    <a:lnTo>
                      <a:pt x="651" y="467"/>
                    </a:lnTo>
                    <a:lnTo>
                      <a:pt x="664" y="445"/>
                    </a:lnTo>
                    <a:lnTo>
                      <a:pt x="679" y="425"/>
                    </a:lnTo>
                    <a:lnTo>
                      <a:pt x="696" y="406"/>
                    </a:lnTo>
                    <a:lnTo>
                      <a:pt x="716" y="389"/>
                    </a:lnTo>
                    <a:lnTo>
                      <a:pt x="738" y="374"/>
                    </a:lnTo>
                    <a:lnTo>
                      <a:pt x="761" y="361"/>
                    </a:lnTo>
                    <a:lnTo>
                      <a:pt x="785" y="350"/>
                    </a:lnTo>
                    <a:lnTo>
                      <a:pt x="811" y="340"/>
                    </a:lnTo>
                    <a:lnTo>
                      <a:pt x="837" y="334"/>
                    </a:lnTo>
                    <a:lnTo>
                      <a:pt x="864" y="330"/>
                    </a:lnTo>
                    <a:lnTo>
                      <a:pt x="891" y="330"/>
                    </a:lnTo>
                    <a:lnTo>
                      <a:pt x="919" y="330"/>
                    </a:lnTo>
                    <a:lnTo>
                      <a:pt x="947" y="335"/>
                    </a:lnTo>
                    <a:lnTo>
                      <a:pt x="974" y="341"/>
                    </a:lnTo>
                    <a:lnTo>
                      <a:pt x="1000" y="351"/>
                    </a:lnTo>
                    <a:lnTo>
                      <a:pt x="1025" y="362"/>
                    </a:lnTo>
                    <a:lnTo>
                      <a:pt x="1048" y="375"/>
                    </a:lnTo>
                    <a:lnTo>
                      <a:pt x="1070" y="392"/>
                    </a:lnTo>
                    <a:lnTo>
                      <a:pt x="1090" y="410"/>
                    </a:lnTo>
                    <a:lnTo>
                      <a:pt x="1107" y="429"/>
                    </a:lnTo>
                    <a:lnTo>
                      <a:pt x="1122" y="451"/>
                    </a:lnTo>
                    <a:lnTo>
                      <a:pt x="1135" y="473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ca-ES" sz="1187">
                    <a:solidFill>
                      <a:schemeClr val="bg1"/>
                    </a:solidFill>
                  </a:rPr>
                  <a:t>Texto</a:t>
                </a:r>
                <a:endParaRPr lang="ca-ES" sz="118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Freeform 5"/>
              <p:cNvSpPr>
                <a:spLocks/>
              </p:cNvSpPr>
              <p:nvPr/>
            </p:nvSpPr>
            <p:spPr bwMode="blackWhite">
              <a:xfrm>
                <a:off x="2089" y="2095"/>
                <a:ext cx="764" cy="1699"/>
              </a:xfrm>
              <a:custGeom>
                <a:avLst/>
                <a:gdLst>
                  <a:gd name="T0" fmla="*/ 439 w 493"/>
                  <a:gd name="T1" fmla="*/ 3 h 1134"/>
                  <a:gd name="T2" fmla="*/ 367 w 493"/>
                  <a:gd name="T3" fmla="*/ 18 h 1134"/>
                  <a:gd name="T4" fmla="*/ 299 w 493"/>
                  <a:gd name="T5" fmla="*/ 45 h 1134"/>
                  <a:gd name="T6" fmla="*/ 234 w 493"/>
                  <a:gd name="T7" fmla="*/ 84 h 1134"/>
                  <a:gd name="T8" fmla="*/ 176 w 493"/>
                  <a:gd name="T9" fmla="*/ 133 h 1134"/>
                  <a:gd name="T10" fmla="*/ 123 w 493"/>
                  <a:gd name="T11" fmla="*/ 191 h 1134"/>
                  <a:gd name="T12" fmla="*/ 80 w 493"/>
                  <a:gd name="T13" fmla="*/ 258 h 1134"/>
                  <a:gd name="T14" fmla="*/ 45 w 493"/>
                  <a:gd name="T15" fmla="*/ 332 h 1134"/>
                  <a:gd name="T16" fmla="*/ 20 w 493"/>
                  <a:gd name="T17" fmla="*/ 411 h 1134"/>
                  <a:gd name="T18" fmla="*/ 5 w 493"/>
                  <a:gd name="T19" fmla="*/ 492 h 1134"/>
                  <a:gd name="T20" fmla="*/ 0 w 493"/>
                  <a:gd name="T21" fmla="*/ 576 h 1134"/>
                  <a:gd name="T22" fmla="*/ 7 w 493"/>
                  <a:gd name="T23" fmla="*/ 659 h 1134"/>
                  <a:gd name="T24" fmla="*/ 25 w 493"/>
                  <a:gd name="T25" fmla="*/ 741 h 1134"/>
                  <a:gd name="T26" fmla="*/ 52 w 493"/>
                  <a:gd name="T27" fmla="*/ 818 h 1134"/>
                  <a:gd name="T28" fmla="*/ 89 w 493"/>
                  <a:gd name="T29" fmla="*/ 890 h 1134"/>
                  <a:gd name="T30" fmla="*/ 135 w 493"/>
                  <a:gd name="T31" fmla="*/ 955 h 1134"/>
                  <a:gd name="T32" fmla="*/ 188 w 493"/>
                  <a:gd name="T33" fmla="*/ 1011 h 1134"/>
                  <a:gd name="T34" fmla="*/ 249 w 493"/>
                  <a:gd name="T35" fmla="*/ 1058 h 1134"/>
                  <a:gd name="T36" fmla="*/ 314 w 493"/>
                  <a:gd name="T37" fmla="*/ 1095 h 1134"/>
                  <a:gd name="T38" fmla="*/ 384 w 493"/>
                  <a:gd name="T39" fmla="*/ 1119 h 1134"/>
                  <a:gd name="T40" fmla="*/ 455 w 493"/>
                  <a:gd name="T41" fmla="*/ 1131 h 1134"/>
                  <a:gd name="T42" fmla="*/ 492 w 493"/>
                  <a:gd name="T43" fmla="*/ 566 h 1134"/>
                  <a:gd name="T44" fmla="*/ 468 w 493"/>
                  <a:gd name="T45" fmla="*/ 484 h 1134"/>
                  <a:gd name="T46" fmla="*/ 426 w 493"/>
                  <a:gd name="T47" fmla="*/ 456 h 1134"/>
                  <a:gd name="T48" fmla="*/ 391 w 493"/>
                  <a:gd name="T49" fmla="*/ 418 h 1134"/>
                  <a:gd name="T50" fmla="*/ 362 w 493"/>
                  <a:gd name="T51" fmla="*/ 374 h 1134"/>
                  <a:gd name="T52" fmla="*/ 342 w 493"/>
                  <a:gd name="T53" fmla="*/ 324 h 1134"/>
                  <a:gd name="T54" fmla="*/ 332 w 493"/>
                  <a:gd name="T55" fmla="*/ 271 h 1134"/>
                  <a:gd name="T56" fmla="*/ 332 w 493"/>
                  <a:gd name="T57" fmla="*/ 215 h 1134"/>
                  <a:gd name="T58" fmla="*/ 343 w 493"/>
                  <a:gd name="T59" fmla="*/ 161 h 1134"/>
                  <a:gd name="T60" fmla="*/ 363 w 493"/>
                  <a:gd name="T61" fmla="*/ 110 h 1134"/>
                  <a:gd name="T62" fmla="*/ 393 w 493"/>
                  <a:gd name="T63" fmla="*/ 65 h 1134"/>
                  <a:gd name="T64" fmla="*/ 431 w 493"/>
                  <a:gd name="T65" fmla="*/ 28 h 1134"/>
                  <a:gd name="T66" fmla="*/ 475 w 493"/>
                  <a:gd name="T67" fmla="*/ 0 h 113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93"/>
                  <a:gd name="T103" fmla="*/ 0 h 1134"/>
                  <a:gd name="T104" fmla="*/ 493 w 493"/>
                  <a:gd name="T105" fmla="*/ 1134 h 113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93" h="1134">
                    <a:moveTo>
                      <a:pt x="475" y="0"/>
                    </a:moveTo>
                    <a:lnTo>
                      <a:pt x="439" y="3"/>
                    </a:lnTo>
                    <a:lnTo>
                      <a:pt x="403" y="9"/>
                    </a:lnTo>
                    <a:lnTo>
                      <a:pt x="367" y="18"/>
                    </a:lnTo>
                    <a:lnTo>
                      <a:pt x="333" y="30"/>
                    </a:lnTo>
                    <a:lnTo>
                      <a:pt x="299" y="45"/>
                    </a:lnTo>
                    <a:lnTo>
                      <a:pt x="266" y="63"/>
                    </a:lnTo>
                    <a:lnTo>
                      <a:pt x="234" y="84"/>
                    </a:lnTo>
                    <a:lnTo>
                      <a:pt x="204" y="107"/>
                    </a:lnTo>
                    <a:lnTo>
                      <a:pt x="176" y="133"/>
                    </a:lnTo>
                    <a:lnTo>
                      <a:pt x="148" y="161"/>
                    </a:lnTo>
                    <a:lnTo>
                      <a:pt x="123" y="191"/>
                    </a:lnTo>
                    <a:lnTo>
                      <a:pt x="101" y="224"/>
                    </a:lnTo>
                    <a:lnTo>
                      <a:pt x="80" y="258"/>
                    </a:lnTo>
                    <a:lnTo>
                      <a:pt x="61" y="294"/>
                    </a:lnTo>
                    <a:lnTo>
                      <a:pt x="45" y="332"/>
                    </a:lnTo>
                    <a:lnTo>
                      <a:pt x="31" y="370"/>
                    </a:lnTo>
                    <a:lnTo>
                      <a:pt x="20" y="411"/>
                    </a:lnTo>
                    <a:lnTo>
                      <a:pt x="11" y="451"/>
                    </a:lnTo>
                    <a:lnTo>
                      <a:pt x="5" y="492"/>
                    </a:lnTo>
                    <a:lnTo>
                      <a:pt x="1" y="534"/>
                    </a:lnTo>
                    <a:lnTo>
                      <a:pt x="0" y="576"/>
                    </a:lnTo>
                    <a:lnTo>
                      <a:pt x="3" y="617"/>
                    </a:lnTo>
                    <a:lnTo>
                      <a:pt x="7" y="659"/>
                    </a:lnTo>
                    <a:lnTo>
                      <a:pt x="14" y="701"/>
                    </a:lnTo>
                    <a:lnTo>
                      <a:pt x="25" y="741"/>
                    </a:lnTo>
                    <a:lnTo>
                      <a:pt x="37" y="780"/>
                    </a:lnTo>
                    <a:lnTo>
                      <a:pt x="52" y="818"/>
                    </a:lnTo>
                    <a:lnTo>
                      <a:pt x="69" y="855"/>
                    </a:lnTo>
                    <a:lnTo>
                      <a:pt x="89" y="890"/>
                    </a:lnTo>
                    <a:lnTo>
                      <a:pt x="111" y="924"/>
                    </a:lnTo>
                    <a:lnTo>
                      <a:pt x="135" y="955"/>
                    </a:lnTo>
                    <a:lnTo>
                      <a:pt x="161" y="984"/>
                    </a:lnTo>
                    <a:lnTo>
                      <a:pt x="188" y="1011"/>
                    </a:lnTo>
                    <a:lnTo>
                      <a:pt x="218" y="1036"/>
                    </a:lnTo>
                    <a:lnTo>
                      <a:pt x="249" y="1058"/>
                    </a:lnTo>
                    <a:lnTo>
                      <a:pt x="281" y="1078"/>
                    </a:lnTo>
                    <a:lnTo>
                      <a:pt x="314" y="1095"/>
                    </a:lnTo>
                    <a:lnTo>
                      <a:pt x="349" y="1108"/>
                    </a:lnTo>
                    <a:lnTo>
                      <a:pt x="384" y="1119"/>
                    </a:lnTo>
                    <a:lnTo>
                      <a:pt x="419" y="1126"/>
                    </a:lnTo>
                    <a:lnTo>
                      <a:pt x="455" y="1131"/>
                    </a:lnTo>
                    <a:lnTo>
                      <a:pt x="492" y="1133"/>
                    </a:lnTo>
                    <a:lnTo>
                      <a:pt x="492" y="566"/>
                    </a:lnTo>
                    <a:lnTo>
                      <a:pt x="492" y="494"/>
                    </a:lnTo>
                    <a:lnTo>
                      <a:pt x="468" y="484"/>
                    </a:lnTo>
                    <a:lnTo>
                      <a:pt x="447" y="470"/>
                    </a:lnTo>
                    <a:lnTo>
                      <a:pt x="426" y="456"/>
                    </a:lnTo>
                    <a:lnTo>
                      <a:pt x="408" y="438"/>
                    </a:lnTo>
                    <a:lnTo>
                      <a:pt x="391" y="418"/>
                    </a:lnTo>
                    <a:lnTo>
                      <a:pt x="375" y="397"/>
                    </a:lnTo>
                    <a:lnTo>
                      <a:pt x="362" y="374"/>
                    </a:lnTo>
                    <a:lnTo>
                      <a:pt x="351" y="349"/>
                    </a:lnTo>
                    <a:lnTo>
                      <a:pt x="342" y="324"/>
                    </a:lnTo>
                    <a:lnTo>
                      <a:pt x="336" y="298"/>
                    </a:lnTo>
                    <a:lnTo>
                      <a:pt x="332" y="271"/>
                    </a:lnTo>
                    <a:lnTo>
                      <a:pt x="331" y="243"/>
                    </a:lnTo>
                    <a:lnTo>
                      <a:pt x="332" y="215"/>
                    </a:lnTo>
                    <a:lnTo>
                      <a:pt x="336" y="188"/>
                    </a:lnTo>
                    <a:lnTo>
                      <a:pt x="343" y="161"/>
                    </a:lnTo>
                    <a:lnTo>
                      <a:pt x="352" y="135"/>
                    </a:lnTo>
                    <a:lnTo>
                      <a:pt x="363" y="110"/>
                    </a:lnTo>
                    <a:lnTo>
                      <a:pt x="377" y="86"/>
                    </a:lnTo>
                    <a:lnTo>
                      <a:pt x="393" y="65"/>
                    </a:lnTo>
                    <a:lnTo>
                      <a:pt x="412" y="45"/>
                    </a:lnTo>
                    <a:lnTo>
                      <a:pt x="431" y="28"/>
                    </a:lnTo>
                    <a:lnTo>
                      <a:pt x="452" y="12"/>
                    </a:lnTo>
                    <a:lnTo>
                      <a:pt x="475" y="0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ca-ES" sz="1187">
                    <a:solidFill>
                      <a:schemeClr val="bg1"/>
                    </a:solidFill>
                  </a:rPr>
                  <a:t>Texto</a:t>
                </a:r>
                <a:endParaRPr lang="ca-ES" sz="118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7" name="Freeform 6"/>
              <p:cNvSpPr>
                <a:spLocks/>
              </p:cNvSpPr>
              <p:nvPr/>
            </p:nvSpPr>
            <p:spPr bwMode="blackWhite">
              <a:xfrm>
                <a:off x="2525" y="2346"/>
                <a:ext cx="1759" cy="736"/>
              </a:xfrm>
              <a:custGeom>
                <a:avLst/>
                <a:gdLst>
                  <a:gd name="T0" fmla="*/ 3 w 1136"/>
                  <a:gd name="T1" fmla="*/ 53 h 491"/>
                  <a:gd name="T2" fmla="*/ 18 w 1136"/>
                  <a:gd name="T3" fmla="*/ 125 h 491"/>
                  <a:gd name="T4" fmla="*/ 45 w 1136"/>
                  <a:gd name="T5" fmla="*/ 193 h 491"/>
                  <a:gd name="T6" fmla="*/ 84 w 1136"/>
                  <a:gd name="T7" fmla="*/ 257 h 491"/>
                  <a:gd name="T8" fmla="*/ 133 w 1136"/>
                  <a:gd name="T9" fmla="*/ 316 h 491"/>
                  <a:gd name="T10" fmla="*/ 192 w 1136"/>
                  <a:gd name="T11" fmla="*/ 368 h 491"/>
                  <a:gd name="T12" fmla="*/ 259 w 1136"/>
                  <a:gd name="T13" fmla="*/ 412 h 491"/>
                  <a:gd name="T14" fmla="*/ 332 w 1136"/>
                  <a:gd name="T15" fmla="*/ 447 h 491"/>
                  <a:gd name="T16" fmla="*/ 411 w 1136"/>
                  <a:gd name="T17" fmla="*/ 472 h 491"/>
                  <a:gd name="T18" fmla="*/ 493 w 1136"/>
                  <a:gd name="T19" fmla="*/ 486 h 491"/>
                  <a:gd name="T20" fmla="*/ 576 w 1136"/>
                  <a:gd name="T21" fmla="*/ 490 h 491"/>
                  <a:gd name="T22" fmla="*/ 660 w 1136"/>
                  <a:gd name="T23" fmla="*/ 484 h 491"/>
                  <a:gd name="T24" fmla="*/ 741 w 1136"/>
                  <a:gd name="T25" fmla="*/ 467 h 491"/>
                  <a:gd name="T26" fmla="*/ 819 w 1136"/>
                  <a:gd name="T27" fmla="*/ 440 h 491"/>
                  <a:gd name="T28" fmla="*/ 892 w 1136"/>
                  <a:gd name="T29" fmla="*/ 402 h 491"/>
                  <a:gd name="T30" fmla="*/ 956 w 1136"/>
                  <a:gd name="T31" fmla="*/ 357 h 491"/>
                  <a:gd name="T32" fmla="*/ 1013 w 1136"/>
                  <a:gd name="T33" fmla="*/ 303 h 491"/>
                  <a:gd name="T34" fmla="*/ 1060 w 1136"/>
                  <a:gd name="T35" fmla="*/ 243 h 491"/>
                  <a:gd name="T36" fmla="*/ 1096 w 1136"/>
                  <a:gd name="T37" fmla="*/ 178 h 491"/>
                  <a:gd name="T38" fmla="*/ 1121 w 1136"/>
                  <a:gd name="T39" fmla="*/ 108 h 491"/>
                  <a:gd name="T40" fmla="*/ 1133 w 1136"/>
                  <a:gd name="T41" fmla="*/ 37 h 491"/>
                  <a:gd name="T42" fmla="*/ 567 w 1136"/>
                  <a:gd name="T43" fmla="*/ 0 h 491"/>
                  <a:gd name="T44" fmla="*/ 484 w 1136"/>
                  <a:gd name="T45" fmla="*/ 22 h 491"/>
                  <a:gd name="T46" fmla="*/ 455 w 1136"/>
                  <a:gd name="T47" fmla="*/ 62 h 491"/>
                  <a:gd name="T48" fmla="*/ 416 w 1136"/>
                  <a:gd name="T49" fmla="*/ 95 h 491"/>
                  <a:gd name="T50" fmla="*/ 371 w 1136"/>
                  <a:gd name="T51" fmla="*/ 119 h 491"/>
                  <a:gd name="T52" fmla="*/ 320 w 1136"/>
                  <a:gd name="T53" fmla="*/ 134 h 491"/>
                  <a:gd name="T54" fmla="*/ 268 w 1136"/>
                  <a:gd name="T55" fmla="*/ 138 h 491"/>
                  <a:gd name="T56" fmla="*/ 210 w 1136"/>
                  <a:gd name="T57" fmla="*/ 139 h 491"/>
                  <a:gd name="T58" fmla="*/ 154 w 1136"/>
                  <a:gd name="T59" fmla="*/ 129 h 491"/>
                  <a:gd name="T60" fmla="*/ 101 w 1136"/>
                  <a:gd name="T61" fmla="*/ 108 h 491"/>
                  <a:gd name="T62" fmla="*/ 54 w 1136"/>
                  <a:gd name="T63" fmla="*/ 77 h 491"/>
                  <a:gd name="T64" fmla="*/ 16 w 1136"/>
                  <a:gd name="T65" fmla="*/ 39 h 49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36"/>
                  <a:gd name="T100" fmla="*/ 0 h 491"/>
                  <a:gd name="T101" fmla="*/ 1136 w 1136"/>
                  <a:gd name="T102" fmla="*/ 491 h 49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36" h="491">
                    <a:moveTo>
                      <a:pt x="0" y="17"/>
                    </a:moveTo>
                    <a:lnTo>
                      <a:pt x="3" y="53"/>
                    </a:lnTo>
                    <a:lnTo>
                      <a:pt x="9" y="89"/>
                    </a:lnTo>
                    <a:lnTo>
                      <a:pt x="18" y="125"/>
                    </a:lnTo>
                    <a:lnTo>
                      <a:pt x="31" y="159"/>
                    </a:lnTo>
                    <a:lnTo>
                      <a:pt x="45" y="193"/>
                    </a:lnTo>
                    <a:lnTo>
                      <a:pt x="63" y="226"/>
                    </a:lnTo>
                    <a:lnTo>
                      <a:pt x="84" y="257"/>
                    </a:lnTo>
                    <a:lnTo>
                      <a:pt x="108" y="287"/>
                    </a:lnTo>
                    <a:lnTo>
                      <a:pt x="133" y="316"/>
                    </a:lnTo>
                    <a:lnTo>
                      <a:pt x="161" y="343"/>
                    </a:lnTo>
                    <a:lnTo>
                      <a:pt x="192" y="368"/>
                    </a:lnTo>
                    <a:lnTo>
                      <a:pt x="224" y="391"/>
                    </a:lnTo>
                    <a:lnTo>
                      <a:pt x="259" y="412"/>
                    </a:lnTo>
                    <a:lnTo>
                      <a:pt x="295" y="430"/>
                    </a:lnTo>
                    <a:lnTo>
                      <a:pt x="332" y="447"/>
                    </a:lnTo>
                    <a:lnTo>
                      <a:pt x="371" y="460"/>
                    </a:lnTo>
                    <a:lnTo>
                      <a:pt x="411" y="472"/>
                    </a:lnTo>
                    <a:lnTo>
                      <a:pt x="452" y="480"/>
                    </a:lnTo>
                    <a:lnTo>
                      <a:pt x="493" y="486"/>
                    </a:lnTo>
                    <a:lnTo>
                      <a:pt x="534" y="489"/>
                    </a:lnTo>
                    <a:lnTo>
                      <a:pt x="576" y="490"/>
                    </a:lnTo>
                    <a:lnTo>
                      <a:pt x="618" y="489"/>
                    </a:lnTo>
                    <a:lnTo>
                      <a:pt x="660" y="484"/>
                    </a:lnTo>
                    <a:lnTo>
                      <a:pt x="701" y="476"/>
                    </a:lnTo>
                    <a:lnTo>
                      <a:pt x="741" y="467"/>
                    </a:lnTo>
                    <a:lnTo>
                      <a:pt x="781" y="454"/>
                    </a:lnTo>
                    <a:lnTo>
                      <a:pt x="819" y="440"/>
                    </a:lnTo>
                    <a:lnTo>
                      <a:pt x="856" y="422"/>
                    </a:lnTo>
                    <a:lnTo>
                      <a:pt x="892" y="402"/>
                    </a:lnTo>
                    <a:lnTo>
                      <a:pt x="925" y="381"/>
                    </a:lnTo>
                    <a:lnTo>
                      <a:pt x="956" y="357"/>
                    </a:lnTo>
                    <a:lnTo>
                      <a:pt x="986" y="331"/>
                    </a:lnTo>
                    <a:lnTo>
                      <a:pt x="1013" y="303"/>
                    </a:lnTo>
                    <a:lnTo>
                      <a:pt x="1038" y="274"/>
                    </a:lnTo>
                    <a:lnTo>
                      <a:pt x="1060" y="243"/>
                    </a:lnTo>
                    <a:lnTo>
                      <a:pt x="1079" y="211"/>
                    </a:lnTo>
                    <a:lnTo>
                      <a:pt x="1096" y="178"/>
                    </a:lnTo>
                    <a:lnTo>
                      <a:pt x="1110" y="143"/>
                    </a:lnTo>
                    <a:lnTo>
                      <a:pt x="1121" y="108"/>
                    </a:lnTo>
                    <a:lnTo>
                      <a:pt x="1128" y="73"/>
                    </a:lnTo>
                    <a:lnTo>
                      <a:pt x="1133" y="37"/>
                    </a:lnTo>
                    <a:lnTo>
                      <a:pt x="1135" y="0"/>
                    </a:lnTo>
                    <a:lnTo>
                      <a:pt x="567" y="0"/>
                    </a:lnTo>
                    <a:lnTo>
                      <a:pt x="495" y="0"/>
                    </a:lnTo>
                    <a:lnTo>
                      <a:pt x="484" y="22"/>
                    </a:lnTo>
                    <a:lnTo>
                      <a:pt x="470" y="43"/>
                    </a:lnTo>
                    <a:lnTo>
                      <a:pt x="455" y="62"/>
                    </a:lnTo>
                    <a:lnTo>
                      <a:pt x="436" y="80"/>
                    </a:lnTo>
                    <a:lnTo>
                      <a:pt x="416" y="95"/>
                    </a:lnTo>
                    <a:lnTo>
                      <a:pt x="394" y="108"/>
                    </a:lnTo>
                    <a:lnTo>
                      <a:pt x="371" y="119"/>
                    </a:lnTo>
                    <a:lnTo>
                      <a:pt x="346" y="128"/>
                    </a:lnTo>
                    <a:lnTo>
                      <a:pt x="320" y="134"/>
                    </a:lnTo>
                    <a:lnTo>
                      <a:pt x="295" y="137"/>
                    </a:lnTo>
                    <a:lnTo>
                      <a:pt x="268" y="138"/>
                    </a:lnTo>
                    <a:lnTo>
                      <a:pt x="238" y="140"/>
                    </a:lnTo>
                    <a:lnTo>
                      <a:pt x="210" y="139"/>
                    </a:lnTo>
                    <a:lnTo>
                      <a:pt x="181" y="136"/>
                    </a:lnTo>
                    <a:lnTo>
                      <a:pt x="154" y="129"/>
                    </a:lnTo>
                    <a:lnTo>
                      <a:pt x="126" y="119"/>
                    </a:lnTo>
                    <a:lnTo>
                      <a:pt x="101" y="108"/>
                    </a:lnTo>
                    <a:lnTo>
                      <a:pt x="76" y="94"/>
                    </a:lnTo>
                    <a:lnTo>
                      <a:pt x="54" y="77"/>
                    </a:lnTo>
                    <a:lnTo>
                      <a:pt x="34" y="60"/>
                    </a:lnTo>
                    <a:lnTo>
                      <a:pt x="16" y="39"/>
                    </a:lnTo>
                    <a:lnTo>
                      <a:pt x="0" y="17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r>
                  <a:rPr lang="ca-ES" sz="1187">
                    <a:solidFill>
                      <a:schemeClr val="bg1"/>
                    </a:solidFill>
                  </a:rPr>
                  <a:t>Texto</a:t>
                </a:r>
                <a:endParaRPr lang="ca-ES" sz="118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8" name="Freeform 7"/>
              <p:cNvSpPr>
                <a:spLocks/>
              </p:cNvSpPr>
              <p:nvPr/>
            </p:nvSpPr>
            <p:spPr bwMode="blackWhite">
              <a:xfrm>
                <a:off x="2803" y="918"/>
                <a:ext cx="768" cy="1704"/>
              </a:xfrm>
              <a:custGeom>
                <a:avLst/>
                <a:gdLst>
                  <a:gd name="T0" fmla="*/ 56 w 496"/>
                  <a:gd name="T1" fmla="*/ 1134 h 1137"/>
                  <a:gd name="T2" fmla="*/ 126 w 496"/>
                  <a:gd name="T3" fmla="*/ 1119 h 1137"/>
                  <a:gd name="T4" fmla="*/ 193 w 496"/>
                  <a:gd name="T5" fmla="*/ 1093 h 1137"/>
                  <a:gd name="T6" fmla="*/ 256 w 496"/>
                  <a:gd name="T7" fmla="*/ 1055 h 1137"/>
                  <a:gd name="T8" fmla="*/ 315 w 496"/>
                  <a:gd name="T9" fmla="*/ 1008 h 1137"/>
                  <a:gd name="T10" fmla="*/ 366 w 496"/>
                  <a:gd name="T11" fmla="*/ 951 h 1137"/>
                  <a:gd name="T12" fmla="*/ 411 w 496"/>
                  <a:gd name="T13" fmla="*/ 887 h 1137"/>
                  <a:gd name="T14" fmla="*/ 446 w 496"/>
                  <a:gd name="T15" fmla="*/ 816 h 1137"/>
                  <a:gd name="T16" fmla="*/ 472 w 496"/>
                  <a:gd name="T17" fmla="*/ 740 h 1137"/>
                  <a:gd name="T18" fmla="*/ 488 w 496"/>
                  <a:gd name="T19" fmla="*/ 660 h 1137"/>
                  <a:gd name="T20" fmla="*/ 495 w 496"/>
                  <a:gd name="T21" fmla="*/ 578 h 1137"/>
                  <a:gd name="T22" fmla="*/ 491 w 496"/>
                  <a:gd name="T23" fmla="*/ 496 h 1137"/>
                  <a:gd name="T24" fmla="*/ 476 w 496"/>
                  <a:gd name="T25" fmla="*/ 416 h 1137"/>
                  <a:gd name="T26" fmla="*/ 452 w 496"/>
                  <a:gd name="T27" fmla="*/ 339 h 1137"/>
                  <a:gd name="T28" fmla="*/ 418 w 496"/>
                  <a:gd name="T29" fmla="*/ 266 h 1137"/>
                  <a:gd name="T30" fmla="*/ 376 w 496"/>
                  <a:gd name="T31" fmla="*/ 200 h 1137"/>
                  <a:gd name="T32" fmla="*/ 327 w 496"/>
                  <a:gd name="T33" fmla="*/ 142 h 1137"/>
                  <a:gd name="T34" fmla="*/ 270 w 496"/>
                  <a:gd name="T35" fmla="*/ 92 h 1137"/>
                  <a:gd name="T36" fmla="*/ 207 w 496"/>
                  <a:gd name="T37" fmla="*/ 52 h 1137"/>
                  <a:gd name="T38" fmla="*/ 141 w 496"/>
                  <a:gd name="T39" fmla="*/ 24 h 1137"/>
                  <a:gd name="T40" fmla="*/ 71 w 496"/>
                  <a:gd name="T41" fmla="*/ 7 h 1137"/>
                  <a:gd name="T42" fmla="*/ 0 w 496"/>
                  <a:gd name="T43" fmla="*/ 0 h 1137"/>
                  <a:gd name="T44" fmla="*/ 25 w 496"/>
                  <a:gd name="T45" fmla="*/ 612 h 1137"/>
                  <a:gd name="T46" fmla="*/ 70 w 496"/>
                  <a:gd name="T47" fmla="*/ 655 h 1137"/>
                  <a:gd name="T48" fmla="*/ 108 w 496"/>
                  <a:gd name="T49" fmla="*/ 706 h 1137"/>
                  <a:gd name="T50" fmla="*/ 137 w 496"/>
                  <a:gd name="T51" fmla="*/ 765 h 1137"/>
                  <a:gd name="T52" fmla="*/ 156 w 496"/>
                  <a:gd name="T53" fmla="*/ 828 h 1137"/>
                  <a:gd name="T54" fmla="*/ 164 w 496"/>
                  <a:gd name="T55" fmla="*/ 894 h 1137"/>
                  <a:gd name="T56" fmla="*/ 159 w 496"/>
                  <a:gd name="T57" fmla="*/ 949 h 1137"/>
                  <a:gd name="T58" fmla="*/ 144 w 496"/>
                  <a:gd name="T59" fmla="*/ 1002 h 1137"/>
                  <a:gd name="T60" fmla="*/ 119 w 496"/>
                  <a:gd name="T61" fmla="*/ 1050 h 1137"/>
                  <a:gd name="T62" fmla="*/ 84 w 496"/>
                  <a:gd name="T63" fmla="*/ 1091 h 1137"/>
                  <a:gd name="T64" fmla="*/ 43 w 496"/>
                  <a:gd name="T65" fmla="*/ 1124 h 11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496"/>
                  <a:gd name="T100" fmla="*/ 0 h 1137"/>
                  <a:gd name="T101" fmla="*/ 496 w 496"/>
                  <a:gd name="T102" fmla="*/ 1137 h 11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496" h="1137">
                    <a:moveTo>
                      <a:pt x="20" y="1136"/>
                    </a:moveTo>
                    <a:lnTo>
                      <a:pt x="56" y="1134"/>
                    </a:lnTo>
                    <a:lnTo>
                      <a:pt x="91" y="1128"/>
                    </a:lnTo>
                    <a:lnTo>
                      <a:pt x="126" y="1119"/>
                    </a:lnTo>
                    <a:lnTo>
                      <a:pt x="160" y="1107"/>
                    </a:lnTo>
                    <a:lnTo>
                      <a:pt x="193" y="1093"/>
                    </a:lnTo>
                    <a:lnTo>
                      <a:pt x="225" y="1076"/>
                    </a:lnTo>
                    <a:lnTo>
                      <a:pt x="256" y="1055"/>
                    </a:lnTo>
                    <a:lnTo>
                      <a:pt x="287" y="1033"/>
                    </a:lnTo>
                    <a:lnTo>
                      <a:pt x="315" y="1008"/>
                    </a:lnTo>
                    <a:lnTo>
                      <a:pt x="341" y="981"/>
                    </a:lnTo>
                    <a:lnTo>
                      <a:pt x="366" y="951"/>
                    </a:lnTo>
                    <a:lnTo>
                      <a:pt x="390" y="920"/>
                    </a:lnTo>
                    <a:lnTo>
                      <a:pt x="411" y="887"/>
                    </a:lnTo>
                    <a:lnTo>
                      <a:pt x="429" y="852"/>
                    </a:lnTo>
                    <a:lnTo>
                      <a:pt x="446" y="816"/>
                    </a:lnTo>
                    <a:lnTo>
                      <a:pt x="460" y="779"/>
                    </a:lnTo>
                    <a:lnTo>
                      <a:pt x="472" y="740"/>
                    </a:lnTo>
                    <a:lnTo>
                      <a:pt x="481" y="700"/>
                    </a:lnTo>
                    <a:lnTo>
                      <a:pt x="488" y="660"/>
                    </a:lnTo>
                    <a:lnTo>
                      <a:pt x="492" y="619"/>
                    </a:lnTo>
                    <a:lnTo>
                      <a:pt x="495" y="578"/>
                    </a:lnTo>
                    <a:lnTo>
                      <a:pt x="494" y="537"/>
                    </a:lnTo>
                    <a:lnTo>
                      <a:pt x="491" y="496"/>
                    </a:lnTo>
                    <a:lnTo>
                      <a:pt x="485" y="456"/>
                    </a:lnTo>
                    <a:lnTo>
                      <a:pt x="476" y="416"/>
                    </a:lnTo>
                    <a:lnTo>
                      <a:pt x="465" y="377"/>
                    </a:lnTo>
                    <a:lnTo>
                      <a:pt x="452" y="339"/>
                    </a:lnTo>
                    <a:lnTo>
                      <a:pt x="436" y="302"/>
                    </a:lnTo>
                    <a:lnTo>
                      <a:pt x="418" y="266"/>
                    </a:lnTo>
                    <a:lnTo>
                      <a:pt x="399" y="232"/>
                    </a:lnTo>
                    <a:lnTo>
                      <a:pt x="376" y="200"/>
                    </a:lnTo>
                    <a:lnTo>
                      <a:pt x="352" y="170"/>
                    </a:lnTo>
                    <a:lnTo>
                      <a:pt x="327" y="142"/>
                    </a:lnTo>
                    <a:lnTo>
                      <a:pt x="299" y="115"/>
                    </a:lnTo>
                    <a:lnTo>
                      <a:pt x="270" y="92"/>
                    </a:lnTo>
                    <a:lnTo>
                      <a:pt x="239" y="71"/>
                    </a:lnTo>
                    <a:lnTo>
                      <a:pt x="207" y="52"/>
                    </a:lnTo>
                    <a:lnTo>
                      <a:pt x="175" y="37"/>
                    </a:lnTo>
                    <a:lnTo>
                      <a:pt x="141" y="24"/>
                    </a:lnTo>
                    <a:lnTo>
                      <a:pt x="106" y="14"/>
                    </a:lnTo>
                    <a:lnTo>
                      <a:pt x="71" y="7"/>
                    </a:lnTo>
                    <a:lnTo>
                      <a:pt x="36" y="2"/>
                    </a:lnTo>
                    <a:lnTo>
                      <a:pt x="0" y="0"/>
                    </a:lnTo>
                    <a:lnTo>
                      <a:pt x="0" y="594"/>
                    </a:lnTo>
                    <a:lnTo>
                      <a:pt x="25" y="612"/>
                    </a:lnTo>
                    <a:lnTo>
                      <a:pt x="49" y="632"/>
                    </a:lnTo>
                    <a:lnTo>
                      <a:pt x="70" y="655"/>
                    </a:lnTo>
                    <a:lnTo>
                      <a:pt x="91" y="680"/>
                    </a:lnTo>
                    <a:lnTo>
                      <a:pt x="108" y="706"/>
                    </a:lnTo>
                    <a:lnTo>
                      <a:pt x="124" y="735"/>
                    </a:lnTo>
                    <a:lnTo>
                      <a:pt x="137" y="765"/>
                    </a:lnTo>
                    <a:lnTo>
                      <a:pt x="148" y="796"/>
                    </a:lnTo>
                    <a:lnTo>
                      <a:pt x="156" y="828"/>
                    </a:lnTo>
                    <a:lnTo>
                      <a:pt x="161" y="860"/>
                    </a:lnTo>
                    <a:lnTo>
                      <a:pt x="164" y="894"/>
                    </a:lnTo>
                    <a:lnTo>
                      <a:pt x="164" y="921"/>
                    </a:lnTo>
                    <a:lnTo>
                      <a:pt x="159" y="949"/>
                    </a:lnTo>
                    <a:lnTo>
                      <a:pt x="153" y="976"/>
                    </a:lnTo>
                    <a:lnTo>
                      <a:pt x="144" y="1002"/>
                    </a:lnTo>
                    <a:lnTo>
                      <a:pt x="132" y="1027"/>
                    </a:lnTo>
                    <a:lnTo>
                      <a:pt x="119" y="1050"/>
                    </a:lnTo>
                    <a:lnTo>
                      <a:pt x="102" y="1072"/>
                    </a:lnTo>
                    <a:lnTo>
                      <a:pt x="84" y="1091"/>
                    </a:lnTo>
                    <a:lnTo>
                      <a:pt x="65" y="1109"/>
                    </a:lnTo>
                    <a:lnTo>
                      <a:pt x="43" y="1124"/>
                    </a:lnTo>
                    <a:lnTo>
                      <a:pt x="20" y="1136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anchor="ctr"/>
              <a:lstStyle/>
              <a:p>
                <a:pPr algn="ctr"/>
                <a:r>
                  <a:rPr lang="ca-ES" sz="1187">
                    <a:solidFill>
                      <a:schemeClr val="bg1"/>
                    </a:solidFill>
                  </a:rPr>
                  <a:t>Texto</a:t>
                </a:r>
                <a:endParaRPr lang="ca-ES" sz="1187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4" name="Oval 8"/>
            <p:cNvSpPr>
              <a:spLocks noChangeArrowheads="1"/>
            </p:cNvSpPr>
            <p:nvPr/>
          </p:nvSpPr>
          <p:spPr bwMode="blackWhite">
            <a:xfrm>
              <a:off x="4062503" y="2990852"/>
              <a:ext cx="873125" cy="846138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r>
                <a:rPr lang="es-ES" altLang="zh-CN" sz="1187">
                  <a:solidFill>
                    <a:schemeClr val="bg1"/>
                  </a:solidFill>
                  <a:ea typeface="宋体" pitchFamily="2" charset="-122"/>
                </a:rPr>
                <a:t>Texto</a:t>
              </a:r>
              <a:endParaRPr lang="zh-CN" altLang="en-US" sz="1187" dirty="0">
                <a:solidFill>
                  <a:schemeClr val="bg1"/>
                </a:solidFill>
                <a:ea typeface="宋体" pitchFamily="2" charset="-122"/>
              </a:endParaRPr>
            </a:p>
          </p:txBody>
        </p:sp>
      </p:grpSp>
      <p:sp>
        <p:nvSpPr>
          <p:cNvPr id="67" name="Título 6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8" name="Espaço Reservado para Texto 6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479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799" name="Rectangle 79"/>
          <p:cNvSpPr>
            <a:spLocks noChangeArrowheads="1"/>
          </p:cNvSpPr>
          <p:nvPr/>
        </p:nvSpPr>
        <p:spPr bwMode="auto">
          <a:xfrm>
            <a:off x="1113730" y="6010723"/>
            <a:ext cx="735063" cy="6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1009187">
              <a:spcBef>
                <a:spcPts val="216"/>
              </a:spcBef>
            </a:pPr>
            <a:r>
              <a:rPr lang="pt-BR" altLang="zh-CN" sz="1187" dirty="0">
                <a:ea typeface="宋体" pitchFamily="2" charset="-122"/>
              </a:rPr>
              <a:t>High</a:t>
            </a:r>
          </a:p>
          <a:p>
            <a:pPr defTabSz="1009187">
              <a:spcBef>
                <a:spcPts val="216"/>
              </a:spcBef>
            </a:pPr>
            <a:r>
              <a:rPr lang="pt-BR" altLang="zh-CN" sz="1187" dirty="0" err="1">
                <a:ea typeface="宋体" pitchFamily="2" charset="-122"/>
              </a:rPr>
              <a:t>Medium</a:t>
            </a:r>
            <a:endParaRPr lang="pt-BR" altLang="zh-CN" sz="1187" dirty="0">
              <a:ea typeface="宋体" pitchFamily="2" charset="-122"/>
            </a:endParaRPr>
          </a:p>
          <a:p>
            <a:pPr defTabSz="1009187">
              <a:spcBef>
                <a:spcPts val="216"/>
              </a:spcBef>
            </a:pPr>
            <a:r>
              <a:rPr lang="pt-BR" altLang="zh-CN" sz="1187" dirty="0" err="1">
                <a:ea typeface="宋体" pitchFamily="2" charset="-122"/>
              </a:rPr>
              <a:t>Low</a:t>
            </a:r>
            <a:endParaRPr lang="pt-BR" altLang="zh-CN" sz="1187" dirty="0">
              <a:ea typeface="宋体" pitchFamily="2" charset="-122"/>
            </a:endParaRPr>
          </a:p>
        </p:txBody>
      </p:sp>
      <p:grpSp>
        <p:nvGrpSpPr>
          <p:cNvPr id="22" name="Group 168"/>
          <p:cNvGrpSpPr>
            <a:grpSpLocks/>
          </p:cNvGrpSpPr>
          <p:nvPr/>
        </p:nvGrpSpPr>
        <p:grpSpPr bwMode="auto">
          <a:xfrm>
            <a:off x="837868" y="6058701"/>
            <a:ext cx="198758" cy="603128"/>
            <a:chOff x="489" y="3297"/>
            <a:chExt cx="181" cy="550"/>
          </a:xfrm>
        </p:grpSpPr>
        <p:grpSp>
          <p:nvGrpSpPr>
            <p:cNvPr id="23" name="Group 80"/>
            <p:cNvGrpSpPr>
              <a:grpSpLocks noChangeAspect="1"/>
            </p:cNvGrpSpPr>
            <p:nvPr>
              <p:custDataLst>
                <p:tags r:id="rId138"/>
              </p:custDataLst>
            </p:nvPr>
          </p:nvGrpSpPr>
          <p:grpSpPr bwMode="auto">
            <a:xfrm>
              <a:off x="489" y="3297"/>
              <a:ext cx="181" cy="168"/>
              <a:chOff x="575" y="1110"/>
              <a:chExt cx="261" cy="261"/>
            </a:xfrm>
          </p:grpSpPr>
          <p:sp>
            <p:nvSpPr>
              <p:cNvPr id="926801" name="Oval 81"/>
              <p:cNvSpPr>
                <a:spLocks noChangeAspect="1" noChangeArrowheads="1"/>
              </p:cNvSpPr>
              <p:nvPr>
                <p:custDataLst>
                  <p:tags r:id="rId145"/>
                </p:custDataLst>
              </p:nvPr>
            </p:nvSpPr>
            <p:spPr bwMode="blackWhite">
              <a:xfrm>
                <a:off x="575" y="1110"/>
                <a:ext cx="260" cy="260"/>
              </a:xfrm>
              <a:prstGeom prst="ellipse">
                <a:avLst/>
              </a:prstGeom>
              <a:solidFill>
                <a:schemeClr val="accent4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02" name="Arc 82" hidden="1"/>
              <p:cNvSpPr>
                <a:spLocks noChangeAspect="1"/>
              </p:cNvSpPr>
              <p:nvPr>
                <p:custDataLst>
                  <p:tags r:id="rId146"/>
                </p:custDataLst>
              </p:nvPr>
            </p:nvSpPr>
            <p:spPr bwMode="black">
              <a:xfrm>
                <a:off x="576" y="1111"/>
                <a:ext cx="260" cy="2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  <p:grpSp>
          <p:nvGrpSpPr>
            <p:cNvPr id="24" name="Group 83"/>
            <p:cNvGrpSpPr>
              <a:grpSpLocks noChangeAspect="1"/>
            </p:cNvGrpSpPr>
            <p:nvPr>
              <p:custDataLst>
                <p:tags r:id="rId139"/>
              </p:custDataLst>
            </p:nvPr>
          </p:nvGrpSpPr>
          <p:grpSpPr bwMode="auto">
            <a:xfrm>
              <a:off x="489" y="3487"/>
              <a:ext cx="180" cy="167"/>
              <a:chOff x="575" y="1820"/>
              <a:chExt cx="260" cy="261"/>
            </a:xfrm>
          </p:grpSpPr>
          <p:sp>
            <p:nvSpPr>
              <p:cNvPr id="926804" name="Oval 84"/>
              <p:cNvSpPr>
                <a:spLocks noChangeAspect="1" noChangeArrowheads="1"/>
              </p:cNvSpPr>
              <p:nvPr>
                <p:custDataLst>
                  <p:tags r:id="rId143"/>
                </p:custDataLst>
              </p:nvPr>
            </p:nvSpPr>
            <p:spPr bwMode="blackWhite">
              <a:xfrm>
                <a:off x="575" y="1820"/>
                <a:ext cx="260" cy="26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05" name="Arc 85"/>
              <p:cNvSpPr>
                <a:spLocks noChangeAspect="1"/>
              </p:cNvSpPr>
              <p:nvPr>
                <p:custDataLst>
                  <p:tags r:id="rId144"/>
                </p:custDataLst>
              </p:nvPr>
            </p:nvSpPr>
            <p:spPr bwMode="black">
              <a:xfrm>
                <a:off x="705" y="1821"/>
                <a:ext cx="130" cy="2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accent4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  <p:grpSp>
          <p:nvGrpSpPr>
            <p:cNvPr id="25" name="Group 86"/>
            <p:cNvGrpSpPr>
              <a:grpSpLocks noChangeAspect="1"/>
            </p:cNvGrpSpPr>
            <p:nvPr>
              <p:custDataLst>
                <p:tags r:id="rId140"/>
              </p:custDataLst>
            </p:nvPr>
          </p:nvGrpSpPr>
          <p:grpSpPr bwMode="auto">
            <a:xfrm>
              <a:off x="489" y="3680"/>
              <a:ext cx="180" cy="167"/>
              <a:chOff x="575" y="2530"/>
              <a:chExt cx="260" cy="260"/>
            </a:xfrm>
          </p:grpSpPr>
          <p:sp>
            <p:nvSpPr>
              <p:cNvPr id="926807" name="Oval 87"/>
              <p:cNvSpPr>
                <a:spLocks noChangeAspect="1" noChangeArrowheads="1"/>
              </p:cNvSpPr>
              <p:nvPr>
                <p:custDataLst>
                  <p:tags r:id="rId141"/>
                </p:custDataLst>
              </p:nvPr>
            </p:nvSpPr>
            <p:spPr bwMode="blackWhite">
              <a:xfrm>
                <a:off x="575" y="2530"/>
                <a:ext cx="260" cy="2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08" name="Oval 88"/>
              <p:cNvSpPr>
                <a:spLocks noChangeAspect="1" noChangeArrowheads="1"/>
              </p:cNvSpPr>
              <p:nvPr>
                <p:custDataLst>
                  <p:tags r:id="rId142"/>
                </p:custDataLst>
              </p:nvPr>
            </p:nvSpPr>
            <p:spPr bwMode="black">
              <a:xfrm>
                <a:off x="575" y="2530"/>
                <a:ext cx="260" cy="26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4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</p:grpSp>
      <p:grpSp>
        <p:nvGrpSpPr>
          <p:cNvPr id="27" name="Group 104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71815" y="2277158"/>
            <a:ext cx="466269" cy="466269"/>
            <a:chOff x="575" y="1110"/>
            <a:chExt cx="261" cy="261"/>
          </a:xfrm>
        </p:grpSpPr>
        <p:sp>
          <p:nvSpPr>
            <p:cNvPr id="926825" name="Oval 105"/>
            <p:cNvSpPr>
              <a:spLocks noChangeAspect="1" noChangeArrowheads="1"/>
            </p:cNvSpPr>
            <p:nvPr>
              <p:custDataLst>
                <p:tags r:id="rId136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26" name="Arc 106" hidden="1"/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8" name="Group 107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71815" y="2897737"/>
            <a:ext cx="466269" cy="466269"/>
            <a:chOff x="1694" y="2044"/>
            <a:chExt cx="160" cy="160"/>
          </a:xfrm>
        </p:grpSpPr>
        <p:sp>
          <p:nvSpPr>
            <p:cNvPr id="926828" name="Oval 108"/>
            <p:cNvSpPr>
              <a:spLocks noChangeAspect="1" noChangeArrowheads="1"/>
            </p:cNvSpPr>
            <p:nvPr>
              <p:custDataLst>
                <p:tags r:id="rId134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29" name="Arc 109"/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9" name="Group 11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71810" y="3518315"/>
            <a:ext cx="466269" cy="466269"/>
            <a:chOff x="575" y="1820"/>
            <a:chExt cx="260" cy="261"/>
          </a:xfrm>
        </p:grpSpPr>
        <p:sp>
          <p:nvSpPr>
            <p:cNvPr id="926831" name="Oval 111"/>
            <p:cNvSpPr>
              <a:spLocks noChangeAspect="1" noChangeArrowheads="1"/>
            </p:cNvSpPr>
            <p:nvPr>
              <p:custDataLst>
                <p:tags r:id="rId132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32" name="Arc 112"/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30" name="Group 113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371815" y="4138894"/>
            <a:ext cx="466269" cy="466269"/>
            <a:chOff x="575" y="2175"/>
            <a:chExt cx="261" cy="261"/>
          </a:xfrm>
        </p:grpSpPr>
        <p:sp>
          <p:nvSpPr>
            <p:cNvPr id="926834" name="Oval 114"/>
            <p:cNvSpPr>
              <a:spLocks noChangeAspect="1" noChangeArrowheads="1"/>
            </p:cNvSpPr>
            <p:nvPr>
              <p:custDataLst>
                <p:tags r:id="rId130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35" name="Arc 115"/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31" name="Group 116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371815" y="4759472"/>
            <a:ext cx="466269" cy="466269"/>
            <a:chOff x="575" y="2530"/>
            <a:chExt cx="260" cy="260"/>
          </a:xfrm>
        </p:grpSpPr>
        <p:sp>
          <p:nvSpPr>
            <p:cNvPr id="926837" name="Oval 117"/>
            <p:cNvSpPr>
              <a:spLocks noChangeAspect="1" noChangeArrowheads="1"/>
            </p:cNvSpPr>
            <p:nvPr>
              <p:custDataLst>
                <p:tags r:id="rId128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38" name="Oval 118"/>
            <p:cNvSpPr>
              <a:spLocks noChangeAspect="1" noChangeArrowheads="1"/>
            </p:cNvSpPr>
            <p:nvPr>
              <p:custDataLst>
                <p:tags r:id="rId129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16" name="Group 120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1140154" y="2306286"/>
            <a:ext cx="388558" cy="388558"/>
            <a:chOff x="575" y="1110"/>
            <a:chExt cx="261" cy="261"/>
          </a:xfrm>
        </p:grpSpPr>
        <p:sp>
          <p:nvSpPr>
            <p:cNvPr id="926841" name="Oval 121"/>
            <p:cNvSpPr>
              <a:spLocks noChangeAspect="1" noChangeArrowheads="1"/>
            </p:cNvSpPr>
            <p:nvPr>
              <p:custDataLst>
                <p:tags r:id="rId126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42" name="Arc 122" hidden="1"/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19" name="Group 123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1140154" y="2857231"/>
            <a:ext cx="388558" cy="388558"/>
            <a:chOff x="1694" y="2044"/>
            <a:chExt cx="160" cy="160"/>
          </a:xfrm>
        </p:grpSpPr>
        <p:sp>
          <p:nvSpPr>
            <p:cNvPr id="926844" name="Oval 124"/>
            <p:cNvSpPr>
              <a:spLocks noChangeAspect="1" noChangeArrowheads="1"/>
            </p:cNvSpPr>
            <p:nvPr>
              <p:custDataLst>
                <p:tags r:id="rId124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45" name="Arc 125"/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22" name="Group 126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1140154" y="3409926"/>
            <a:ext cx="388558" cy="388558"/>
            <a:chOff x="575" y="1820"/>
            <a:chExt cx="260" cy="261"/>
          </a:xfrm>
        </p:grpSpPr>
        <p:sp>
          <p:nvSpPr>
            <p:cNvPr id="926847" name="Oval 127"/>
            <p:cNvSpPr>
              <a:spLocks noChangeAspect="1" noChangeArrowheads="1"/>
            </p:cNvSpPr>
            <p:nvPr>
              <p:custDataLst>
                <p:tags r:id="rId122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48" name="Arc 128"/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25" name="Group 129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1140154" y="3960870"/>
            <a:ext cx="388558" cy="388558"/>
            <a:chOff x="575" y="2175"/>
            <a:chExt cx="261" cy="261"/>
          </a:xfrm>
        </p:grpSpPr>
        <p:sp>
          <p:nvSpPr>
            <p:cNvPr id="926850" name="Oval 130"/>
            <p:cNvSpPr>
              <a:spLocks noChangeAspect="1" noChangeArrowheads="1"/>
            </p:cNvSpPr>
            <p:nvPr>
              <p:custDataLst>
                <p:tags r:id="rId120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51" name="Arc 131"/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26" name="Group 13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1140154" y="4511816"/>
            <a:ext cx="388558" cy="388558"/>
            <a:chOff x="575" y="2530"/>
            <a:chExt cx="260" cy="260"/>
          </a:xfrm>
        </p:grpSpPr>
        <p:sp>
          <p:nvSpPr>
            <p:cNvPr id="926853" name="Oval 133"/>
            <p:cNvSpPr>
              <a:spLocks noChangeAspect="1" noChangeArrowheads="1"/>
            </p:cNvSpPr>
            <p:nvPr>
              <p:custDataLst>
                <p:tags r:id="rId118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54" name="Oval 134"/>
            <p:cNvSpPr>
              <a:spLocks noChangeAspect="1" noChangeArrowheads="1"/>
            </p:cNvSpPr>
            <p:nvPr>
              <p:custDataLst>
                <p:tags r:id="rId119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28" name="Group 136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1911359" y="2337127"/>
            <a:ext cx="310846" cy="310846"/>
            <a:chOff x="575" y="1110"/>
            <a:chExt cx="261" cy="261"/>
          </a:xfrm>
        </p:grpSpPr>
        <p:sp>
          <p:nvSpPr>
            <p:cNvPr id="926857" name="Oval 137"/>
            <p:cNvSpPr>
              <a:spLocks noChangeAspect="1" noChangeArrowheads="1"/>
            </p:cNvSpPr>
            <p:nvPr>
              <p:custDataLst>
                <p:tags r:id="rId116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58" name="Arc 138" hidden="1"/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29" name="Group 139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1911359" y="2803669"/>
            <a:ext cx="310846" cy="310846"/>
            <a:chOff x="1694" y="2044"/>
            <a:chExt cx="160" cy="160"/>
          </a:xfrm>
        </p:grpSpPr>
        <p:sp>
          <p:nvSpPr>
            <p:cNvPr id="926860" name="Oval 140"/>
            <p:cNvSpPr>
              <a:spLocks noChangeAspect="1" noChangeArrowheads="1"/>
            </p:cNvSpPr>
            <p:nvPr>
              <p:custDataLst>
                <p:tags r:id="rId114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61" name="Arc 141"/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0" name="Group 142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1911358" y="3270209"/>
            <a:ext cx="310846" cy="310846"/>
            <a:chOff x="575" y="1820"/>
            <a:chExt cx="260" cy="261"/>
          </a:xfrm>
        </p:grpSpPr>
        <p:sp>
          <p:nvSpPr>
            <p:cNvPr id="926863" name="Oval 143"/>
            <p:cNvSpPr>
              <a:spLocks noChangeAspect="1" noChangeArrowheads="1"/>
            </p:cNvSpPr>
            <p:nvPr>
              <p:custDataLst>
                <p:tags r:id="rId112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64" name="Arc 144"/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1" name="Group 145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auto">
          <a:xfrm>
            <a:off x="1911359" y="3736751"/>
            <a:ext cx="310846" cy="310846"/>
            <a:chOff x="575" y="2175"/>
            <a:chExt cx="261" cy="261"/>
          </a:xfrm>
        </p:grpSpPr>
        <p:sp>
          <p:nvSpPr>
            <p:cNvPr id="926866" name="Oval 146"/>
            <p:cNvSpPr>
              <a:spLocks noChangeAspect="1" noChangeArrowheads="1"/>
            </p:cNvSpPr>
            <p:nvPr>
              <p:custDataLst>
                <p:tags r:id="rId110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67" name="Arc 147"/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2" name="Group 148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1911359" y="4203295"/>
            <a:ext cx="310846" cy="310846"/>
            <a:chOff x="575" y="2530"/>
            <a:chExt cx="260" cy="260"/>
          </a:xfrm>
        </p:grpSpPr>
        <p:sp>
          <p:nvSpPr>
            <p:cNvPr id="926869" name="Oval 149"/>
            <p:cNvSpPr>
              <a:spLocks noChangeAspect="1" noChangeArrowheads="1"/>
            </p:cNvSpPr>
            <p:nvPr>
              <p:custDataLst>
                <p:tags r:id="rId108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70" name="Oval 150"/>
            <p:cNvSpPr>
              <a:spLocks noChangeAspect="1" noChangeArrowheads="1"/>
            </p:cNvSpPr>
            <p:nvPr>
              <p:custDataLst>
                <p:tags r:id="rId109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4" name="Group 152"/>
          <p:cNvGrpSpPr>
            <a:grpSpLocks noChangeAspect="1"/>
          </p:cNvGrpSpPr>
          <p:nvPr>
            <p:custDataLst>
              <p:tags r:id="rId16"/>
            </p:custDataLst>
          </p:nvPr>
        </p:nvGrpSpPr>
        <p:grpSpPr bwMode="auto">
          <a:xfrm>
            <a:off x="2616837" y="2366255"/>
            <a:ext cx="233135" cy="233135"/>
            <a:chOff x="575" y="1110"/>
            <a:chExt cx="261" cy="261"/>
          </a:xfrm>
        </p:grpSpPr>
        <p:sp>
          <p:nvSpPr>
            <p:cNvPr id="926873" name="Oval 153"/>
            <p:cNvSpPr>
              <a:spLocks noChangeAspect="1" noChangeArrowheads="1"/>
            </p:cNvSpPr>
            <p:nvPr>
              <p:custDataLst>
                <p:tags r:id="rId106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74" name="Arc 154" hidden="1"/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5" name="Group 155"/>
          <p:cNvGrpSpPr>
            <a:grpSpLocks noChangeAspect="1"/>
          </p:cNvGrpSpPr>
          <p:nvPr>
            <p:custDataLst>
              <p:tags r:id="rId17"/>
            </p:custDataLst>
          </p:nvPr>
        </p:nvGrpSpPr>
        <p:grpSpPr bwMode="auto">
          <a:xfrm>
            <a:off x="2616837" y="2758037"/>
            <a:ext cx="233135" cy="233135"/>
            <a:chOff x="1694" y="2044"/>
            <a:chExt cx="160" cy="160"/>
          </a:xfrm>
        </p:grpSpPr>
        <p:sp>
          <p:nvSpPr>
            <p:cNvPr id="926876" name="Oval 156"/>
            <p:cNvSpPr>
              <a:spLocks noChangeAspect="1" noChangeArrowheads="1"/>
            </p:cNvSpPr>
            <p:nvPr>
              <p:custDataLst>
                <p:tags r:id="rId104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77" name="Arc 157"/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6" name="Group 158"/>
          <p:cNvGrpSpPr>
            <a:grpSpLocks noChangeAspect="1"/>
          </p:cNvGrpSpPr>
          <p:nvPr>
            <p:custDataLst>
              <p:tags r:id="rId18"/>
            </p:custDataLst>
          </p:nvPr>
        </p:nvGrpSpPr>
        <p:grpSpPr bwMode="auto">
          <a:xfrm>
            <a:off x="2616837" y="3149819"/>
            <a:ext cx="233135" cy="233135"/>
            <a:chOff x="575" y="1820"/>
            <a:chExt cx="260" cy="261"/>
          </a:xfrm>
        </p:grpSpPr>
        <p:sp>
          <p:nvSpPr>
            <p:cNvPr id="926879" name="Oval 159"/>
            <p:cNvSpPr>
              <a:spLocks noChangeAspect="1" noChangeArrowheads="1"/>
            </p:cNvSpPr>
            <p:nvPr>
              <p:custDataLst>
                <p:tags r:id="rId102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80" name="Arc 160"/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7" name="Group 161"/>
          <p:cNvGrpSpPr>
            <a:grpSpLocks noChangeAspect="1"/>
          </p:cNvGrpSpPr>
          <p:nvPr>
            <p:custDataLst>
              <p:tags r:id="rId19"/>
            </p:custDataLst>
          </p:nvPr>
        </p:nvGrpSpPr>
        <p:grpSpPr bwMode="auto">
          <a:xfrm>
            <a:off x="2616837" y="3539852"/>
            <a:ext cx="233135" cy="233135"/>
            <a:chOff x="575" y="2175"/>
            <a:chExt cx="261" cy="261"/>
          </a:xfrm>
        </p:grpSpPr>
        <p:sp>
          <p:nvSpPr>
            <p:cNvPr id="926882" name="Oval 162"/>
            <p:cNvSpPr>
              <a:spLocks noChangeAspect="1" noChangeArrowheads="1"/>
            </p:cNvSpPr>
            <p:nvPr>
              <p:custDataLst>
                <p:tags r:id="rId100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83" name="Arc 163"/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8" name="Group 164"/>
          <p:cNvGrpSpPr>
            <a:grpSpLocks noChangeAspect="1"/>
          </p:cNvGrpSpPr>
          <p:nvPr>
            <p:custDataLst>
              <p:tags r:id="rId20"/>
            </p:custDataLst>
          </p:nvPr>
        </p:nvGrpSpPr>
        <p:grpSpPr bwMode="auto">
          <a:xfrm>
            <a:off x="2616837" y="3931633"/>
            <a:ext cx="233135" cy="233135"/>
            <a:chOff x="575" y="2530"/>
            <a:chExt cx="260" cy="260"/>
          </a:xfrm>
        </p:grpSpPr>
        <p:sp>
          <p:nvSpPr>
            <p:cNvPr id="926885" name="Oval 165"/>
            <p:cNvSpPr>
              <a:spLocks noChangeAspect="1" noChangeArrowheads="1"/>
            </p:cNvSpPr>
            <p:nvPr>
              <p:custDataLst>
                <p:tags r:id="rId98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926886" name="Oval 166"/>
            <p:cNvSpPr>
              <a:spLocks noChangeAspect="1" noChangeArrowheads="1"/>
            </p:cNvSpPr>
            <p:nvPr>
              <p:custDataLst>
                <p:tags r:id="rId99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926939" name="Group 169"/>
          <p:cNvGrpSpPr>
            <a:grpSpLocks/>
          </p:cNvGrpSpPr>
          <p:nvPr/>
        </p:nvGrpSpPr>
        <p:grpSpPr bwMode="auto">
          <a:xfrm>
            <a:off x="1839369" y="6058701"/>
            <a:ext cx="198758" cy="603128"/>
            <a:chOff x="489" y="3297"/>
            <a:chExt cx="181" cy="550"/>
          </a:xfrm>
        </p:grpSpPr>
        <p:grpSp>
          <p:nvGrpSpPr>
            <p:cNvPr id="926940" name="Group 170"/>
            <p:cNvGrpSpPr>
              <a:grpSpLocks noChangeAspect="1"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489" y="3297"/>
              <a:ext cx="181" cy="168"/>
              <a:chOff x="575" y="1110"/>
              <a:chExt cx="261" cy="261"/>
            </a:xfrm>
          </p:grpSpPr>
          <p:sp>
            <p:nvSpPr>
              <p:cNvPr id="926891" name="Oval 171"/>
              <p:cNvSpPr>
                <a:spLocks noChangeAspect="1" noChangeArrowheads="1"/>
              </p:cNvSpPr>
              <p:nvPr>
                <p:custDataLst>
                  <p:tags r:id="rId96"/>
                </p:custDataLst>
              </p:nvPr>
            </p:nvSpPr>
            <p:spPr bwMode="blackWhite">
              <a:xfrm>
                <a:off x="575" y="1110"/>
                <a:ext cx="260" cy="260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92" name="Arc 172" hidden="1"/>
              <p:cNvSpPr>
                <a:spLocks noChangeAspect="1"/>
              </p:cNvSpPr>
              <p:nvPr>
                <p:custDataLst>
                  <p:tags r:id="rId97"/>
                </p:custDataLst>
              </p:nvPr>
            </p:nvSpPr>
            <p:spPr bwMode="black">
              <a:xfrm>
                <a:off x="576" y="1111"/>
                <a:ext cx="260" cy="260"/>
              </a:xfrm>
              <a:custGeom>
                <a:avLst/>
                <a:gdLst>
                  <a:gd name="G0" fmla="+- 21600 0 0"/>
                  <a:gd name="G1" fmla="+- 21600 0 0"/>
                  <a:gd name="G2" fmla="+- 21600 0 0"/>
                  <a:gd name="T0" fmla="*/ 21600 w 43200"/>
                  <a:gd name="T1" fmla="*/ 0 h 43200"/>
                  <a:gd name="T2" fmla="*/ 0 w 43200"/>
                  <a:gd name="T3" fmla="*/ 21600 h 43200"/>
                  <a:gd name="T4" fmla="*/ 21600 w 432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folHlink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  <p:grpSp>
          <p:nvGrpSpPr>
            <p:cNvPr id="926941" name="Group 173"/>
            <p:cNvGrpSpPr>
              <a:grpSpLocks noChangeAspect="1"/>
            </p:cNvGrpSpPr>
            <p:nvPr>
              <p:custDataLst>
                <p:tags r:id="rId90"/>
              </p:custDataLst>
            </p:nvPr>
          </p:nvGrpSpPr>
          <p:grpSpPr bwMode="auto">
            <a:xfrm>
              <a:off x="489" y="3487"/>
              <a:ext cx="180" cy="167"/>
              <a:chOff x="575" y="1820"/>
              <a:chExt cx="260" cy="261"/>
            </a:xfrm>
          </p:grpSpPr>
          <p:sp>
            <p:nvSpPr>
              <p:cNvPr id="926894" name="Oval 174"/>
              <p:cNvSpPr>
                <a:spLocks noChangeAspect="1" noChangeArrowheads="1"/>
              </p:cNvSpPr>
              <p:nvPr>
                <p:custDataLst>
                  <p:tags r:id="rId94"/>
                </p:custDataLst>
              </p:nvPr>
            </p:nvSpPr>
            <p:spPr bwMode="blackWhite">
              <a:xfrm>
                <a:off x="575" y="1820"/>
                <a:ext cx="260" cy="260"/>
              </a:xfrm>
              <a:prstGeom prst="ellipse">
                <a:avLst/>
              </a:prstGeom>
              <a:solidFill>
                <a:schemeClr val="tx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95" name="Arc 175"/>
              <p:cNvSpPr>
                <a:spLocks noChangeAspect="1"/>
              </p:cNvSpPr>
              <p:nvPr>
                <p:custDataLst>
                  <p:tags r:id="rId95"/>
                </p:custDataLst>
              </p:nvPr>
            </p:nvSpPr>
            <p:spPr bwMode="black">
              <a:xfrm>
                <a:off x="705" y="1821"/>
                <a:ext cx="130" cy="260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600"/>
                  <a:gd name="T1" fmla="*/ 0 h 43200"/>
                  <a:gd name="T2" fmla="*/ 0 w 21600"/>
                  <a:gd name="T3" fmla="*/ 43200 h 43200"/>
                  <a:gd name="T4" fmla="*/ 0 w 21600"/>
                  <a:gd name="T5" fmla="*/ 21600 h 43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close/>
                  </a:path>
                </a:pathLst>
              </a:cu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  <p:grpSp>
          <p:nvGrpSpPr>
            <p:cNvPr id="926942" name="Group 176"/>
            <p:cNvGrpSpPr>
              <a:grpSpLocks noChangeAspect="1"/>
            </p:cNvGrpSpPr>
            <p:nvPr>
              <p:custDataLst>
                <p:tags r:id="rId91"/>
              </p:custDataLst>
            </p:nvPr>
          </p:nvGrpSpPr>
          <p:grpSpPr bwMode="auto">
            <a:xfrm>
              <a:off x="489" y="3680"/>
              <a:ext cx="180" cy="167"/>
              <a:chOff x="575" y="2530"/>
              <a:chExt cx="260" cy="260"/>
            </a:xfrm>
          </p:grpSpPr>
          <p:sp>
            <p:nvSpPr>
              <p:cNvPr id="926897" name="Oval 177"/>
              <p:cNvSpPr>
                <a:spLocks noChangeAspect="1" noChangeArrowheads="1"/>
              </p:cNvSpPr>
              <p:nvPr>
                <p:custDataLst>
                  <p:tags r:id="rId92"/>
                </p:custDataLst>
              </p:nvPr>
            </p:nvSpPr>
            <p:spPr bwMode="blackWhite">
              <a:xfrm>
                <a:off x="575" y="2530"/>
                <a:ext cx="260" cy="2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  <p:sp>
            <p:nvSpPr>
              <p:cNvPr id="926898" name="Oval 178"/>
              <p:cNvSpPr>
                <a:spLocks noChangeAspect="1" noChangeArrowheads="1"/>
              </p:cNvSpPr>
              <p:nvPr>
                <p:custDataLst>
                  <p:tags r:id="rId93"/>
                </p:custDataLst>
              </p:nvPr>
            </p:nvSpPr>
            <p:spPr bwMode="black">
              <a:xfrm>
                <a:off x="575" y="2530"/>
                <a:ext cx="260" cy="26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lIns="105493" tIns="52747" rIns="105493" bIns="52747" anchor="ctr"/>
              <a:lstStyle/>
              <a:p>
                <a:pPr defTabSz="1055447"/>
                <a:endParaRPr lang="es-ES" altLang="zh-CN" sz="1835">
                  <a:ea typeface="宋体" pitchFamily="2" charset="-122"/>
                </a:endParaRPr>
              </a:p>
            </p:txBody>
          </p:sp>
        </p:grpSp>
      </p:grpSp>
      <p:sp>
        <p:nvSpPr>
          <p:cNvPr id="926899" name="Rectangle 179"/>
          <p:cNvSpPr>
            <a:spLocks noChangeArrowheads="1"/>
          </p:cNvSpPr>
          <p:nvPr/>
        </p:nvSpPr>
        <p:spPr bwMode="auto">
          <a:xfrm>
            <a:off x="2123799" y="6010723"/>
            <a:ext cx="735062" cy="697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defTabSz="1009187">
              <a:spcBef>
                <a:spcPts val="216"/>
              </a:spcBef>
            </a:pPr>
            <a:r>
              <a:rPr lang="pt-BR" altLang="zh-CN" sz="1187" dirty="0">
                <a:ea typeface="宋体" pitchFamily="2" charset="-122"/>
              </a:rPr>
              <a:t>High</a:t>
            </a:r>
          </a:p>
          <a:p>
            <a:pPr defTabSz="1009187">
              <a:spcBef>
                <a:spcPts val="216"/>
              </a:spcBef>
            </a:pPr>
            <a:r>
              <a:rPr lang="pt-BR" altLang="zh-CN" sz="1187" dirty="0" err="1">
                <a:ea typeface="宋体" pitchFamily="2" charset="-122"/>
              </a:rPr>
              <a:t>Medium</a:t>
            </a:r>
            <a:endParaRPr lang="pt-BR" altLang="zh-CN" sz="1187" dirty="0">
              <a:ea typeface="宋体" pitchFamily="2" charset="-122"/>
            </a:endParaRPr>
          </a:p>
          <a:p>
            <a:pPr defTabSz="1009187">
              <a:spcBef>
                <a:spcPts val="216"/>
              </a:spcBef>
            </a:pPr>
            <a:r>
              <a:rPr lang="pt-BR" altLang="zh-CN" sz="1187" dirty="0" err="1">
                <a:ea typeface="宋体" pitchFamily="2" charset="-122"/>
              </a:rPr>
              <a:t>Low</a:t>
            </a:r>
            <a:endParaRPr lang="pt-BR" altLang="zh-CN" sz="1187" dirty="0">
              <a:ea typeface="宋体" pitchFamily="2" charset="-122"/>
            </a:endParaRPr>
          </a:p>
        </p:txBody>
      </p:sp>
      <p:sp>
        <p:nvSpPr>
          <p:cNvPr id="926900" name="Text Box 180"/>
          <p:cNvSpPr txBox="1">
            <a:spLocks noChangeArrowheads="1"/>
          </p:cNvSpPr>
          <p:nvPr/>
        </p:nvSpPr>
        <p:spPr bwMode="auto">
          <a:xfrm>
            <a:off x="3014302" y="6033723"/>
            <a:ext cx="956993" cy="730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22427"/>
            <a:r>
              <a:rPr lang="pt-BR" sz="4749" dirty="0">
                <a:sym typeface="Wingdings" pitchFamily="2" charset="2"/>
              </a:rPr>
              <a:t></a:t>
            </a:r>
            <a:r>
              <a:rPr lang="pt-BR" sz="4749" b="1" dirty="0">
                <a:latin typeface="Wingdings"/>
                <a:ea typeface="Calibri"/>
                <a:cs typeface="Times New Roman"/>
              </a:rPr>
              <a:t>ü</a:t>
            </a:r>
            <a:endParaRPr lang="pt-BR" sz="4749" dirty="0"/>
          </a:p>
        </p:txBody>
      </p:sp>
      <p:sp>
        <p:nvSpPr>
          <p:cNvPr id="926901" name="Text Box 181"/>
          <p:cNvSpPr txBox="1">
            <a:spLocks noChangeArrowheads="1"/>
          </p:cNvSpPr>
          <p:nvPr/>
        </p:nvSpPr>
        <p:spPr bwMode="auto">
          <a:xfrm>
            <a:off x="4724145" y="6033723"/>
            <a:ext cx="386324" cy="730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822427"/>
            <a:r>
              <a:rPr lang="pt-BR" sz="4749" dirty="0">
                <a:sym typeface="Wingdings" pitchFamily="2" charset="2"/>
              </a:rPr>
              <a:t></a:t>
            </a:r>
            <a:endParaRPr lang="pt-BR" sz="4749" dirty="0"/>
          </a:p>
        </p:txBody>
      </p:sp>
      <p:sp>
        <p:nvSpPr>
          <p:cNvPr id="926902" name="Oval 182"/>
          <p:cNvSpPr>
            <a:spLocks noChangeArrowheads="1"/>
          </p:cNvSpPr>
          <p:nvPr/>
        </p:nvSpPr>
        <p:spPr bwMode="auto">
          <a:xfrm>
            <a:off x="371815" y="1666106"/>
            <a:ext cx="246734" cy="24673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926903" name="Oval 183"/>
          <p:cNvSpPr>
            <a:spLocks noChangeArrowheads="1"/>
          </p:cNvSpPr>
          <p:nvPr/>
        </p:nvSpPr>
        <p:spPr bwMode="auto">
          <a:xfrm>
            <a:off x="5704898" y="1667819"/>
            <a:ext cx="246734" cy="246734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grpSp>
        <p:nvGrpSpPr>
          <p:cNvPr id="926943" name="Group 184"/>
          <p:cNvGrpSpPr>
            <a:grpSpLocks/>
          </p:cNvGrpSpPr>
          <p:nvPr/>
        </p:nvGrpSpPr>
        <p:grpSpPr bwMode="auto">
          <a:xfrm>
            <a:off x="1704229" y="1666106"/>
            <a:ext cx="246734" cy="246734"/>
            <a:chOff x="1008" y="2496"/>
            <a:chExt cx="144" cy="144"/>
          </a:xfrm>
        </p:grpSpPr>
        <p:sp>
          <p:nvSpPr>
            <p:cNvPr id="926905" name="Oval 185"/>
            <p:cNvSpPr>
              <a:spLocks noChangeArrowheads="1"/>
            </p:cNvSpPr>
            <p:nvPr/>
          </p:nvSpPr>
          <p:spPr bwMode="auto">
            <a:xfrm>
              <a:off x="100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06" name="Arc 186"/>
            <p:cNvSpPr>
              <a:spLocks/>
            </p:cNvSpPr>
            <p:nvPr/>
          </p:nvSpPr>
          <p:spPr bwMode="auto">
            <a:xfrm>
              <a:off x="1080" y="2496"/>
              <a:ext cx="72" cy="72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0" name="Group 187"/>
          <p:cNvGrpSpPr>
            <a:grpSpLocks/>
          </p:cNvGrpSpPr>
          <p:nvPr/>
        </p:nvGrpSpPr>
        <p:grpSpPr bwMode="auto">
          <a:xfrm>
            <a:off x="2370436" y="1666106"/>
            <a:ext cx="246734" cy="246734"/>
            <a:chOff x="1248" y="2496"/>
            <a:chExt cx="144" cy="144"/>
          </a:xfrm>
        </p:grpSpPr>
        <p:sp>
          <p:nvSpPr>
            <p:cNvPr id="926908" name="Oval 188"/>
            <p:cNvSpPr>
              <a:spLocks noChangeArrowheads="1"/>
            </p:cNvSpPr>
            <p:nvPr/>
          </p:nvSpPr>
          <p:spPr bwMode="auto">
            <a:xfrm>
              <a:off x="124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09" name="Arc 189"/>
            <p:cNvSpPr>
              <a:spLocks/>
            </p:cNvSpPr>
            <p:nvPr/>
          </p:nvSpPr>
          <p:spPr bwMode="auto">
            <a:xfrm>
              <a:off x="1320" y="2496"/>
              <a:ext cx="72" cy="123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36846"/>
                <a:gd name="T2" fmla="*/ 15301 w 21600"/>
                <a:gd name="T3" fmla="*/ 36846 h 36846"/>
                <a:gd name="T4" fmla="*/ 0 w 21600"/>
                <a:gd name="T5" fmla="*/ 21600 h 36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6846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7315"/>
                    <a:pt x="19334" y="32797"/>
                    <a:pt x="15300" y="36845"/>
                  </a:cubicBezTo>
                </a:path>
                <a:path w="21600" h="36846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7315"/>
                    <a:pt x="19334" y="32797"/>
                    <a:pt x="15300" y="36845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1" name="Group 190"/>
          <p:cNvGrpSpPr>
            <a:grpSpLocks/>
          </p:cNvGrpSpPr>
          <p:nvPr/>
        </p:nvGrpSpPr>
        <p:grpSpPr bwMode="auto">
          <a:xfrm>
            <a:off x="3036643" y="1666106"/>
            <a:ext cx="246734" cy="248447"/>
            <a:chOff x="1488" y="2496"/>
            <a:chExt cx="144" cy="145"/>
          </a:xfrm>
        </p:grpSpPr>
        <p:sp>
          <p:nvSpPr>
            <p:cNvPr id="926911" name="Oval 191"/>
            <p:cNvSpPr>
              <a:spLocks noChangeArrowheads="1"/>
            </p:cNvSpPr>
            <p:nvPr/>
          </p:nvSpPr>
          <p:spPr bwMode="auto">
            <a:xfrm>
              <a:off x="148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12" name="Arc 192"/>
            <p:cNvSpPr>
              <a:spLocks/>
            </p:cNvSpPr>
            <p:nvPr/>
          </p:nvSpPr>
          <p:spPr bwMode="auto">
            <a:xfrm>
              <a:off x="1560" y="2497"/>
              <a:ext cx="72" cy="14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2" name="Group 193"/>
          <p:cNvGrpSpPr>
            <a:grpSpLocks/>
          </p:cNvGrpSpPr>
          <p:nvPr/>
        </p:nvGrpSpPr>
        <p:grpSpPr bwMode="auto">
          <a:xfrm>
            <a:off x="3702850" y="1666106"/>
            <a:ext cx="248448" cy="248447"/>
            <a:chOff x="1728" y="2496"/>
            <a:chExt cx="145" cy="145"/>
          </a:xfrm>
        </p:grpSpPr>
        <p:sp>
          <p:nvSpPr>
            <p:cNvPr id="926914" name="Oval 194"/>
            <p:cNvSpPr>
              <a:spLocks noChangeArrowheads="1"/>
            </p:cNvSpPr>
            <p:nvPr/>
          </p:nvSpPr>
          <p:spPr bwMode="auto">
            <a:xfrm>
              <a:off x="172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15" name="Arc 195"/>
            <p:cNvSpPr>
              <a:spLocks/>
            </p:cNvSpPr>
            <p:nvPr/>
          </p:nvSpPr>
          <p:spPr bwMode="auto">
            <a:xfrm>
              <a:off x="1757" y="2497"/>
              <a:ext cx="116" cy="144"/>
            </a:xfrm>
            <a:custGeom>
              <a:avLst/>
              <a:gdLst>
                <a:gd name="G0" fmla="+- 12960 0 0"/>
                <a:gd name="G1" fmla="+- 21600 0 0"/>
                <a:gd name="G2" fmla="+- 21600 0 0"/>
                <a:gd name="T0" fmla="*/ 12960 w 34560"/>
                <a:gd name="T1" fmla="*/ 0 h 43200"/>
                <a:gd name="T2" fmla="*/ 0 w 34560"/>
                <a:gd name="T3" fmla="*/ 38880 h 43200"/>
                <a:gd name="T4" fmla="*/ 12960 w 3456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560" h="43200" fill="none" extrusionOk="0">
                  <a:moveTo>
                    <a:pt x="12959" y="0"/>
                  </a:moveTo>
                  <a:cubicBezTo>
                    <a:pt x="24889" y="0"/>
                    <a:pt x="34560" y="9670"/>
                    <a:pt x="34560" y="21600"/>
                  </a:cubicBezTo>
                  <a:cubicBezTo>
                    <a:pt x="34560" y="33529"/>
                    <a:pt x="24889" y="43200"/>
                    <a:pt x="12960" y="43200"/>
                  </a:cubicBezTo>
                  <a:cubicBezTo>
                    <a:pt x="8286" y="43200"/>
                    <a:pt x="3738" y="41684"/>
                    <a:pt x="0" y="38880"/>
                  </a:cubicBezTo>
                </a:path>
                <a:path w="34560" h="43200" stroke="0" extrusionOk="0">
                  <a:moveTo>
                    <a:pt x="12959" y="0"/>
                  </a:moveTo>
                  <a:cubicBezTo>
                    <a:pt x="24889" y="0"/>
                    <a:pt x="34560" y="9670"/>
                    <a:pt x="34560" y="21600"/>
                  </a:cubicBezTo>
                  <a:cubicBezTo>
                    <a:pt x="34560" y="33529"/>
                    <a:pt x="24889" y="43200"/>
                    <a:pt x="12960" y="43200"/>
                  </a:cubicBezTo>
                  <a:cubicBezTo>
                    <a:pt x="8286" y="43200"/>
                    <a:pt x="3738" y="41684"/>
                    <a:pt x="0" y="38880"/>
                  </a:cubicBezTo>
                  <a:lnTo>
                    <a:pt x="1296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3" name="Group 196"/>
          <p:cNvGrpSpPr>
            <a:grpSpLocks/>
          </p:cNvGrpSpPr>
          <p:nvPr/>
        </p:nvGrpSpPr>
        <p:grpSpPr bwMode="auto">
          <a:xfrm>
            <a:off x="4370771" y="1666106"/>
            <a:ext cx="248447" cy="248447"/>
            <a:chOff x="1968" y="2496"/>
            <a:chExt cx="145" cy="145"/>
          </a:xfrm>
        </p:grpSpPr>
        <p:sp>
          <p:nvSpPr>
            <p:cNvPr id="926917" name="Oval 197"/>
            <p:cNvSpPr>
              <a:spLocks noChangeArrowheads="1"/>
            </p:cNvSpPr>
            <p:nvPr/>
          </p:nvSpPr>
          <p:spPr bwMode="auto">
            <a:xfrm>
              <a:off x="196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18" name="Arc 198"/>
            <p:cNvSpPr>
              <a:spLocks/>
            </p:cNvSpPr>
            <p:nvPr/>
          </p:nvSpPr>
          <p:spPr bwMode="auto">
            <a:xfrm>
              <a:off x="1969" y="2497"/>
              <a:ext cx="144" cy="14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4" name="Group 199"/>
          <p:cNvGrpSpPr>
            <a:grpSpLocks/>
          </p:cNvGrpSpPr>
          <p:nvPr/>
        </p:nvGrpSpPr>
        <p:grpSpPr bwMode="auto">
          <a:xfrm>
            <a:off x="1038022" y="1666106"/>
            <a:ext cx="246734" cy="246734"/>
            <a:chOff x="768" y="2496"/>
            <a:chExt cx="144" cy="144"/>
          </a:xfrm>
        </p:grpSpPr>
        <p:sp>
          <p:nvSpPr>
            <p:cNvPr id="926920" name="Oval 200"/>
            <p:cNvSpPr>
              <a:spLocks noChangeArrowheads="1"/>
            </p:cNvSpPr>
            <p:nvPr/>
          </p:nvSpPr>
          <p:spPr bwMode="auto">
            <a:xfrm>
              <a:off x="768" y="2496"/>
              <a:ext cx="144" cy="14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21" name="Arc 201"/>
            <p:cNvSpPr>
              <a:spLocks/>
            </p:cNvSpPr>
            <p:nvPr/>
          </p:nvSpPr>
          <p:spPr bwMode="auto">
            <a:xfrm>
              <a:off x="840" y="2501"/>
              <a:ext cx="50" cy="72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15225"/>
                <a:gd name="T1" fmla="*/ 0 h 21600"/>
                <a:gd name="T2" fmla="*/ 15225 w 15225"/>
                <a:gd name="T3" fmla="*/ 6278 h 21600"/>
                <a:gd name="T4" fmla="*/ 0 w 15225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225" h="21600" fill="none" extrusionOk="0">
                  <a:moveTo>
                    <a:pt x="-1" y="0"/>
                  </a:moveTo>
                  <a:cubicBezTo>
                    <a:pt x="5704" y="0"/>
                    <a:pt x="11178" y="2256"/>
                    <a:pt x="15224" y="6278"/>
                  </a:cubicBezTo>
                </a:path>
                <a:path w="15225" h="21600" stroke="0" extrusionOk="0">
                  <a:moveTo>
                    <a:pt x="-1" y="0"/>
                  </a:moveTo>
                  <a:cubicBezTo>
                    <a:pt x="5704" y="0"/>
                    <a:pt x="11178" y="2256"/>
                    <a:pt x="15224" y="6278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926727" name="175 Grupo"/>
          <p:cNvGrpSpPr/>
          <p:nvPr/>
        </p:nvGrpSpPr>
        <p:grpSpPr>
          <a:xfrm>
            <a:off x="5038691" y="1667819"/>
            <a:ext cx="246734" cy="246734"/>
            <a:chOff x="5372100" y="1162050"/>
            <a:chExt cx="228600" cy="228600"/>
          </a:xfrm>
        </p:grpSpPr>
        <p:sp>
          <p:nvSpPr>
            <p:cNvPr id="926923" name="Oval 203"/>
            <p:cNvSpPr>
              <a:spLocks noChangeArrowheads="1"/>
            </p:cNvSpPr>
            <p:nvPr/>
          </p:nvSpPr>
          <p:spPr bwMode="auto">
            <a:xfrm>
              <a:off x="5372100" y="1162050"/>
              <a:ext cx="228600" cy="2286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926924" name="Arc 204"/>
            <p:cNvSpPr>
              <a:spLocks/>
            </p:cNvSpPr>
            <p:nvPr/>
          </p:nvSpPr>
          <p:spPr bwMode="auto">
            <a:xfrm>
              <a:off x="5372100" y="1162050"/>
              <a:ext cx="228600" cy="22860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6326 w 43200"/>
                <a:gd name="T3" fmla="*/ 6326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15871"/>
                    <a:pt x="2275" y="10377"/>
                    <a:pt x="6326" y="6326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sp>
        <p:nvSpPr>
          <p:cNvPr id="174" name="173 Forma libre"/>
          <p:cNvSpPr/>
          <p:nvPr/>
        </p:nvSpPr>
        <p:spPr>
          <a:xfrm>
            <a:off x="4231184" y="6184445"/>
            <a:ext cx="370101" cy="321268"/>
          </a:xfrm>
          <a:custGeom>
            <a:avLst/>
            <a:gdLst>
              <a:gd name="connsiteX0" fmla="*/ 0 w 342900"/>
              <a:gd name="connsiteY0" fmla="*/ 185738 h 297656"/>
              <a:gd name="connsiteX1" fmla="*/ 54768 w 342900"/>
              <a:gd name="connsiteY1" fmla="*/ 242888 h 297656"/>
              <a:gd name="connsiteX2" fmla="*/ 78581 w 342900"/>
              <a:gd name="connsiteY2" fmla="*/ 297656 h 297656"/>
              <a:gd name="connsiteX3" fmla="*/ 171450 w 342900"/>
              <a:gd name="connsiteY3" fmla="*/ 152400 h 297656"/>
              <a:gd name="connsiteX4" fmla="*/ 342900 w 342900"/>
              <a:gd name="connsiteY4" fmla="*/ 0 h 29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" h="297656">
                <a:moveTo>
                  <a:pt x="0" y="185738"/>
                </a:moveTo>
                <a:lnTo>
                  <a:pt x="54768" y="242888"/>
                </a:lnTo>
                <a:lnTo>
                  <a:pt x="78581" y="297656"/>
                </a:lnTo>
                <a:lnTo>
                  <a:pt x="171450" y="152400"/>
                </a:lnTo>
                <a:lnTo>
                  <a:pt x="342900" y="0"/>
                </a:lnTo>
              </a:path>
            </a:pathLst>
          </a:custGeom>
          <a:ln w="57150" cap="flat">
            <a:solidFill>
              <a:schemeClr val="accent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159" dirty="0"/>
          </a:p>
        </p:txBody>
      </p:sp>
      <p:sp>
        <p:nvSpPr>
          <p:cNvPr id="175" name="174 Forma libre"/>
          <p:cNvSpPr/>
          <p:nvPr/>
        </p:nvSpPr>
        <p:spPr>
          <a:xfrm>
            <a:off x="3869223" y="6169083"/>
            <a:ext cx="370101" cy="321268"/>
          </a:xfrm>
          <a:custGeom>
            <a:avLst/>
            <a:gdLst>
              <a:gd name="connsiteX0" fmla="*/ 0 w 342900"/>
              <a:gd name="connsiteY0" fmla="*/ 185738 h 297656"/>
              <a:gd name="connsiteX1" fmla="*/ 54768 w 342900"/>
              <a:gd name="connsiteY1" fmla="*/ 242888 h 297656"/>
              <a:gd name="connsiteX2" fmla="*/ 78581 w 342900"/>
              <a:gd name="connsiteY2" fmla="*/ 297656 h 297656"/>
              <a:gd name="connsiteX3" fmla="*/ 171450 w 342900"/>
              <a:gd name="connsiteY3" fmla="*/ 152400 h 297656"/>
              <a:gd name="connsiteX4" fmla="*/ 342900 w 342900"/>
              <a:gd name="connsiteY4" fmla="*/ 0 h 297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900" h="297656">
                <a:moveTo>
                  <a:pt x="0" y="185738"/>
                </a:moveTo>
                <a:lnTo>
                  <a:pt x="54768" y="242888"/>
                </a:lnTo>
                <a:lnTo>
                  <a:pt x="78581" y="297656"/>
                </a:lnTo>
                <a:lnTo>
                  <a:pt x="171450" y="152400"/>
                </a:lnTo>
                <a:lnTo>
                  <a:pt x="342900" y="0"/>
                </a:lnTo>
              </a:path>
            </a:pathLst>
          </a:custGeom>
          <a:ln w="38100" cap="rnd">
            <a:solidFill>
              <a:schemeClr val="accent2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2159" dirty="0"/>
          </a:p>
        </p:txBody>
      </p:sp>
      <p:sp>
        <p:nvSpPr>
          <p:cNvPr id="177" name="176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Quesitos</a:t>
            </a:r>
            <a:endParaRPr lang="pt-BR" dirty="0"/>
          </a:p>
        </p:txBody>
      </p:sp>
      <p:sp>
        <p:nvSpPr>
          <p:cNvPr id="178" name="177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 smtClean="0"/>
          </a:p>
        </p:txBody>
      </p:sp>
      <p:grpSp>
        <p:nvGrpSpPr>
          <p:cNvPr id="179" name="Group 104"/>
          <p:cNvGrpSpPr>
            <a:grpSpLocks noChangeAspect="1"/>
          </p:cNvGrpSpPr>
          <p:nvPr>
            <p:custDataLst>
              <p:tags r:id="rId21"/>
            </p:custDataLst>
          </p:nvPr>
        </p:nvGrpSpPr>
        <p:grpSpPr bwMode="auto">
          <a:xfrm>
            <a:off x="3480622" y="2277158"/>
            <a:ext cx="466269" cy="466269"/>
            <a:chOff x="575" y="1110"/>
            <a:chExt cx="261" cy="261"/>
          </a:xfrm>
        </p:grpSpPr>
        <p:sp>
          <p:nvSpPr>
            <p:cNvPr id="180" name="Oval 105"/>
            <p:cNvSpPr>
              <a:spLocks noChangeAspect="1" noChangeArrowheads="1"/>
            </p:cNvSpPr>
            <p:nvPr>
              <p:custDataLst>
                <p:tags r:id="rId87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81" name="Arc 106" hidden="1"/>
            <p:cNvSpPr>
              <a:spLocks noChangeAspect="1"/>
            </p:cNvSpPr>
            <p:nvPr>
              <p:custDataLst>
                <p:tags r:id="rId88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82" name="Group 107"/>
          <p:cNvGrpSpPr>
            <a:grpSpLocks noChangeAspect="1"/>
          </p:cNvGrpSpPr>
          <p:nvPr>
            <p:custDataLst>
              <p:tags r:id="rId22"/>
            </p:custDataLst>
          </p:nvPr>
        </p:nvGrpSpPr>
        <p:grpSpPr bwMode="auto">
          <a:xfrm>
            <a:off x="3480622" y="2897737"/>
            <a:ext cx="466269" cy="466269"/>
            <a:chOff x="1694" y="2044"/>
            <a:chExt cx="160" cy="160"/>
          </a:xfrm>
        </p:grpSpPr>
        <p:sp>
          <p:nvSpPr>
            <p:cNvPr id="183" name="Oval 108"/>
            <p:cNvSpPr>
              <a:spLocks noChangeAspect="1" noChangeArrowheads="1"/>
            </p:cNvSpPr>
            <p:nvPr>
              <p:custDataLst>
                <p:tags r:id="rId85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84" name="Arc 109"/>
            <p:cNvSpPr>
              <a:spLocks noChangeAspect="1"/>
            </p:cNvSpPr>
            <p:nvPr>
              <p:custDataLst>
                <p:tags r:id="rId86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85" name="Group 110"/>
          <p:cNvGrpSpPr>
            <a:grpSpLocks noChangeAspect="1"/>
          </p:cNvGrpSpPr>
          <p:nvPr>
            <p:custDataLst>
              <p:tags r:id="rId23"/>
            </p:custDataLst>
          </p:nvPr>
        </p:nvGrpSpPr>
        <p:grpSpPr bwMode="auto">
          <a:xfrm>
            <a:off x="3480617" y="3518315"/>
            <a:ext cx="466269" cy="466269"/>
            <a:chOff x="575" y="1820"/>
            <a:chExt cx="260" cy="261"/>
          </a:xfrm>
        </p:grpSpPr>
        <p:sp>
          <p:nvSpPr>
            <p:cNvPr id="186" name="Oval 111"/>
            <p:cNvSpPr>
              <a:spLocks noChangeAspect="1" noChangeArrowheads="1"/>
            </p:cNvSpPr>
            <p:nvPr>
              <p:custDataLst>
                <p:tags r:id="rId83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87" name="Arc 112"/>
            <p:cNvSpPr>
              <a:spLocks noChangeAspect="1"/>
            </p:cNvSpPr>
            <p:nvPr>
              <p:custDataLst>
                <p:tags r:id="rId84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88" name="Group 113"/>
          <p:cNvGrpSpPr>
            <a:grpSpLocks noChangeAspect="1"/>
          </p:cNvGrpSpPr>
          <p:nvPr>
            <p:custDataLst>
              <p:tags r:id="rId24"/>
            </p:custDataLst>
          </p:nvPr>
        </p:nvGrpSpPr>
        <p:grpSpPr bwMode="auto">
          <a:xfrm>
            <a:off x="3480622" y="4138894"/>
            <a:ext cx="466269" cy="466269"/>
            <a:chOff x="575" y="2175"/>
            <a:chExt cx="261" cy="261"/>
          </a:xfrm>
        </p:grpSpPr>
        <p:sp>
          <p:nvSpPr>
            <p:cNvPr id="189" name="Oval 114"/>
            <p:cNvSpPr>
              <a:spLocks noChangeAspect="1" noChangeArrowheads="1"/>
            </p:cNvSpPr>
            <p:nvPr>
              <p:custDataLst>
                <p:tags r:id="rId81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90" name="Arc 115"/>
            <p:cNvSpPr>
              <a:spLocks noChangeAspect="1"/>
            </p:cNvSpPr>
            <p:nvPr>
              <p:custDataLst>
                <p:tags r:id="rId82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91" name="Group 116"/>
          <p:cNvGrpSpPr>
            <a:grpSpLocks noChangeAspect="1"/>
          </p:cNvGrpSpPr>
          <p:nvPr>
            <p:custDataLst>
              <p:tags r:id="rId25"/>
            </p:custDataLst>
          </p:nvPr>
        </p:nvGrpSpPr>
        <p:grpSpPr bwMode="auto">
          <a:xfrm>
            <a:off x="3480622" y="4759472"/>
            <a:ext cx="466269" cy="466269"/>
            <a:chOff x="575" y="2530"/>
            <a:chExt cx="260" cy="260"/>
          </a:xfrm>
          <a:solidFill>
            <a:schemeClr val="accent4"/>
          </a:solidFill>
        </p:grpSpPr>
        <p:sp>
          <p:nvSpPr>
            <p:cNvPr id="192" name="Oval 117"/>
            <p:cNvSpPr>
              <a:spLocks noChangeAspect="1" noChangeArrowheads="1"/>
            </p:cNvSpPr>
            <p:nvPr>
              <p:custDataLst>
                <p:tags r:id="rId79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grpFill/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93" name="Oval 118"/>
            <p:cNvSpPr>
              <a:spLocks noChangeAspect="1" noChangeArrowheads="1"/>
            </p:cNvSpPr>
            <p:nvPr>
              <p:custDataLst>
                <p:tags r:id="rId80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grpFill/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94" name="Group 120"/>
          <p:cNvGrpSpPr>
            <a:grpSpLocks noChangeAspect="1"/>
          </p:cNvGrpSpPr>
          <p:nvPr>
            <p:custDataLst>
              <p:tags r:id="rId26"/>
            </p:custDataLst>
          </p:nvPr>
        </p:nvGrpSpPr>
        <p:grpSpPr bwMode="auto">
          <a:xfrm>
            <a:off x="4248961" y="2306286"/>
            <a:ext cx="388558" cy="388558"/>
            <a:chOff x="575" y="1110"/>
            <a:chExt cx="261" cy="261"/>
          </a:xfrm>
        </p:grpSpPr>
        <p:sp>
          <p:nvSpPr>
            <p:cNvPr id="195" name="Oval 121"/>
            <p:cNvSpPr>
              <a:spLocks noChangeAspect="1" noChangeArrowheads="1"/>
            </p:cNvSpPr>
            <p:nvPr>
              <p:custDataLst>
                <p:tags r:id="rId77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96" name="Arc 122" hidden="1"/>
            <p:cNvSpPr>
              <a:spLocks noChangeAspect="1"/>
            </p:cNvSpPr>
            <p:nvPr>
              <p:custDataLst>
                <p:tags r:id="rId78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197" name="Group 123"/>
          <p:cNvGrpSpPr>
            <a:grpSpLocks noChangeAspect="1"/>
          </p:cNvGrpSpPr>
          <p:nvPr>
            <p:custDataLst>
              <p:tags r:id="rId27"/>
            </p:custDataLst>
          </p:nvPr>
        </p:nvGrpSpPr>
        <p:grpSpPr bwMode="auto">
          <a:xfrm>
            <a:off x="4248961" y="2857231"/>
            <a:ext cx="388558" cy="388558"/>
            <a:chOff x="1694" y="2044"/>
            <a:chExt cx="160" cy="160"/>
          </a:xfrm>
        </p:grpSpPr>
        <p:sp>
          <p:nvSpPr>
            <p:cNvPr id="198" name="Oval 124"/>
            <p:cNvSpPr>
              <a:spLocks noChangeAspect="1" noChangeArrowheads="1"/>
            </p:cNvSpPr>
            <p:nvPr>
              <p:custDataLst>
                <p:tags r:id="rId75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199" name="Arc 125"/>
            <p:cNvSpPr>
              <a:spLocks noChangeAspect="1"/>
            </p:cNvSpPr>
            <p:nvPr>
              <p:custDataLst>
                <p:tags r:id="rId76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00" name="Group 126"/>
          <p:cNvGrpSpPr>
            <a:grpSpLocks noChangeAspect="1"/>
          </p:cNvGrpSpPr>
          <p:nvPr>
            <p:custDataLst>
              <p:tags r:id="rId28"/>
            </p:custDataLst>
          </p:nvPr>
        </p:nvGrpSpPr>
        <p:grpSpPr bwMode="auto">
          <a:xfrm>
            <a:off x="4248961" y="3409926"/>
            <a:ext cx="388558" cy="388558"/>
            <a:chOff x="575" y="1820"/>
            <a:chExt cx="260" cy="261"/>
          </a:xfrm>
        </p:grpSpPr>
        <p:sp>
          <p:nvSpPr>
            <p:cNvPr id="201" name="Oval 127"/>
            <p:cNvSpPr>
              <a:spLocks noChangeAspect="1" noChangeArrowheads="1"/>
            </p:cNvSpPr>
            <p:nvPr>
              <p:custDataLst>
                <p:tags r:id="rId73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02" name="Arc 128"/>
            <p:cNvSpPr>
              <a:spLocks noChangeAspect="1"/>
            </p:cNvSpPr>
            <p:nvPr>
              <p:custDataLst>
                <p:tags r:id="rId74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03" name="Group 129"/>
          <p:cNvGrpSpPr>
            <a:grpSpLocks noChangeAspect="1"/>
          </p:cNvGrpSpPr>
          <p:nvPr>
            <p:custDataLst>
              <p:tags r:id="rId29"/>
            </p:custDataLst>
          </p:nvPr>
        </p:nvGrpSpPr>
        <p:grpSpPr bwMode="auto">
          <a:xfrm>
            <a:off x="4248961" y="3960870"/>
            <a:ext cx="388558" cy="388558"/>
            <a:chOff x="575" y="2175"/>
            <a:chExt cx="261" cy="261"/>
          </a:xfrm>
        </p:grpSpPr>
        <p:sp>
          <p:nvSpPr>
            <p:cNvPr id="204" name="Oval 130"/>
            <p:cNvSpPr>
              <a:spLocks noChangeAspect="1" noChangeArrowheads="1"/>
            </p:cNvSpPr>
            <p:nvPr>
              <p:custDataLst>
                <p:tags r:id="rId71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05" name="Arc 131"/>
            <p:cNvSpPr>
              <a:spLocks noChangeAspect="1"/>
            </p:cNvSpPr>
            <p:nvPr>
              <p:custDataLst>
                <p:tags r:id="rId72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06" name="Group 132"/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auto">
          <a:xfrm>
            <a:off x="4248961" y="4511816"/>
            <a:ext cx="388558" cy="388558"/>
            <a:chOff x="575" y="2530"/>
            <a:chExt cx="260" cy="260"/>
          </a:xfrm>
        </p:grpSpPr>
        <p:sp>
          <p:nvSpPr>
            <p:cNvPr id="207" name="Oval 133"/>
            <p:cNvSpPr>
              <a:spLocks noChangeAspect="1" noChangeArrowheads="1"/>
            </p:cNvSpPr>
            <p:nvPr>
              <p:custDataLst>
                <p:tags r:id="rId69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08" name="Oval 134"/>
            <p:cNvSpPr>
              <a:spLocks noChangeAspect="1" noChangeArrowheads="1"/>
            </p:cNvSpPr>
            <p:nvPr>
              <p:custDataLst>
                <p:tags r:id="rId70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09" name="Group 136"/>
          <p:cNvGrpSpPr>
            <a:grpSpLocks noChangeAspect="1"/>
          </p:cNvGrpSpPr>
          <p:nvPr>
            <p:custDataLst>
              <p:tags r:id="rId31"/>
            </p:custDataLst>
          </p:nvPr>
        </p:nvGrpSpPr>
        <p:grpSpPr bwMode="auto">
          <a:xfrm>
            <a:off x="5020166" y="2337127"/>
            <a:ext cx="310846" cy="310846"/>
            <a:chOff x="575" y="1110"/>
            <a:chExt cx="261" cy="261"/>
          </a:xfrm>
        </p:grpSpPr>
        <p:sp>
          <p:nvSpPr>
            <p:cNvPr id="210" name="Oval 137"/>
            <p:cNvSpPr>
              <a:spLocks noChangeAspect="1" noChangeArrowheads="1"/>
            </p:cNvSpPr>
            <p:nvPr>
              <p:custDataLst>
                <p:tags r:id="rId67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11" name="Arc 138" hidden="1"/>
            <p:cNvSpPr>
              <a:spLocks noChangeAspect="1"/>
            </p:cNvSpPr>
            <p:nvPr>
              <p:custDataLst>
                <p:tags r:id="rId68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12" name="Group 139"/>
          <p:cNvGrpSpPr>
            <a:grpSpLocks noChangeAspect="1"/>
          </p:cNvGrpSpPr>
          <p:nvPr>
            <p:custDataLst>
              <p:tags r:id="rId32"/>
            </p:custDataLst>
          </p:nvPr>
        </p:nvGrpSpPr>
        <p:grpSpPr bwMode="auto">
          <a:xfrm>
            <a:off x="5020166" y="2803669"/>
            <a:ext cx="310846" cy="310846"/>
            <a:chOff x="1694" y="2044"/>
            <a:chExt cx="160" cy="160"/>
          </a:xfrm>
        </p:grpSpPr>
        <p:sp>
          <p:nvSpPr>
            <p:cNvPr id="213" name="Oval 140"/>
            <p:cNvSpPr>
              <a:spLocks noChangeAspect="1" noChangeArrowheads="1"/>
            </p:cNvSpPr>
            <p:nvPr>
              <p:custDataLst>
                <p:tags r:id="rId65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14" name="Arc 141"/>
            <p:cNvSpPr>
              <a:spLocks noChangeAspect="1"/>
            </p:cNvSpPr>
            <p:nvPr>
              <p:custDataLst>
                <p:tags r:id="rId66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15" name="Group 142"/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5020165" y="3270209"/>
            <a:ext cx="310846" cy="310846"/>
            <a:chOff x="575" y="1820"/>
            <a:chExt cx="260" cy="261"/>
          </a:xfrm>
        </p:grpSpPr>
        <p:sp>
          <p:nvSpPr>
            <p:cNvPr id="216" name="Oval 143"/>
            <p:cNvSpPr>
              <a:spLocks noChangeAspect="1" noChangeArrowheads="1"/>
            </p:cNvSpPr>
            <p:nvPr>
              <p:custDataLst>
                <p:tags r:id="rId63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17" name="Arc 144"/>
            <p:cNvSpPr>
              <a:spLocks noChangeAspect="1"/>
            </p:cNvSpPr>
            <p:nvPr>
              <p:custDataLst>
                <p:tags r:id="rId64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18" name="Group 145"/>
          <p:cNvGrpSpPr>
            <a:grpSpLocks noChangeAspect="1"/>
          </p:cNvGrpSpPr>
          <p:nvPr>
            <p:custDataLst>
              <p:tags r:id="rId34"/>
            </p:custDataLst>
          </p:nvPr>
        </p:nvGrpSpPr>
        <p:grpSpPr bwMode="auto">
          <a:xfrm>
            <a:off x="5020166" y="3736751"/>
            <a:ext cx="310846" cy="310846"/>
            <a:chOff x="575" y="2175"/>
            <a:chExt cx="261" cy="261"/>
          </a:xfrm>
        </p:grpSpPr>
        <p:sp>
          <p:nvSpPr>
            <p:cNvPr id="219" name="Oval 146"/>
            <p:cNvSpPr>
              <a:spLocks noChangeAspect="1" noChangeArrowheads="1"/>
            </p:cNvSpPr>
            <p:nvPr>
              <p:custDataLst>
                <p:tags r:id="rId61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20" name="Arc 147"/>
            <p:cNvSpPr>
              <a:spLocks noChangeAspect="1"/>
            </p:cNvSpPr>
            <p:nvPr>
              <p:custDataLst>
                <p:tags r:id="rId62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21" name="Group 148"/>
          <p:cNvGrpSpPr>
            <a:grpSpLocks noChangeAspect="1"/>
          </p:cNvGrpSpPr>
          <p:nvPr>
            <p:custDataLst>
              <p:tags r:id="rId35"/>
            </p:custDataLst>
          </p:nvPr>
        </p:nvGrpSpPr>
        <p:grpSpPr bwMode="auto">
          <a:xfrm>
            <a:off x="5020166" y="4203295"/>
            <a:ext cx="310846" cy="310846"/>
            <a:chOff x="575" y="2530"/>
            <a:chExt cx="260" cy="260"/>
          </a:xfrm>
          <a:solidFill>
            <a:schemeClr val="accent4"/>
          </a:solidFill>
        </p:grpSpPr>
        <p:sp>
          <p:nvSpPr>
            <p:cNvPr id="222" name="Oval 149"/>
            <p:cNvSpPr>
              <a:spLocks noChangeAspect="1" noChangeArrowheads="1"/>
            </p:cNvSpPr>
            <p:nvPr>
              <p:custDataLst>
                <p:tags r:id="rId59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grpFill/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23" name="Oval 150"/>
            <p:cNvSpPr>
              <a:spLocks noChangeAspect="1" noChangeArrowheads="1"/>
            </p:cNvSpPr>
            <p:nvPr>
              <p:custDataLst>
                <p:tags r:id="rId60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grpFill/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24" name="Group 152"/>
          <p:cNvGrpSpPr>
            <a:grpSpLocks noChangeAspect="1"/>
          </p:cNvGrpSpPr>
          <p:nvPr>
            <p:custDataLst>
              <p:tags r:id="rId36"/>
            </p:custDataLst>
          </p:nvPr>
        </p:nvGrpSpPr>
        <p:grpSpPr bwMode="auto">
          <a:xfrm>
            <a:off x="5725644" y="2366255"/>
            <a:ext cx="233135" cy="233135"/>
            <a:chOff x="575" y="1110"/>
            <a:chExt cx="261" cy="261"/>
          </a:xfrm>
        </p:grpSpPr>
        <p:sp>
          <p:nvSpPr>
            <p:cNvPr id="225" name="Oval 153"/>
            <p:cNvSpPr>
              <a:spLocks noChangeAspect="1" noChangeArrowheads="1"/>
            </p:cNvSpPr>
            <p:nvPr>
              <p:custDataLst>
                <p:tags r:id="rId57"/>
              </p:custDataLst>
            </p:nvPr>
          </p:nvSpPr>
          <p:spPr bwMode="blackWhite">
            <a:xfrm>
              <a:off x="575" y="111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26" name="Arc 154" hidden="1"/>
            <p:cNvSpPr>
              <a:spLocks noChangeAspect="1"/>
            </p:cNvSpPr>
            <p:nvPr>
              <p:custDataLst>
                <p:tags r:id="rId58"/>
              </p:custDataLst>
            </p:nvPr>
          </p:nvSpPr>
          <p:spPr bwMode="black">
            <a:xfrm>
              <a:off x="576" y="1111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folHlink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27" name="Group 155"/>
          <p:cNvGrpSpPr>
            <a:grpSpLocks noChangeAspect="1"/>
          </p:cNvGrpSpPr>
          <p:nvPr>
            <p:custDataLst>
              <p:tags r:id="rId37"/>
            </p:custDataLst>
          </p:nvPr>
        </p:nvGrpSpPr>
        <p:grpSpPr bwMode="auto">
          <a:xfrm>
            <a:off x="5725644" y="2758037"/>
            <a:ext cx="233135" cy="233135"/>
            <a:chOff x="1694" y="2044"/>
            <a:chExt cx="160" cy="160"/>
          </a:xfrm>
        </p:grpSpPr>
        <p:sp>
          <p:nvSpPr>
            <p:cNvPr id="228" name="Oval 156"/>
            <p:cNvSpPr>
              <a:spLocks noChangeAspect="1" noChangeArrowheads="1"/>
            </p:cNvSpPr>
            <p:nvPr>
              <p:custDataLst>
                <p:tags r:id="rId55"/>
              </p:custDataLst>
            </p:nvPr>
          </p:nvSpPr>
          <p:spPr bwMode="blackWhite">
            <a:xfrm>
              <a:off x="1694" y="2044"/>
              <a:ext cx="160" cy="1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29" name="Arc 157"/>
            <p:cNvSpPr>
              <a:spLocks noChangeAspect="1"/>
            </p:cNvSpPr>
            <p:nvPr>
              <p:custDataLst>
                <p:tags r:id="rId56"/>
              </p:custDataLst>
            </p:nvPr>
          </p:nvSpPr>
          <p:spPr bwMode="black">
            <a:xfrm>
              <a:off x="1774" y="2044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30" name="Group 158"/>
          <p:cNvGrpSpPr>
            <a:grpSpLocks noChangeAspect="1"/>
          </p:cNvGrpSpPr>
          <p:nvPr>
            <p:custDataLst>
              <p:tags r:id="rId38"/>
            </p:custDataLst>
          </p:nvPr>
        </p:nvGrpSpPr>
        <p:grpSpPr bwMode="auto">
          <a:xfrm>
            <a:off x="5725644" y="3149819"/>
            <a:ext cx="233135" cy="233135"/>
            <a:chOff x="575" y="1820"/>
            <a:chExt cx="260" cy="261"/>
          </a:xfrm>
        </p:grpSpPr>
        <p:sp>
          <p:nvSpPr>
            <p:cNvPr id="231" name="Oval 159"/>
            <p:cNvSpPr>
              <a:spLocks noChangeAspect="1" noChangeArrowheads="1"/>
            </p:cNvSpPr>
            <p:nvPr>
              <p:custDataLst>
                <p:tags r:id="rId53"/>
              </p:custDataLst>
            </p:nvPr>
          </p:nvSpPr>
          <p:spPr bwMode="blackWhite">
            <a:xfrm>
              <a:off x="575" y="1820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32" name="Arc 160"/>
            <p:cNvSpPr>
              <a:spLocks noChangeAspect="1"/>
            </p:cNvSpPr>
            <p:nvPr>
              <p:custDataLst>
                <p:tags r:id="rId54"/>
              </p:custDataLst>
            </p:nvPr>
          </p:nvSpPr>
          <p:spPr bwMode="black">
            <a:xfrm>
              <a:off x="705" y="1821"/>
              <a:ext cx="130" cy="2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33" name="Group 161"/>
          <p:cNvGrpSpPr>
            <a:grpSpLocks noChangeAspect="1"/>
          </p:cNvGrpSpPr>
          <p:nvPr>
            <p:custDataLst>
              <p:tags r:id="rId39"/>
            </p:custDataLst>
          </p:nvPr>
        </p:nvGrpSpPr>
        <p:grpSpPr bwMode="auto">
          <a:xfrm>
            <a:off x="5725644" y="3539852"/>
            <a:ext cx="233135" cy="233135"/>
            <a:chOff x="575" y="2175"/>
            <a:chExt cx="261" cy="261"/>
          </a:xfrm>
        </p:grpSpPr>
        <p:sp>
          <p:nvSpPr>
            <p:cNvPr id="234" name="Oval 162"/>
            <p:cNvSpPr>
              <a:spLocks noChangeAspect="1" noChangeArrowheads="1"/>
            </p:cNvSpPr>
            <p:nvPr>
              <p:custDataLst>
                <p:tags r:id="rId51"/>
              </p:custDataLst>
            </p:nvPr>
          </p:nvSpPr>
          <p:spPr bwMode="blackWhite">
            <a:xfrm>
              <a:off x="575" y="2175"/>
              <a:ext cx="260" cy="26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35" name="Arc 163"/>
            <p:cNvSpPr>
              <a:spLocks noChangeAspect="1"/>
            </p:cNvSpPr>
            <p:nvPr>
              <p:custDataLst>
                <p:tags r:id="rId52"/>
              </p:custDataLst>
            </p:nvPr>
          </p:nvSpPr>
          <p:spPr bwMode="black">
            <a:xfrm>
              <a:off x="576" y="2176"/>
              <a:ext cx="260" cy="2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pSp>
        <p:nvGrpSpPr>
          <p:cNvPr id="236" name="Group 164"/>
          <p:cNvGrpSpPr>
            <a:grpSpLocks noChangeAspect="1"/>
          </p:cNvGrpSpPr>
          <p:nvPr>
            <p:custDataLst>
              <p:tags r:id="rId40"/>
            </p:custDataLst>
          </p:nvPr>
        </p:nvGrpSpPr>
        <p:grpSpPr bwMode="auto">
          <a:xfrm>
            <a:off x="5725644" y="3931633"/>
            <a:ext cx="233135" cy="233135"/>
            <a:chOff x="575" y="2530"/>
            <a:chExt cx="260" cy="260"/>
          </a:xfrm>
        </p:grpSpPr>
        <p:sp>
          <p:nvSpPr>
            <p:cNvPr id="237" name="Oval 165"/>
            <p:cNvSpPr>
              <a:spLocks noChangeAspect="1" noChangeArrowheads="1"/>
            </p:cNvSpPr>
            <p:nvPr>
              <p:custDataLst>
                <p:tags r:id="rId49"/>
              </p:custDataLst>
            </p:nvPr>
          </p:nvSpPr>
          <p:spPr bwMode="blackWhite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  <p:sp>
          <p:nvSpPr>
            <p:cNvPr id="238" name="Oval 166"/>
            <p:cNvSpPr>
              <a:spLocks noChangeAspect="1" noChangeArrowheads="1"/>
            </p:cNvSpPr>
            <p:nvPr>
              <p:custDataLst>
                <p:tags r:id="rId50"/>
              </p:custDataLst>
            </p:nvPr>
          </p:nvSpPr>
          <p:spPr bwMode="black">
            <a:xfrm>
              <a:off x="575" y="2530"/>
              <a:ext cx="260" cy="260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105493" tIns="52747" rIns="105493" bIns="52747" anchor="ctr"/>
            <a:lstStyle/>
            <a:p>
              <a:pPr defTabSz="1055447"/>
              <a:endParaRPr lang="es-ES" altLang="zh-CN" sz="1835">
                <a:ea typeface="宋体" pitchFamily="2" charset="-122"/>
              </a:endParaRPr>
            </a:p>
          </p:txBody>
        </p:sp>
      </p:grpSp>
      <p:graphicFrame>
        <p:nvGraphicFramePr>
          <p:cNvPr id="239" name="238 Gráfico"/>
          <p:cNvGraphicFramePr/>
          <p:nvPr/>
        </p:nvGraphicFramePr>
        <p:xfrm>
          <a:off x="6123108" y="1512960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9"/>
          </a:graphicData>
        </a:graphic>
      </p:graphicFrame>
      <p:graphicFrame>
        <p:nvGraphicFramePr>
          <p:cNvPr id="240" name="239 Gráfico"/>
          <p:cNvGraphicFramePr/>
          <p:nvPr/>
        </p:nvGraphicFramePr>
        <p:xfrm>
          <a:off x="6123108" y="3494841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0"/>
          </a:graphicData>
        </a:graphic>
      </p:graphicFrame>
      <p:graphicFrame>
        <p:nvGraphicFramePr>
          <p:cNvPr id="241" name="240 Gráfico"/>
          <p:cNvGraphicFramePr/>
          <p:nvPr/>
        </p:nvGraphicFramePr>
        <p:xfrm>
          <a:off x="6123108" y="6137348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1"/>
          </a:graphicData>
        </a:graphic>
      </p:graphicFrame>
      <p:sp>
        <p:nvSpPr>
          <p:cNvPr id="242" name="Oval 4"/>
          <p:cNvSpPr>
            <a:spLocks noChangeAspect="1" noChangeArrowheads="1"/>
          </p:cNvSpPr>
          <p:nvPr/>
        </p:nvSpPr>
        <p:spPr bwMode="blackWhite">
          <a:xfrm>
            <a:off x="7133470" y="1189675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1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3" name="Oval 5"/>
          <p:cNvSpPr>
            <a:spLocks noChangeAspect="1" noChangeArrowheads="1"/>
          </p:cNvSpPr>
          <p:nvPr/>
        </p:nvSpPr>
        <p:spPr bwMode="blackWhite">
          <a:xfrm>
            <a:off x="7133470" y="1664296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2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4" name="Oval 6"/>
          <p:cNvSpPr>
            <a:spLocks noChangeAspect="1" noChangeArrowheads="1"/>
          </p:cNvSpPr>
          <p:nvPr/>
        </p:nvSpPr>
        <p:spPr bwMode="blackWhite">
          <a:xfrm>
            <a:off x="7133470" y="2138916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3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5" name="Oval 7"/>
          <p:cNvSpPr>
            <a:spLocks noChangeAspect="1" noChangeArrowheads="1"/>
          </p:cNvSpPr>
          <p:nvPr/>
        </p:nvSpPr>
        <p:spPr bwMode="blackWhite">
          <a:xfrm>
            <a:off x="7133470" y="2615250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4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6" name="Oval 8"/>
          <p:cNvSpPr>
            <a:spLocks noChangeAspect="1" noChangeArrowheads="1"/>
          </p:cNvSpPr>
          <p:nvPr/>
        </p:nvSpPr>
        <p:spPr bwMode="blackWhite">
          <a:xfrm>
            <a:off x="7133470" y="3089871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5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7" name="Oval 9"/>
          <p:cNvSpPr>
            <a:spLocks noChangeAspect="1" noChangeArrowheads="1"/>
          </p:cNvSpPr>
          <p:nvPr/>
        </p:nvSpPr>
        <p:spPr bwMode="blackWhite">
          <a:xfrm>
            <a:off x="7133470" y="3564491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6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8" name="Oval 10"/>
          <p:cNvSpPr>
            <a:spLocks noChangeAspect="1" noChangeArrowheads="1"/>
          </p:cNvSpPr>
          <p:nvPr/>
        </p:nvSpPr>
        <p:spPr bwMode="blackWhite">
          <a:xfrm>
            <a:off x="7133470" y="4039112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7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49" name="Oval 11"/>
          <p:cNvSpPr>
            <a:spLocks noChangeAspect="1" noChangeArrowheads="1"/>
          </p:cNvSpPr>
          <p:nvPr/>
        </p:nvSpPr>
        <p:spPr bwMode="blackWhite">
          <a:xfrm>
            <a:off x="7133470" y="4515446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8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50" name="Oval 12"/>
          <p:cNvSpPr>
            <a:spLocks noChangeAspect="1" noChangeArrowheads="1"/>
          </p:cNvSpPr>
          <p:nvPr/>
        </p:nvSpPr>
        <p:spPr bwMode="blackWhite">
          <a:xfrm>
            <a:off x="7133470" y="4990066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/>
            <a:r>
              <a:rPr lang="pt-BR" sz="1511" b="1" dirty="0">
                <a:solidFill>
                  <a:schemeClr val="bg1"/>
                </a:solidFill>
              </a:rPr>
              <a:t>9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51" name="Oval 13"/>
          <p:cNvSpPr>
            <a:spLocks noChangeAspect="1" noChangeArrowheads="1"/>
          </p:cNvSpPr>
          <p:nvPr/>
        </p:nvSpPr>
        <p:spPr bwMode="blackWhite">
          <a:xfrm>
            <a:off x="7133470" y="5466400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>
              <a:lnSpc>
                <a:spcPct val="95000"/>
              </a:lnSpc>
            </a:pPr>
            <a:r>
              <a:rPr lang="pt-BR" sz="1511" b="1" dirty="0">
                <a:solidFill>
                  <a:schemeClr val="bg1"/>
                </a:solidFill>
              </a:rPr>
              <a:t>10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52" name="Oval 14"/>
          <p:cNvSpPr>
            <a:spLocks noChangeAspect="1" noChangeArrowheads="1"/>
          </p:cNvSpPr>
          <p:nvPr/>
        </p:nvSpPr>
        <p:spPr bwMode="blackWhite">
          <a:xfrm>
            <a:off x="7677511" y="2486743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>
              <a:lnSpc>
                <a:spcPct val="78000"/>
              </a:lnSpc>
            </a:pPr>
            <a:r>
              <a:rPr lang="pt-BR" sz="1511" b="1" dirty="0">
                <a:solidFill>
                  <a:schemeClr val="bg1"/>
                </a:solidFill>
              </a:rPr>
              <a:t>+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53" name="Oval 15"/>
          <p:cNvSpPr>
            <a:spLocks noChangeAspect="1" noChangeArrowheads="1"/>
          </p:cNvSpPr>
          <p:nvPr/>
        </p:nvSpPr>
        <p:spPr bwMode="blackWhite">
          <a:xfrm>
            <a:off x="7677511" y="3064169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>
              <a:lnSpc>
                <a:spcPct val="75000"/>
              </a:lnSpc>
            </a:pPr>
            <a:r>
              <a:rPr lang="pt-BR" sz="1511" b="1" dirty="0">
                <a:solidFill>
                  <a:schemeClr val="bg1"/>
                </a:solidFill>
              </a:rPr>
              <a:t>–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54" name="Oval 16"/>
          <p:cNvSpPr>
            <a:spLocks noChangeAspect="1" noChangeArrowheads="1"/>
          </p:cNvSpPr>
          <p:nvPr/>
        </p:nvSpPr>
        <p:spPr bwMode="blackWhite">
          <a:xfrm>
            <a:off x="7677511" y="3643309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>
              <a:lnSpc>
                <a:spcPct val="80000"/>
              </a:lnSpc>
            </a:pPr>
            <a:r>
              <a:rPr lang="pt-BR" sz="1511" b="1">
                <a:solidFill>
                  <a:schemeClr val="bg1"/>
                </a:solidFill>
                <a:sym typeface="ZapfDingbats" pitchFamily="82" charset="2"/>
              </a:rPr>
              <a:t>x</a:t>
            </a:r>
            <a:endParaRPr lang="pt-BR" sz="1511" b="1" dirty="0">
              <a:solidFill>
                <a:schemeClr val="bg1"/>
              </a:solidFill>
            </a:endParaRPr>
          </a:p>
        </p:txBody>
      </p:sp>
      <p:sp>
        <p:nvSpPr>
          <p:cNvPr id="255" name="Oval 17"/>
          <p:cNvSpPr>
            <a:spLocks noChangeAspect="1" noChangeArrowheads="1"/>
          </p:cNvSpPr>
          <p:nvPr/>
        </p:nvSpPr>
        <p:spPr bwMode="blackWhite">
          <a:xfrm>
            <a:off x="7677511" y="4220736"/>
            <a:ext cx="310846" cy="310846"/>
          </a:xfrm>
          <a:prstGeom prst="ellipse">
            <a:avLst/>
          </a:prstGeom>
          <a:solidFill>
            <a:schemeClr val="accent1"/>
          </a:solidFill>
          <a:ln w="12700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1055447">
              <a:lnSpc>
                <a:spcPct val="67000"/>
              </a:lnSpc>
            </a:pPr>
            <a:r>
              <a:rPr lang="pt-BR" sz="1511" b="1" dirty="0">
                <a:solidFill>
                  <a:schemeClr val="bg1"/>
                </a:solidFill>
                <a:sym typeface="Symbol" pitchFamily="18" charset="2"/>
              </a:rPr>
              <a:t></a:t>
            </a:r>
            <a:endParaRPr lang="pt-BR" sz="1511" dirty="0">
              <a:solidFill>
                <a:schemeClr val="bg1"/>
              </a:solidFill>
            </a:endParaRPr>
          </a:p>
        </p:txBody>
      </p:sp>
      <p:graphicFrame>
        <p:nvGraphicFramePr>
          <p:cNvPr id="256" name="255 Gráfico"/>
          <p:cNvGraphicFramePr/>
          <p:nvPr/>
        </p:nvGraphicFramePr>
        <p:xfrm>
          <a:off x="6123108" y="2834214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2"/>
          </a:graphicData>
        </a:graphic>
      </p:graphicFrame>
      <p:graphicFrame>
        <p:nvGraphicFramePr>
          <p:cNvPr id="257" name="256 Gráfico"/>
          <p:cNvGraphicFramePr/>
          <p:nvPr/>
        </p:nvGraphicFramePr>
        <p:xfrm>
          <a:off x="6123108" y="2173587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3"/>
          </a:graphicData>
        </a:graphic>
      </p:graphicFrame>
      <p:graphicFrame>
        <p:nvGraphicFramePr>
          <p:cNvPr id="258" name="257 Gráfico"/>
          <p:cNvGraphicFramePr/>
          <p:nvPr/>
        </p:nvGraphicFramePr>
        <p:xfrm>
          <a:off x="6123108" y="4155467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4"/>
          </a:graphicData>
        </a:graphic>
      </p:graphicFrame>
      <p:graphicFrame>
        <p:nvGraphicFramePr>
          <p:cNvPr id="259" name="258 Gráfico"/>
          <p:cNvGraphicFramePr/>
          <p:nvPr/>
        </p:nvGraphicFramePr>
        <p:xfrm>
          <a:off x="6123108" y="4816094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5"/>
          </a:graphicData>
        </a:graphic>
      </p:graphicFrame>
      <p:graphicFrame>
        <p:nvGraphicFramePr>
          <p:cNvPr id="260" name="259 Gráfico"/>
          <p:cNvGraphicFramePr/>
          <p:nvPr/>
        </p:nvGraphicFramePr>
        <p:xfrm>
          <a:off x="6123108" y="5476721"/>
          <a:ext cx="1010362" cy="673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6"/>
          </a:graphicData>
        </a:graphic>
      </p:graphicFrame>
      <p:sp>
        <p:nvSpPr>
          <p:cNvPr id="261" name="260 Elipse"/>
          <p:cNvSpPr/>
          <p:nvPr/>
        </p:nvSpPr>
        <p:spPr>
          <a:xfrm>
            <a:off x="6434010" y="1137351"/>
            <a:ext cx="388558" cy="38855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  <p:sp>
        <p:nvSpPr>
          <p:cNvPr id="262" name="Rectangle 5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 flipH="1">
            <a:off x="8525507" y="4012998"/>
            <a:ext cx="466323" cy="730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10124" indent="-310124" defTabSz="738471">
              <a:spcBef>
                <a:spcPct val="30000"/>
              </a:spcBef>
            </a:pPr>
            <a:r>
              <a:rPr lang="pt-BR" sz="4749" b="1" dirty="0">
                <a:solidFill>
                  <a:srgbClr val="C00000"/>
                </a:solidFill>
                <a:sym typeface="Wingdings" pitchFamily="2" charset="2"/>
              </a:rPr>
              <a:t></a:t>
            </a:r>
            <a:endParaRPr lang="pt-BR" sz="4749" b="1" dirty="0">
              <a:solidFill>
                <a:srgbClr val="C00000"/>
              </a:solidFill>
            </a:endParaRPr>
          </a:p>
        </p:txBody>
      </p:sp>
      <p:grpSp>
        <p:nvGrpSpPr>
          <p:cNvPr id="279" name="278 Grupo"/>
          <p:cNvGrpSpPr/>
          <p:nvPr/>
        </p:nvGrpSpPr>
        <p:grpSpPr>
          <a:xfrm>
            <a:off x="8486648" y="1168310"/>
            <a:ext cx="544041" cy="730841"/>
            <a:chOff x="7833320" y="1009411"/>
            <a:chExt cx="504056" cy="677127"/>
          </a:xfrm>
        </p:grpSpPr>
        <p:sp>
          <p:nvSpPr>
            <p:cNvPr id="264" name="Rectangle 9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 flipH="1">
              <a:off x="7833320" y="1009411"/>
              <a:ext cx="504056" cy="677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310124" indent="-310124" defTabSz="738471">
                <a:spcBef>
                  <a:spcPct val="30000"/>
                </a:spcBef>
              </a:pPr>
              <a:r>
                <a:rPr lang="en-US" sz="4749" b="1" dirty="0">
                  <a:solidFill>
                    <a:srgbClr val="00B050"/>
                  </a:solidFill>
                  <a:sym typeface="Wingdings" pitchFamily="2" charset="2"/>
                </a:rPr>
                <a:t></a:t>
              </a:r>
              <a:endParaRPr lang="en-US" sz="4749" b="1" dirty="0">
                <a:solidFill>
                  <a:srgbClr val="00B050"/>
                </a:solidFill>
              </a:endParaRPr>
            </a:p>
          </p:txBody>
        </p:sp>
        <p:grpSp>
          <p:nvGrpSpPr>
            <p:cNvPr id="265" name="Group 10"/>
            <p:cNvGrpSpPr>
              <a:grpSpLocks/>
            </p:cNvGrpSpPr>
            <p:nvPr/>
          </p:nvGrpSpPr>
          <p:grpSpPr bwMode="auto">
            <a:xfrm flipH="1">
              <a:off x="7867804" y="1171169"/>
              <a:ext cx="418945" cy="246324"/>
              <a:chOff x="3425" y="1615"/>
              <a:chExt cx="35" cy="152"/>
            </a:xfrm>
          </p:grpSpPr>
          <p:sp>
            <p:nvSpPr>
              <p:cNvPr id="266" name="Line 11"/>
              <p:cNvSpPr>
                <a:spLocks noChangeShapeType="1"/>
              </p:cNvSpPr>
              <p:nvPr/>
            </p:nvSpPr>
            <p:spPr bwMode="blackWhite">
              <a:xfrm>
                <a:off x="3425" y="1615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67" name="Line 12"/>
              <p:cNvSpPr>
                <a:spLocks noChangeShapeType="1"/>
              </p:cNvSpPr>
              <p:nvPr/>
            </p:nvSpPr>
            <p:spPr bwMode="blackWhite">
              <a:xfrm>
                <a:off x="3425" y="1652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68" name="Line 13"/>
              <p:cNvSpPr>
                <a:spLocks noChangeShapeType="1"/>
              </p:cNvSpPr>
              <p:nvPr/>
            </p:nvSpPr>
            <p:spPr bwMode="blackWhite">
              <a:xfrm>
                <a:off x="3425" y="1690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69" name="Line 14"/>
              <p:cNvSpPr>
                <a:spLocks noChangeShapeType="1"/>
              </p:cNvSpPr>
              <p:nvPr/>
            </p:nvSpPr>
            <p:spPr bwMode="blackWhite">
              <a:xfrm>
                <a:off x="3425" y="1727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78" name="Line 14"/>
              <p:cNvSpPr>
                <a:spLocks noChangeShapeType="1"/>
              </p:cNvSpPr>
              <p:nvPr/>
            </p:nvSpPr>
            <p:spPr bwMode="blackWhite">
              <a:xfrm>
                <a:off x="3425" y="1767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</p:grpSp>
      </p:grpSp>
      <p:sp>
        <p:nvSpPr>
          <p:cNvPr id="270" name="Freeform 16"/>
          <p:cNvSpPr>
            <a:spLocks/>
          </p:cNvSpPr>
          <p:nvPr>
            <p:custDataLst>
              <p:tags r:id="rId42"/>
            </p:custDataLst>
          </p:nvPr>
        </p:nvSpPr>
        <p:spPr bwMode="blackWhite">
          <a:xfrm>
            <a:off x="8565907" y="2427255"/>
            <a:ext cx="385523" cy="346113"/>
          </a:xfrm>
          <a:custGeom>
            <a:avLst/>
            <a:gdLst/>
            <a:ahLst/>
            <a:cxnLst>
              <a:cxn ang="0">
                <a:pos x="0" y="76"/>
              </a:cxn>
              <a:cxn ang="0">
                <a:pos x="12" y="83"/>
              </a:cxn>
              <a:cxn ang="0">
                <a:pos x="18" y="90"/>
              </a:cxn>
              <a:cxn ang="0">
                <a:pos x="27" y="105"/>
              </a:cxn>
              <a:cxn ang="0">
                <a:pos x="36" y="126"/>
              </a:cxn>
              <a:cxn ang="0">
                <a:pos x="37" y="131"/>
              </a:cxn>
              <a:cxn ang="0">
                <a:pos x="48" y="123"/>
              </a:cxn>
              <a:cxn ang="0">
                <a:pos x="58" y="117"/>
              </a:cxn>
              <a:cxn ang="0">
                <a:pos x="62" y="107"/>
              </a:cxn>
              <a:cxn ang="0">
                <a:pos x="76" y="85"/>
              </a:cxn>
              <a:cxn ang="0">
                <a:pos x="98" y="55"/>
              </a:cxn>
              <a:cxn ang="0">
                <a:pos x="121" y="30"/>
              </a:cxn>
              <a:cxn ang="0">
                <a:pos x="135" y="15"/>
              </a:cxn>
              <a:cxn ang="0">
                <a:pos x="147" y="5"/>
              </a:cxn>
              <a:cxn ang="0">
                <a:pos x="143" y="0"/>
              </a:cxn>
              <a:cxn ang="0">
                <a:pos x="131" y="7"/>
              </a:cxn>
              <a:cxn ang="0">
                <a:pos x="115" y="19"/>
              </a:cxn>
              <a:cxn ang="0">
                <a:pos x="99" y="32"/>
              </a:cxn>
              <a:cxn ang="0">
                <a:pos x="80" y="52"/>
              </a:cxn>
              <a:cxn ang="0">
                <a:pos x="64" y="69"/>
              </a:cxn>
              <a:cxn ang="0">
                <a:pos x="57" y="80"/>
              </a:cxn>
              <a:cxn ang="0">
                <a:pos x="49" y="90"/>
              </a:cxn>
              <a:cxn ang="0">
                <a:pos x="46" y="96"/>
              </a:cxn>
              <a:cxn ang="0">
                <a:pos x="43" y="88"/>
              </a:cxn>
              <a:cxn ang="0">
                <a:pos x="40" y="82"/>
              </a:cxn>
              <a:cxn ang="0">
                <a:pos x="36" y="75"/>
              </a:cxn>
              <a:cxn ang="0">
                <a:pos x="32" y="70"/>
              </a:cxn>
              <a:cxn ang="0">
                <a:pos x="27" y="68"/>
              </a:cxn>
              <a:cxn ang="0">
                <a:pos x="22" y="68"/>
              </a:cxn>
              <a:cxn ang="0">
                <a:pos x="19" y="69"/>
              </a:cxn>
              <a:cxn ang="0">
                <a:pos x="14" y="72"/>
              </a:cxn>
              <a:cxn ang="0">
                <a:pos x="10" y="75"/>
              </a:cxn>
              <a:cxn ang="0">
                <a:pos x="0" y="76"/>
              </a:cxn>
            </a:cxnLst>
            <a:rect l="0" t="0" r="r" b="b"/>
            <a:pathLst>
              <a:path w="147" h="131">
                <a:moveTo>
                  <a:pt x="0" y="76"/>
                </a:moveTo>
                <a:lnTo>
                  <a:pt x="12" y="83"/>
                </a:lnTo>
                <a:lnTo>
                  <a:pt x="18" y="90"/>
                </a:lnTo>
                <a:lnTo>
                  <a:pt x="27" y="105"/>
                </a:lnTo>
                <a:lnTo>
                  <a:pt x="36" y="126"/>
                </a:lnTo>
                <a:lnTo>
                  <a:pt x="37" y="131"/>
                </a:lnTo>
                <a:lnTo>
                  <a:pt x="48" y="123"/>
                </a:lnTo>
                <a:lnTo>
                  <a:pt x="58" y="117"/>
                </a:lnTo>
                <a:lnTo>
                  <a:pt x="62" y="107"/>
                </a:lnTo>
                <a:lnTo>
                  <a:pt x="76" y="85"/>
                </a:lnTo>
                <a:lnTo>
                  <a:pt x="98" y="55"/>
                </a:lnTo>
                <a:lnTo>
                  <a:pt x="121" y="30"/>
                </a:lnTo>
                <a:lnTo>
                  <a:pt x="135" y="15"/>
                </a:lnTo>
                <a:lnTo>
                  <a:pt x="147" y="5"/>
                </a:lnTo>
                <a:lnTo>
                  <a:pt x="143" y="0"/>
                </a:lnTo>
                <a:lnTo>
                  <a:pt x="131" y="7"/>
                </a:lnTo>
                <a:lnTo>
                  <a:pt x="115" y="19"/>
                </a:lnTo>
                <a:lnTo>
                  <a:pt x="99" y="32"/>
                </a:lnTo>
                <a:lnTo>
                  <a:pt x="80" y="52"/>
                </a:lnTo>
                <a:lnTo>
                  <a:pt x="64" y="69"/>
                </a:lnTo>
                <a:lnTo>
                  <a:pt x="57" y="80"/>
                </a:lnTo>
                <a:lnTo>
                  <a:pt x="49" y="90"/>
                </a:lnTo>
                <a:lnTo>
                  <a:pt x="46" y="96"/>
                </a:lnTo>
                <a:lnTo>
                  <a:pt x="43" y="88"/>
                </a:lnTo>
                <a:lnTo>
                  <a:pt x="40" y="82"/>
                </a:lnTo>
                <a:lnTo>
                  <a:pt x="36" y="75"/>
                </a:lnTo>
                <a:lnTo>
                  <a:pt x="32" y="70"/>
                </a:lnTo>
                <a:lnTo>
                  <a:pt x="27" y="68"/>
                </a:lnTo>
                <a:lnTo>
                  <a:pt x="22" y="68"/>
                </a:lnTo>
                <a:lnTo>
                  <a:pt x="19" y="69"/>
                </a:lnTo>
                <a:lnTo>
                  <a:pt x="14" y="72"/>
                </a:lnTo>
                <a:lnTo>
                  <a:pt x="10" y="75"/>
                </a:lnTo>
                <a:lnTo>
                  <a:pt x="0" y="76"/>
                </a:lnTo>
                <a:close/>
              </a:path>
            </a:pathLst>
          </a:custGeom>
          <a:noFill/>
          <a:ln w="19050" cap="flat" cmpd="sng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271" name="Freeform 17"/>
          <p:cNvSpPr>
            <a:spLocks/>
          </p:cNvSpPr>
          <p:nvPr>
            <p:custDataLst>
              <p:tags r:id="rId43"/>
            </p:custDataLst>
          </p:nvPr>
        </p:nvSpPr>
        <p:spPr bwMode="blackWhite">
          <a:xfrm>
            <a:off x="8565907" y="1960934"/>
            <a:ext cx="385523" cy="346113"/>
          </a:xfrm>
          <a:custGeom>
            <a:avLst/>
            <a:gdLst/>
            <a:ahLst/>
            <a:cxnLst>
              <a:cxn ang="0">
                <a:pos x="0" y="76"/>
              </a:cxn>
              <a:cxn ang="0">
                <a:pos x="12" y="83"/>
              </a:cxn>
              <a:cxn ang="0">
                <a:pos x="18" y="90"/>
              </a:cxn>
              <a:cxn ang="0">
                <a:pos x="27" y="105"/>
              </a:cxn>
              <a:cxn ang="0">
                <a:pos x="36" y="126"/>
              </a:cxn>
              <a:cxn ang="0">
                <a:pos x="37" y="131"/>
              </a:cxn>
              <a:cxn ang="0">
                <a:pos x="48" y="123"/>
              </a:cxn>
              <a:cxn ang="0">
                <a:pos x="58" y="117"/>
              </a:cxn>
              <a:cxn ang="0">
                <a:pos x="62" y="107"/>
              </a:cxn>
              <a:cxn ang="0">
                <a:pos x="76" y="85"/>
              </a:cxn>
              <a:cxn ang="0">
                <a:pos x="98" y="55"/>
              </a:cxn>
              <a:cxn ang="0">
                <a:pos x="121" y="30"/>
              </a:cxn>
              <a:cxn ang="0">
                <a:pos x="135" y="15"/>
              </a:cxn>
              <a:cxn ang="0">
                <a:pos x="147" y="5"/>
              </a:cxn>
              <a:cxn ang="0">
                <a:pos x="143" y="0"/>
              </a:cxn>
              <a:cxn ang="0">
                <a:pos x="131" y="7"/>
              </a:cxn>
              <a:cxn ang="0">
                <a:pos x="115" y="19"/>
              </a:cxn>
              <a:cxn ang="0">
                <a:pos x="99" y="32"/>
              </a:cxn>
              <a:cxn ang="0">
                <a:pos x="80" y="52"/>
              </a:cxn>
              <a:cxn ang="0">
                <a:pos x="64" y="69"/>
              </a:cxn>
              <a:cxn ang="0">
                <a:pos x="57" y="80"/>
              </a:cxn>
              <a:cxn ang="0">
                <a:pos x="49" y="90"/>
              </a:cxn>
              <a:cxn ang="0">
                <a:pos x="46" y="96"/>
              </a:cxn>
              <a:cxn ang="0">
                <a:pos x="43" y="88"/>
              </a:cxn>
              <a:cxn ang="0">
                <a:pos x="40" y="82"/>
              </a:cxn>
              <a:cxn ang="0">
                <a:pos x="36" y="75"/>
              </a:cxn>
              <a:cxn ang="0">
                <a:pos x="32" y="70"/>
              </a:cxn>
              <a:cxn ang="0">
                <a:pos x="27" y="68"/>
              </a:cxn>
              <a:cxn ang="0">
                <a:pos x="22" y="68"/>
              </a:cxn>
              <a:cxn ang="0">
                <a:pos x="19" y="69"/>
              </a:cxn>
              <a:cxn ang="0">
                <a:pos x="14" y="72"/>
              </a:cxn>
              <a:cxn ang="0">
                <a:pos x="10" y="75"/>
              </a:cxn>
              <a:cxn ang="0">
                <a:pos x="0" y="76"/>
              </a:cxn>
            </a:cxnLst>
            <a:rect l="0" t="0" r="r" b="b"/>
            <a:pathLst>
              <a:path w="147" h="131">
                <a:moveTo>
                  <a:pt x="0" y="76"/>
                </a:moveTo>
                <a:lnTo>
                  <a:pt x="12" y="83"/>
                </a:lnTo>
                <a:lnTo>
                  <a:pt x="18" y="90"/>
                </a:lnTo>
                <a:lnTo>
                  <a:pt x="27" y="105"/>
                </a:lnTo>
                <a:lnTo>
                  <a:pt x="36" y="126"/>
                </a:lnTo>
                <a:lnTo>
                  <a:pt x="37" y="131"/>
                </a:lnTo>
                <a:lnTo>
                  <a:pt x="48" y="123"/>
                </a:lnTo>
                <a:lnTo>
                  <a:pt x="58" y="117"/>
                </a:lnTo>
                <a:lnTo>
                  <a:pt x="62" y="107"/>
                </a:lnTo>
                <a:lnTo>
                  <a:pt x="76" y="85"/>
                </a:lnTo>
                <a:lnTo>
                  <a:pt x="98" y="55"/>
                </a:lnTo>
                <a:lnTo>
                  <a:pt x="121" y="30"/>
                </a:lnTo>
                <a:lnTo>
                  <a:pt x="135" y="15"/>
                </a:lnTo>
                <a:lnTo>
                  <a:pt x="147" y="5"/>
                </a:lnTo>
                <a:lnTo>
                  <a:pt x="143" y="0"/>
                </a:lnTo>
                <a:lnTo>
                  <a:pt x="131" y="7"/>
                </a:lnTo>
                <a:lnTo>
                  <a:pt x="115" y="19"/>
                </a:lnTo>
                <a:lnTo>
                  <a:pt x="99" y="32"/>
                </a:lnTo>
                <a:lnTo>
                  <a:pt x="80" y="52"/>
                </a:lnTo>
                <a:lnTo>
                  <a:pt x="64" y="69"/>
                </a:lnTo>
                <a:lnTo>
                  <a:pt x="57" y="80"/>
                </a:lnTo>
                <a:lnTo>
                  <a:pt x="49" y="90"/>
                </a:lnTo>
                <a:lnTo>
                  <a:pt x="46" y="96"/>
                </a:lnTo>
                <a:lnTo>
                  <a:pt x="43" y="88"/>
                </a:lnTo>
                <a:lnTo>
                  <a:pt x="40" y="82"/>
                </a:lnTo>
                <a:lnTo>
                  <a:pt x="36" y="75"/>
                </a:lnTo>
                <a:lnTo>
                  <a:pt x="32" y="70"/>
                </a:lnTo>
                <a:lnTo>
                  <a:pt x="27" y="68"/>
                </a:lnTo>
                <a:lnTo>
                  <a:pt x="22" y="68"/>
                </a:lnTo>
                <a:lnTo>
                  <a:pt x="19" y="69"/>
                </a:lnTo>
                <a:lnTo>
                  <a:pt x="14" y="72"/>
                </a:lnTo>
                <a:lnTo>
                  <a:pt x="10" y="75"/>
                </a:lnTo>
                <a:lnTo>
                  <a:pt x="0" y="76"/>
                </a:lnTo>
                <a:close/>
              </a:path>
            </a:pathLst>
          </a:custGeom>
          <a:solidFill>
            <a:srgbClr val="00B050"/>
          </a:solidFill>
          <a:ln w="19050" cap="flat" cmpd="sng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pt-BR" sz="2159" dirty="0">
              <a:solidFill>
                <a:srgbClr val="00B050"/>
              </a:solidFill>
            </a:endParaRPr>
          </a:p>
        </p:txBody>
      </p:sp>
      <p:sp>
        <p:nvSpPr>
          <p:cNvPr id="272" name="AutoShape 18"/>
          <p:cNvSpPr>
            <a:spLocks noChangeArrowheads="1"/>
          </p:cNvSpPr>
          <p:nvPr/>
        </p:nvSpPr>
        <p:spPr bwMode="auto">
          <a:xfrm rot="2700000">
            <a:off x="8593322" y="3035521"/>
            <a:ext cx="330693" cy="359821"/>
          </a:xfrm>
          <a:prstGeom prst="plus">
            <a:avLst>
              <a:gd name="adj" fmla="val 36669"/>
            </a:avLst>
          </a:prstGeom>
          <a:solidFill>
            <a:srgbClr val="C00000"/>
          </a:solidFill>
          <a:ln w="9525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2159" dirty="0">
              <a:solidFill>
                <a:srgbClr val="C00000"/>
              </a:solidFill>
            </a:endParaRPr>
          </a:p>
        </p:txBody>
      </p:sp>
      <p:sp>
        <p:nvSpPr>
          <p:cNvPr id="273" name="Rectangle 19"/>
          <p:cNvSpPr>
            <a:spLocks noChangeArrowheads="1"/>
          </p:cNvSpPr>
          <p:nvPr/>
        </p:nvSpPr>
        <p:spPr bwMode="auto">
          <a:xfrm>
            <a:off x="8603228" y="3748497"/>
            <a:ext cx="310881" cy="109060"/>
          </a:xfrm>
          <a:prstGeom prst="rect">
            <a:avLst/>
          </a:prstGeom>
          <a:solidFill>
            <a:srgbClr val="00B050"/>
          </a:solidFill>
          <a:ln w="9525">
            <a:solidFill>
              <a:srgbClr val="00B05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grpSp>
        <p:nvGrpSpPr>
          <p:cNvPr id="274" name="Group 34"/>
          <p:cNvGrpSpPr>
            <a:grpSpLocks/>
          </p:cNvGrpSpPr>
          <p:nvPr/>
        </p:nvGrpSpPr>
        <p:grpSpPr bwMode="auto">
          <a:xfrm>
            <a:off x="8500114" y="4673140"/>
            <a:ext cx="517110" cy="2027299"/>
            <a:chOff x="1204" y="2138"/>
            <a:chExt cx="273" cy="1162"/>
          </a:xfrm>
        </p:grpSpPr>
        <p:sp>
          <p:nvSpPr>
            <p:cNvPr id="275" name="Rectangle 35"/>
            <p:cNvSpPr>
              <a:spLocks noChangeArrowheads="1"/>
            </p:cNvSpPr>
            <p:nvPr/>
          </p:nvSpPr>
          <p:spPr bwMode="auto">
            <a:xfrm>
              <a:off x="1204" y="2138"/>
              <a:ext cx="273" cy="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defTabSz="1055447">
                <a:buClr>
                  <a:schemeClr val="tx2"/>
                </a:buClr>
              </a:pPr>
              <a:r>
                <a:rPr lang="en-US" sz="3885" dirty="0">
                  <a:solidFill>
                    <a:schemeClr val="tx2"/>
                  </a:solidFill>
                  <a:sym typeface="Wingdings" pitchFamily="2" charset="2"/>
                </a:rPr>
                <a:t></a:t>
              </a:r>
              <a:endParaRPr lang="en-US" sz="3885" dirty="0">
                <a:solidFill>
                  <a:schemeClr val="tx2"/>
                </a:solidFill>
              </a:endParaRPr>
            </a:p>
          </p:txBody>
        </p:sp>
        <p:sp>
          <p:nvSpPr>
            <p:cNvPr id="276" name="Rectangle 36"/>
            <p:cNvSpPr>
              <a:spLocks noChangeArrowheads="1"/>
            </p:cNvSpPr>
            <p:nvPr/>
          </p:nvSpPr>
          <p:spPr bwMode="auto">
            <a:xfrm>
              <a:off x="1204" y="2547"/>
              <a:ext cx="273" cy="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defTabSz="1055447">
                <a:buClr>
                  <a:schemeClr val="tx2"/>
                </a:buClr>
              </a:pPr>
              <a:r>
                <a:rPr lang="en-US" sz="3885" dirty="0">
                  <a:solidFill>
                    <a:schemeClr val="tx2"/>
                  </a:solidFill>
                  <a:sym typeface="Wingdings" pitchFamily="2" charset="2"/>
                </a:rPr>
                <a:t></a:t>
              </a:r>
              <a:endParaRPr lang="en-US" sz="3885" dirty="0">
                <a:solidFill>
                  <a:schemeClr val="tx2"/>
                </a:solidFill>
              </a:endParaRPr>
            </a:p>
          </p:txBody>
        </p:sp>
        <p:sp>
          <p:nvSpPr>
            <p:cNvPr id="277" name="Rectangle 37"/>
            <p:cNvSpPr>
              <a:spLocks noChangeArrowheads="1"/>
            </p:cNvSpPr>
            <p:nvPr/>
          </p:nvSpPr>
          <p:spPr bwMode="auto">
            <a:xfrm>
              <a:off x="1204" y="2957"/>
              <a:ext cx="273" cy="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defTabSz="1055447">
                <a:buClr>
                  <a:schemeClr val="tx2"/>
                </a:buClr>
              </a:pPr>
              <a:r>
                <a:rPr lang="en-US" sz="3885" dirty="0">
                  <a:solidFill>
                    <a:schemeClr val="tx2"/>
                  </a:solidFill>
                  <a:sym typeface="Wingdings" pitchFamily="2" charset="2"/>
                </a:rPr>
                <a:t></a:t>
              </a:r>
              <a:endParaRPr lang="en-US" sz="3885" dirty="0">
                <a:solidFill>
                  <a:schemeClr val="tx2"/>
                </a:solidFill>
              </a:endParaRPr>
            </a:p>
          </p:txBody>
        </p:sp>
      </p:grpSp>
      <p:sp>
        <p:nvSpPr>
          <p:cNvPr id="280" name="Rectangle 5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 flipH="1">
            <a:off x="9265710" y="4022868"/>
            <a:ext cx="466323" cy="730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310124" indent="-310124" defTabSz="738471">
              <a:spcBef>
                <a:spcPct val="30000"/>
              </a:spcBef>
            </a:pPr>
            <a:r>
              <a:rPr lang="pt-BR" sz="4749" b="1" dirty="0">
                <a:sym typeface="Wingdings" pitchFamily="2" charset="2"/>
              </a:rPr>
              <a:t></a:t>
            </a:r>
            <a:endParaRPr lang="pt-BR" sz="4749" b="1" dirty="0"/>
          </a:p>
        </p:txBody>
      </p:sp>
      <p:grpSp>
        <p:nvGrpSpPr>
          <p:cNvPr id="281" name="278 Grupo"/>
          <p:cNvGrpSpPr/>
          <p:nvPr/>
        </p:nvGrpSpPr>
        <p:grpSpPr>
          <a:xfrm>
            <a:off x="9226851" y="1178180"/>
            <a:ext cx="544041" cy="730841"/>
            <a:chOff x="7833320" y="1009411"/>
            <a:chExt cx="504056" cy="677127"/>
          </a:xfrm>
        </p:grpSpPr>
        <p:sp>
          <p:nvSpPr>
            <p:cNvPr id="282" name="Rectangle 9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flipH="1">
              <a:off x="7833320" y="1009411"/>
              <a:ext cx="504056" cy="677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marL="310124" indent="-310124" defTabSz="738471">
                <a:spcBef>
                  <a:spcPct val="30000"/>
                </a:spcBef>
              </a:pPr>
              <a:r>
                <a:rPr lang="en-US" sz="4749" b="1" dirty="0">
                  <a:sym typeface="Wingdings" pitchFamily="2" charset="2"/>
                </a:rPr>
                <a:t></a:t>
              </a:r>
              <a:endParaRPr lang="en-US" sz="4749" b="1" dirty="0"/>
            </a:p>
          </p:txBody>
        </p:sp>
        <p:grpSp>
          <p:nvGrpSpPr>
            <p:cNvPr id="283" name="Group 10"/>
            <p:cNvGrpSpPr>
              <a:grpSpLocks/>
            </p:cNvGrpSpPr>
            <p:nvPr/>
          </p:nvGrpSpPr>
          <p:grpSpPr bwMode="auto">
            <a:xfrm flipH="1">
              <a:off x="7867804" y="1171169"/>
              <a:ext cx="418945" cy="246324"/>
              <a:chOff x="3425" y="1615"/>
              <a:chExt cx="35" cy="152"/>
            </a:xfrm>
          </p:grpSpPr>
          <p:sp>
            <p:nvSpPr>
              <p:cNvPr id="284" name="Line 11"/>
              <p:cNvSpPr>
                <a:spLocks noChangeShapeType="1"/>
              </p:cNvSpPr>
              <p:nvPr/>
            </p:nvSpPr>
            <p:spPr bwMode="blackWhite">
              <a:xfrm>
                <a:off x="3425" y="1615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85" name="Line 12"/>
              <p:cNvSpPr>
                <a:spLocks noChangeShapeType="1"/>
              </p:cNvSpPr>
              <p:nvPr/>
            </p:nvSpPr>
            <p:spPr bwMode="blackWhite">
              <a:xfrm>
                <a:off x="3425" y="1652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86" name="Line 13"/>
              <p:cNvSpPr>
                <a:spLocks noChangeShapeType="1"/>
              </p:cNvSpPr>
              <p:nvPr/>
            </p:nvSpPr>
            <p:spPr bwMode="blackWhite">
              <a:xfrm>
                <a:off x="3425" y="1690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87" name="Line 14"/>
              <p:cNvSpPr>
                <a:spLocks noChangeShapeType="1"/>
              </p:cNvSpPr>
              <p:nvPr/>
            </p:nvSpPr>
            <p:spPr bwMode="blackWhite">
              <a:xfrm>
                <a:off x="3425" y="1727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  <p:sp>
            <p:nvSpPr>
              <p:cNvPr id="288" name="Line 14"/>
              <p:cNvSpPr>
                <a:spLocks noChangeShapeType="1"/>
              </p:cNvSpPr>
              <p:nvPr/>
            </p:nvSpPr>
            <p:spPr bwMode="blackWhite">
              <a:xfrm>
                <a:off x="3425" y="1767"/>
                <a:ext cx="35" cy="0"/>
              </a:xfrm>
              <a:prstGeom prst="line">
                <a:avLst/>
              </a:prstGeom>
              <a:noFill/>
              <a:ln w="31750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ca-ES" sz="2159">
                  <a:solidFill>
                    <a:srgbClr val="00B050"/>
                  </a:solidFill>
                </a:endParaRPr>
              </a:p>
            </p:txBody>
          </p:sp>
        </p:grpSp>
      </p:grpSp>
      <p:sp>
        <p:nvSpPr>
          <p:cNvPr id="289" name="Freeform 16"/>
          <p:cNvSpPr>
            <a:spLocks/>
          </p:cNvSpPr>
          <p:nvPr>
            <p:custDataLst>
              <p:tags r:id="rId45"/>
            </p:custDataLst>
          </p:nvPr>
        </p:nvSpPr>
        <p:spPr bwMode="blackWhite">
          <a:xfrm>
            <a:off x="9306110" y="2437125"/>
            <a:ext cx="385523" cy="346113"/>
          </a:xfrm>
          <a:custGeom>
            <a:avLst/>
            <a:gdLst/>
            <a:ahLst/>
            <a:cxnLst>
              <a:cxn ang="0">
                <a:pos x="0" y="76"/>
              </a:cxn>
              <a:cxn ang="0">
                <a:pos x="12" y="83"/>
              </a:cxn>
              <a:cxn ang="0">
                <a:pos x="18" y="90"/>
              </a:cxn>
              <a:cxn ang="0">
                <a:pos x="27" y="105"/>
              </a:cxn>
              <a:cxn ang="0">
                <a:pos x="36" y="126"/>
              </a:cxn>
              <a:cxn ang="0">
                <a:pos x="37" y="131"/>
              </a:cxn>
              <a:cxn ang="0">
                <a:pos x="48" y="123"/>
              </a:cxn>
              <a:cxn ang="0">
                <a:pos x="58" y="117"/>
              </a:cxn>
              <a:cxn ang="0">
                <a:pos x="62" y="107"/>
              </a:cxn>
              <a:cxn ang="0">
                <a:pos x="76" y="85"/>
              </a:cxn>
              <a:cxn ang="0">
                <a:pos x="98" y="55"/>
              </a:cxn>
              <a:cxn ang="0">
                <a:pos x="121" y="30"/>
              </a:cxn>
              <a:cxn ang="0">
                <a:pos x="135" y="15"/>
              </a:cxn>
              <a:cxn ang="0">
                <a:pos x="147" y="5"/>
              </a:cxn>
              <a:cxn ang="0">
                <a:pos x="143" y="0"/>
              </a:cxn>
              <a:cxn ang="0">
                <a:pos x="131" y="7"/>
              </a:cxn>
              <a:cxn ang="0">
                <a:pos x="115" y="19"/>
              </a:cxn>
              <a:cxn ang="0">
                <a:pos x="99" y="32"/>
              </a:cxn>
              <a:cxn ang="0">
                <a:pos x="80" y="52"/>
              </a:cxn>
              <a:cxn ang="0">
                <a:pos x="64" y="69"/>
              </a:cxn>
              <a:cxn ang="0">
                <a:pos x="57" y="80"/>
              </a:cxn>
              <a:cxn ang="0">
                <a:pos x="49" y="90"/>
              </a:cxn>
              <a:cxn ang="0">
                <a:pos x="46" y="96"/>
              </a:cxn>
              <a:cxn ang="0">
                <a:pos x="43" y="88"/>
              </a:cxn>
              <a:cxn ang="0">
                <a:pos x="40" y="82"/>
              </a:cxn>
              <a:cxn ang="0">
                <a:pos x="36" y="75"/>
              </a:cxn>
              <a:cxn ang="0">
                <a:pos x="32" y="70"/>
              </a:cxn>
              <a:cxn ang="0">
                <a:pos x="27" y="68"/>
              </a:cxn>
              <a:cxn ang="0">
                <a:pos x="22" y="68"/>
              </a:cxn>
              <a:cxn ang="0">
                <a:pos x="19" y="69"/>
              </a:cxn>
              <a:cxn ang="0">
                <a:pos x="14" y="72"/>
              </a:cxn>
              <a:cxn ang="0">
                <a:pos x="10" y="75"/>
              </a:cxn>
              <a:cxn ang="0">
                <a:pos x="0" y="76"/>
              </a:cxn>
            </a:cxnLst>
            <a:rect l="0" t="0" r="r" b="b"/>
            <a:pathLst>
              <a:path w="147" h="131">
                <a:moveTo>
                  <a:pt x="0" y="76"/>
                </a:moveTo>
                <a:lnTo>
                  <a:pt x="12" y="83"/>
                </a:lnTo>
                <a:lnTo>
                  <a:pt x="18" y="90"/>
                </a:lnTo>
                <a:lnTo>
                  <a:pt x="27" y="105"/>
                </a:lnTo>
                <a:lnTo>
                  <a:pt x="36" y="126"/>
                </a:lnTo>
                <a:lnTo>
                  <a:pt x="37" y="131"/>
                </a:lnTo>
                <a:lnTo>
                  <a:pt x="48" y="123"/>
                </a:lnTo>
                <a:lnTo>
                  <a:pt x="58" y="117"/>
                </a:lnTo>
                <a:lnTo>
                  <a:pt x="62" y="107"/>
                </a:lnTo>
                <a:lnTo>
                  <a:pt x="76" y="85"/>
                </a:lnTo>
                <a:lnTo>
                  <a:pt x="98" y="55"/>
                </a:lnTo>
                <a:lnTo>
                  <a:pt x="121" y="30"/>
                </a:lnTo>
                <a:lnTo>
                  <a:pt x="135" y="15"/>
                </a:lnTo>
                <a:lnTo>
                  <a:pt x="147" y="5"/>
                </a:lnTo>
                <a:lnTo>
                  <a:pt x="143" y="0"/>
                </a:lnTo>
                <a:lnTo>
                  <a:pt x="131" y="7"/>
                </a:lnTo>
                <a:lnTo>
                  <a:pt x="115" y="19"/>
                </a:lnTo>
                <a:lnTo>
                  <a:pt x="99" y="32"/>
                </a:lnTo>
                <a:lnTo>
                  <a:pt x="80" y="52"/>
                </a:lnTo>
                <a:lnTo>
                  <a:pt x="64" y="69"/>
                </a:lnTo>
                <a:lnTo>
                  <a:pt x="57" y="80"/>
                </a:lnTo>
                <a:lnTo>
                  <a:pt x="49" y="90"/>
                </a:lnTo>
                <a:lnTo>
                  <a:pt x="46" y="96"/>
                </a:lnTo>
                <a:lnTo>
                  <a:pt x="43" y="88"/>
                </a:lnTo>
                <a:lnTo>
                  <a:pt x="40" y="82"/>
                </a:lnTo>
                <a:lnTo>
                  <a:pt x="36" y="75"/>
                </a:lnTo>
                <a:lnTo>
                  <a:pt x="32" y="70"/>
                </a:lnTo>
                <a:lnTo>
                  <a:pt x="27" y="68"/>
                </a:lnTo>
                <a:lnTo>
                  <a:pt x="22" y="68"/>
                </a:lnTo>
                <a:lnTo>
                  <a:pt x="19" y="69"/>
                </a:lnTo>
                <a:lnTo>
                  <a:pt x="14" y="72"/>
                </a:lnTo>
                <a:lnTo>
                  <a:pt x="10" y="75"/>
                </a:lnTo>
                <a:lnTo>
                  <a:pt x="0" y="76"/>
                </a:lnTo>
                <a:close/>
              </a:path>
            </a:pathLst>
          </a:custGeom>
          <a:noFill/>
          <a:ln w="19050" cap="flat" cmpd="sng">
            <a:solidFill>
              <a:schemeClr val="tx1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290" name="Freeform 17"/>
          <p:cNvSpPr>
            <a:spLocks/>
          </p:cNvSpPr>
          <p:nvPr>
            <p:custDataLst>
              <p:tags r:id="rId46"/>
            </p:custDataLst>
          </p:nvPr>
        </p:nvSpPr>
        <p:spPr bwMode="blackWhite">
          <a:xfrm>
            <a:off x="9306110" y="1970804"/>
            <a:ext cx="385523" cy="346113"/>
          </a:xfrm>
          <a:custGeom>
            <a:avLst/>
            <a:gdLst/>
            <a:ahLst/>
            <a:cxnLst>
              <a:cxn ang="0">
                <a:pos x="0" y="76"/>
              </a:cxn>
              <a:cxn ang="0">
                <a:pos x="12" y="83"/>
              </a:cxn>
              <a:cxn ang="0">
                <a:pos x="18" y="90"/>
              </a:cxn>
              <a:cxn ang="0">
                <a:pos x="27" y="105"/>
              </a:cxn>
              <a:cxn ang="0">
                <a:pos x="36" y="126"/>
              </a:cxn>
              <a:cxn ang="0">
                <a:pos x="37" y="131"/>
              </a:cxn>
              <a:cxn ang="0">
                <a:pos x="48" y="123"/>
              </a:cxn>
              <a:cxn ang="0">
                <a:pos x="58" y="117"/>
              </a:cxn>
              <a:cxn ang="0">
                <a:pos x="62" y="107"/>
              </a:cxn>
              <a:cxn ang="0">
                <a:pos x="76" y="85"/>
              </a:cxn>
              <a:cxn ang="0">
                <a:pos x="98" y="55"/>
              </a:cxn>
              <a:cxn ang="0">
                <a:pos x="121" y="30"/>
              </a:cxn>
              <a:cxn ang="0">
                <a:pos x="135" y="15"/>
              </a:cxn>
              <a:cxn ang="0">
                <a:pos x="147" y="5"/>
              </a:cxn>
              <a:cxn ang="0">
                <a:pos x="143" y="0"/>
              </a:cxn>
              <a:cxn ang="0">
                <a:pos x="131" y="7"/>
              </a:cxn>
              <a:cxn ang="0">
                <a:pos x="115" y="19"/>
              </a:cxn>
              <a:cxn ang="0">
                <a:pos x="99" y="32"/>
              </a:cxn>
              <a:cxn ang="0">
                <a:pos x="80" y="52"/>
              </a:cxn>
              <a:cxn ang="0">
                <a:pos x="64" y="69"/>
              </a:cxn>
              <a:cxn ang="0">
                <a:pos x="57" y="80"/>
              </a:cxn>
              <a:cxn ang="0">
                <a:pos x="49" y="90"/>
              </a:cxn>
              <a:cxn ang="0">
                <a:pos x="46" y="96"/>
              </a:cxn>
              <a:cxn ang="0">
                <a:pos x="43" y="88"/>
              </a:cxn>
              <a:cxn ang="0">
                <a:pos x="40" y="82"/>
              </a:cxn>
              <a:cxn ang="0">
                <a:pos x="36" y="75"/>
              </a:cxn>
              <a:cxn ang="0">
                <a:pos x="32" y="70"/>
              </a:cxn>
              <a:cxn ang="0">
                <a:pos x="27" y="68"/>
              </a:cxn>
              <a:cxn ang="0">
                <a:pos x="22" y="68"/>
              </a:cxn>
              <a:cxn ang="0">
                <a:pos x="19" y="69"/>
              </a:cxn>
              <a:cxn ang="0">
                <a:pos x="14" y="72"/>
              </a:cxn>
              <a:cxn ang="0">
                <a:pos x="10" y="75"/>
              </a:cxn>
              <a:cxn ang="0">
                <a:pos x="0" y="76"/>
              </a:cxn>
            </a:cxnLst>
            <a:rect l="0" t="0" r="r" b="b"/>
            <a:pathLst>
              <a:path w="147" h="131">
                <a:moveTo>
                  <a:pt x="0" y="76"/>
                </a:moveTo>
                <a:lnTo>
                  <a:pt x="12" y="83"/>
                </a:lnTo>
                <a:lnTo>
                  <a:pt x="18" y="90"/>
                </a:lnTo>
                <a:lnTo>
                  <a:pt x="27" y="105"/>
                </a:lnTo>
                <a:lnTo>
                  <a:pt x="36" y="126"/>
                </a:lnTo>
                <a:lnTo>
                  <a:pt x="37" y="131"/>
                </a:lnTo>
                <a:lnTo>
                  <a:pt x="48" y="123"/>
                </a:lnTo>
                <a:lnTo>
                  <a:pt x="58" y="117"/>
                </a:lnTo>
                <a:lnTo>
                  <a:pt x="62" y="107"/>
                </a:lnTo>
                <a:lnTo>
                  <a:pt x="76" y="85"/>
                </a:lnTo>
                <a:lnTo>
                  <a:pt x="98" y="55"/>
                </a:lnTo>
                <a:lnTo>
                  <a:pt x="121" y="30"/>
                </a:lnTo>
                <a:lnTo>
                  <a:pt x="135" y="15"/>
                </a:lnTo>
                <a:lnTo>
                  <a:pt x="147" y="5"/>
                </a:lnTo>
                <a:lnTo>
                  <a:pt x="143" y="0"/>
                </a:lnTo>
                <a:lnTo>
                  <a:pt x="131" y="7"/>
                </a:lnTo>
                <a:lnTo>
                  <a:pt x="115" y="19"/>
                </a:lnTo>
                <a:lnTo>
                  <a:pt x="99" y="32"/>
                </a:lnTo>
                <a:lnTo>
                  <a:pt x="80" y="52"/>
                </a:lnTo>
                <a:lnTo>
                  <a:pt x="64" y="69"/>
                </a:lnTo>
                <a:lnTo>
                  <a:pt x="57" y="80"/>
                </a:lnTo>
                <a:lnTo>
                  <a:pt x="49" y="90"/>
                </a:lnTo>
                <a:lnTo>
                  <a:pt x="46" y="96"/>
                </a:lnTo>
                <a:lnTo>
                  <a:pt x="43" y="88"/>
                </a:lnTo>
                <a:lnTo>
                  <a:pt x="40" y="82"/>
                </a:lnTo>
                <a:lnTo>
                  <a:pt x="36" y="75"/>
                </a:lnTo>
                <a:lnTo>
                  <a:pt x="32" y="70"/>
                </a:lnTo>
                <a:lnTo>
                  <a:pt x="27" y="68"/>
                </a:lnTo>
                <a:lnTo>
                  <a:pt x="22" y="68"/>
                </a:lnTo>
                <a:lnTo>
                  <a:pt x="19" y="69"/>
                </a:lnTo>
                <a:lnTo>
                  <a:pt x="14" y="72"/>
                </a:lnTo>
                <a:lnTo>
                  <a:pt x="10" y="75"/>
                </a:lnTo>
                <a:lnTo>
                  <a:pt x="0" y="76"/>
                </a:lnTo>
                <a:close/>
              </a:path>
            </a:pathLst>
          </a:custGeom>
          <a:solidFill>
            <a:schemeClr val="tx1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pt-BR" sz="2159" dirty="0">
              <a:solidFill>
                <a:srgbClr val="00B050"/>
              </a:solidFill>
            </a:endParaRPr>
          </a:p>
        </p:txBody>
      </p:sp>
      <p:sp>
        <p:nvSpPr>
          <p:cNvPr id="292" name="Rectangle 19"/>
          <p:cNvSpPr>
            <a:spLocks noChangeArrowheads="1"/>
          </p:cNvSpPr>
          <p:nvPr/>
        </p:nvSpPr>
        <p:spPr bwMode="auto">
          <a:xfrm>
            <a:off x="9343431" y="3758367"/>
            <a:ext cx="310881" cy="10906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293" name="AutoShape 18"/>
          <p:cNvSpPr>
            <a:spLocks noChangeArrowheads="1"/>
          </p:cNvSpPr>
          <p:nvPr/>
        </p:nvSpPr>
        <p:spPr bwMode="auto">
          <a:xfrm rot="2700000">
            <a:off x="9333525" y="3035519"/>
            <a:ext cx="330693" cy="359821"/>
          </a:xfrm>
          <a:prstGeom prst="plus">
            <a:avLst>
              <a:gd name="adj" fmla="val 36669"/>
            </a:avLst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pt-BR" sz="2159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883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to 6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97378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19" imgW="325" imgH="325" progId="TCLayout.ActiveDocument.1">
                  <p:embed/>
                </p:oleObj>
              </mc:Choice>
              <mc:Fallback>
                <p:oleObj name="think-cell Slide" r:id="rId19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7015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27737" y="1472311"/>
            <a:ext cx="1612338" cy="1422121"/>
          </a:xfrm>
          <a:prstGeom prst="homePlate">
            <a:avLst>
              <a:gd name="adj" fmla="val 20245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7712" tIns="38856" rIns="77712" bIns="38856" anchor="ctr"/>
          <a:lstStyle/>
          <a:p>
            <a:pPr algn="ctr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1067016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7736" y="3361760"/>
            <a:ext cx="1610626" cy="1422121"/>
          </a:xfrm>
          <a:prstGeom prst="chevron">
            <a:avLst>
              <a:gd name="adj" fmla="val 21143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77712" tIns="38856" rIns="77712" bIns="38856" anchor="ctr"/>
          <a:lstStyle/>
          <a:p>
            <a:pPr algn="ctr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36" name="35 Título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pt-BR" dirty="0" err="1" smtClean="0"/>
              <a:t>Procesos</a:t>
            </a:r>
            <a:endParaRPr lang="pt-BR" dirty="0"/>
          </a:p>
        </p:txBody>
      </p:sp>
      <p:sp>
        <p:nvSpPr>
          <p:cNvPr id="37" name="36 Marcador de texto"/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/>
        <p:txBody>
          <a:bodyPr/>
          <a:lstStyle/>
          <a:p>
            <a:pPr lvl="0"/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 smtClean="0"/>
          </a:p>
        </p:txBody>
      </p:sp>
      <p:grpSp>
        <p:nvGrpSpPr>
          <p:cNvPr id="2" name="Grupo 68"/>
          <p:cNvGrpSpPr/>
          <p:nvPr/>
        </p:nvGrpSpPr>
        <p:grpSpPr>
          <a:xfrm>
            <a:off x="2371389" y="1472298"/>
            <a:ext cx="7451713" cy="1422148"/>
            <a:chOff x="1420813" y="7739063"/>
            <a:chExt cx="6904037" cy="1317625"/>
          </a:xfrm>
        </p:grpSpPr>
        <p:grpSp>
          <p:nvGrpSpPr>
            <p:cNvPr id="3" name="Grupo 67"/>
            <p:cNvGrpSpPr/>
            <p:nvPr/>
          </p:nvGrpSpPr>
          <p:grpSpPr>
            <a:xfrm>
              <a:off x="1420813" y="7739063"/>
              <a:ext cx="1574800" cy="1317624"/>
              <a:chOff x="1420813" y="7739063"/>
              <a:chExt cx="1574800" cy="1317624"/>
            </a:xfrm>
            <a:solidFill>
              <a:schemeClr val="bg2"/>
            </a:solidFill>
          </p:grpSpPr>
          <p:sp>
            <p:nvSpPr>
              <p:cNvPr id="145413" name="Freeform 5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420813" y="7739063"/>
                <a:ext cx="1574800" cy="635000"/>
              </a:xfrm>
              <a:custGeom>
                <a:avLst/>
                <a:gdLst/>
                <a:ahLst/>
                <a:cxnLst>
                  <a:cxn ang="0">
                    <a:pos x="3970" y="0"/>
                  </a:cxn>
                  <a:cxn ang="0">
                    <a:pos x="0" y="0"/>
                  </a:cxn>
                  <a:cxn ang="0">
                    <a:pos x="0" y="1933"/>
                  </a:cxn>
                  <a:cxn ang="0">
                    <a:pos x="4795" y="1933"/>
                  </a:cxn>
                  <a:cxn ang="0">
                    <a:pos x="3970" y="0"/>
                  </a:cxn>
                </a:cxnLst>
                <a:rect l="0" t="0" r="r" b="b"/>
                <a:pathLst>
                  <a:path w="4795" h="1933">
                    <a:moveTo>
                      <a:pt x="3970" y="0"/>
                    </a:moveTo>
                    <a:lnTo>
                      <a:pt x="0" y="0"/>
                    </a:lnTo>
                    <a:lnTo>
                      <a:pt x="0" y="1933"/>
                    </a:lnTo>
                    <a:lnTo>
                      <a:pt x="4795" y="1933"/>
                    </a:lnTo>
                    <a:lnTo>
                      <a:pt x="3970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14" name="Freeform 6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420813" y="8423275"/>
                <a:ext cx="1574800" cy="633412"/>
              </a:xfrm>
              <a:custGeom>
                <a:avLst/>
                <a:gdLst/>
                <a:ahLst/>
                <a:cxnLst>
                  <a:cxn ang="0">
                    <a:pos x="3970" y="1932"/>
                  </a:cxn>
                  <a:cxn ang="0">
                    <a:pos x="0" y="1932"/>
                  </a:cxn>
                  <a:cxn ang="0">
                    <a:pos x="0" y="0"/>
                  </a:cxn>
                  <a:cxn ang="0">
                    <a:pos x="4795" y="0"/>
                  </a:cxn>
                  <a:cxn ang="0">
                    <a:pos x="3970" y="1932"/>
                  </a:cxn>
                </a:cxnLst>
                <a:rect l="0" t="0" r="r" b="b"/>
                <a:pathLst>
                  <a:path w="4795" h="1932">
                    <a:moveTo>
                      <a:pt x="3970" y="1932"/>
                    </a:moveTo>
                    <a:lnTo>
                      <a:pt x="0" y="1932"/>
                    </a:lnTo>
                    <a:lnTo>
                      <a:pt x="0" y="0"/>
                    </a:lnTo>
                    <a:lnTo>
                      <a:pt x="4795" y="0"/>
                    </a:lnTo>
                    <a:lnTo>
                      <a:pt x="3970" y="19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</p:grpSp>
        <p:grpSp>
          <p:nvGrpSpPr>
            <p:cNvPr id="4" name="Grupo 66"/>
            <p:cNvGrpSpPr/>
            <p:nvPr/>
          </p:nvGrpSpPr>
          <p:grpSpPr>
            <a:xfrm>
              <a:off x="2922059" y="7739063"/>
              <a:ext cx="1847850" cy="1317624"/>
              <a:chOff x="2849563" y="7739063"/>
              <a:chExt cx="1847850" cy="1317624"/>
            </a:xfrm>
            <a:solidFill>
              <a:schemeClr val="bg2"/>
            </a:solidFill>
          </p:grpSpPr>
          <p:sp>
            <p:nvSpPr>
              <p:cNvPr id="145415" name="Freeform 7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2849563" y="7739063"/>
                <a:ext cx="1847850" cy="635000"/>
              </a:xfrm>
              <a:custGeom>
                <a:avLst/>
                <a:gdLst/>
                <a:ahLst/>
                <a:cxnLst>
                  <a:cxn ang="0">
                    <a:pos x="4801" y="0"/>
                  </a:cxn>
                  <a:cxn ang="0">
                    <a:pos x="0" y="0"/>
                  </a:cxn>
                  <a:cxn ang="0">
                    <a:pos x="831" y="1933"/>
                  </a:cxn>
                  <a:cxn ang="0">
                    <a:pos x="5625" y="1933"/>
                  </a:cxn>
                  <a:cxn ang="0">
                    <a:pos x="4801" y="0"/>
                  </a:cxn>
                </a:cxnLst>
                <a:rect l="0" t="0" r="r" b="b"/>
                <a:pathLst>
                  <a:path w="5625" h="1933">
                    <a:moveTo>
                      <a:pt x="4801" y="0"/>
                    </a:moveTo>
                    <a:lnTo>
                      <a:pt x="0" y="0"/>
                    </a:lnTo>
                    <a:lnTo>
                      <a:pt x="831" y="1933"/>
                    </a:lnTo>
                    <a:lnTo>
                      <a:pt x="5625" y="1933"/>
                    </a:lnTo>
                    <a:lnTo>
                      <a:pt x="4801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16" name="Freeform 8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849563" y="8423275"/>
                <a:ext cx="1847850" cy="633412"/>
              </a:xfrm>
              <a:custGeom>
                <a:avLst/>
                <a:gdLst/>
                <a:ahLst/>
                <a:cxnLst>
                  <a:cxn ang="0">
                    <a:pos x="4801" y="1932"/>
                  </a:cxn>
                  <a:cxn ang="0">
                    <a:pos x="0" y="1932"/>
                  </a:cxn>
                  <a:cxn ang="0">
                    <a:pos x="831" y="0"/>
                  </a:cxn>
                  <a:cxn ang="0">
                    <a:pos x="5625" y="0"/>
                  </a:cxn>
                  <a:cxn ang="0">
                    <a:pos x="4801" y="1932"/>
                  </a:cxn>
                </a:cxnLst>
                <a:rect l="0" t="0" r="r" b="b"/>
                <a:pathLst>
                  <a:path w="5625" h="1932">
                    <a:moveTo>
                      <a:pt x="4801" y="1932"/>
                    </a:moveTo>
                    <a:lnTo>
                      <a:pt x="0" y="1932"/>
                    </a:lnTo>
                    <a:lnTo>
                      <a:pt x="831" y="0"/>
                    </a:lnTo>
                    <a:lnTo>
                      <a:pt x="5625" y="0"/>
                    </a:lnTo>
                    <a:lnTo>
                      <a:pt x="4801" y="193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</p:grpSp>
        <p:grpSp>
          <p:nvGrpSpPr>
            <p:cNvPr id="5" name="Grupo 64"/>
            <p:cNvGrpSpPr/>
            <p:nvPr/>
          </p:nvGrpSpPr>
          <p:grpSpPr>
            <a:xfrm>
              <a:off x="6477000" y="7739063"/>
              <a:ext cx="1847850" cy="1317625"/>
              <a:chOff x="6235700" y="7739063"/>
              <a:chExt cx="1847850" cy="1317625"/>
            </a:xfrm>
            <a:solidFill>
              <a:schemeClr val="bg2"/>
            </a:solidFill>
          </p:grpSpPr>
          <p:sp>
            <p:nvSpPr>
              <p:cNvPr id="145417" name="Freeform 9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6235700" y="7739063"/>
                <a:ext cx="1703387" cy="298450"/>
              </a:xfrm>
              <a:custGeom>
                <a:avLst/>
                <a:gdLst/>
                <a:ahLst/>
                <a:cxnLst>
                  <a:cxn ang="0">
                    <a:pos x="4800" y="0"/>
                  </a:cxn>
                  <a:cxn ang="0">
                    <a:pos x="5187" y="908"/>
                  </a:cxn>
                  <a:cxn ang="0">
                    <a:pos x="390" y="908"/>
                  </a:cxn>
                  <a:cxn ang="0">
                    <a:pos x="0" y="0"/>
                  </a:cxn>
                  <a:cxn ang="0">
                    <a:pos x="4800" y="0"/>
                  </a:cxn>
                </a:cxnLst>
                <a:rect l="0" t="0" r="r" b="b"/>
                <a:pathLst>
                  <a:path w="5187" h="908">
                    <a:moveTo>
                      <a:pt x="4800" y="0"/>
                    </a:moveTo>
                    <a:lnTo>
                      <a:pt x="5187" y="908"/>
                    </a:lnTo>
                    <a:lnTo>
                      <a:pt x="390" y="908"/>
                    </a:lnTo>
                    <a:lnTo>
                      <a:pt x="0" y="0"/>
                    </a:lnTo>
                    <a:lnTo>
                      <a:pt x="4800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18" name="Freeform 10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384925" y="8086725"/>
                <a:ext cx="1698625" cy="28733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798" y="0"/>
                  </a:cxn>
                  <a:cxn ang="0">
                    <a:pos x="5171" y="876"/>
                  </a:cxn>
                  <a:cxn ang="0">
                    <a:pos x="377" y="876"/>
                  </a:cxn>
                  <a:cxn ang="0">
                    <a:pos x="0" y="0"/>
                  </a:cxn>
                </a:cxnLst>
                <a:rect l="0" t="0" r="r" b="b"/>
                <a:pathLst>
                  <a:path w="5171" h="876">
                    <a:moveTo>
                      <a:pt x="0" y="0"/>
                    </a:moveTo>
                    <a:lnTo>
                      <a:pt x="4798" y="0"/>
                    </a:lnTo>
                    <a:lnTo>
                      <a:pt x="5171" y="876"/>
                    </a:lnTo>
                    <a:lnTo>
                      <a:pt x="377" y="87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19" name="Freeform 11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383338" y="8423275"/>
                <a:ext cx="1700212" cy="292100"/>
              </a:xfrm>
              <a:custGeom>
                <a:avLst/>
                <a:gdLst/>
                <a:ahLst/>
                <a:cxnLst>
                  <a:cxn ang="0">
                    <a:pos x="0" y="892"/>
                  </a:cxn>
                  <a:cxn ang="0">
                    <a:pos x="4797" y="892"/>
                  </a:cxn>
                  <a:cxn ang="0">
                    <a:pos x="5177" y="0"/>
                  </a:cxn>
                  <a:cxn ang="0">
                    <a:pos x="383" y="0"/>
                  </a:cxn>
                  <a:cxn ang="0">
                    <a:pos x="0" y="892"/>
                  </a:cxn>
                </a:cxnLst>
                <a:rect l="0" t="0" r="r" b="b"/>
                <a:pathLst>
                  <a:path w="5177" h="892">
                    <a:moveTo>
                      <a:pt x="0" y="892"/>
                    </a:moveTo>
                    <a:lnTo>
                      <a:pt x="4797" y="892"/>
                    </a:lnTo>
                    <a:lnTo>
                      <a:pt x="5177" y="0"/>
                    </a:lnTo>
                    <a:lnTo>
                      <a:pt x="383" y="0"/>
                    </a:lnTo>
                    <a:lnTo>
                      <a:pt x="0" y="89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20" name="Freeform 12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235700" y="8764588"/>
                <a:ext cx="1701800" cy="292100"/>
              </a:xfrm>
              <a:custGeom>
                <a:avLst/>
                <a:gdLst/>
                <a:ahLst/>
                <a:cxnLst>
                  <a:cxn ang="0">
                    <a:pos x="383" y="0"/>
                  </a:cxn>
                  <a:cxn ang="0">
                    <a:pos x="5181" y="0"/>
                  </a:cxn>
                  <a:cxn ang="0">
                    <a:pos x="4800" y="892"/>
                  </a:cxn>
                  <a:cxn ang="0">
                    <a:pos x="0" y="892"/>
                  </a:cxn>
                  <a:cxn ang="0">
                    <a:pos x="383" y="0"/>
                  </a:cxn>
                </a:cxnLst>
                <a:rect l="0" t="0" r="r" b="b"/>
                <a:pathLst>
                  <a:path w="5181" h="892">
                    <a:moveTo>
                      <a:pt x="383" y="0"/>
                    </a:moveTo>
                    <a:lnTo>
                      <a:pt x="5181" y="0"/>
                    </a:lnTo>
                    <a:lnTo>
                      <a:pt x="4800" y="892"/>
                    </a:lnTo>
                    <a:lnTo>
                      <a:pt x="0" y="892"/>
                    </a:lnTo>
                    <a:lnTo>
                      <a:pt x="383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</p:grpSp>
        <p:grpSp>
          <p:nvGrpSpPr>
            <p:cNvPr id="6" name="Grupo 65"/>
            <p:cNvGrpSpPr/>
            <p:nvPr/>
          </p:nvGrpSpPr>
          <p:grpSpPr>
            <a:xfrm>
              <a:off x="4696355" y="7739063"/>
              <a:ext cx="1854199" cy="1317624"/>
              <a:chOff x="4532313" y="7739063"/>
              <a:chExt cx="1854199" cy="1317624"/>
            </a:xfrm>
            <a:solidFill>
              <a:schemeClr val="bg2"/>
            </a:solidFill>
          </p:grpSpPr>
          <p:sp>
            <p:nvSpPr>
              <p:cNvPr id="145428" name="Freeform 20"/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532313" y="8651875"/>
                <a:ext cx="1749425" cy="404812"/>
              </a:xfrm>
              <a:custGeom>
                <a:avLst/>
                <a:gdLst/>
                <a:ahLst/>
                <a:cxnLst>
                  <a:cxn ang="0">
                    <a:pos x="529" y="0"/>
                  </a:cxn>
                  <a:cxn ang="0">
                    <a:pos x="0" y="1233"/>
                  </a:cxn>
                  <a:cxn ang="0">
                    <a:pos x="4800" y="1233"/>
                  </a:cxn>
                  <a:cxn ang="0">
                    <a:pos x="5326" y="0"/>
                  </a:cxn>
                  <a:cxn ang="0">
                    <a:pos x="529" y="0"/>
                  </a:cxn>
                </a:cxnLst>
                <a:rect l="0" t="0" r="r" b="b"/>
                <a:pathLst>
                  <a:path w="5326" h="1233">
                    <a:moveTo>
                      <a:pt x="529" y="0"/>
                    </a:moveTo>
                    <a:lnTo>
                      <a:pt x="0" y="1233"/>
                    </a:lnTo>
                    <a:lnTo>
                      <a:pt x="4800" y="1233"/>
                    </a:lnTo>
                    <a:lnTo>
                      <a:pt x="5326" y="0"/>
                    </a:lnTo>
                    <a:lnTo>
                      <a:pt x="529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26" name="Freeform 18"/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532313" y="7739063"/>
                <a:ext cx="1751012" cy="407987"/>
              </a:xfrm>
              <a:custGeom>
                <a:avLst/>
                <a:gdLst/>
                <a:ahLst/>
                <a:cxnLst>
                  <a:cxn ang="0">
                    <a:pos x="533" y="1242"/>
                  </a:cxn>
                  <a:cxn ang="0">
                    <a:pos x="0" y="0"/>
                  </a:cxn>
                  <a:cxn ang="0">
                    <a:pos x="4800" y="0"/>
                  </a:cxn>
                  <a:cxn ang="0">
                    <a:pos x="5330" y="1242"/>
                  </a:cxn>
                  <a:cxn ang="0">
                    <a:pos x="533" y="1242"/>
                  </a:cxn>
                </a:cxnLst>
                <a:rect l="0" t="0" r="r" b="b"/>
                <a:pathLst>
                  <a:path w="5330" h="1242">
                    <a:moveTo>
                      <a:pt x="533" y="1242"/>
                    </a:moveTo>
                    <a:lnTo>
                      <a:pt x="0" y="0"/>
                    </a:lnTo>
                    <a:lnTo>
                      <a:pt x="4800" y="0"/>
                    </a:lnTo>
                    <a:lnTo>
                      <a:pt x="5330" y="1242"/>
                    </a:lnTo>
                    <a:lnTo>
                      <a:pt x="533" y="1242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  <p:sp>
            <p:nvSpPr>
              <p:cNvPr id="145427" name="Freeform 19"/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727575" y="8196263"/>
                <a:ext cx="1658937" cy="40798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800" y="0"/>
                  </a:cxn>
                  <a:cxn ang="0">
                    <a:pos x="5050" y="601"/>
                  </a:cxn>
                  <a:cxn ang="0">
                    <a:pos x="4796" y="1242"/>
                  </a:cxn>
                  <a:cxn ang="0">
                    <a:pos x="0" y="1242"/>
                  </a:cxn>
                  <a:cxn ang="0">
                    <a:pos x="256" y="622"/>
                  </a:cxn>
                  <a:cxn ang="0">
                    <a:pos x="4" y="0"/>
                  </a:cxn>
                </a:cxnLst>
                <a:rect l="0" t="0" r="r" b="b"/>
                <a:pathLst>
                  <a:path w="5050" h="1242">
                    <a:moveTo>
                      <a:pt x="4" y="0"/>
                    </a:moveTo>
                    <a:lnTo>
                      <a:pt x="4800" y="0"/>
                    </a:lnTo>
                    <a:lnTo>
                      <a:pt x="5050" y="601"/>
                    </a:lnTo>
                    <a:lnTo>
                      <a:pt x="4796" y="1242"/>
                    </a:lnTo>
                    <a:lnTo>
                      <a:pt x="0" y="1242"/>
                    </a:lnTo>
                    <a:lnTo>
                      <a:pt x="256" y="62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6350" cap="flat">
                <a:solidFill>
                  <a:schemeClr val="tx2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59"/>
              </a:p>
            </p:txBody>
          </p:sp>
        </p:grpSp>
      </p:grpSp>
      <p:grpSp>
        <p:nvGrpSpPr>
          <p:cNvPr id="7" name="Grupo 86"/>
          <p:cNvGrpSpPr/>
          <p:nvPr/>
        </p:nvGrpSpPr>
        <p:grpSpPr>
          <a:xfrm>
            <a:off x="2371389" y="3361760"/>
            <a:ext cx="6134085" cy="1422121"/>
            <a:chOff x="1627188" y="7899400"/>
            <a:chExt cx="5683250" cy="1322388"/>
          </a:xfrm>
          <a:solidFill>
            <a:schemeClr val="bg2"/>
          </a:solidFill>
        </p:grpSpPr>
        <p:sp>
          <p:nvSpPr>
            <p:cNvPr id="145434" name="Freeform 26"/>
            <p:cNvSpPr>
              <a:spLocks/>
            </p:cNvSpPr>
            <p:nvPr/>
          </p:nvSpPr>
          <p:spPr bwMode="auto">
            <a:xfrm>
              <a:off x="5602288" y="8247063"/>
              <a:ext cx="896938" cy="628650"/>
            </a:xfrm>
            <a:custGeom>
              <a:avLst/>
              <a:gdLst/>
              <a:ahLst/>
              <a:cxnLst>
                <a:cxn ang="0">
                  <a:pos x="2331" y="0"/>
                </a:cxn>
                <a:cxn ang="0">
                  <a:pos x="2733" y="939"/>
                </a:cxn>
                <a:cxn ang="0">
                  <a:pos x="2319" y="1916"/>
                </a:cxn>
                <a:cxn ang="0">
                  <a:pos x="0" y="1916"/>
                </a:cxn>
                <a:cxn ang="0">
                  <a:pos x="407" y="939"/>
                </a:cxn>
                <a:cxn ang="0">
                  <a:pos x="7" y="0"/>
                </a:cxn>
                <a:cxn ang="0">
                  <a:pos x="2331" y="0"/>
                </a:cxn>
              </a:cxnLst>
              <a:rect l="0" t="0" r="r" b="b"/>
              <a:pathLst>
                <a:path w="2733" h="1916">
                  <a:moveTo>
                    <a:pt x="2331" y="0"/>
                  </a:moveTo>
                  <a:lnTo>
                    <a:pt x="2733" y="939"/>
                  </a:lnTo>
                  <a:lnTo>
                    <a:pt x="2319" y="1916"/>
                  </a:lnTo>
                  <a:lnTo>
                    <a:pt x="0" y="1916"/>
                  </a:lnTo>
                  <a:lnTo>
                    <a:pt x="407" y="939"/>
                  </a:lnTo>
                  <a:lnTo>
                    <a:pt x="7" y="0"/>
                  </a:lnTo>
                  <a:lnTo>
                    <a:pt x="2331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35" name="Freeform 27"/>
            <p:cNvSpPr>
              <a:spLocks/>
            </p:cNvSpPr>
            <p:nvPr/>
          </p:nvSpPr>
          <p:spPr bwMode="auto">
            <a:xfrm>
              <a:off x="6256338" y="7899400"/>
              <a:ext cx="1054100" cy="13176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54" y="1996"/>
                </a:cxn>
                <a:cxn ang="0">
                  <a:pos x="0" y="4013"/>
                </a:cxn>
                <a:cxn ang="0">
                  <a:pos x="2357" y="4013"/>
                </a:cxn>
                <a:cxn ang="0">
                  <a:pos x="3205" y="1996"/>
                </a:cxn>
                <a:cxn ang="0">
                  <a:pos x="2357" y="0"/>
                </a:cxn>
                <a:cxn ang="0">
                  <a:pos x="0" y="0"/>
                </a:cxn>
              </a:cxnLst>
              <a:rect l="0" t="0" r="r" b="b"/>
              <a:pathLst>
                <a:path w="3205" h="4013">
                  <a:moveTo>
                    <a:pt x="0" y="0"/>
                  </a:moveTo>
                  <a:lnTo>
                    <a:pt x="854" y="1996"/>
                  </a:lnTo>
                  <a:lnTo>
                    <a:pt x="0" y="4013"/>
                  </a:lnTo>
                  <a:lnTo>
                    <a:pt x="2357" y="4013"/>
                  </a:lnTo>
                  <a:lnTo>
                    <a:pt x="3205" y="1996"/>
                  </a:lnTo>
                  <a:lnTo>
                    <a:pt x="23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36" name="Freeform 28"/>
            <p:cNvSpPr>
              <a:spLocks/>
            </p:cNvSpPr>
            <p:nvPr/>
          </p:nvSpPr>
          <p:spPr bwMode="auto">
            <a:xfrm>
              <a:off x="5454650" y="8924925"/>
              <a:ext cx="887413" cy="292100"/>
            </a:xfrm>
            <a:custGeom>
              <a:avLst/>
              <a:gdLst/>
              <a:ahLst/>
              <a:cxnLst>
                <a:cxn ang="0">
                  <a:pos x="384" y="0"/>
                </a:cxn>
                <a:cxn ang="0">
                  <a:pos x="2704" y="0"/>
                </a:cxn>
                <a:cxn ang="0">
                  <a:pos x="2326" y="892"/>
                </a:cxn>
                <a:cxn ang="0">
                  <a:pos x="0" y="892"/>
                </a:cxn>
                <a:cxn ang="0">
                  <a:pos x="384" y="0"/>
                </a:cxn>
              </a:cxnLst>
              <a:rect l="0" t="0" r="r" b="b"/>
              <a:pathLst>
                <a:path w="2704" h="892">
                  <a:moveTo>
                    <a:pt x="384" y="0"/>
                  </a:moveTo>
                  <a:lnTo>
                    <a:pt x="2704" y="0"/>
                  </a:lnTo>
                  <a:lnTo>
                    <a:pt x="2326" y="892"/>
                  </a:lnTo>
                  <a:lnTo>
                    <a:pt x="0" y="89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37" name="Freeform 29"/>
            <p:cNvSpPr>
              <a:spLocks/>
            </p:cNvSpPr>
            <p:nvPr/>
          </p:nvSpPr>
          <p:spPr bwMode="auto">
            <a:xfrm>
              <a:off x="5454650" y="7899400"/>
              <a:ext cx="892175" cy="2984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6" y="0"/>
                </a:cxn>
                <a:cxn ang="0">
                  <a:pos x="2715" y="908"/>
                </a:cxn>
                <a:cxn ang="0">
                  <a:pos x="391" y="908"/>
                </a:cxn>
                <a:cxn ang="0">
                  <a:pos x="0" y="0"/>
                </a:cxn>
              </a:cxnLst>
              <a:rect l="0" t="0" r="r" b="b"/>
              <a:pathLst>
                <a:path w="2715" h="908">
                  <a:moveTo>
                    <a:pt x="0" y="0"/>
                  </a:moveTo>
                  <a:lnTo>
                    <a:pt x="2326" y="0"/>
                  </a:lnTo>
                  <a:lnTo>
                    <a:pt x="2715" y="908"/>
                  </a:lnTo>
                  <a:lnTo>
                    <a:pt x="391" y="9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38" name="Freeform 30"/>
            <p:cNvSpPr>
              <a:spLocks/>
            </p:cNvSpPr>
            <p:nvPr/>
          </p:nvSpPr>
          <p:spPr bwMode="auto">
            <a:xfrm>
              <a:off x="1627188" y="7899400"/>
              <a:ext cx="892175" cy="2984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6" y="0"/>
                </a:cxn>
                <a:cxn ang="0">
                  <a:pos x="2715" y="908"/>
                </a:cxn>
                <a:cxn ang="0">
                  <a:pos x="391" y="908"/>
                </a:cxn>
                <a:cxn ang="0">
                  <a:pos x="0" y="0"/>
                </a:cxn>
              </a:cxnLst>
              <a:rect l="0" t="0" r="r" b="b"/>
              <a:pathLst>
                <a:path w="2715" h="908">
                  <a:moveTo>
                    <a:pt x="0" y="0"/>
                  </a:moveTo>
                  <a:lnTo>
                    <a:pt x="2326" y="0"/>
                  </a:lnTo>
                  <a:lnTo>
                    <a:pt x="2715" y="908"/>
                  </a:lnTo>
                  <a:lnTo>
                    <a:pt x="391" y="9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39" name="Freeform 31"/>
            <p:cNvSpPr>
              <a:spLocks/>
            </p:cNvSpPr>
            <p:nvPr/>
          </p:nvSpPr>
          <p:spPr bwMode="auto">
            <a:xfrm>
              <a:off x="2432050" y="7899400"/>
              <a:ext cx="892175" cy="2984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26" y="0"/>
                </a:cxn>
                <a:cxn ang="0">
                  <a:pos x="2715" y="908"/>
                </a:cxn>
                <a:cxn ang="0">
                  <a:pos x="391" y="908"/>
                </a:cxn>
                <a:cxn ang="0">
                  <a:pos x="0" y="0"/>
                </a:cxn>
              </a:cxnLst>
              <a:rect l="0" t="0" r="r" b="b"/>
              <a:pathLst>
                <a:path w="2715" h="908">
                  <a:moveTo>
                    <a:pt x="0" y="0"/>
                  </a:moveTo>
                  <a:lnTo>
                    <a:pt x="2326" y="0"/>
                  </a:lnTo>
                  <a:lnTo>
                    <a:pt x="2715" y="908"/>
                  </a:lnTo>
                  <a:lnTo>
                    <a:pt x="391" y="9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0" name="Freeform 32"/>
            <p:cNvSpPr>
              <a:spLocks/>
            </p:cNvSpPr>
            <p:nvPr/>
          </p:nvSpPr>
          <p:spPr bwMode="auto">
            <a:xfrm>
              <a:off x="1627188" y="8923338"/>
              <a:ext cx="892175" cy="298450"/>
            </a:xfrm>
            <a:custGeom>
              <a:avLst/>
              <a:gdLst/>
              <a:ahLst/>
              <a:cxnLst>
                <a:cxn ang="0">
                  <a:pos x="0" y="909"/>
                </a:cxn>
                <a:cxn ang="0">
                  <a:pos x="2326" y="909"/>
                </a:cxn>
                <a:cxn ang="0">
                  <a:pos x="2715" y="0"/>
                </a:cxn>
                <a:cxn ang="0">
                  <a:pos x="391" y="0"/>
                </a:cxn>
                <a:cxn ang="0">
                  <a:pos x="0" y="909"/>
                </a:cxn>
              </a:cxnLst>
              <a:rect l="0" t="0" r="r" b="b"/>
              <a:pathLst>
                <a:path w="2715" h="909">
                  <a:moveTo>
                    <a:pt x="0" y="909"/>
                  </a:moveTo>
                  <a:lnTo>
                    <a:pt x="2326" y="909"/>
                  </a:lnTo>
                  <a:lnTo>
                    <a:pt x="2715" y="0"/>
                  </a:lnTo>
                  <a:lnTo>
                    <a:pt x="391" y="0"/>
                  </a:lnTo>
                  <a:lnTo>
                    <a:pt x="0" y="909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1" name="Freeform 33"/>
            <p:cNvSpPr>
              <a:spLocks/>
            </p:cNvSpPr>
            <p:nvPr/>
          </p:nvSpPr>
          <p:spPr bwMode="auto">
            <a:xfrm>
              <a:off x="2432050" y="8923338"/>
              <a:ext cx="892175" cy="298450"/>
            </a:xfrm>
            <a:custGeom>
              <a:avLst/>
              <a:gdLst/>
              <a:ahLst/>
              <a:cxnLst>
                <a:cxn ang="0">
                  <a:pos x="0" y="909"/>
                </a:cxn>
                <a:cxn ang="0">
                  <a:pos x="2326" y="909"/>
                </a:cxn>
                <a:cxn ang="0">
                  <a:pos x="2715" y="0"/>
                </a:cxn>
                <a:cxn ang="0">
                  <a:pos x="391" y="0"/>
                </a:cxn>
                <a:cxn ang="0">
                  <a:pos x="0" y="909"/>
                </a:cxn>
              </a:cxnLst>
              <a:rect l="0" t="0" r="r" b="b"/>
              <a:pathLst>
                <a:path w="2715" h="909">
                  <a:moveTo>
                    <a:pt x="0" y="909"/>
                  </a:moveTo>
                  <a:lnTo>
                    <a:pt x="2326" y="909"/>
                  </a:lnTo>
                  <a:lnTo>
                    <a:pt x="2715" y="0"/>
                  </a:lnTo>
                  <a:lnTo>
                    <a:pt x="391" y="0"/>
                  </a:lnTo>
                  <a:lnTo>
                    <a:pt x="0" y="909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2" name="Freeform 34"/>
            <p:cNvSpPr>
              <a:spLocks/>
            </p:cNvSpPr>
            <p:nvPr/>
          </p:nvSpPr>
          <p:spPr bwMode="auto">
            <a:xfrm>
              <a:off x="1773238" y="8247063"/>
              <a:ext cx="1709738" cy="628650"/>
            </a:xfrm>
            <a:custGeom>
              <a:avLst/>
              <a:gdLst/>
              <a:ahLst/>
              <a:cxnLst>
                <a:cxn ang="0">
                  <a:pos x="4799" y="0"/>
                </a:cxn>
                <a:cxn ang="0">
                  <a:pos x="5202" y="939"/>
                </a:cxn>
                <a:cxn ang="0">
                  <a:pos x="4798" y="1916"/>
                </a:cxn>
                <a:cxn ang="0">
                  <a:pos x="0" y="1916"/>
                </a:cxn>
                <a:cxn ang="0">
                  <a:pos x="407" y="939"/>
                </a:cxn>
                <a:cxn ang="0">
                  <a:pos x="7" y="4"/>
                </a:cxn>
                <a:cxn ang="0">
                  <a:pos x="4799" y="0"/>
                </a:cxn>
              </a:cxnLst>
              <a:rect l="0" t="0" r="r" b="b"/>
              <a:pathLst>
                <a:path w="5202" h="1916">
                  <a:moveTo>
                    <a:pt x="4799" y="0"/>
                  </a:moveTo>
                  <a:lnTo>
                    <a:pt x="5202" y="939"/>
                  </a:lnTo>
                  <a:lnTo>
                    <a:pt x="4798" y="1916"/>
                  </a:lnTo>
                  <a:lnTo>
                    <a:pt x="0" y="1916"/>
                  </a:lnTo>
                  <a:lnTo>
                    <a:pt x="407" y="939"/>
                  </a:lnTo>
                  <a:lnTo>
                    <a:pt x="7" y="4"/>
                  </a:lnTo>
                  <a:lnTo>
                    <a:pt x="4799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3" name="Freeform 35"/>
            <p:cNvSpPr>
              <a:spLocks/>
            </p:cNvSpPr>
            <p:nvPr/>
          </p:nvSpPr>
          <p:spPr bwMode="auto">
            <a:xfrm>
              <a:off x="3432175" y="8924925"/>
              <a:ext cx="1701800" cy="292100"/>
            </a:xfrm>
            <a:custGeom>
              <a:avLst/>
              <a:gdLst/>
              <a:ahLst/>
              <a:cxnLst>
                <a:cxn ang="0">
                  <a:pos x="4801" y="892"/>
                </a:cxn>
                <a:cxn ang="0">
                  <a:pos x="0" y="892"/>
                </a:cxn>
                <a:cxn ang="0">
                  <a:pos x="383" y="0"/>
                </a:cxn>
                <a:cxn ang="0">
                  <a:pos x="5181" y="0"/>
                </a:cxn>
                <a:cxn ang="0">
                  <a:pos x="4801" y="892"/>
                </a:cxn>
              </a:cxnLst>
              <a:rect l="0" t="0" r="r" b="b"/>
              <a:pathLst>
                <a:path w="5181" h="892">
                  <a:moveTo>
                    <a:pt x="4801" y="892"/>
                  </a:moveTo>
                  <a:lnTo>
                    <a:pt x="0" y="892"/>
                  </a:lnTo>
                  <a:lnTo>
                    <a:pt x="383" y="0"/>
                  </a:lnTo>
                  <a:lnTo>
                    <a:pt x="5181" y="0"/>
                  </a:lnTo>
                  <a:lnTo>
                    <a:pt x="4801" y="892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4" name="Freeform 36"/>
            <p:cNvSpPr>
              <a:spLocks/>
            </p:cNvSpPr>
            <p:nvPr/>
          </p:nvSpPr>
          <p:spPr bwMode="auto">
            <a:xfrm>
              <a:off x="3432175" y="7899400"/>
              <a:ext cx="1704975" cy="2984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794" y="0"/>
                </a:cxn>
                <a:cxn ang="0">
                  <a:pos x="5188" y="908"/>
                </a:cxn>
                <a:cxn ang="0">
                  <a:pos x="390" y="908"/>
                </a:cxn>
                <a:cxn ang="0">
                  <a:pos x="0" y="0"/>
                </a:cxn>
              </a:cxnLst>
              <a:rect l="0" t="0" r="r" b="b"/>
              <a:pathLst>
                <a:path w="5188" h="908">
                  <a:moveTo>
                    <a:pt x="0" y="0"/>
                  </a:moveTo>
                  <a:lnTo>
                    <a:pt x="4794" y="0"/>
                  </a:lnTo>
                  <a:lnTo>
                    <a:pt x="5188" y="908"/>
                  </a:lnTo>
                  <a:lnTo>
                    <a:pt x="390" y="90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5" name="Freeform 37"/>
            <p:cNvSpPr>
              <a:spLocks/>
            </p:cNvSpPr>
            <p:nvPr/>
          </p:nvSpPr>
          <p:spPr bwMode="auto">
            <a:xfrm>
              <a:off x="3579813" y="8583613"/>
              <a:ext cx="1695450" cy="292100"/>
            </a:xfrm>
            <a:custGeom>
              <a:avLst/>
              <a:gdLst/>
              <a:ahLst/>
              <a:cxnLst>
                <a:cxn ang="0">
                  <a:pos x="383" y="0"/>
                </a:cxn>
                <a:cxn ang="0">
                  <a:pos x="5165" y="0"/>
                </a:cxn>
                <a:cxn ang="0">
                  <a:pos x="4797" y="892"/>
                </a:cxn>
                <a:cxn ang="0">
                  <a:pos x="0" y="892"/>
                </a:cxn>
                <a:cxn ang="0">
                  <a:pos x="383" y="0"/>
                </a:cxn>
              </a:cxnLst>
              <a:rect l="0" t="0" r="r" b="b"/>
              <a:pathLst>
                <a:path w="5165" h="892">
                  <a:moveTo>
                    <a:pt x="383" y="0"/>
                  </a:moveTo>
                  <a:lnTo>
                    <a:pt x="5165" y="0"/>
                  </a:lnTo>
                  <a:lnTo>
                    <a:pt x="4797" y="892"/>
                  </a:lnTo>
                  <a:lnTo>
                    <a:pt x="0" y="892"/>
                  </a:lnTo>
                  <a:lnTo>
                    <a:pt x="383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6" name="Freeform 38"/>
            <p:cNvSpPr>
              <a:spLocks/>
            </p:cNvSpPr>
            <p:nvPr/>
          </p:nvSpPr>
          <p:spPr bwMode="auto">
            <a:xfrm>
              <a:off x="4383088" y="8247063"/>
              <a:ext cx="895350" cy="287338"/>
            </a:xfrm>
            <a:custGeom>
              <a:avLst/>
              <a:gdLst/>
              <a:ahLst/>
              <a:cxnLst>
                <a:cxn ang="0">
                  <a:pos x="2356" y="0"/>
                </a:cxn>
                <a:cxn ang="0">
                  <a:pos x="2726" y="876"/>
                </a:cxn>
                <a:cxn ang="0">
                  <a:pos x="375" y="876"/>
                </a:cxn>
                <a:cxn ang="0">
                  <a:pos x="0" y="0"/>
                </a:cxn>
                <a:cxn ang="0">
                  <a:pos x="2356" y="0"/>
                </a:cxn>
              </a:cxnLst>
              <a:rect l="0" t="0" r="r" b="b"/>
              <a:pathLst>
                <a:path w="2726" h="876">
                  <a:moveTo>
                    <a:pt x="2356" y="0"/>
                  </a:moveTo>
                  <a:lnTo>
                    <a:pt x="2726" y="876"/>
                  </a:lnTo>
                  <a:lnTo>
                    <a:pt x="375" y="876"/>
                  </a:lnTo>
                  <a:lnTo>
                    <a:pt x="0" y="0"/>
                  </a:lnTo>
                  <a:lnTo>
                    <a:pt x="2356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  <p:sp>
          <p:nvSpPr>
            <p:cNvPr id="145447" name="Freeform 39"/>
            <p:cNvSpPr>
              <a:spLocks/>
            </p:cNvSpPr>
            <p:nvPr/>
          </p:nvSpPr>
          <p:spPr bwMode="auto">
            <a:xfrm>
              <a:off x="3581400" y="8247063"/>
              <a:ext cx="887413" cy="287338"/>
            </a:xfrm>
            <a:custGeom>
              <a:avLst/>
              <a:gdLst/>
              <a:ahLst/>
              <a:cxnLst>
                <a:cxn ang="0">
                  <a:pos x="2324" y="0"/>
                </a:cxn>
                <a:cxn ang="0">
                  <a:pos x="2699" y="876"/>
                </a:cxn>
                <a:cxn ang="0">
                  <a:pos x="376" y="876"/>
                </a:cxn>
                <a:cxn ang="0">
                  <a:pos x="0" y="4"/>
                </a:cxn>
                <a:cxn ang="0">
                  <a:pos x="2324" y="0"/>
                </a:cxn>
              </a:cxnLst>
              <a:rect l="0" t="0" r="r" b="b"/>
              <a:pathLst>
                <a:path w="2699" h="876">
                  <a:moveTo>
                    <a:pt x="2324" y="0"/>
                  </a:moveTo>
                  <a:lnTo>
                    <a:pt x="2699" y="876"/>
                  </a:lnTo>
                  <a:lnTo>
                    <a:pt x="376" y="876"/>
                  </a:lnTo>
                  <a:lnTo>
                    <a:pt x="0" y="4"/>
                  </a:lnTo>
                  <a:lnTo>
                    <a:pt x="2324" y="0"/>
                  </a:lnTo>
                  <a:close/>
                </a:path>
              </a:pathLst>
            </a:custGeom>
            <a:grpFill/>
            <a:ln w="63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pt-BR" sz="2159"/>
            </a:p>
          </p:txBody>
        </p:sp>
      </p:grpSp>
    </p:spTree>
    <p:extLst>
      <p:ext uri="{BB962C8B-B14F-4D97-AF65-F5344CB8AC3E}">
        <p14:creationId xmlns:p14="http://schemas.microsoft.com/office/powerpoint/2010/main" val="1462397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7" name="Espaço Reservado para Texto 3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9230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5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02222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00937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7" name="Freeform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95803" y="1720292"/>
            <a:ext cx="3495400" cy="410538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90" y="0"/>
              </a:cxn>
              <a:cxn ang="0">
                <a:pos x="340" y="207"/>
              </a:cxn>
              <a:cxn ang="0">
                <a:pos x="291" y="414"/>
              </a:cxn>
              <a:cxn ang="0">
                <a:pos x="0" y="414"/>
              </a:cxn>
              <a:cxn ang="0">
                <a:pos x="1" y="0"/>
              </a:cxn>
            </a:cxnLst>
            <a:rect l="0" t="0" r="r" b="b"/>
            <a:pathLst>
              <a:path w="340" h="414">
                <a:moveTo>
                  <a:pt x="1" y="0"/>
                </a:moveTo>
                <a:lnTo>
                  <a:pt x="290" y="0"/>
                </a:lnTo>
                <a:lnTo>
                  <a:pt x="340" y="207"/>
                </a:lnTo>
                <a:lnTo>
                  <a:pt x="291" y="414"/>
                </a:lnTo>
                <a:lnTo>
                  <a:pt x="0" y="414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8" name="Freeform 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582786" y="1730209"/>
            <a:ext cx="3505681" cy="4095465"/>
          </a:xfrm>
          <a:custGeom>
            <a:avLst/>
            <a:gdLst/>
            <a:ahLst/>
            <a:cxnLst>
              <a:cxn ang="0">
                <a:pos x="292" y="0"/>
              </a:cxn>
              <a:cxn ang="0">
                <a:pos x="0" y="0"/>
              </a:cxn>
              <a:cxn ang="0">
                <a:pos x="51" y="206"/>
              </a:cxn>
              <a:cxn ang="0">
                <a:pos x="0" y="413"/>
              </a:cxn>
              <a:cxn ang="0">
                <a:pos x="292" y="413"/>
              </a:cxn>
              <a:cxn ang="0">
                <a:pos x="341" y="206"/>
              </a:cxn>
              <a:cxn ang="0">
                <a:pos x="292" y="0"/>
              </a:cxn>
            </a:cxnLst>
            <a:rect l="0" t="0" r="r" b="b"/>
            <a:pathLst>
              <a:path w="341" h="413">
                <a:moveTo>
                  <a:pt x="292" y="0"/>
                </a:moveTo>
                <a:lnTo>
                  <a:pt x="0" y="0"/>
                </a:lnTo>
                <a:lnTo>
                  <a:pt x="51" y="206"/>
                </a:lnTo>
                <a:lnTo>
                  <a:pt x="0" y="413"/>
                </a:lnTo>
                <a:lnTo>
                  <a:pt x="292" y="413"/>
                </a:lnTo>
                <a:lnTo>
                  <a:pt x="341" y="206"/>
                </a:lnTo>
                <a:lnTo>
                  <a:pt x="292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9" name="Freeform 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790330" y="1730209"/>
            <a:ext cx="3505681" cy="4095465"/>
          </a:xfrm>
          <a:custGeom>
            <a:avLst/>
            <a:gdLst/>
            <a:ahLst/>
            <a:cxnLst>
              <a:cxn ang="0">
                <a:pos x="292" y="0"/>
              </a:cxn>
              <a:cxn ang="0">
                <a:pos x="0" y="0"/>
              </a:cxn>
              <a:cxn ang="0">
                <a:pos x="51" y="206"/>
              </a:cxn>
              <a:cxn ang="0">
                <a:pos x="0" y="413"/>
              </a:cxn>
              <a:cxn ang="0">
                <a:pos x="292" y="413"/>
              </a:cxn>
              <a:cxn ang="0">
                <a:pos x="341" y="206"/>
              </a:cxn>
              <a:cxn ang="0">
                <a:pos x="292" y="0"/>
              </a:cxn>
            </a:cxnLst>
            <a:rect l="0" t="0" r="r" b="b"/>
            <a:pathLst>
              <a:path w="341" h="413">
                <a:moveTo>
                  <a:pt x="292" y="0"/>
                </a:moveTo>
                <a:lnTo>
                  <a:pt x="0" y="0"/>
                </a:lnTo>
                <a:lnTo>
                  <a:pt x="51" y="206"/>
                </a:lnTo>
                <a:lnTo>
                  <a:pt x="0" y="413"/>
                </a:lnTo>
                <a:lnTo>
                  <a:pt x="292" y="413"/>
                </a:lnTo>
                <a:lnTo>
                  <a:pt x="341" y="206"/>
                </a:lnTo>
                <a:lnTo>
                  <a:pt x="292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0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08889" y="1829373"/>
            <a:ext cx="3104738" cy="12395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1" y="0"/>
              </a:cxn>
              <a:cxn ang="0">
                <a:pos x="302" y="125"/>
              </a:cxn>
              <a:cxn ang="0">
                <a:pos x="0" y="124"/>
              </a:cxn>
              <a:cxn ang="0">
                <a:pos x="0" y="0"/>
              </a:cxn>
            </a:cxnLst>
            <a:rect l="0" t="0" r="r" b="b"/>
            <a:pathLst>
              <a:path w="302" h="125">
                <a:moveTo>
                  <a:pt x="0" y="0"/>
                </a:moveTo>
                <a:lnTo>
                  <a:pt x="271" y="0"/>
                </a:lnTo>
                <a:lnTo>
                  <a:pt x="302" y="125"/>
                </a:lnTo>
                <a:lnTo>
                  <a:pt x="0" y="1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1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08890" y="3168085"/>
            <a:ext cx="3279508" cy="1189965"/>
          </a:xfrm>
          <a:custGeom>
            <a:avLst/>
            <a:gdLst/>
            <a:ahLst/>
            <a:cxnLst>
              <a:cxn ang="0">
                <a:pos x="304" y="0"/>
              </a:cxn>
              <a:cxn ang="0">
                <a:pos x="319" y="61"/>
              </a:cxn>
              <a:cxn ang="0">
                <a:pos x="305" y="120"/>
              </a:cxn>
              <a:cxn ang="0">
                <a:pos x="0" y="120"/>
              </a:cxn>
              <a:cxn ang="0">
                <a:pos x="0" y="0"/>
              </a:cxn>
              <a:cxn ang="0">
                <a:pos x="304" y="0"/>
              </a:cxn>
            </a:cxnLst>
            <a:rect l="0" t="0" r="r" b="b"/>
            <a:pathLst>
              <a:path w="319" h="120">
                <a:moveTo>
                  <a:pt x="304" y="0"/>
                </a:moveTo>
                <a:lnTo>
                  <a:pt x="319" y="61"/>
                </a:lnTo>
                <a:lnTo>
                  <a:pt x="305" y="120"/>
                </a:lnTo>
                <a:lnTo>
                  <a:pt x="0" y="120"/>
                </a:lnTo>
                <a:lnTo>
                  <a:pt x="0" y="0"/>
                </a:lnTo>
                <a:lnTo>
                  <a:pt x="304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2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08889" y="4457214"/>
            <a:ext cx="3104738" cy="1259380"/>
          </a:xfrm>
          <a:custGeom>
            <a:avLst/>
            <a:gdLst/>
            <a:ahLst/>
            <a:cxnLst>
              <a:cxn ang="0">
                <a:pos x="302" y="0"/>
              </a:cxn>
              <a:cxn ang="0">
                <a:pos x="271" y="127"/>
              </a:cxn>
              <a:cxn ang="0">
                <a:pos x="0" y="127"/>
              </a:cxn>
              <a:cxn ang="0">
                <a:pos x="0" y="0"/>
              </a:cxn>
              <a:cxn ang="0">
                <a:pos x="302" y="0"/>
              </a:cxn>
            </a:cxnLst>
            <a:rect l="0" t="0" r="r" b="b"/>
            <a:pathLst>
              <a:path w="302" h="127">
                <a:moveTo>
                  <a:pt x="302" y="0"/>
                </a:moveTo>
                <a:lnTo>
                  <a:pt x="271" y="127"/>
                </a:lnTo>
                <a:lnTo>
                  <a:pt x="0" y="127"/>
                </a:lnTo>
                <a:lnTo>
                  <a:pt x="0" y="0"/>
                </a:lnTo>
                <a:lnTo>
                  <a:pt x="302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3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736994" y="3832481"/>
            <a:ext cx="3248666" cy="1884112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0" y="190"/>
              </a:cxn>
              <a:cxn ang="0">
                <a:pos x="269" y="190"/>
              </a:cxn>
              <a:cxn ang="0">
                <a:pos x="316" y="0"/>
              </a:cxn>
              <a:cxn ang="0">
                <a:pos x="47" y="0"/>
              </a:cxn>
            </a:cxnLst>
            <a:rect l="0" t="0" r="r" b="b"/>
            <a:pathLst>
              <a:path w="316" h="190">
                <a:moveTo>
                  <a:pt x="47" y="0"/>
                </a:moveTo>
                <a:lnTo>
                  <a:pt x="0" y="190"/>
                </a:lnTo>
                <a:lnTo>
                  <a:pt x="269" y="190"/>
                </a:lnTo>
                <a:lnTo>
                  <a:pt x="316" y="0"/>
                </a:lnTo>
                <a:lnTo>
                  <a:pt x="47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4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726714" y="1829372"/>
            <a:ext cx="3258947" cy="18940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8" y="191"/>
              </a:cxn>
              <a:cxn ang="0">
                <a:pos x="317" y="191"/>
              </a:cxn>
              <a:cxn ang="0">
                <a:pos x="270" y="0"/>
              </a:cxn>
              <a:cxn ang="0">
                <a:pos x="0" y="0"/>
              </a:cxn>
            </a:cxnLst>
            <a:rect l="0" t="0" r="r" b="b"/>
            <a:pathLst>
              <a:path w="317" h="191">
                <a:moveTo>
                  <a:pt x="0" y="0"/>
                </a:moveTo>
                <a:lnTo>
                  <a:pt x="48" y="191"/>
                </a:lnTo>
                <a:lnTo>
                  <a:pt x="317" y="191"/>
                </a:lnTo>
                <a:lnTo>
                  <a:pt x="2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5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954819" y="3832481"/>
            <a:ext cx="3248666" cy="1884112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0" y="190"/>
              </a:cxn>
              <a:cxn ang="0">
                <a:pos x="269" y="190"/>
              </a:cxn>
              <a:cxn ang="0">
                <a:pos x="316" y="0"/>
              </a:cxn>
              <a:cxn ang="0">
                <a:pos x="47" y="0"/>
              </a:cxn>
            </a:cxnLst>
            <a:rect l="0" t="0" r="r" b="b"/>
            <a:pathLst>
              <a:path w="316" h="190">
                <a:moveTo>
                  <a:pt x="47" y="0"/>
                </a:moveTo>
                <a:lnTo>
                  <a:pt x="0" y="190"/>
                </a:lnTo>
                <a:lnTo>
                  <a:pt x="269" y="190"/>
                </a:lnTo>
                <a:lnTo>
                  <a:pt x="316" y="0"/>
                </a:lnTo>
                <a:lnTo>
                  <a:pt x="47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6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944539" y="1829372"/>
            <a:ext cx="3258947" cy="18940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8" y="191"/>
              </a:cxn>
              <a:cxn ang="0">
                <a:pos x="317" y="191"/>
              </a:cxn>
              <a:cxn ang="0">
                <a:pos x="270" y="0"/>
              </a:cxn>
              <a:cxn ang="0">
                <a:pos x="0" y="0"/>
              </a:cxn>
            </a:cxnLst>
            <a:rect l="0" t="0" r="r" b="b"/>
            <a:pathLst>
              <a:path w="317" h="191">
                <a:moveTo>
                  <a:pt x="0" y="0"/>
                </a:moveTo>
                <a:lnTo>
                  <a:pt x="48" y="191"/>
                </a:lnTo>
                <a:lnTo>
                  <a:pt x="317" y="191"/>
                </a:lnTo>
                <a:lnTo>
                  <a:pt x="2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8" name="Text Box 1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07566" y="4143311"/>
            <a:ext cx="222060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</p:txBody>
      </p:sp>
      <p:sp>
        <p:nvSpPr>
          <p:cNvPr id="19" name="Text Box 2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19711" y="2110139"/>
            <a:ext cx="2508464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2" name="Text Box 3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11696" y="3537563"/>
            <a:ext cx="298993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lnSpc>
                <a:spcPts val="1187"/>
              </a:lnSpc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3" name="Text Box 43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11696" y="4702729"/>
            <a:ext cx="298993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54205" indent="-154205"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4" name="Text Box 2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019711" y="1882765"/>
            <a:ext cx="2508464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26" name="Text Box 1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07566" y="3879351"/>
            <a:ext cx="222060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x</a:t>
            </a:r>
            <a:endParaRPr lang="pt-BR" sz="1079" i="1" dirty="0"/>
          </a:p>
        </p:txBody>
      </p:sp>
      <p:sp>
        <p:nvSpPr>
          <p:cNvPr id="28" name="Text Box 1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11696" y="1841643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29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11696" y="3180035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0" name="Text Box 4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11696" y="4486779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2" name="2 Rectángulo"/>
          <p:cNvSpPr/>
          <p:nvPr>
            <p:custDataLst>
              <p:tags r:id="rId23"/>
            </p:custDataLst>
          </p:nvPr>
        </p:nvSpPr>
        <p:spPr>
          <a:xfrm>
            <a:off x="-1" y="6149980"/>
            <a:ext cx="10691813" cy="6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33" name="Text Box 19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504829" y="4143311"/>
            <a:ext cx="222060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</p:txBody>
      </p:sp>
      <p:sp>
        <p:nvSpPr>
          <p:cNvPr id="34" name="Text Box 2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16974" y="2110139"/>
            <a:ext cx="2508464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35" name="Text Box 20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216974" y="1882765"/>
            <a:ext cx="2508464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6" name="Text Box 18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504829" y="3879351"/>
            <a:ext cx="222060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x</a:t>
            </a:r>
            <a:endParaRPr lang="pt-BR" sz="1079" i="1" dirty="0"/>
          </a:p>
        </p:txBody>
      </p:sp>
    </p:spTree>
    <p:extLst>
      <p:ext uri="{BB962C8B-B14F-4D97-AF65-F5344CB8AC3E}">
        <p14:creationId xmlns:p14="http://schemas.microsoft.com/office/powerpoint/2010/main" val="225123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adar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aphicFrame>
        <p:nvGraphicFramePr>
          <p:cNvPr id="4" name="Gráfico 3"/>
          <p:cNvGraphicFramePr/>
          <p:nvPr/>
        </p:nvGraphicFramePr>
        <p:xfrm>
          <a:off x="400944" y="2032761"/>
          <a:ext cx="4808088" cy="429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Gráfico 13"/>
          <p:cNvGraphicFramePr/>
          <p:nvPr/>
        </p:nvGraphicFramePr>
        <p:xfrm>
          <a:off x="5511910" y="2032761"/>
          <a:ext cx="4808088" cy="429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16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20" name="12 Grupo"/>
          <p:cNvGrpSpPr/>
          <p:nvPr/>
        </p:nvGrpSpPr>
        <p:grpSpPr>
          <a:xfrm>
            <a:off x="414650" y="1215104"/>
            <a:ext cx="4740931" cy="276539"/>
            <a:chOff x="2379663" y="1269372"/>
            <a:chExt cx="7069137" cy="256215"/>
          </a:xfrm>
        </p:grpSpPr>
        <p:sp>
          <p:nvSpPr>
            <p:cNvPr id="21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3" name="19 Grupo"/>
          <p:cNvGrpSpPr/>
          <p:nvPr/>
        </p:nvGrpSpPr>
        <p:grpSpPr>
          <a:xfrm>
            <a:off x="5548226" y="1215104"/>
            <a:ext cx="4740931" cy="276539"/>
            <a:chOff x="2379663" y="1269372"/>
            <a:chExt cx="7069137" cy="256215"/>
          </a:xfrm>
        </p:grpSpPr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5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26" name="CaixaDeTexto 25"/>
          <p:cNvSpPr txBox="1"/>
          <p:nvPr/>
        </p:nvSpPr>
        <p:spPr>
          <a:xfrm>
            <a:off x="414650" y="1533973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5548226" y="1533973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83781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729123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7" imgW="325" imgH="325" progId="TCLayout.ActiveDocument.1">
                  <p:embed/>
                </p:oleObj>
              </mc:Choice>
              <mc:Fallback>
                <p:oleObj name="think-cell Slide" r:id="rId7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0341" name="Rectangle 5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smtClean="0"/>
              <a:t>Bolas</a:t>
            </a:r>
            <a:endParaRPr lang="pt-BR" dirty="0"/>
          </a:p>
        </p:txBody>
      </p:sp>
      <p:sp>
        <p:nvSpPr>
          <p:cNvPr id="11" name="Espaço Reservado para Texto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1511248" y="1567797"/>
          <a:ext cx="7669318" cy="4310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16" name="36 Rectángulo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18" name="12 Grupo"/>
          <p:cNvGrpSpPr/>
          <p:nvPr/>
        </p:nvGrpSpPr>
        <p:grpSpPr>
          <a:xfrm>
            <a:off x="1387880" y="1215104"/>
            <a:ext cx="7916053" cy="276539"/>
            <a:chOff x="2379663" y="1269372"/>
            <a:chExt cx="7069137" cy="256215"/>
          </a:xfrm>
        </p:grpSpPr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2379663" y="1269372"/>
              <a:ext cx="7037833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0" name="Line 8"/>
            <p:cNvSpPr>
              <a:spLocks noChangeShapeType="1"/>
            </p:cNvSpPr>
            <p:nvPr/>
          </p:nvSpPr>
          <p:spPr bwMode="blackWhite">
            <a:xfrm>
              <a:off x="2379663" y="1525587"/>
              <a:ext cx="7069137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21" name="CaixaDeTexto 20"/>
          <p:cNvSpPr txBox="1"/>
          <p:nvPr/>
        </p:nvSpPr>
        <p:spPr>
          <a:xfrm>
            <a:off x="1387879" y="1533973"/>
            <a:ext cx="2013372" cy="1660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pt-BR" sz="1079" dirty="0"/>
              <a:t>Unidades/período de referência</a:t>
            </a:r>
          </a:p>
        </p:txBody>
      </p:sp>
    </p:spTree>
    <p:extLst>
      <p:ext uri="{BB962C8B-B14F-4D97-AF65-F5344CB8AC3E}">
        <p14:creationId xmlns:p14="http://schemas.microsoft.com/office/powerpoint/2010/main" val="268455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upo 44"/>
          <p:cNvGrpSpPr/>
          <p:nvPr/>
        </p:nvGrpSpPr>
        <p:grpSpPr>
          <a:xfrm>
            <a:off x="1837288" y="1693366"/>
            <a:ext cx="6707350" cy="3505192"/>
            <a:chOff x="3362325" y="2990850"/>
            <a:chExt cx="2838449" cy="2109788"/>
          </a:xfrm>
        </p:grpSpPr>
        <p:sp>
          <p:nvSpPr>
            <p:cNvPr id="14" name="Retângulo 13"/>
            <p:cNvSpPr/>
            <p:nvPr/>
          </p:nvSpPr>
          <p:spPr>
            <a:xfrm>
              <a:off x="3362325" y="4495800"/>
              <a:ext cx="319088" cy="6048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3362325" y="3986214"/>
              <a:ext cx="319088" cy="50958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16" name="Retângulo 15"/>
            <p:cNvSpPr/>
            <p:nvPr/>
          </p:nvSpPr>
          <p:spPr>
            <a:xfrm>
              <a:off x="3362325" y="3476627"/>
              <a:ext cx="319088" cy="50958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17" name="Retângulo 16"/>
            <p:cNvSpPr/>
            <p:nvPr/>
          </p:nvSpPr>
          <p:spPr>
            <a:xfrm>
              <a:off x="3362325" y="3252789"/>
              <a:ext cx="319088" cy="223837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18" name="Retângulo 17"/>
            <p:cNvSpPr/>
            <p:nvPr/>
          </p:nvSpPr>
          <p:spPr>
            <a:xfrm>
              <a:off x="3362325" y="2995614"/>
              <a:ext cx="319088" cy="25717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19" name="Retângulo 18"/>
            <p:cNvSpPr/>
            <p:nvPr/>
          </p:nvSpPr>
          <p:spPr>
            <a:xfrm>
              <a:off x="3681412" y="4210050"/>
              <a:ext cx="166688" cy="89058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1" name="Retângulo 20"/>
            <p:cNvSpPr/>
            <p:nvPr/>
          </p:nvSpPr>
          <p:spPr>
            <a:xfrm>
              <a:off x="3681412" y="3908822"/>
              <a:ext cx="166688" cy="3048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2" name="Retângulo 21"/>
            <p:cNvSpPr/>
            <p:nvPr/>
          </p:nvSpPr>
          <p:spPr>
            <a:xfrm>
              <a:off x="3681412" y="3459956"/>
              <a:ext cx="166688" cy="4524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3681412" y="3096815"/>
              <a:ext cx="166688" cy="36671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4" name="Retângulo 23"/>
            <p:cNvSpPr/>
            <p:nvPr/>
          </p:nvSpPr>
          <p:spPr>
            <a:xfrm>
              <a:off x="3681412" y="2990850"/>
              <a:ext cx="166688" cy="10953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5" name="Retângulo 24"/>
            <p:cNvSpPr/>
            <p:nvPr/>
          </p:nvSpPr>
          <p:spPr>
            <a:xfrm>
              <a:off x="3848098" y="4333874"/>
              <a:ext cx="1104901" cy="766763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6" name="Retângulo 25"/>
            <p:cNvSpPr/>
            <p:nvPr/>
          </p:nvSpPr>
          <p:spPr>
            <a:xfrm>
              <a:off x="3848098" y="4027884"/>
              <a:ext cx="1104901" cy="3048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7" name="Retângulo 26"/>
            <p:cNvSpPr/>
            <p:nvPr/>
          </p:nvSpPr>
          <p:spPr>
            <a:xfrm>
              <a:off x="3848098" y="3574256"/>
              <a:ext cx="1104901" cy="462059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8" name="Retângulo 27"/>
            <p:cNvSpPr/>
            <p:nvPr/>
          </p:nvSpPr>
          <p:spPr>
            <a:xfrm>
              <a:off x="3848098" y="3206353"/>
              <a:ext cx="1104901" cy="36671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29" name="Retângulo 28"/>
            <p:cNvSpPr/>
            <p:nvPr/>
          </p:nvSpPr>
          <p:spPr>
            <a:xfrm>
              <a:off x="3848098" y="2990850"/>
              <a:ext cx="1104901" cy="214313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0" name="Retângulo 29"/>
            <p:cNvSpPr/>
            <p:nvPr/>
          </p:nvSpPr>
          <p:spPr>
            <a:xfrm>
              <a:off x="4948237" y="4229100"/>
              <a:ext cx="709614" cy="87153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1" name="Retângulo 30"/>
            <p:cNvSpPr/>
            <p:nvPr/>
          </p:nvSpPr>
          <p:spPr>
            <a:xfrm>
              <a:off x="4948237" y="3976688"/>
              <a:ext cx="709614" cy="25717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2" name="Retângulo 31"/>
            <p:cNvSpPr/>
            <p:nvPr/>
          </p:nvSpPr>
          <p:spPr>
            <a:xfrm>
              <a:off x="4948237" y="3600450"/>
              <a:ext cx="709614" cy="381000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3" name="Retângulo 32"/>
            <p:cNvSpPr/>
            <p:nvPr/>
          </p:nvSpPr>
          <p:spPr>
            <a:xfrm>
              <a:off x="4948237" y="3300413"/>
              <a:ext cx="709614" cy="309562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4" name="Retângulo 33"/>
            <p:cNvSpPr/>
            <p:nvPr/>
          </p:nvSpPr>
          <p:spPr>
            <a:xfrm>
              <a:off x="4948237" y="2990850"/>
              <a:ext cx="709614" cy="309563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5" name="Retângulo 34"/>
            <p:cNvSpPr/>
            <p:nvPr/>
          </p:nvSpPr>
          <p:spPr>
            <a:xfrm>
              <a:off x="5653088" y="4943475"/>
              <a:ext cx="233362" cy="15716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6" name="Retângulo 35"/>
            <p:cNvSpPr/>
            <p:nvPr/>
          </p:nvSpPr>
          <p:spPr>
            <a:xfrm>
              <a:off x="5653088" y="4362451"/>
              <a:ext cx="233362" cy="585787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7" name="Retângulo 36"/>
            <p:cNvSpPr/>
            <p:nvPr/>
          </p:nvSpPr>
          <p:spPr>
            <a:xfrm>
              <a:off x="5653088" y="3500438"/>
              <a:ext cx="233362" cy="86677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8" name="Retângulo 37"/>
            <p:cNvSpPr/>
            <p:nvPr/>
          </p:nvSpPr>
          <p:spPr>
            <a:xfrm>
              <a:off x="5653088" y="3238500"/>
              <a:ext cx="233362" cy="27146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39" name="Retângulo 38"/>
            <p:cNvSpPr/>
            <p:nvPr/>
          </p:nvSpPr>
          <p:spPr>
            <a:xfrm>
              <a:off x="5653088" y="2990850"/>
              <a:ext cx="233362" cy="26193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40" name="Retângulo 39"/>
            <p:cNvSpPr/>
            <p:nvPr/>
          </p:nvSpPr>
          <p:spPr>
            <a:xfrm>
              <a:off x="5881687" y="4872038"/>
              <a:ext cx="319087" cy="22859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41" name="Retângulo 40"/>
            <p:cNvSpPr/>
            <p:nvPr/>
          </p:nvSpPr>
          <p:spPr>
            <a:xfrm>
              <a:off x="5881687" y="4610101"/>
              <a:ext cx="319087" cy="26669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42" name="Retângulo 41"/>
            <p:cNvSpPr/>
            <p:nvPr/>
          </p:nvSpPr>
          <p:spPr>
            <a:xfrm>
              <a:off x="5881687" y="3500437"/>
              <a:ext cx="319087" cy="1119187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43" name="Retângulo 42"/>
            <p:cNvSpPr/>
            <p:nvPr/>
          </p:nvSpPr>
          <p:spPr>
            <a:xfrm>
              <a:off x="5881687" y="3238500"/>
              <a:ext cx="319087" cy="271463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  <p:sp>
          <p:nvSpPr>
            <p:cNvPr id="44" name="Retângulo 43"/>
            <p:cNvSpPr/>
            <p:nvPr/>
          </p:nvSpPr>
          <p:spPr>
            <a:xfrm>
              <a:off x="5881687" y="2990850"/>
              <a:ext cx="319087" cy="261937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endParaRPr lang="pt-BR" sz="1187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6" name="Gráfico 45"/>
          <p:cNvGraphicFramePr/>
          <p:nvPr/>
        </p:nvGraphicFramePr>
        <p:xfrm>
          <a:off x="1245911" y="1480902"/>
          <a:ext cx="7750585" cy="4071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Mekko</a:t>
            </a:r>
            <a:r>
              <a:rPr lang="pt-BR" dirty="0" smtClean="0"/>
              <a:t> </a:t>
            </a:r>
            <a:r>
              <a:rPr lang="pt-BR" dirty="0" err="1" smtClean="0"/>
              <a:t>char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Capítulo 2: Slides de dados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en-US" dirty="0"/>
          </a:p>
        </p:txBody>
      </p:sp>
      <p:sp>
        <p:nvSpPr>
          <p:cNvPr id="4" name="18 Rectángulo"/>
          <p:cNvSpPr/>
          <p:nvPr/>
        </p:nvSpPr>
        <p:spPr>
          <a:xfrm>
            <a:off x="-1" y="6097869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prstClr val="white"/>
                </a:solidFill>
              </a:rPr>
              <a:t>El </a:t>
            </a:r>
            <a:r>
              <a:rPr lang="pt-BR" sz="1511" dirty="0" err="1">
                <a:solidFill>
                  <a:prstClr val="white"/>
                </a:solidFill>
              </a:rPr>
              <a:t>kicker</a:t>
            </a:r>
            <a:r>
              <a:rPr lang="pt-BR" sz="1511" dirty="0">
                <a:solidFill>
                  <a:prstClr val="white"/>
                </a:solidFill>
              </a:rPr>
              <a:t> ocupa todo </a:t>
            </a:r>
            <a:r>
              <a:rPr lang="pt-BR" sz="1511" dirty="0" err="1">
                <a:solidFill>
                  <a:prstClr val="white"/>
                </a:solidFill>
              </a:rPr>
              <a:t>el</a:t>
            </a:r>
            <a:r>
              <a:rPr lang="pt-BR" sz="1511" dirty="0">
                <a:solidFill>
                  <a:prstClr val="white"/>
                </a:solidFill>
              </a:rPr>
              <a:t> ancho de </a:t>
            </a:r>
            <a:r>
              <a:rPr lang="pt-BR" sz="1511" dirty="0" err="1">
                <a:solidFill>
                  <a:prstClr val="white"/>
                </a:solidFill>
              </a:rPr>
              <a:t>la</a:t>
            </a:r>
            <a:r>
              <a:rPr lang="pt-BR" sz="1511" dirty="0">
                <a:solidFill>
                  <a:prstClr val="white"/>
                </a:solidFill>
              </a:rPr>
              <a:t> página</a:t>
            </a:r>
          </a:p>
        </p:txBody>
      </p:sp>
      <p:sp>
        <p:nvSpPr>
          <p:cNvPr id="5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(1)</a:t>
            </a:r>
            <a:r>
              <a:rPr lang="pt-BR" sz="863" dirty="0">
                <a:solidFill>
                  <a:sysClr val="windowText" lastClr="000000"/>
                </a:solidFill>
              </a:rPr>
              <a:t> </a:t>
            </a:r>
            <a:r>
              <a:rPr lang="pt-BR" sz="863" dirty="0" err="1">
                <a:solidFill>
                  <a:sysClr val="windowText" lastClr="000000"/>
                </a:solidFill>
              </a:rPr>
              <a:t>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: </a:t>
            </a:r>
            <a:r>
              <a:rPr lang="en-US" sz="863" dirty="0" err="1">
                <a:solidFill>
                  <a:sysClr val="windowText" lastClr="000000"/>
                </a:solidFill>
              </a:rPr>
              <a:t>Xxxxx</a:t>
            </a:r>
            <a:endParaRPr lang="en-US" sz="863" dirty="0">
              <a:solidFill>
                <a:sysClr val="windowText" lastClr="000000"/>
              </a:solidFill>
            </a:endParaRPr>
          </a:p>
        </p:txBody>
      </p:sp>
      <p:sp>
        <p:nvSpPr>
          <p:cNvPr id="47" name="Rectangle 56"/>
          <p:cNvSpPr/>
          <p:nvPr>
            <p:custDataLst>
              <p:tags r:id="rId2"/>
            </p:custDataLst>
          </p:nvPr>
        </p:nvSpPr>
        <p:spPr bwMode="auto">
          <a:xfrm>
            <a:off x="1803999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1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8" name="Rectangle 56"/>
          <p:cNvSpPr/>
          <p:nvPr>
            <p:custDataLst>
              <p:tags r:id="rId3"/>
            </p:custDataLst>
          </p:nvPr>
        </p:nvSpPr>
        <p:spPr bwMode="auto">
          <a:xfrm>
            <a:off x="2369431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2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9" name="Rectangle 56"/>
          <p:cNvSpPr/>
          <p:nvPr>
            <p:custDataLst>
              <p:tags r:id="rId4"/>
            </p:custDataLst>
          </p:nvPr>
        </p:nvSpPr>
        <p:spPr bwMode="auto">
          <a:xfrm>
            <a:off x="3777872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3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0" name="Rectangle 56"/>
          <p:cNvSpPr/>
          <p:nvPr>
            <p:custDataLst>
              <p:tags r:id="rId5"/>
            </p:custDataLst>
          </p:nvPr>
        </p:nvSpPr>
        <p:spPr bwMode="auto">
          <a:xfrm>
            <a:off x="6060163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4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1" name="Rectangle 56"/>
          <p:cNvSpPr/>
          <p:nvPr>
            <p:custDataLst>
              <p:tags r:id="rId6"/>
            </p:custDataLst>
          </p:nvPr>
        </p:nvSpPr>
        <p:spPr bwMode="auto">
          <a:xfrm>
            <a:off x="7129344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5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2" name="Rectangle 56"/>
          <p:cNvSpPr/>
          <p:nvPr>
            <p:custDataLst>
              <p:tags r:id="rId7"/>
            </p:custDataLst>
          </p:nvPr>
        </p:nvSpPr>
        <p:spPr bwMode="auto">
          <a:xfrm>
            <a:off x="7766741" y="1480412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187" err="1">
                <a:solidFill>
                  <a:schemeClr val="tx1"/>
                </a:solidFill>
                <a:sym typeface="Arial"/>
              </a:rPr>
              <a:t>Série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6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3" name="Rectangle 56"/>
          <p:cNvSpPr/>
          <p:nvPr>
            <p:custDataLst>
              <p:tags r:id="rId8"/>
            </p:custDataLst>
          </p:nvPr>
        </p:nvSpPr>
        <p:spPr bwMode="auto">
          <a:xfrm>
            <a:off x="8640591" y="1850513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Categoria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5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4" name="Rectangle 56"/>
          <p:cNvSpPr/>
          <p:nvPr>
            <p:custDataLst>
              <p:tags r:id="rId9"/>
            </p:custDataLst>
          </p:nvPr>
        </p:nvSpPr>
        <p:spPr bwMode="auto">
          <a:xfrm>
            <a:off x="8640591" y="2272018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Categoria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4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5" name="Rectangle 56"/>
          <p:cNvSpPr/>
          <p:nvPr>
            <p:custDataLst>
              <p:tags r:id="rId10"/>
            </p:custDataLst>
          </p:nvPr>
        </p:nvSpPr>
        <p:spPr bwMode="auto">
          <a:xfrm>
            <a:off x="8640591" y="3341199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Categoria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3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6" name="Rectangle 56"/>
          <p:cNvSpPr/>
          <p:nvPr>
            <p:custDataLst>
              <p:tags r:id="rId11"/>
            </p:custDataLst>
          </p:nvPr>
        </p:nvSpPr>
        <p:spPr bwMode="auto">
          <a:xfrm>
            <a:off x="8640591" y="4513186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Categoria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2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67" name="Rectangle 56"/>
          <p:cNvSpPr/>
          <p:nvPr>
            <p:custDataLst>
              <p:tags r:id="rId12"/>
            </p:custDataLst>
          </p:nvPr>
        </p:nvSpPr>
        <p:spPr bwMode="auto">
          <a:xfrm>
            <a:off x="8640591" y="4944971"/>
            <a:ext cx="805313" cy="16448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187" dirty="0" err="1">
                <a:solidFill>
                  <a:schemeClr val="tx1"/>
                </a:solidFill>
                <a:sym typeface="Arial"/>
              </a:rPr>
              <a:t>Categoria</a:t>
            </a:r>
            <a:r>
              <a:rPr lang="en-US" sz="1187" dirty="0">
                <a:solidFill>
                  <a:schemeClr val="tx1"/>
                </a:solidFill>
                <a:sym typeface="Arial"/>
              </a:rPr>
              <a:t> 1</a:t>
            </a:r>
            <a:endParaRPr lang="es-ES" sz="1187" dirty="0">
              <a:solidFill>
                <a:schemeClr val="tx1"/>
              </a:solidFill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87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8 Grupo"/>
          <p:cNvGrpSpPr/>
          <p:nvPr/>
        </p:nvGrpSpPr>
        <p:grpSpPr>
          <a:xfrm>
            <a:off x="5536996" y="3779837"/>
            <a:ext cx="4520499" cy="2648817"/>
            <a:chOff x="5130045" y="3429000"/>
            <a:chExt cx="4188257" cy="2454138"/>
          </a:xfrm>
        </p:grpSpPr>
        <p:cxnSp>
          <p:nvCxnSpPr>
            <p:cNvPr id="13" name="5 Conector recto"/>
            <p:cNvCxnSpPr/>
            <p:nvPr/>
          </p:nvCxnSpPr>
          <p:spPr>
            <a:xfrm>
              <a:off x="5130045" y="3488139"/>
              <a:ext cx="0" cy="2350686"/>
            </a:xfrm>
            <a:prstGeom prst="line">
              <a:avLst/>
            </a:prstGeom>
            <a:ln w="762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10 Marcador de texto"/>
            <p:cNvSpPr txBox="1">
              <a:spLocks/>
            </p:cNvSpPr>
            <p:nvPr/>
          </p:nvSpPr>
          <p:spPr>
            <a:xfrm>
              <a:off x="5313040" y="3429000"/>
              <a:ext cx="4005262" cy="2454138"/>
            </a:xfrm>
            <a:prstGeom prst="rect">
              <a:avLst/>
            </a:prstGeom>
          </p:spPr>
          <p:txBody>
            <a:bodyPr vert="horz" lIns="98694" tIns="49347" rIns="98694" bIns="49347" rtlCol="0">
              <a:spAutoFit/>
            </a:bodyPr>
            <a:lstStyle/>
            <a:p>
              <a:pPr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Introdução</a:t>
              </a:r>
            </a:p>
            <a:p>
              <a:pPr marL="193613" indent="-193613" defTabSz="986912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1: Slides conceituais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Capítulo 2: Slides de dados </a:t>
              </a:r>
            </a:p>
            <a:p>
              <a:pPr marL="193613" indent="-193613">
                <a:spcBef>
                  <a:spcPts val="2590"/>
                </a:spcBef>
                <a:defRPr/>
              </a:pPr>
              <a:r>
                <a:rPr lang="pt-BR" sz="1511" b="1" dirty="0">
                  <a:solidFill>
                    <a:schemeClr val="accent1"/>
                  </a:solidFill>
                </a:rPr>
                <a:t>Capítulo 3: Slides específicos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i="1" dirty="0" err="1">
                  <a:solidFill>
                    <a:schemeClr val="accent1"/>
                  </a:solidFill>
                </a:rPr>
                <a:t>Templates</a:t>
              </a:r>
              <a:r>
                <a:rPr lang="pt-BR" sz="1511" b="1" dirty="0">
                  <a:solidFill>
                    <a:schemeClr val="accent1"/>
                  </a:solidFill>
                </a:rPr>
                <a:t> mais frequentes</a:t>
              </a:r>
            </a:p>
            <a:p>
              <a:pPr marL="801866" lvl="1" indent="-308410">
                <a:spcBef>
                  <a:spcPts val="648"/>
                </a:spcBef>
                <a:buFont typeface="Arial" panose="020B0604020202020204" pitchFamily="34" charset="0"/>
                <a:buChar char="•"/>
                <a:defRPr/>
              </a:pPr>
              <a:r>
                <a:rPr lang="pt-BR" sz="1511" b="1" dirty="0">
                  <a:solidFill>
                    <a:schemeClr val="tx2"/>
                  </a:solidFill>
                </a:rPr>
                <a:t>Exemplos de aplicações reai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129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Flechas de bloque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dirty="0" err="1" smtClean="0"/>
              <a:t>cuadros</a:t>
            </a:r>
            <a:r>
              <a:rPr lang="pt-BR" dirty="0" smtClean="0"/>
              <a:t> </a:t>
            </a:r>
            <a:r>
              <a:rPr lang="pt-BR" smtClean="0"/>
              <a:t>de Texto </a:t>
            </a:r>
            <a:r>
              <a:rPr lang="pt-BR" dirty="0" err="1" smtClean="0"/>
              <a:t>debajo</a:t>
            </a:r>
            <a:endParaRPr lang="pt-B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en-US" sz="1133" dirty="0" err="1"/>
              <a:t>Capítulo</a:t>
            </a:r>
            <a:r>
              <a:rPr lang="en-US" sz="1133" dirty="0"/>
              <a:t> 3: Slides </a:t>
            </a:r>
            <a:r>
              <a:rPr lang="en-US" sz="1133" dirty="0" err="1"/>
              <a:t>específicos</a:t>
            </a:r>
            <a:r>
              <a:rPr lang="en-US" sz="1133" dirty="0"/>
              <a:t> | </a:t>
            </a:r>
            <a:r>
              <a:rPr lang="en-US" sz="1133" i="1" dirty="0"/>
              <a:t>Templates</a:t>
            </a:r>
            <a:r>
              <a:rPr lang="en-US" sz="1133" dirty="0"/>
              <a:t> </a:t>
            </a:r>
            <a:r>
              <a:rPr lang="en-US" sz="1133" dirty="0" err="1"/>
              <a:t>mais</a:t>
            </a:r>
            <a:r>
              <a:rPr lang="en-US" sz="1133" dirty="0"/>
              <a:t> </a:t>
            </a:r>
            <a:r>
              <a:rPr lang="en-US" sz="1133" dirty="0" err="1"/>
              <a:t>frequentes</a:t>
            </a:r>
            <a:endParaRPr lang="en-US" sz="1133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681946" y="2969699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  <a:endParaRPr lang="pt-BR" sz="1133" dirty="0">
              <a:cs typeface="Arial" pitchFamily="34" charset="0"/>
            </a:endParaRPr>
          </a:p>
        </p:txBody>
      </p:sp>
      <p:sp>
        <p:nvSpPr>
          <p:cNvPr id="7" name="Text Box 24"/>
          <p:cNvSpPr txBox="1">
            <a:spLocks noChangeArrowheads="1"/>
          </p:cNvSpPr>
          <p:nvPr/>
        </p:nvSpPr>
        <p:spPr bwMode="auto">
          <a:xfrm>
            <a:off x="3053294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I</a:t>
            </a:r>
          </a:p>
        </p:txBody>
      </p:sp>
      <p:sp>
        <p:nvSpPr>
          <p:cNvPr id="9" name="Text Box 24"/>
          <p:cNvSpPr txBox="1">
            <a:spLocks noChangeArrowheads="1"/>
          </p:cNvSpPr>
          <p:nvPr/>
        </p:nvSpPr>
        <p:spPr bwMode="auto">
          <a:xfrm>
            <a:off x="5399580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II</a:t>
            </a:r>
          </a:p>
        </p:txBody>
      </p:sp>
      <p:sp>
        <p:nvSpPr>
          <p:cNvPr id="11" name="Text Box 24"/>
          <p:cNvSpPr txBox="1">
            <a:spLocks noChangeArrowheads="1"/>
          </p:cNvSpPr>
          <p:nvPr/>
        </p:nvSpPr>
        <p:spPr bwMode="auto">
          <a:xfrm>
            <a:off x="7770178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V</a:t>
            </a:r>
          </a:p>
        </p:txBody>
      </p:sp>
      <p:sp>
        <p:nvSpPr>
          <p:cNvPr id="13" name="Text Box 24"/>
          <p:cNvSpPr txBox="1">
            <a:spLocks noChangeArrowheads="1"/>
          </p:cNvSpPr>
          <p:nvPr/>
        </p:nvSpPr>
        <p:spPr bwMode="auto">
          <a:xfrm>
            <a:off x="682696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052545" y="2969699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648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Interlineado</a:t>
            </a:r>
            <a:r>
              <a:rPr lang="pt-BR" sz="1133" dirty="0"/>
              <a:t> </a:t>
            </a:r>
            <a:r>
              <a:rPr lang="pt-BR" sz="1133" dirty="0" err="1"/>
              <a:t>sencillo</a:t>
            </a:r>
            <a:endParaRPr lang="pt-BR" sz="1133" dirty="0"/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antes: </a:t>
            </a:r>
            <a:r>
              <a:rPr lang="pt-BR" sz="1133" dirty="0" err="1">
                <a:cs typeface="Arial" pitchFamily="34" charset="0"/>
              </a:rPr>
              <a:t>variable</a:t>
            </a:r>
            <a:r>
              <a:rPr lang="pt-BR" sz="1133" dirty="0">
                <a:cs typeface="Arial" pitchFamily="34" charset="0"/>
              </a:rPr>
              <a:t> </a:t>
            </a:r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</a:t>
            </a:r>
            <a:r>
              <a:rPr lang="pt-BR" sz="1133" dirty="0" err="1">
                <a:cs typeface="Arial" pitchFamily="34" charset="0"/>
              </a:rPr>
              <a:t>después</a:t>
            </a:r>
            <a:r>
              <a:rPr lang="pt-BR" sz="1133" dirty="0">
                <a:cs typeface="Arial" pitchFamily="34" charset="0"/>
              </a:rPr>
              <a:t>: 0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5423143" y="2947263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648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Interlineado</a:t>
            </a:r>
            <a:r>
              <a:rPr lang="pt-BR" sz="1133" dirty="0"/>
              <a:t> </a:t>
            </a:r>
            <a:r>
              <a:rPr lang="pt-BR" sz="1133" dirty="0" err="1"/>
              <a:t>sencillo</a:t>
            </a:r>
            <a:endParaRPr lang="pt-BR" sz="1133" dirty="0"/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antes: </a:t>
            </a:r>
            <a:r>
              <a:rPr lang="pt-BR" sz="1133" dirty="0" err="1">
                <a:cs typeface="Arial" pitchFamily="34" charset="0"/>
              </a:rPr>
              <a:t>variable</a:t>
            </a:r>
            <a:r>
              <a:rPr lang="pt-BR" sz="1133" dirty="0">
                <a:cs typeface="Arial" pitchFamily="34" charset="0"/>
              </a:rPr>
              <a:t> </a:t>
            </a:r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</a:t>
            </a:r>
            <a:r>
              <a:rPr lang="pt-BR" sz="1133" dirty="0" err="1">
                <a:cs typeface="Arial" pitchFamily="34" charset="0"/>
              </a:rPr>
              <a:t>después</a:t>
            </a:r>
            <a:r>
              <a:rPr lang="pt-BR" sz="1133" dirty="0">
                <a:cs typeface="Arial" pitchFamily="34" charset="0"/>
              </a:rPr>
              <a:t>: 0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7793742" y="2919232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gray">
          <a:xfrm flipH="1">
            <a:off x="2961518" y="2940941"/>
            <a:ext cx="0" cy="2285732"/>
          </a:xfrm>
          <a:prstGeom prst="line">
            <a:avLst/>
          </a:prstGeom>
          <a:noFill/>
          <a:ln w="6350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ctr" eaLnBrk="0" hangingPunct="0"/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18" name="17 Triángulo isósceles"/>
          <p:cNvSpPr/>
          <p:nvPr/>
        </p:nvSpPr>
        <p:spPr bwMode="auto">
          <a:xfrm>
            <a:off x="2874768" y="5209265"/>
            <a:ext cx="178568" cy="144228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86912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079" dirty="0">
              <a:latin typeface="Verdana" pitchFamily="34" charset="0"/>
            </a:endParaRPr>
          </a:p>
        </p:txBody>
      </p:sp>
      <p:sp>
        <p:nvSpPr>
          <p:cNvPr id="19" name="Text Box 24"/>
          <p:cNvSpPr txBox="1">
            <a:spLocks noChangeArrowheads="1"/>
          </p:cNvSpPr>
          <p:nvPr/>
        </p:nvSpPr>
        <p:spPr bwMode="auto">
          <a:xfrm>
            <a:off x="2463955" y="5360193"/>
            <a:ext cx="1000193" cy="435632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87646" tIns="43053" rIns="87646" bIns="43053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pt-BR" sz="1133" dirty="0"/>
              <a:t>Avance de </a:t>
            </a:r>
            <a:r>
              <a:rPr lang="pt-BR" sz="1133" dirty="0" err="1"/>
              <a:t>proyecto</a:t>
            </a:r>
            <a:endParaRPr lang="pt-BR" sz="1133" dirty="0"/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681946" y="2154277"/>
            <a:ext cx="2370335" cy="730357"/>
          </a:xfrm>
          <a:prstGeom prst="homePlate">
            <a:avLst>
              <a:gd name="adj" fmla="val 24837"/>
            </a:avLst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 dirty="0"/>
              <a:t>Flechas </a:t>
            </a:r>
            <a:r>
              <a:rPr lang="pt-BR" sz="1295" kern="0" dirty="0" err="1"/>
              <a:t>con</a:t>
            </a:r>
            <a:r>
              <a:rPr lang="pt-BR" sz="1295" kern="0" dirty="0"/>
              <a:t> borde gris fino…</a:t>
            </a:r>
          </a:p>
        </p:txBody>
      </p:sp>
      <p:sp>
        <p:nvSpPr>
          <p:cNvPr id="21" name="AutoShape 8"/>
          <p:cNvSpPr>
            <a:spLocks noChangeArrowheads="1"/>
          </p:cNvSpPr>
          <p:nvPr/>
        </p:nvSpPr>
        <p:spPr bwMode="auto">
          <a:xfrm>
            <a:off x="3052545" y="2154277"/>
            <a:ext cx="2370335" cy="730357"/>
          </a:xfrm>
          <a:prstGeom prst="chevron">
            <a:avLst>
              <a:gd name="adj" fmla="val 22425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 dirty="0"/>
              <a:t>… </a:t>
            </a:r>
            <a:r>
              <a:rPr lang="pt-BR" sz="1295" kern="0" dirty="0" err="1"/>
              <a:t>sin</a:t>
            </a:r>
            <a:r>
              <a:rPr lang="pt-BR" sz="1295" kern="0" dirty="0"/>
              <a:t> sombra</a:t>
            </a:r>
          </a:p>
        </p:txBody>
      </p:sp>
      <p:sp>
        <p:nvSpPr>
          <p:cNvPr id="22" name="AutoShape 10"/>
          <p:cNvSpPr>
            <a:spLocks noChangeArrowheads="1"/>
          </p:cNvSpPr>
          <p:nvPr/>
        </p:nvSpPr>
        <p:spPr bwMode="auto">
          <a:xfrm>
            <a:off x="5423143" y="2154277"/>
            <a:ext cx="2370335" cy="730357"/>
          </a:xfrm>
          <a:prstGeom prst="chevron">
            <a:avLst>
              <a:gd name="adj" fmla="val 24193"/>
            </a:avLst>
          </a:prstGeom>
          <a:solidFill>
            <a:schemeClr val="accent5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/>
              <a:t>Texto </a:t>
            </a:r>
            <a:r>
              <a:rPr lang="pt-BR" sz="1295" kern="0" dirty="0" err="1"/>
              <a:t>en</a:t>
            </a:r>
            <a:r>
              <a:rPr lang="pt-BR" sz="1295" kern="0" dirty="0"/>
              <a:t> Arial negro o </a:t>
            </a:r>
            <a:r>
              <a:rPr lang="pt-BR" sz="1295" kern="0" dirty="0" err="1"/>
              <a:t>blanco</a:t>
            </a:r>
            <a:r>
              <a:rPr lang="pt-BR" sz="1295" kern="0" dirty="0"/>
              <a:t>…</a:t>
            </a: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7793742" y="2154277"/>
            <a:ext cx="2370335" cy="730357"/>
          </a:xfrm>
          <a:prstGeom prst="chevron">
            <a:avLst>
              <a:gd name="adj" fmla="val 25749"/>
            </a:avLst>
          </a:prstGeom>
          <a:solidFill>
            <a:schemeClr val="accent4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eaLnBrk="0" hangingPunct="0"/>
            <a:r>
              <a:rPr lang="pt-BR" sz="1295" kern="0" dirty="0">
                <a:solidFill>
                  <a:schemeClr val="bg1"/>
                </a:solidFill>
              </a:rPr>
              <a:t>… </a:t>
            </a:r>
            <a:r>
              <a:rPr lang="pt-BR" sz="1295" kern="0" dirty="0" err="1">
                <a:solidFill>
                  <a:schemeClr val="bg1"/>
                </a:solidFill>
              </a:rPr>
              <a:t>sin</a:t>
            </a:r>
            <a:r>
              <a:rPr lang="pt-BR" sz="1295" kern="0" dirty="0">
                <a:solidFill>
                  <a:schemeClr val="bg1"/>
                </a:solidFill>
              </a:rPr>
              <a:t> negrita</a:t>
            </a:r>
          </a:p>
        </p:txBody>
      </p:sp>
      <p:sp>
        <p:nvSpPr>
          <p:cNvPr id="31" name="30 Rectángulo"/>
          <p:cNvSpPr/>
          <p:nvPr/>
        </p:nvSpPr>
        <p:spPr>
          <a:xfrm>
            <a:off x="-1" y="6266883"/>
            <a:ext cx="10691813" cy="686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15" rIns="777115" rtlCol="0" anchor="ctr"/>
          <a:lstStyle/>
          <a:p>
            <a:pPr algn="ctr"/>
            <a:r>
              <a:rPr lang="pt-BR" sz="1727">
                <a:solidFill>
                  <a:schemeClr val="bg1"/>
                </a:solidFill>
              </a:rPr>
              <a:t>Xxxxx xxxxxxxxxxxxx xxxxxxxx xxxxxxxxxxx xxxxxxxx xxxxxxxxxxxxxxxxxx </a:t>
            </a:r>
            <a:br>
              <a:rPr lang="pt-BR" sz="1727">
                <a:solidFill>
                  <a:schemeClr val="bg1"/>
                </a:solidFill>
              </a:rPr>
            </a:br>
            <a:r>
              <a:rPr lang="pt-BR" sz="1727">
                <a:solidFill>
                  <a:schemeClr val="bg1"/>
                </a:solidFill>
              </a:rPr>
              <a:t>xxxxxxx xxxxxxxxxxx xxxxxxxxxx xxxxxxxxxxxxxx xxxxxxxxxxxxxxxxxx</a:t>
            </a:r>
            <a:endParaRPr lang="pt-BR" sz="1727" dirty="0">
              <a:solidFill>
                <a:schemeClr val="bg1"/>
              </a:solidFill>
            </a:endParaRPr>
          </a:p>
        </p:txBody>
      </p:sp>
      <p:sp>
        <p:nvSpPr>
          <p:cNvPr id="35" name="15 Llamada rectangular redondeada"/>
          <p:cNvSpPr/>
          <p:nvPr/>
        </p:nvSpPr>
        <p:spPr>
          <a:xfrm>
            <a:off x="8532433" y="5343956"/>
            <a:ext cx="1476683" cy="612046"/>
          </a:xfrm>
          <a:prstGeom prst="wedgeRoundRectCallout">
            <a:avLst>
              <a:gd name="adj1" fmla="val -38268"/>
              <a:gd name="adj2" fmla="val 92073"/>
              <a:gd name="adj3" fmla="val 16667"/>
            </a:avLst>
          </a:prstGeom>
          <a:solidFill>
            <a:schemeClr val="bg1"/>
          </a:solidFill>
          <a:ln w="95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El </a:t>
            </a:r>
            <a:r>
              <a:rPr lang="pt-BR" sz="1079" dirty="0" err="1">
                <a:solidFill>
                  <a:schemeClr val="tx1"/>
                </a:solidFill>
              </a:rPr>
              <a:t>grosor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del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kicker</a:t>
            </a:r>
            <a:r>
              <a:rPr lang="pt-BR" sz="1079" dirty="0">
                <a:solidFill>
                  <a:schemeClr val="tx1"/>
                </a:solidFill>
              </a:rPr>
              <a:t> es </a:t>
            </a:r>
            <a:r>
              <a:rPr lang="pt-BR" sz="1079" dirty="0" err="1">
                <a:solidFill>
                  <a:schemeClr val="tx1"/>
                </a:solidFill>
              </a:rPr>
              <a:t>variable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según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cantidad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>
                <a:solidFill>
                  <a:schemeClr val="tx1"/>
                </a:solidFill>
              </a:rPr>
              <a:t>de Texto</a:t>
            </a:r>
            <a:endParaRPr lang="pt-BR" sz="1079" dirty="0">
              <a:solidFill>
                <a:schemeClr val="tx1"/>
              </a:solidFill>
            </a:endParaRPr>
          </a:p>
        </p:txBody>
      </p:sp>
      <p:grpSp>
        <p:nvGrpSpPr>
          <p:cNvPr id="40" name="Grupo 39"/>
          <p:cNvGrpSpPr/>
          <p:nvPr/>
        </p:nvGrpSpPr>
        <p:grpSpPr>
          <a:xfrm>
            <a:off x="681946" y="1303520"/>
            <a:ext cx="9327921" cy="300153"/>
            <a:chOff x="560508" y="1134683"/>
            <a:chExt cx="4320000" cy="278093"/>
          </a:xfrm>
        </p:grpSpPr>
        <p:sp>
          <p:nvSpPr>
            <p:cNvPr id="29" name="8 Marcador de texto"/>
            <p:cNvSpPr txBox="1">
              <a:spLocks/>
            </p:cNvSpPr>
            <p:nvPr/>
          </p:nvSpPr>
          <p:spPr>
            <a:xfrm>
              <a:off x="560508" y="1134683"/>
              <a:ext cx="432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 dirty="0">
                  <a:solidFill>
                    <a:schemeClr val="accent1"/>
                  </a:solidFill>
                </a:rPr>
                <a:t>Fases del proyecto</a:t>
              </a:r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560508" y="1412776"/>
              <a:ext cx="432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o 27"/>
          <p:cNvGrpSpPr/>
          <p:nvPr/>
        </p:nvGrpSpPr>
        <p:grpSpPr>
          <a:xfrm>
            <a:off x="9325432" y="1140711"/>
            <a:ext cx="963729" cy="172200"/>
            <a:chOff x="8640040" y="983842"/>
            <a:chExt cx="892898" cy="159544"/>
          </a:xfrm>
        </p:grpSpPr>
        <p:sp>
          <p:nvSpPr>
            <p:cNvPr id="30" name="CaixaDeTexto 29"/>
            <p:cNvSpPr txBox="1"/>
            <p:nvPr/>
          </p:nvSpPr>
          <p:spPr>
            <a:xfrm>
              <a:off x="8663395" y="986682"/>
              <a:ext cx="869543" cy="1538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9428" tIns="0" rIns="19428" bIns="0" rtlCol="0" anchor="ctr" anchorCtr="0">
              <a:spAutoFit/>
            </a:bodyPr>
            <a:lstStyle/>
            <a:p>
              <a:pPr algn="r"/>
              <a:r>
                <a:rPr lang="pt-BR" sz="1079" dirty="0"/>
                <a:t>ILUSTRATIVO</a:t>
              </a:r>
            </a:p>
          </p:txBody>
        </p:sp>
        <p:grpSp>
          <p:nvGrpSpPr>
            <p:cNvPr id="37" name="Grupo 28"/>
            <p:cNvGrpSpPr/>
            <p:nvPr/>
          </p:nvGrpSpPr>
          <p:grpSpPr>
            <a:xfrm>
              <a:off x="8640040" y="983842"/>
              <a:ext cx="892898" cy="159544"/>
              <a:chOff x="8621864" y="983842"/>
              <a:chExt cx="911074" cy="159544"/>
            </a:xfrm>
          </p:grpSpPr>
          <p:cxnSp>
            <p:nvCxnSpPr>
              <p:cNvPr id="38" name="Conector reto 37"/>
              <p:cNvCxnSpPr/>
              <p:nvPr/>
            </p:nvCxnSpPr>
            <p:spPr>
              <a:xfrm flipH="1">
                <a:off x="8621864" y="983842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to 38"/>
              <p:cNvCxnSpPr/>
              <p:nvPr/>
            </p:nvCxnSpPr>
            <p:spPr>
              <a:xfrm flipH="1">
                <a:off x="8621864" y="1143386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6383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to 6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13062"/>
              </p:ext>
            </p:extLst>
          </p:nvPr>
        </p:nvGraphicFramePr>
        <p:xfrm>
          <a:off x="0" y="78825"/>
          <a:ext cx="185622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85622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>
            <a:noAutofit/>
          </a:bodyPr>
          <a:lstStyle/>
          <a:p>
            <a:r>
              <a:rPr lang="pt-BR" dirty="0" err="1" smtClean="0"/>
              <a:t>Issue</a:t>
            </a:r>
            <a:r>
              <a:rPr lang="pt-BR" dirty="0" smtClean="0"/>
              <a:t> </a:t>
            </a:r>
            <a:r>
              <a:rPr lang="pt-BR" dirty="0" err="1" smtClean="0"/>
              <a:t>tree</a:t>
            </a:r>
            <a:r>
              <a:rPr lang="pt-BR" dirty="0"/>
              <a:t> </a:t>
            </a:r>
            <a:r>
              <a:rPr lang="pt-BR" dirty="0" smtClean="0"/>
              <a:t>– desenho de cenários e alternativas</a:t>
            </a:r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3: Slides </a:t>
            </a:r>
            <a:r>
              <a:rPr lang="en-US" dirty="0" err="1" smtClean="0"/>
              <a:t>específicos</a:t>
            </a:r>
            <a:r>
              <a:rPr lang="en-US" dirty="0" smtClean="0"/>
              <a:t> | </a:t>
            </a:r>
            <a:r>
              <a:rPr lang="en-US" i="1" dirty="0" smtClean="0"/>
              <a:t>Templates</a:t>
            </a:r>
            <a:r>
              <a:rPr lang="en-US" dirty="0" smtClean="0"/>
              <a:t> </a:t>
            </a:r>
            <a:r>
              <a:rPr lang="en-US" dirty="0" err="1" smtClean="0"/>
              <a:t>mais</a:t>
            </a:r>
            <a:r>
              <a:rPr lang="en-US" dirty="0" smtClean="0"/>
              <a:t> </a:t>
            </a:r>
            <a:r>
              <a:rPr lang="en-US" dirty="0" err="1" smtClean="0"/>
              <a:t>frequentes</a:t>
            </a:r>
            <a:endParaRPr lang="pt-BR" dirty="0"/>
          </a:p>
        </p:txBody>
      </p:sp>
      <p:sp>
        <p:nvSpPr>
          <p:cNvPr id="261" name="Retângulo 260"/>
          <p:cNvSpPr/>
          <p:nvPr>
            <p:custDataLst>
              <p:tags r:id="rId5"/>
            </p:custDataLst>
          </p:nvPr>
        </p:nvSpPr>
        <p:spPr bwMode="auto">
          <a:xfrm>
            <a:off x="424931" y="3795795"/>
            <a:ext cx="1337062" cy="91309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 b="1">
                <a:solidFill>
                  <a:schemeClr val="bg1"/>
                </a:solidFill>
              </a:rPr>
              <a:t>xxxxx</a:t>
            </a:r>
            <a:endParaRPr lang="pt-BR" sz="1187" b="1" dirty="0">
              <a:solidFill>
                <a:schemeClr val="bg1"/>
              </a:solidFill>
            </a:endParaRPr>
          </a:p>
        </p:txBody>
      </p:sp>
      <p:sp>
        <p:nvSpPr>
          <p:cNvPr id="291" name="Retângulo 290"/>
          <p:cNvSpPr/>
          <p:nvPr/>
        </p:nvSpPr>
        <p:spPr bwMode="auto">
          <a:xfrm>
            <a:off x="2193642" y="2126783"/>
            <a:ext cx="1262813" cy="913095"/>
          </a:xfrm>
          <a:prstGeom prst="rect">
            <a:avLst/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cxnSp>
        <p:nvCxnSpPr>
          <p:cNvPr id="295" name="Conector de seta reta 294"/>
          <p:cNvCxnSpPr>
            <a:stCxn id="305" idx="3"/>
            <a:endCxn id="293" idx="1"/>
          </p:cNvCxnSpPr>
          <p:nvPr/>
        </p:nvCxnSpPr>
        <p:spPr>
          <a:xfrm>
            <a:off x="4936380" y="2583331"/>
            <a:ext cx="325891" cy="0"/>
          </a:xfrm>
          <a:prstGeom prst="straightConnector1">
            <a:avLst/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Conector angulado 295"/>
          <p:cNvCxnSpPr>
            <a:stCxn id="305" idx="3"/>
            <a:endCxn id="294" idx="1"/>
          </p:cNvCxnSpPr>
          <p:nvPr/>
        </p:nvCxnSpPr>
        <p:spPr>
          <a:xfrm>
            <a:off x="4936380" y="2583331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9" name="Retângulo 298"/>
          <p:cNvSpPr/>
          <p:nvPr/>
        </p:nvSpPr>
        <p:spPr bwMode="auto">
          <a:xfrm>
            <a:off x="6946511" y="2905426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300" name="Conector de seta reta 299"/>
          <p:cNvCxnSpPr>
            <a:stCxn id="294" idx="3"/>
            <a:endCxn id="299" idx="1"/>
          </p:cNvCxnSpPr>
          <p:nvPr/>
        </p:nvCxnSpPr>
        <p:spPr>
          <a:xfrm>
            <a:off x="6614451" y="3113727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Conector angulado 303"/>
          <p:cNvCxnSpPr>
            <a:stCxn id="305" idx="3"/>
            <a:endCxn id="292" idx="1"/>
          </p:cNvCxnSpPr>
          <p:nvPr/>
        </p:nvCxnSpPr>
        <p:spPr>
          <a:xfrm flipV="1">
            <a:off x="4936380" y="2052935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Conector reto 305"/>
          <p:cNvCxnSpPr>
            <a:stCxn id="291" idx="3"/>
            <a:endCxn id="305" idx="1"/>
          </p:cNvCxnSpPr>
          <p:nvPr/>
        </p:nvCxnSpPr>
        <p:spPr>
          <a:xfrm>
            <a:off x="3456455" y="2583331"/>
            <a:ext cx="323957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Conector reto 336"/>
          <p:cNvCxnSpPr>
            <a:stCxn id="261" idx="3"/>
            <a:endCxn id="73" idx="1"/>
          </p:cNvCxnSpPr>
          <p:nvPr>
            <p:custDataLst>
              <p:tags r:id="rId6"/>
            </p:custDataLst>
          </p:nvPr>
        </p:nvCxnSpPr>
        <p:spPr>
          <a:xfrm>
            <a:off x="1761993" y="4252343"/>
            <a:ext cx="43165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Conector angulado 396"/>
          <p:cNvCxnSpPr>
            <a:stCxn id="88" idx="1"/>
            <a:endCxn id="291" idx="1"/>
          </p:cNvCxnSpPr>
          <p:nvPr>
            <p:custDataLst>
              <p:tags r:id="rId7"/>
            </p:custDataLst>
          </p:nvPr>
        </p:nvCxnSpPr>
        <p:spPr>
          <a:xfrm rot="10800000">
            <a:off x="2193642" y="2583331"/>
            <a:ext cx="13707" cy="3379191"/>
          </a:xfrm>
          <a:prstGeom prst="bentConnector3">
            <a:avLst>
              <a:gd name="adj1" fmla="val 180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Retângulo 304"/>
          <p:cNvSpPr/>
          <p:nvPr/>
        </p:nvSpPr>
        <p:spPr bwMode="auto">
          <a:xfrm>
            <a:off x="3780411" y="2334833"/>
            <a:ext cx="1155968" cy="496996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292" name="Retângulo 291"/>
          <p:cNvSpPr/>
          <p:nvPr/>
        </p:nvSpPr>
        <p:spPr bwMode="auto">
          <a:xfrm>
            <a:off x="5262270" y="1844633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293" name="Retângulo 292"/>
          <p:cNvSpPr/>
          <p:nvPr/>
        </p:nvSpPr>
        <p:spPr bwMode="auto">
          <a:xfrm>
            <a:off x="5262270" y="2375029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294" name="Retângulo 293"/>
          <p:cNvSpPr/>
          <p:nvPr/>
        </p:nvSpPr>
        <p:spPr bwMode="auto">
          <a:xfrm>
            <a:off x="5262270" y="2905426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405" name="8 Marcador de texto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24931" y="1164100"/>
            <a:ext cx="2892299" cy="283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50513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511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Quebra 1</a:t>
            </a:r>
            <a:endParaRPr lang="en-US" sz="1511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06" name="27 Conector recto"/>
          <p:cNvCxnSpPr/>
          <p:nvPr>
            <p:custDataLst>
              <p:tags r:id="rId9"/>
            </p:custDataLst>
          </p:nvPr>
        </p:nvCxnSpPr>
        <p:spPr>
          <a:xfrm>
            <a:off x="424931" y="1491646"/>
            <a:ext cx="3031524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8 Marcador de texto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780411" y="1164100"/>
            <a:ext cx="1157902" cy="283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50513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511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Quebra 2</a:t>
            </a:r>
            <a:endParaRPr lang="en-US" sz="1511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6" name="27 Conector recto"/>
          <p:cNvCxnSpPr/>
          <p:nvPr>
            <p:custDataLst>
              <p:tags r:id="rId11"/>
            </p:custDataLst>
          </p:nvPr>
        </p:nvCxnSpPr>
        <p:spPr>
          <a:xfrm>
            <a:off x="3780411" y="1491646"/>
            <a:ext cx="115790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8 Marcador de texto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262270" y="1164100"/>
            <a:ext cx="1352181" cy="283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50513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511" b="1" dirty="0">
                <a:solidFill>
                  <a:srgbClr val="1F497D"/>
                </a:solidFill>
                <a:latin typeface="Arial" pitchFamily="34" charset="0"/>
                <a:cs typeface="Arial" pitchFamily="34" charset="0"/>
              </a:rPr>
              <a:t>Quebra 3</a:t>
            </a:r>
            <a:endParaRPr lang="en-US" sz="1511" b="1" dirty="0">
              <a:solidFill>
                <a:srgbClr val="1F497D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9" name="27 Conector recto"/>
          <p:cNvCxnSpPr/>
          <p:nvPr>
            <p:custDataLst>
              <p:tags r:id="rId13"/>
            </p:custDataLst>
          </p:nvPr>
        </p:nvCxnSpPr>
        <p:spPr>
          <a:xfrm>
            <a:off x="5262270" y="1491646"/>
            <a:ext cx="135218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8 Marcador de texto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938408" y="1164100"/>
            <a:ext cx="3343895" cy="2835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50513" rIns="0" bIns="0" anchor="b" anchorCtr="0">
            <a:spAutoFit/>
          </a:bodyPr>
          <a:lstStyle/>
          <a:p>
            <a:pPr>
              <a:spcBef>
                <a:spcPct val="30000"/>
              </a:spcBef>
            </a:pPr>
            <a:r>
              <a:rPr lang="pt-BR" sz="1511" b="1" dirty="0">
                <a:solidFill>
                  <a:schemeClr val="accent1"/>
                </a:solidFill>
              </a:rPr>
              <a:t>Descrição</a:t>
            </a:r>
          </a:p>
        </p:txBody>
      </p:sp>
      <p:cxnSp>
        <p:nvCxnSpPr>
          <p:cNvPr id="72" name="27 Conector recto"/>
          <p:cNvCxnSpPr/>
          <p:nvPr>
            <p:custDataLst>
              <p:tags r:id="rId15"/>
            </p:custDataLst>
          </p:nvPr>
        </p:nvCxnSpPr>
        <p:spPr>
          <a:xfrm>
            <a:off x="6938411" y="1491646"/>
            <a:ext cx="3343892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tângulo 298"/>
          <p:cNvSpPr/>
          <p:nvPr/>
        </p:nvSpPr>
        <p:spPr bwMode="auto">
          <a:xfrm>
            <a:off x="6946511" y="2375029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61" name="Conector de seta reta 299"/>
          <p:cNvCxnSpPr>
            <a:stCxn id="293" idx="3"/>
            <a:endCxn id="60" idx="1"/>
          </p:cNvCxnSpPr>
          <p:nvPr/>
        </p:nvCxnSpPr>
        <p:spPr>
          <a:xfrm>
            <a:off x="6614451" y="2583331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tângulo 298"/>
          <p:cNvSpPr/>
          <p:nvPr/>
        </p:nvSpPr>
        <p:spPr bwMode="auto">
          <a:xfrm>
            <a:off x="6946511" y="1844633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70" name="Conector de seta reta 299"/>
          <p:cNvCxnSpPr>
            <a:stCxn id="292" idx="3"/>
            <a:endCxn id="67" idx="1"/>
          </p:cNvCxnSpPr>
          <p:nvPr/>
        </p:nvCxnSpPr>
        <p:spPr>
          <a:xfrm>
            <a:off x="6614451" y="2052934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tângulo 290"/>
          <p:cNvSpPr/>
          <p:nvPr/>
        </p:nvSpPr>
        <p:spPr bwMode="auto">
          <a:xfrm>
            <a:off x="2193642" y="3795795"/>
            <a:ext cx="1262813" cy="913095"/>
          </a:xfrm>
          <a:prstGeom prst="rect">
            <a:avLst/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cxnSp>
        <p:nvCxnSpPr>
          <p:cNvPr id="74" name="Conector de seta reta 294"/>
          <p:cNvCxnSpPr>
            <a:stCxn id="80" idx="3"/>
            <a:endCxn id="82" idx="1"/>
          </p:cNvCxnSpPr>
          <p:nvPr/>
        </p:nvCxnSpPr>
        <p:spPr>
          <a:xfrm>
            <a:off x="4936380" y="4252343"/>
            <a:ext cx="325891" cy="0"/>
          </a:xfrm>
          <a:prstGeom prst="straightConnector1">
            <a:avLst/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angulado 295"/>
          <p:cNvCxnSpPr>
            <a:stCxn id="80" idx="3"/>
            <a:endCxn id="83" idx="1"/>
          </p:cNvCxnSpPr>
          <p:nvPr/>
        </p:nvCxnSpPr>
        <p:spPr>
          <a:xfrm>
            <a:off x="4936380" y="4252343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tângulo 298"/>
          <p:cNvSpPr/>
          <p:nvPr/>
        </p:nvSpPr>
        <p:spPr bwMode="auto">
          <a:xfrm>
            <a:off x="6946511" y="4574437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77" name="Conector de seta reta 299"/>
          <p:cNvCxnSpPr>
            <a:stCxn id="83" idx="3"/>
            <a:endCxn id="76" idx="1"/>
          </p:cNvCxnSpPr>
          <p:nvPr/>
        </p:nvCxnSpPr>
        <p:spPr>
          <a:xfrm>
            <a:off x="6614451" y="4782739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ector angulado 303"/>
          <p:cNvCxnSpPr>
            <a:stCxn id="80" idx="3"/>
            <a:endCxn id="81" idx="1"/>
          </p:cNvCxnSpPr>
          <p:nvPr/>
        </p:nvCxnSpPr>
        <p:spPr>
          <a:xfrm flipV="1">
            <a:off x="4936380" y="3721946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ector reto 305"/>
          <p:cNvCxnSpPr>
            <a:stCxn id="73" idx="3"/>
            <a:endCxn id="80" idx="1"/>
          </p:cNvCxnSpPr>
          <p:nvPr/>
        </p:nvCxnSpPr>
        <p:spPr>
          <a:xfrm>
            <a:off x="3456455" y="4252343"/>
            <a:ext cx="323957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tângulo 304"/>
          <p:cNvSpPr/>
          <p:nvPr/>
        </p:nvSpPr>
        <p:spPr bwMode="auto">
          <a:xfrm>
            <a:off x="3780411" y="4003845"/>
            <a:ext cx="1155968" cy="496996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81" name="Retângulo 291"/>
          <p:cNvSpPr/>
          <p:nvPr/>
        </p:nvSpPr>
        <p:spPr bwMode="auto">
          <a:xfrm>
            <a:off x="5262270" y="3513645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82" name="Retângulo 292"/>
          <p:cNvSpPr/>
          <p:nvPr/>
        </p:nvSpPr>
        <p:spPr bwMode="auto">
          <a:xfrm>
            <a:off x="5262270" y="4044041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83" name="Retângulo 293"/>
          <p:cNvSpPr/>
          <p:nvPr/>
        </p:nvSpPr>
        <p:spPr bwMode="auto">
          <a:xfrm>
            <a:off x="5262270" y="4574437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84" name="Retângulo 298"/>
          <p:cNvSpPr/>
          <p:nvPr/>
        </p:nvSpPr>
        <p:spPr bwMode="auto">
          <a:xfrm>
            <a:off x="6946511" y="4044041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85" name="Conector de seta reta 299"/>
          <p:cNvCxnSpPr>
            <a:stCxn id="82" idx="3"/>
            <a:endCxn id="84" idx="1"/>
          </p:cNvCxnSpPr>
          <p:nvPr/>
        </p:nvCxnSpPr>
        <p:spPr>
          <a:xfrm>
            <a:off x="6614451" y="4252343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Retângulo 298"/>
          <p:cNvSpPr/>
          <p:nvPr/>
        </p:nvSpPr>
        <p:spPr bwMode="auto">
          <a:xfrm>
            <a:off x="6946511" y="3513645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87" name="Conector de seta reta 299"/>
          <p:cNvCxnSpPr>
            <a:stCxn id="81" idx="3"/>
            <a:endCxn id="86" idx="1"/>
          </p:cNvCxnSpPr>
          <p:nvPr/>
        </p:nvCxnSpPr>
        <p:spPr>
          <a:xfrm>
            <a:off x="6614451" y="3721946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tângulo 290"/>
          <p:cNvSpPr/>
          <p:nvPr>
            <p:custDataLst>
              <p:tags r:id="rId16"/>
            </p:custDataLst>
          </p:nvPr>
        </p:nvSpPr>
        <p:spPr bwMode="auto">
          <a:xfrm>
            <a:off x="2193642" y="5505975"/>
            <a:ext cx="1262813" cy="913095"/>
          </a:xfrm>
          <a:prstGeom prst="rect">
            <a:avLst/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cxnSp>
        <p:nvCxnSpPr>
          <p:cNvPr id="89" name="Conector de seta reta 294"/>
          <p:cNvCxnSpPr>
            <a:stCxn id="95" idx="3"/>
            <a:endCxn id="97" idx="1"/>
          </p:cNvCxnSpPr>
          <p:nvPr>
            <p:custDataLst>
              <p:tags r:id="rId17"/>
            </p:custDataLst>
          </p:nvPr>
        </p:nvCxnSpPr>
        <p:spPr>
          <a:xfrm>
            <a:off x="4936380" y="5962522"/>
            <a:ext cx="325891" cy="0"/>
          </a:xfrm>
          <a:prstGeom prst="straightConnector1">
            <a:avLst/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ector angulado 295"/>
          <p:cNvCxnSpPr>
            <a:stCxn id="95" idx="3"/>
            <a:endCxn id="98" idx="1"/>
          </p:cNvCxnSpPr>
          <p:nvPr>
            <p:custDataLst>
              <p:tags r:id="rId18"/>
            </p:custDataLst>
          </p:nvPr>
        </p:nvCxnSpPr>
        <p:spPr>
          <a:xfrm>
            <a:off x="4936380" y="5962522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tângulo 298"/>
          <p:cNvSpPr/>
          <p:nvPr/>
        </p:nvSpPr>
        <p:spPr bwMode="auto">
          <a:xfrm>
            <a:off x="6946511" y="6284617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92" name="Conector de seta reta 299"/>
          <p:cNvCxnSpPr>
            <a:stCxn id="98" idx="3"/>
            <a:endCxn id="91" idx="1"/>
          </p:cNvCxnSpPr>
          <p:nvPr/>
        </p:nvCxnSpPr>
        <p:spPr>
          <a:xfrm>
            <a:off x="6614451" y="6492918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ector angulado 303"/>
          <p:cNvCxnSpPr>
            <a:stCxn id="95" idx="3"/>
            <a:endCxn id="96" idx="1"/>
          </p:cNvCxnSpPr>
          <p:nvPr>
            <p:custDataLst>
              <p:tags r:id="rId19"/>
            </p:custDataLst>
          </p:nvPr>
        </p:nvCxnSpPr>
        <p:spPr>
          <a:xfrm flipV="1">
            <a:off x="4936380" y="5432126"/>
            <a:ext cx="325891" cy="53039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ector reto 305"/>
          <p:cNvCxnSpPr>
            <a:stCxn id="88" idx="3"/>
            <a:endCxn id="95" idx="1"/>
          </p:cNvCxnSpPr>
          <p:nvPr>
            <p:custDataLst>
              <p:tags r:id="rId20"/>
            </p:custDataLst>
          </p:nvPr>
        </p:nvCxnSpPr>
        <p:spPr>
          <a:xfrm>
            <a:off x="3456455" y="5962522"/>
            <a:ext cx="323957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tângulo 304"/>
          <p:cNvSpPr/>
          <p:nvPr>
            <p:custDataLst>
              <p:tags r:id="rId21"/>
            </p:custDataLst>
          </p:nvPr>
        </p:nvSpPr>
        <p:spPr bwMode="auto">
          <a:xfrm>
            <a:off x="3780411" y="5714024"/>
            <a:ext cx="1155968" cy="496996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96" name="Retângulo 291"/>
          <p:cNvSpPr/>
          <p:nvPr>
            <p:custDataLst>
              <p:tags r:id="rId22"/>
            </p:custDataLst>
          </p:nvPr>
        </p:nvSpPr>
        <p:spPr bwMode="auto">
          <a:xfrm>
            <a:off x="5262270" y="5223824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97" name="Retângulo 292"/>
          <p:cNvSpPr/>
          <p:nvPr>
            <p:custDataLst>
              <p:tags r:id="rId23"/>
            </p:custDataLst>
          </p:nvPr>
        </p:nvSpPr>
        <p:spPr bwMode="auto">
          <a:xfrm>
            <a:off x="5262270" y="5754221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98" name="Retângulo 293"/>
          <p:cNvSpPr/>
          <p:nvPr>
            <p:custDataLst>
              <p:tags r:id="rId24"/>
            </p:custDataLst>
          </p:nvPr>
        </p:nvSpPr>
        <p:spPr bwMode="auto">
          <a:xfrm>
            <a:off x="5262270" y="6284617"/>
            <a:ext cx="1352181" cy="416603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58284" tIns="58284" rIns="58284" bIns="58284" rtlCol="0" anchor="ctr"/>
          <a:lstStyle/>
          <a:p>
            <a:pPr indent="-191900" algn="ctr"/>
            <a:r>
              <a:rPr lang="pt-BR" sz="1187">
                <a:solidFill>
                  <a:prstClr val="black"/>
                </a:solidFill>
              </a:rPr>
              <a:t>xxxx</a:t>
            </a:r>
            <a:endParaRPr lang="pt-BR" sz="1187" dirty="0">
              <a:solidFill>
                <a:prstClr val="black"/>
              </a:solidFill>
            </a:endParaRPr>
          </a:p>
        </p:txBody>
      </p:sp>
      <p:sp>
        <p:nvSpPr>
          <p:cNvPr id="99" name="Retângulo 298"/>
          <p:cNvSpPr/>
          <p:nvPr/>
        </p:nvSpPr>
        <p:spPr bwMode="auto">
          <a:xfrm>
            <a:off x="6946511" y="5754221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100" name="Conector de seta reta 299"/>
          <p:cNvCxnSpPr>
            <a:stCxn id="97" idx="3"/>
            <a:endCxn id="99" idx="1"/>
          </p:cNvCxnSpPr>
          <p:nvPr/>
        </p:nvCxnSpPr>
        <p:spPr>
          <a:xfrm>
            <a:off x="6614451" y="5962522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tângulo 298"/>
          <p:cNvSpPr/>
          <p:nvPr>
            <p:custDataLst>
              <p:tags r:id="rId25"/>
            </p:custDataLst>
          </p:nvPr>
        </p:nvSpPr>
        <p:spPr bwMode="auto">
          <a:xfrm>
            <a:off x="6946511" y="5223824"/>
            <a:ext cx="3320945" cy="41660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square" lIns="38856" tIns="38856" rIns="38856" bIns="38856" rtlCol="0" anchor="ctr"/>
          <a:lstStyle/>
          <a:p>
            <a:pPr marL="92523" indent="-89096">
              <a:buFont typeface="Arial" pitchFamily="34" charset="0"/>
              <a:buChar char="•"/>
            </a:pPr>
            <a:r>
              <a:rPr lang="pt-BR" sz="1133">
                <a:solidFill>
                  <a:prstClr val="black"/>
                </a:solidFill>
              </a:rPr>
              <a:t>xxx</a:t>
            </a:r>
            <a:endParaRPr lang="pt-BR" sz="1133" dirty="0">
              <a:solidFill>
                <a:prstClr val="black"/>
              </a:solidFill>
            </a:endParaRPr>
          </a:p>
        </p:txBody>
      </p:sp>
      <p:cxnSp>
        <p:nvCxnSpPr>
          <p:cNvPr id="102" name="Conector de seta reta 299"/>
          <p:cNvCxnSpPr>
            <a:stCxn id="96" idx="3"/>
            <a:endCxn id="101" idx="1"/>
          </p:cNvCxnSpPr>
          <p:nvPr>
            <p:custDataLst>
              <p:tags r:id="rId26"/>
            </p:custDataLst>
          </p:nvPr>
        </p:nvCxnSpPr>
        <p:spPr>
          <a:xfrm>
            <a:off x="6614451" y="5432126"/>
            <a:ext cx="332059" cy="0"/>
          </a:xfrm>
          <a:prstGeom prst="straightConnector1">
            <a:avLst/>
          </a:prstGeom>
          <a:ln w="127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751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45 Marcador de texto"/>
          <p:cNvSpPr txBox="1">
            <a:spLocks/>
          </p:cNvSpPr>
          <p:nvPr/>
        </p:nvSpPr>
        <p:spPr>
          <a:xfrm>
            <a:off x="480624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2" name="47 Marcador de texto"/>
          <p:cNvSpPr txBox="1">
            <a:spLocks/>
          </p:cNvSpPr>
          <p:nvPr/>
        </p:nvSpPr>
        <p:spPr>
          <a:xfrm>
            <a:off x="5525294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prstClr val="black"/>
                </a:solidFill>
                <a:latin typeface="Arial"/>
              </a:rPr>
              <a:t>Texto</a:t>
            </a:r>
            <a:endParaRPr lang="pt-BR" sz="1295" dirty="0"/>
          </a:p>
        </p:txBody>
      </p:sp>
      <p:sp>
        <p:nvSpPr>
          <p:cNvPr id="33" name="48 Marcador de texto"/>
          <p:cNvSpPr txBox="1">
            <a:spLocks/>
          </p:cNvSpPr>
          <p:nvPr/>
        </p:nvSpPr>
        <p:spPr>
          <a:xfrm>
            <a:off x="3002959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4" name="49 Marcador de texto"/>
          <p:cNvSpPr txBox="1">
            <a:spLocks/>
          </p:cNvSpPr>
          <p:nvPr/>
        </p:nvSpPr>
        <p:spPr>
          <a:xfrm>
            <a:off x="8047629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cxnSp>
        <p:nvCxnSpPr>
          <p:cNvPr id="816130" name="AutoShape 2"/>
          <p:cNvCxnSpPr>
            <a:cxnSpLocks noChangeShapeType="1"/>
            <a:stCxn id="816153" idx="0"/>
            <a:endCxn id="34" idx="2"/>
          </p:cNvCxnSpPr>
          <p:nvPr/>
        </p:nvCxnSpPr>
        <p:spPr bwMode="auto">
          <a:xfrm rot="5400000" flipH="1" flipV="1">
            <a:off x="8524358" y="3966219"/>
            <a:ext cx="673159" cy="59897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1" name="AutoShape 3"/>
          <p:cNvCxnSpPr>
            <a:cxnSpLocks noChangeShapeType="1"/>
            <a:stCxn id="816154" idx="0"/>
            <a:endCxn id="34" idx="2"/>
          </p:cNvCxnSpPr>
          <p:nvPr/>
        </p:nvCxnSpPr>
        <p:spPr bwMode="auto">
          <a:xfrm rot="16200000" flipV="1">
            <a:off x="9131033" y="3958516"/>
            <a:ext cx="673159" cy="61437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2" name="AutoShape 4"/>
          <p:cNvCxnSpPr>
            <a:cxnSpLocks noChangeShapeType="1"/>
            <a:stCxn id="816149" idx="0"/>
            <a:endCxn id="33" idx="2"/>
          </p:cNvCxnSpPr>
          <p:nvPr/>
        </p:nvCxnSpPr>
        <p:spPr bwMode="auto">
          <a:xfrm rot="5400000" flipH="1" flipV="1">
            <a:off x="3459913" y="3946443"/>
            <a:ext cx="673159" cy="63852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3" name="AutoShape 5"/>
          <p:cNvCxnSpPr>
            <a:cxnSpLocks noChangeShapeType="1"/>
            <a:stCxn id="816150" idx="0"/>
            <a:endCxn id="33" idx="2"/>
          </p:cNvCxnSpPr>
          <p:nvPr/>
        </p:nvCxnSpPr>
        <p:spPr bwMode="auto">
          <a:xfrm rot="16200000" flipV="1">
            <a:off x="4066588" y="3978291"/>
            <a:ext cx="673159" cy="57482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4" name="AutoShape 6"/>
          <p:cNvCxnSpPr>
            <a:cxnSpLocks noChangeShapeType="1"/>
            <a:stCxn id="816151" idx="0"/>
            <a:endCxn id="32" idx="2"/>
          </p:cNvCxnSpPr>
          <p:nvPr/>
        </p:nvCxnSpPr>
        <p:spPr bwMode="auto">
          <a:xfrm rot="5400000" flipH="1" flipV="1">
            <a:off x="5987185" y="3951380"/>
            <a:ext cx="673159" cy="62865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5" name="AutoShape 7"/>
          <p:cNvCxnSpPr>
            <a:cxnSpLocks noChangeShapeType="1"/>
            <a:stCxn id="816152" idx="0"/>
            <a:endCxn id="32" idx="2"/>
          </p:cNvCxnSpPr>
          <p:nvPr/>
        </p:nvCxnSpPr>
        <p:spPr bwMode="auto">
          <a:xfrm rot="16200000" flipV="1">
            <a:off x="6593860" y="3973354"/>
            <a:ext cx="673159" cy="584701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6" name="AutoShape 8"/>
          <p:cNvCxnSpPr>
            <a:cxnSpLocks noChangeShapeType="1"/>
            <a:stCxn id="816147" idx="0"/>
            <a:endCxn id="46" idx="2"/>
          </p:cNvCxnSpPr>
          <p:nvPr/>
        </p:nvCxnSpPr>
        <p:spPr bwMode="auto">
          <a:xfrm rot="5400000" flipH="1" flipV="1">
            <a:off x="920830" y="3930230"/>
            <a:ext cx="668237" cy="67587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7" name="AutoShape 9"/>
          <p:cNvCxnSpPr>
            <a:cxnSpLocks noChangeShapeType="1"/>
            <a:stCxn id="816148" idx="0"/>
            <a:endCxn id="46" idx="2"/>
          </p:cNvCxnSpPr>
          <p:nvPr/>
        </p:nvCxnSpPr>
        <p:spPr bwMode="auto">
          <a:xfrm rot="16200000" flipV="1">
            <a:off x="1540693" y="3986239"/>
            <a:ext cx="668237" cy="56385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8" name="AutoShape 10"/>
          <p:cNvCxnSpPr>
            <a:cxnSpLocks noChangeShapeType="1"/>
            <a:stCxn id="33" idx="0"/>
            <a:endCxn id="816142" idx="2"/>
          </p:cNvCxnSpPr>
          <p:nvPr/>
        </p:nvCxnSpPr>
        <p:spPr bwMode="auto">
          <a:xfrm rot="5400000" flipH="1" flipV="1">
            <a:off x="4383753" y="2195923"/>
            <a:ext cx="694154" cy="123015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9" name="AutoShape 11"/>
          <p:cNvCxnSpPr>
            <a:cxnSpLocks noChangeShapeType="1"/>
            <a:stCxn id="32" idx="0"/>
            <a:endCxn id="816142" idx="2"/>
          </p:cNvCxnSpPr>
          <p:nvPr/>
        </p:nvCxnSpPr>
        <p:spPr bwMode="auto">
          <a:xfrm rot="16200000" flipV="1">
            <a:off x="5644922" y="2164908"/>
            <a:ext cx="694154" cy="129218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40" name="AutoShape 12"/>
          <p:cNvCxnSpPr>
            <a:cxnSpLocks noChangeShapeType="1"/>
            <a:stCxn id="34" idx="0"/>
            <a:endCxn id="816142" idx="2"/>
          </p:cNvCxnSpPr>
          <p:nvPr/>
        </p:nvCxnSpPr>
        <p:spPr bwMode="auto">
          <a:xfrm rot="16200000" flipV="1">
            <a:off x="6906089" y="903740"/>
            <a:ext cx="694154" cy="381451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41" name="AutoShape 13"/>
          <p:cNvCxnSpPr>
            <a:cxnSpLocks noChangeShapeType="1"/>
            <a:stCxn id="31" idx="0"/>
            <a:endCxn id="816142" idx="2"/>
          </p:cNvCxnSpPr>
          <p:nvPr/>
        </p:nvCxnSpPr>
        <p:spPr bwMode="auto">
          <a:xfrm rot="5400000" flipH="1" flipV="1">
            <a:off x="3122585" y="934756"/>
            <a:ext cx="694154" cy="375248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816142" name="Rectangle 14"/>
          <p:cNvSpPr>
            <a:spLocks noChangeArrowheads="1"/>
          </p:cNvSpPr>
          <p:nvPr/>
        </p:nvSpPr>
        <p:spPr bwMode="auto">
          <a:xfrm>
            <a:off x="4119368" y="1559230"/>
            <a:ext cx="2453078" cy="90469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Texto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816147" name="Rectangle 19"/>
          <p:cNvSpPr>
            <a:spLocks noChangeArrowheads="1"/>
          </p:cNvSpPr>
          <p:nvPr/>
        </p:nvSpPr>
        <p:spPr bwMode="auto">
          <a:xfrm>
            <a:off x="402657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48" name="Rectangle 20"/>
          <p:cNvSpPr>
            <a:spLocks noChangeArrowheads="1"/>
          </p:cNvSpPr>
          <p:nvPr/>
        </p:nvSpPr>
        <p:spPr bwMode="auto">
          <a:xfrm>
            <a:off x="1642385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49" name="Rectangle 21"/>
          <p:cNvSpPr>
            <a:spLocks noChangeArrowheads="1"/>
          </p:cNvSpPr>
          <p:nvPr/>
        </p:nvSpPr>
        <p:spPr bwMode="auto">
          <a:xfrm>
            <a:off x="296287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0" name="Rectangle 22"/>
          <p:cNvSpPr>
            <a:spLocks noChangeArrowheads="1"/>
          </p:cNvSpPr>
          <p:nvPr/>
        </p:nvSpPr>
        <p:spPr bwMode="auto">
          <a:xfrm>
            <a:off x="417622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1" name="Rectangle 23"/>
          <p:cNvSpPr>
            <a:spLocks noChangeArrowheads="1"/>
          </p:cNvSpPr>
          <p:nvPr/>
        </p:nvSpPr>
        <p:spPr bwMode="auto">
          <a:xfrm>
            <a:off x="5495084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2" name="Rectangle 24"/>
          <p:cNvSpPr>
            <a:spLocks noChangeArrowheads="1"/>
          </p:cNvSpPr>
          <p:nvPr/>
        </p:nvSpPr>
        <p:spPr bwMode="auto">
          <a:xfrm>
            <a:off x="6708435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3" name="Rectangle 25"/>
          <p:cNvSpPr>
            <a:spLocks noChangeArrowheads="1"/>
          </p:cNvSpPr>
          <p:nvPr/>
        </p:nvSpPr>
        <p:spPr bwMode="auto">
          <a:xfrm>
            <a:off x="804709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4" name="Rectangle 26"/>
          <p:cNvSpPr>
            <a:spLocks noChangeArrowheads="1"/>
          </p:cNvSpPr>
          <p:nvPr/>
        </p:nvSpPr>
        <p:spPr bwMode="auto">
          <a:xfrm>
            <a:off x="926044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5" name="Rectangle 27"/>
          <p:cNvSpPr>
            <a:spLocks noChangeArrowheads="1"/>
          </p:cNvSpPr>
          <p:nvPr/>
        </p:nvSpPr>
        <p:spPr bwMode="auto">
          <a:xfrm>
            <a:off x="-3427" y="6456617"/>
            <a:ext cx="10695240" cy="5097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None/>
            </a:pPr>
            <a:r>
              <a:rPr lang="pt-BR" sz="1511" err="1">
                <a:solidFill>
                  <a:schemeClr val="bg1"/>
                </a:solidFill>
              </a:rPr>
              <a:t>Kicker</a:t>
            </a:r>
            <a:r>
              <a:rPr lang="pt-BR" sz="1511">
                <a:solidFill>
                  <a:schemeClr val="bg1"/>
                </a:solidFill>
              </a:rPr>
              <a:t> bo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816156" name="Rectangle 2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Organigrama</a:t>
            </a:r>
            <a:endParaRPr lang="pt-BR" dirty="0"/>
          </a:p>
        </p:txBody>
      </p:sp>
      <p:sp>
        <p:nvSpPr>
          <p:cNvPr id="46" name="45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3: Slides </a:t>
            </a:r>
            <a:r>
              <a:rPr lang="en-US" dirty="0" err="1" smtClean="0"/>
              <a:t>específicos</a:t>
            </a:r>
            <a:r>
              <a:rPr lang="en-US" dirty="0" smtClean="0"/>
              <a:t> | </a:t>
            </a:r>
            <a:r>
              <a:rPr lang="en-US" i="1" dirty="0" smtClean="0"/>
              <a:t>Templates</a:t>
            </a:r>
            <a:r>
              <a:rPr lang="en-US" dirty="0" smtClean="0"/>
              <a:t> </a:t>
            </a:r>
            <a:r>
              <a:rPr lang="en-US" dirty="0" err="1" smtClean="0"/>
              <a:t>mais</a:t>
            </a:r>
            <a:r>
              <a:rPr lang="en-US" dirty="0" smtClean="0"/>
              <a:t> </a:t>
            </a:r>
            <a:r>
              <a:rPr lang="en-US" dirty="0" err="1" smtClean="0"/>
              <a:t>frequentes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291277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0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ronograma</a:t>
            </a:r>
            <a:endParaRPr lang="pt-BR" dirty="0"/>
          </a:p>
        </p:txBody>
      </p:sp>
      <p:sp>
        <p:nvSpPr>
          <p:cNvPr id="28" name="Espaço Reservado para Texto 2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3: Slides </a:t>
            </a:r>
            <a:r>
              <a:rPr lang="en-US" dirty="0" err="1" smtClean="0"/>
              <a:t>específicos</a:t>
            </a:r>
            <a:r>
              <a:rPr lang="en-US" dirty="0" smtClean="0"/>
              <a:t> | </a:t>
            </a:r>
            <a:r>
              <a:rPr lang="en-US" i="1" dirty="0" smtClean="0"/>
              <a:t>Templates</a:t>
            </a:r>
            <a:r>
              <a:rPr lang="en-US" dirty="0" smtClean="0"/>
              <a:t> </a:t>
            </a:r>
            <a:r>
              <a:rPr lang="en-US" dirty="0" err="1" smtClean="0"/>
              <a:t>mais</a:t>
            </a:r>
            <a:r>
              <a:rPr lang="en-US" dirty="0" smtClean="0"/>
              <a:t> </a:t>
            </a:r>
            <a:r>
              <a:rPr lang="en-US" dirty="0" err="1" smtClean="0"/>
              <a:t>frequentes</a:t>
            </a:r>
            <a:endParaRPr lang="pt-BR" dirty="0"/>
          </a:p>
        </p:txBody>
      </p:sp>
      <p:graphicFrame>
        <p:nvGraphicFramePr>
          <p:cNvPr id="840826" name="Group 122"/>
          <p:cNvGraphicFramePr>
            <a:graphicFrameLocks noGrp="1"/>
          </p:cNvGraphicFramePr>
          <p:nvPr/>
        </p:nvGraphicFramePr>
        <p:xfrm>
          <a:off x="411224" y="1290222"/>
          <a:ext cx="9872801" cy="4871914"/>
        </p:xfrm>
        <a:graphic>
          <a:graphicData uri="http://schemas.openxmlformats.org/drawingml/2006/table">
            <a:tbl>
              <a:tblPr/>
              <a:tblGrid>
                <a:gridCol w="2397091"/>
                <a:gridCol w="332406"/>
                <a:gridCol w="306704"/>
                <a:gridCol w="310132"/>
                <a:gridCol w="310131"/>
                <a:gridCol w="310132"/>
                <a:gridCol w="311845"/>
                <a:gridCol w="311845"/>
                <a:gridCol w="304991"/>
                <a:gridCol w="311845"/>
                <a:gridCol w="310131"/>
                <a:gridCol w="311845"/>
                <a:gridCol w="310132"/>
                <a:gridCol w="311845"/>
                <a:gridCol w="311845"/>
                <a:gridCol w="308418"/>
                <a:gridCol w="311845"/>
                <a:gridCol w="311845"/>
                <a:gridCol w="311845"/>
                <a:gridCol w="311845"/>
                <a:gridCol w="311845"/>
                <a:gridCol w="310131"/>
                <a:gridCol w="313559"/>
                <a:gridCol w="304991"/>
                <a:gridCol w="313557"/>
              </a:tblGrid>
              <a:tr h="378669"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 </a:t>
                      </a: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onth</a:t>
                      </a: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</a:tr>
              <a:tr h="328979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1122" marR="41122" marT="41122" marB="41122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3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4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5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6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7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8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09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0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</a:t>
                      </a: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7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1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2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3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4</a:t>
                      </a: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106478">
                <a:tc>
                  <a:txBody>
                    <a:bodyPr/>
                    <a:lstStyle/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02806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6446474" y="5709162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2848686" y="224385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2848686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5292039" y="224385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309788" y="2446495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292039" y="3140762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309788" y="3353573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4294845" y="5709162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26" name="Line 24"/>
          <p:cNvSpPr>
            <a:spLocks noChangeShapeType="1"/>
          </p:cNvSpPr>
          <p:nvPr/>
        </p:nvSpPr>
        <p:spPr bwMode="auto">
          <a:xfrm>
            <a:off x="2848686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7" name="Line 24"/>
          <p:cNvSpPr>
            <a:spLocks noChangeShapeType="1"/>
          </p:cNvSpPr>
          <p:nvPr/>
        </p:nvSpPr>
        <p:spPr bwMode="auto">
          <a:xfrm>
            <a:off x="5309788" y="2678418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169670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33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Simples relação de 2 temas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en-US" sz="1133" dirty="0" err="1">
                <a:solidFill>
                  <a:prstClr val="black"/>
                </a:solidFill>
              </a:rPr>
              <a:t>Capítulo</a:t>
            </a:r>
            <a:r>
              <a:rPr lang="en-US" sz="1133" dirty="0">
                <a:solidFill>
                  <a:prstClr val="black"/>
                </a:solidFill>
              </a:rPr>
              <a:t> 1: Slides </a:t>
            </a:r>
            <a:r>
              <a:rPr lang="en-US" sz="1133" dirty="0" err="1">
                <a:solidFill>
                  <a:prstClr val="black"/>
                </a:solidFill>
              </a:rPr>
              <a:t>conceituais</a:t>
            </a:r>
            <a:r>
              <a:rPr lang="pt-BR" sz="1133" dirty="0">
                <a:solidFill>
                  <a:prstClr val="black"/>
                </a:solidFill>
              </a:rPr>
              <a:t> | </a:t>
            </a:r>
            <a:r>
              <a:rPr lang="pt-BR" sz="1133" i="1" dirty="0" err="1">
                <a:solidFill>
                  <a:prstClr val="black"/>
                </a:solidFill>
              </a:rPr>
              <a:t>Templates</a:t>
            </a:r>
            <a:r>
              <a:rPr lang="pt-BR" sz="1133" dirty="0">
                <a:solidFill>
                  <a:prstClr val="black"/>
                </a:solidFill>
              </a:rPr>
              <a:t> mais frequentes </a:t>
            </a:r>
            <a:endParaRPr lang="en-US" sz="1133" dirty="0">
              <a:solidFill>
                <a:prstClr val="black"/>
              </a:solidFill>
            </a:endParaRP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 rot="5400000">
            <a:off x="4106507" y="3798899"/>
            <a:ext cx="2478799" cy="28100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7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(1</a:t>
            </a:r>
            <a:r>
              <a:rPr lang="pt-BR" sz="863" baseline="30000">
                <a:solidFill>
                  <a:sysClr val="windowText" lastClr="000000"/>
                </a:solidFill>
              </a:rPr>
              <a:t>)</a:t>
            </a:r>
            <a:r>
              <a:rPr lang="pt-BR" sz="863">
                <a:solidFill>
                  <a:sysClr val="windowText" lastClr="000000"/>
                </a:solidFill>
              </a:rPr>
              <a:t> x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402657" y="1914553"/>
            <a:ext cx="4584981" cy="2239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wrap="square" lIns="0" tIns="0" rIns="0" bIns="0">
            <a:noAutofit/>
          </a:bodyPr>
          <a:lstStyle/>
          <a:p>
            <a:pPr marL="193613" indent="-193613" defTabSz="1082862">
              <a:spcBef>
                <a:spcPct val="30000"/>
              </a:spcBef>
              <a:buFont typeface="Arial" pitchFamily="34" charset="0"/>
              <a:buChar char="•"/>
            </a:pPr>
            <a:r>
              <a:rPr lang="en-US" sz="1295" dirty="0" err="1"/>
              <a:t>xxxxxxxxx</a:t>
            </a:r>
            <a:endParaRPr lang="en-US" sz="1295" dirty="0"/>
          </a:p>
        </p:txBody>
      </p:sp>
      <p:sp>
        <p:nvSpPr>
          <p:cNvPr id="25" name="Rectangle 4"/>
          <p:cNvSpPr>
            <a:spLocks noChangeArrowheads="1"/>
          </p:cNvSpPr>
          <p:nvPr/>
        </p:nvSpPr>
        <p:spPr bwMode="auto">
          <a:xfrm>
            <a:off x="5704176" y="1914553"/>
            <a:ext cx="4584981" cy="2239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wrap="square" lIns="0" tIns="0" rIns="0" bIns="0">
            <a:noAutofit/>
          </a:bodyPr>
          <a:lstStyle/>
          <a:p>
            <a:pPr marL="193613" indent="-193613" defTabSz="1082862">
              <a:spcBef>
                <a:spcPct val="30000"/>
              </a:spcBef>
              <a:buFont typeface="Arial" pitchFamily="34" charset="0"/>
              <a:buChar char="•"/>
            </a:pPr>
            <a:r>
              <a:rPr lang="en-US" sz="1295"/>
              <a:t>xxxxxxxxx</a:t>
            </a:r>
            <a:endParaRPr lang="en-US" sz="1295" dirty="0"/>
          </a:p>
        </p:txBody>
      </p:sp>
      <p:grpSp>
        <p:nvGrpSpPr>
          <p:cNvPr id="2" name="25 Grupo"/>
          <p:cNvGrpSpPr/>
          <p:nvPr/>
        </p:nvGrpSpPr>
        <p:grpSpPr>
          <a:xfrm>
            <a:off x="397516" y="1321191"/>
            <a:ext cx="4584981" cy="282481"/>
            <a:chOff x="559574" y="1151056"/>
            <a:chExt cx="8857922" cy="261720"/>
          </a:xfrm>
        </p:grpSpPr>
        <p:sp>
          <p:nvSpPr>
            <p:cNvPr id="18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 defTabSz="928657">
                <a:spcBef>
                  <a:spcPct val="30000"/>
                </a:spcBef>
              </a:pPr>
              <a:r>
                <a:rPr lang="en-US" sz="1511" b="1" dirty="0" err="1">
                  <a:solidFill>
                    <a:schemeClr val="accent1"/>
                  </a:solidFill>
                </a:rPr>
                <a:t>Xxxxxxxxx</a:t>
              </a:r>
              <a:r>
                <a:rPr lang="en-US" sz="1511" b="1" dirty="0">
                  <a:solidFill>
                    <a:schemeClr val="accent1"/>
                  </a:solidFill>
                </a:rPr>
                <a:t> </a:t>
              </a:r>
            </a:p>
          </p:txBody>
        </p:sp>
        <p:cxnSp>
          <p:nvCxnSpPr>
            <p:cNvPr id="19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25 Grupo"/>
          <p:cNvGrpSpPr/>
          <p:nvPr/>
        </p:nvGrpSpPr>
        <p:grpSpPr>
          <a:xfrm>
            <a:off x="5704176" y="1321191"/>
            <a:ext cx="4584981" cy="282481"/>
            <a:chOff x="559574" y="1151056"/>
            <a:chExt cx="8857922" cy="261720"/>
          </a:xfrm>
        </p:grpSpPr>
        <p:sp>
          <p:nvSpPr>
            <p:cNvPr id="29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 defTabSz="928657">
                <a:spcBef>
                  <a:spcPct val="30000"/>
                </a:spcBef>
              </a:pPr>
              <a:r>
                <a:rPr lang="en-US" sz="1511" b="1" dirty="0" err="1">
                  <a:solidFill>
                    <a:schemeClr val="accent1"/>
                  </a:solidFill>
                </a:rPr>
                <a:t>Xxxxxxxxx</a:t>
              </a:r>
              <a:r>
                <a:rPr lang="en-US" sz="1511" b="1" dirty="0">
                  <a:solidFill>
                    <a:schemeClr val="accent1"/>
                  </a:solidFill>
                </a:rPr>
                <a:t> </a:t>
              </a:r>
            </a:p>
          </p:txBody>
        </p:sp>
        <p:cxnSp>
          <p:nvCxnSpPr>
            <p:cNvPr id="30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888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3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bordagem</a:t>
            </a:r>
            <a:endParaRPr lang="pt-BR" dirty="0"/>
          </a:p>
        </p:txBody>
      </p:sp>
      <p:sp>
        <p:nvSpPr>
          <p:cNvPr id="37" name="Espaço Reservado para Texto 3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3: Slides </a:t>
            </a:r>
            <a:r>
              <a:rPr lang="en-US" dirty="0" err="1" smtClean="0"/>
              <a:t>específicos</a:t>
            </a:r>
            <a:r>
              <a:rPr lang="en-US" dirty="0" smtClean="0"/>
              <a:t> | </a:t>
            </a:r>
            <a:r>
              <a:rPr lang="en-US" i="1" dirty="0" smtClean="0"/>
              <a:t>Templates</a:t>
            </a:r>
            <a:r>
              <a:rPr lang="en-US" dirty="0" smtClean="0"/>
              <a:t> </a:t>
            </a:r>
            <a:r>
              <a:rPr lang="en-US" dirty="0" err="1" smtClean="0"/>
              <a:t>mais</a:t>
            </a:r>
            <a:r>
              <a:rPr lang="en-US" dirty="0" smtClean="0"/>
              <a:t> </a:t>
            </a:r>
            <a:r>
              <a:rPr lang="en-US" dirty="0" err="1" smtClean="0"/>
              <a:t>frequentes</a:t>
            </a:r>
            <a:endParaRPr lang="pt-BR" dirty="0"/>
          </a:p>
        </p:txBody>
      </p:sp>
      <p:sp>
        <p:nvSpPr>
          <p:cNvPr id="4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99230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5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602222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00937" y="1339911"/>
            <a:ext cx="3008417" cy="388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7" name="Freeform 6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95803" y="1720292"/>
            <a:ext cx="3495400" cy="410538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290" y="0"/>
              </a:cxn>
              <a:cxn ang="0">
                <a:pos x="340" y="207"/>
              </a:cxn>
              <a:cxn ang="0">
                <a:pos x="291" y="414"/>
              </a:cxn>
              <a:cxn ang="0">
                <a:pos x="0" y="414"/>
              </a:cxn>
              <a:cxn ang="0">
                <a:pos x="1" y="0"/>
              </a:cxn>
            </a:cxnLst>
            <a:rect l="0" t="0" r="r" b="b"/>
            <a:pathLst>
              <a:path w="340" h="414">
                <a:moveTo>
                  <a:pt x="1" y="0"/>
                </a:moveTo>
                <a:lnTo>
                  <a:pt x="290" y="0"/>
                </a:lnTo>
                <a:lnTo>
                  <a:pt x="340" y="207"/>
                </a:lnTo>
                <a:lnTo>
                  <a:pt x="291" y="414"/>
                </a:lnTo>
                <a:lnTo>
                  <a:pt x="0" y="414"/>
                </a:lnTo>
                <a:lnTo>
                  <a:pt x="1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8" name="Freeform 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582786" y="1730209"/>
            <a:ext cx="3505681" cy="4095465"/>
          </a:xfrm>
          <a:custGeom>
            <a:avLst/>
            <a:gdLst/>
            <a:ahLst/>
            <a:cxnLst>
              <a:cxn ang="0">
                <a:pos x="292" y="0"/>
              </a:cxn>
              <a:cxn ang="0">
                <a:pos x="0" y="0"/>
              </a:cxn>
              <a:cxn ang="0">
                <a:pos x="51" y="206"/>
              </a:cxn>
              <a:cxn ang="0">
                <a:pos x="0" y="413"/>
              </a:cxn>
              <a:cxn ang="0">
                <a:pos x="292" y="413"/>
              </a:cxn>
              <a:cxn ang="0">
                <a:pos x="341" y="206"/>
              </a:cxn>
              <a:cxn ang="0">
                <a:pos x="292" y="0"/>
              </a:cxn>
            </a:cxnLst>
            <a:rect l="0" t="0" r="r" b="b"/>
            <a:pathLst>
              <a:path w="341" h="413">
                <a:moveTo>
                  <a:pt x="292" y="0"/>
                </a:moveTo>
                <a:lnTo>
                  <a:pt x="0" y="0"/>
                </a:lnTo>
                <a:lnTo>
                  <a:pt x="51" y="206"/>
                </a:lnTo>
                <a:lnTo>
                  <a:pt x="0" y="413"/>
                </a:lnTo>
                <a:lnTo>
                  <a:pt x="292" y="413"/>
                </a:lnTo>
                <a:lnTo>
                  <a:pt x="341" y="206"/>
                </a:lnTo>
                <a:lnTo>
                  <a:pt x="292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9" name="Freeform 8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6790330" y="1730209"/>
            <a:ext cx="3505681" cy="4095465"/>
          </a:xfrm>
          <a:custGeom>
            <a:avLst/>
            <a:gdLst/>
            <a:ahLst/>
            <a:cxnLst>
              <a:cxn ang="0">
                <a:pos x="292" y="0"/>
              </a:cxn>
              <a:cxn ang="0">
                <a:pos x="0" y="0"/>
              </a:cxn>
              <a:cxn ang="0">
                <a:pos x="51" y="206"/>
              </a:cxn>
              <a:cxn ang="0">
                <a:pos x="0" y="413"/>
              </a:cxn>
              <a:cxn ang="0">
                <a:pos x="292" y="413"/>
              </a:cxn>
              <a:cxn ang="0">
                <a:pos x="341" y="206"/>
              </a:cxn>
              <a:cxn ang="0">
                <a:pos x="292" y="0"/>
              </a:cxn>
            </a:cxnLst>
            <a:rect l="0" t="0" r="r" b="b"/>
            <a:pathLst>
              <a:path w="341" h="413">
                <a:moveTo>
                  <a:pt x="292" y="0"/>
                </a:moveTo>
                <a:lnTo>
                  <a:pt x="0" y="0"/>
                </a:lnTo>
                <a:lnTo>
                  <a:pt x="51" y="206"/>
                </a:lnTo>
                <a:lnTo>
                  <a:pt x="0" y="413"/>
                </a:lnTo>
                <a:lnTo>
                  <a:pt x="292" y="413"/>
                </a:lnTo>
                <a:lnTo>
                  <a:pt x="341" y="206"/>
                </a:lnTo>
                <a:lnTo>
                  <a:pt x="292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0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08889" y="1829373"/>
            <a:ext cx="3104738" cy="12395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71" y="0"/>
              </a:cxn>
              <a:cxn ang="0">
                <a:pos x="302" y="125"/>
              </a:cxn>
              <a:cxn ang="0">
                <a:pos x="0" y="124"/>
              </a:cxn>
              <a:cxn ang="0">
                <a:pos x="0" y="0"/>
              </a:cxn>
            </a:cxnLst>
            <a:rect l="0" t="0" r="r" b="b"/>
            <a:pathLst>
              <a:path w="302" h="125">
                <a:moveTo>
                  <a:pt x="0" y="0"/>
                </a:moveTo>
                <a:lnTo>
                  <a:pt x="271" y="0"/>
                </a:lnTo>
                <a:lnTo>
                  <a:pt x="302" y="125"/>
                </a:lnTo>
                <a:lnTo>
                  <a:pt x="0" y="12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1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08890" y="3168085"/>
            <a:ext cx="3279508" cy="1189965"/>
          </a:xfrm>
          <a:custGeom>
            <a:avLst/>
            <a:gdLst/>
            <a:ahLst/>
            <a:cxnLst>
              <a:cxn ang="0">
                <a:pos x="304" y="0"/>
              </a:cxn>
              <a:cxn ang="0">
                <a:pos x="319" y="61"/>
              </a:cxn>
              <a:cxn ang="0">
                <a:pos x="305" y="120"/>
              </a:cxn>
              <a:cxn ang="0">
                <a:pos x="0" y="120"/>
              </a:cxn>
              <a:cxn ang="0">
                <a:pos x="0" y="0"/>
              </a:cxn>
              <a:cxn ang="0">
                <a:pos x="304" y="0"/>
              </a:cxn>
            </a:cxnLst>
            <a:rect l="0" t="0" r="r" b="b"/>
            <a:pathLst>
              <a:path w="319" h="120">
                <a:moveTo>
                  <a:pt x="304" y="0"/>
                </a:moveTo>
                <a:lnTo>
                  <a:pt x="319" y="61"/>
                </a:lnTo>
                <a:lnTo>
                  <a:pt x="305" y="120"/>
                </a:lnTo>
                <a:lnTo>
                  <a:pt x="0" y="120"/>
                </a:lnTo>
                <a:lnTo>
                  <a:pt x="0" y="0"/>
                </a:lnTo>
                <a:lnTo>
                  <a:pt x="304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2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08889" y="4457214"/>
            <a:ext cx="3104738" cy="1259380"/>
          </a:xfrm>
          <a:custGeom>
            <a:avLst/>
            <a:gdLst/>
            <a:ahLst/>
            <a:cxnLst>
              <a:cxn ang="0">
                <a:pos x="302" y="0"/>
              </a:cxn>
              <a:cxn ang="0">
                <a:pos x="271" y="127"/>
              </a:cxn>
              <a:cxn ang="0">
                <a:pos x="0" y="127"/>
              </a:cxn>
              <a:cxn ang="0">
                <a:pos x="0" y="0"/>
              </a:cxn>
              <a:cxn ang="0">
                <a:pos x="302" y="0"/>
              </a:cxn>
            </a:cxnLst>
            <a:rect l="0" t="0" r="r" b="b"/>
            <a:pathLst>
              <a:path w="302" h="127">
                <a:moveTo>
                  <a:pt x="302" y="0"/>
                </a:moveTo>
                <a:lnTo>
                  <a:pt x="271" y="127"/>
                </a:lnTo>
                <a:lnTo>
                  <a:pt x="0" y="127"/>
                </a:lnTo>
                <a:lnTo>
                  <a:pt x="0" y="0"/>
                </a:lnTo>
                <a:lnTo>
                  <a:pt x="302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3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736994" y="3832481"/>
            <a:ext cx="3248666" cy="1884112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0" y="190"/>
              </a:cxn>
              <a:cxn ang="0">
                <a:pos x="269" y="190"/>
              </a:cxn>
              <a:cxn ang="0">
                <a:pos x="316" y="0"/>
              </a:cxn>
              <a:cxn ang="0">
                <a:pos x="47" y="0"/>
              </a:cxn>
            </a:cxnLst>
            <a:rect l="0" t="0" r="r" b="b"/>
            <a:pathLst>
              <a:path w="316" h="190">
                <a:moveTo>
                  <a:pt x="47" y="0"/>
                </a:moveTo>
                <a:lnTo>
                  <a:pt x="0" y="190"/>
                </a:lnTo>
                <a:lnTo>
                  <a:pt x="269" y="190"/>
                </a:lnTo>
                <a:lnTo>
                  <a:pt x="316" y="0"/>
                </a:lnTo>
                <a:lnTo>
                  <a:pt x="47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4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3726714" y="1829372"/>
            <a:ext cx="3258947" cy="18940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8" y="191"/>
              </a:cxn>
              <a:cxn ang="0">
                <a:pos x="317" y="191"/>
              </a:cxn>
              <a:cxn ang="0">
                <a:pos x="270" y="0"/>
              </a:cxn>
              <a:cxn ang="0">
                <a:pos x="0" y="0"/>
              </a:cxn>
            </a:cxnLst>
            <a:rect l="0" t="0" r="r" b="b"/>
            <a:pathLst>
              <a:path w="317" h="191">
                <a:moveTo>
                  <a:pt x="0" y="0"/>
                </a:moveTo>
                <a:lnTo>
                  <a:pt x="48" y="191"/>
                </a:lnTo>
                <a:lnTo>
                  <a:pt x="317" y="191"/>
                </a:lnTo>
                <a:lnTo>
                  <a:pt x="2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5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6954819" y="3832481"/>
            <a:ext cx="3248666" cy="1884112"/>
          </a:xfrm>
          <a:custGeom>
            <a:avLst/>
            <a:gdLst/>
            <a:ahLst/>
            <a:cxnLst>
              <a:cxn ang="0">
                <a:pos x="47" y="0"/>
              </a:cxn>
              <a:cxn ang="0">
                <a:pos x="0" y="190"/>
              </a:cxn>
              <a:cxn ang="0">
                <a:pos x="269" y="190"/>
              </a:cxn>
              <a:cxn ang="0">
                <a:pos x="316" y="0"/>
              </a:cxn>
              <a:cxn ang="0">
                <a:pos x="47" y="0"/>
              </a:cxn>
            </a:cxnLst>
            <a:rect l="0" t="0" r="r" b="b"/>
            <a:pathLst>
              <a:path w="316" h="190">
                <a:moveTo>
                  <a:pt x="47" y="0"/>
                </a:moveTo>
                <a:lnTo>
                  <a:pt x="0" y="190"/>
                </a:lnTo>
                <a:lnTo>
                  <a:pt x="269" y="190"/>
                </a:lnTo>
                <a:lnTo>
                  <a:pt x="316" y="0"/>
                </a:lnTo>
                <a:lnTo>
                  <a:pt x="47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6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6944539" y="1829372"/>
            <a:ext cx="3258947" cy="189402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8" y="191"/>
              </a:cxn>
              <a:cxn ang="0">
                <a:pos x="317" y="191"/>
              </a:cxn>
              <a:cxn ang="0">
                <a:pos x="270" y="0"/>
              </a:cxn>
              <a:cxn ang="0">
                <a:pos x="0" y="0"/>
              </a:cxn>
            </a:cxnLst>
            <a:rect l="0" t="0" r="r" b="b"/>
            <a:pathLst>
              <a:path w="317" h="191">
                <a:moveTo>
                  <a:pt x="0" y="0"/>
                </a:moveTo>
                <a:lnTo>
                  <a:pt x="48" y="191"/>
                </a:lnTo>
                <a:lnTo>
                  <a:pt x="317" y="191"/>
                </a:lnTo>
                <a:lnTo>
                  <a:pt x="27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8" name="Text Box 1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07566" y="4143311"/>
            <a:ext cx="222060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</p:txBody>
      </p:sp>
      <p:sp>
        <p:nvSpPr>
          <p:cNvPr id="19" name="Text Box 2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19711" y="2110139"/>
            <a:ext cx="2508464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2" name="Text Box 3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11696" y="3537563"/>
            <a:ext cx="2989938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lnSpc>
                <a:spcPts val="1187"/>
              </a:lnSpc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3" name="Text Box 43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11696" y="4702729"/>
            <a:ext cx="298993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54205" indent="-154205"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24" name="Text Box 2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019711" y="1882765"/>
            <a:ext cx="2508464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26" name="Text Box 18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07566" y="3879351"/>
            <a:ext cx="222060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x</a:t>
            </a:r>
            <a:endParaRPr lang="pt-BR" sz="1079" i="1" dirty="0"/>
          </a:p>
        </p:txBody>
      </p:sp>
      <p:sp>
        <p:nvSpPr>
          <p:cNvPr id="28" name="Text Box 1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11696" y="1841643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29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11696" y="3180035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0" name="Text Box 42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11696" y="4486779"/>
            <a:ext cx="298993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2" name="2 Rectángulo"/>
          <p:cNvSpPr/>
          <p:nvPr>
            <p:custDataLst>
              <p:tags r:id="rId23"/>
            </p:custDataLst>
          </p:nvPr>
        </p:nvSpPr>
        <p:spPr>
          <a:xfrm>
            <a:off x="-1" y="6149980"/>
            <a:ext cx="10691813" cy="6461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33" name="Text Box 19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504829" y="4143311"/>
            <a:ext cx="2220608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x</a:t>
            </a:r>
            <a:endParaRPr lang="pt-BR" sz="1079" dirty="0"/>
          </a:p>
        </p:txBody>
      </p:sp>
      <p:sp>
        <p:nvSpPr>
          <p:cNvPr id="34" name="Text Box 2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216974" y="2110139"/>
            <a:ext cx="2508464" cy="2584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rIns="0" anchor="t" anchorCtr="0">
            <a:spAutoFit/>
          </a:bodyPr>
          <a:lstStyle/>
          <a:p>
            <a:pPr marL="114798" indent="-114798">
              <a:spcBef>
                <a:spcPct val="10000"/>
              </a:spcBef>
              <a:buFont typeface="Arial" pitchFamily="34" charset="0"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sp>
        <p:nvSpPr>
          <p:cNvPr id="35" name="Text Box 20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7216974" y="1882765"/>
            <a:ext cx="2508464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</a:t>
            </a:r>
            <a:endParaRPr lang="pt-BR" sz="1133" b="1" dirty="0"/>
          </a:p>
        </p:txBody>
      </p:sp>
      <p:sp>
        <p:nvSpPr>
          <p:cNvPr id="36" name="Text Box 18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504829" y="3879351"/>
            <a:ext cx="2220608" cy="26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pt-BR" sz="1133" b="1"/>
              <a:t>xxxx</a:t>
            </a:r>
            <a:endParaRPr lang="pt-BR" sz="1079" i="1" dirty="0"/>
          </a:p>
        </p:txBody>
      </p:sp>
    </p:spTree>
    <p:extLst>
      <p:ext uri="{BB962C8B-B14F-4D97-AF65-F5344CB8AC3E}">
        <p14:creationId xmlns:p14="http://schemas.microsoft.com/office/powerpoint/2010/main" val="385825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33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Texto </a:t>
            </a:r>
            <a:r>
              <a:rPr lang="pt-BR" dirty="0" err="1" smtClean="0"/>
              <a:t>col</a:t>
            </a:r>
            <a:r>
              <a:rPr lang="pt-BR" dirty="0" smtClean="0"/>
              <a:t> 02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 rot="5400000">
            <a:off x="4106507" y="3798899"/>
            <a:ext cx="2478799" cy="28100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17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(1</a:t>
            </a:r>
            <a:r>
              <a:rPr lang="pt-BR" sz="863" baseline="30000">
                <a:solidFill>
                  <a:sysClr val="windowText" lastClr="000000"/>
                </a:solidFill>
              </a:rPr>
              <a:t>)</a:t>
            </a:r>
            <a:r>
              <a:rPr lang="pt-BR" sz="863">
                <a:solidFill>
                  <a:sysClr val="windowText" lastClr="000000"/>
                </a:solidFill>
              </a:rPr>
              <a:t> x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20" name="Grupo 19"/>
          <p:cNvGrpSpPr/>
          <p:nvPr/>
        </p:nvGrpSpPr>
        <p:grpSpPr>
          <a:xfrm>
            <a:off x="402657" y="1482573"/>
            <a:ext cx="4584981" cy="2671702"/>
            <a:chOff x="344488" y="1300577"/>
            <a:chExt cx="2797200" cy="2475341"/>
          </a:xfrm>
        </p:grpSpPr>
        <p:sp>
          <p:nvSpPr>
            <p:cNvPr id="21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2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3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5704176" y="1482573"/>
            <a:ext cx="4584981" cy="2671702"/>
            <a:chOff x="344488" y="1300577"/>
            <a:chExt cx="2797200" cy="2475341"/>
          </a:xfrm>
        </p:grpSpPr>
        <p:sp>
          <p:nvSpPr>
            <p:cNvPr id="25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7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55256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Texto </a:t>
            </a:r>
            <a:r>
              <a:rPr lang="pt-BR" dirty="0" err="1" smtClean="0"/>
              <a:t>col</a:t>
            </a:r>
            <a:r>
              <a:rPr lang="pt-BR" dirty="0" smtClean="0"/>
              <a:t> 03</a:t>
            </a:r>
            <a:endParaRPr lang="pt-BR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20" name="Grupo 19"/>
          <p:cNvGrpSpPr/>
          <p:nvPr/>
        </p:nvGrpSpPr>
        <p:grpSpPr>
          <a:xfrm>
            <a:off x="402657" y="1482573"/>
            <a:ext cx="3019093" cy="2671702"/>
            <a:chOff x="344488" y="1300577"/>
            <a:chExt cx="2797200" cy="2475341"/>
          </a:xfrm>
        </p:grpSpPr>
        <p:sp>
          <p:nvSpPr>
            <p:cNvPr id="784388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3836361" y="1482573"/>
            <a:ext cx="3019093" cy="2671702"/>
            <a:chOff x="344488" y="1300577"/>
            <a:chExt cx="2797200" cy="2475341"/>
          </a:xfrm>
        </p:grpSpPr>
        <p:sp>
          <p:nvSpPr>
            <p:cNvPr id="24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6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7270063" y="1482573"/>
            <a:ext cx="3019093" cy="2671702"/>
            <a:chOff x="344488" y="1300577"/>
            <a:chExt cx="2797200" cy="2475341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</p:spTree>
    <p:extLst>
      <p:ext uri="{BB962C8B-B14F-4D97-AF65-F5344CB8AC3E}">
        <p14:creationId xmlns:p14="http://schemas.microsoft.com/office/powerpoint/2010/main" val="221205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dirty="0" smtClean="0"/>
              <a:t>Los grises y </a:t>
            </a:r>
            <a:r>
              <a:rPr lang="pt-BR" dirty="0" err="1" smtClean="0"/>
              <a:t>el</a:t>
            </a:r>
            <a:r>
              <a:rPr lang="pt-BR" dirty="0" smtClean="0"/>
              <a:t> azul se </a:t>
            </a:r>
            <a:r>
              <a:rPr lang="pt-BR" dirty="0" err="1" smtClean="0"/>
              <a:t>pueden</a:t>
            </a:r>
            <a:r>
              <a:rPr lang="pt-BR" dirty="0" smtClean="0"/>
              <a:t> usar de varias </a:t>
            </a:r>
            <a:r>
              <a:rPr lang="pt-BR" dirty="0" err="1" smtClean="0"/>
              <a:t>maneras</a:t>
            </a:r>
            <a:r>
              <a:rPr lang="pt-BR" dirty="0" smtClean="0"/>
              <a:t>; </a:t>
            </a:r>
            <a:r>
              <a:rPr lang="pt-BR" dirty="0" err="1" smtClean="0"/>
              <a:t>las</a:t>
            </a:r>
            <a:r>
              <a:rPr lang="pt-BR" dirty="0" smtClean="0"/>
              <a:t> formas </a:t>
            </a:r>
            <a:r>
              <a:rPr lang="pt-BR" dirty="0" err="1" smtClean="0"/>
              <a:t>son</a:t>
            </a:r>
            <a:r>
              <a:rPr lang="pt-BR" dirty="0" smtClean="0"/>
              <a:t> </a:t>
            </a:r>
            <a:r>
              <a:rPr lang="pt-BR" dirty="0" err="1" smtClean="0"/>
              <a:t>rectángulos</a:t>
            </a:r>
            <a:r>
              <a:rPr lang="pt-BR" dirty="0" smtClean="0"/>
              <a:t>. </a:t>
            </a:r>
            <a:r>
              <a:rPr lang="pt-BR" dirty="0" err="1" smtClean="0"/>
              <a:t>Sólo</a:t>
            </a:r>
            <a:r>
              <a:rPr lang="pt-BR" dirty="0" smtClean="0"/>
              <a:t> </a:t>
            </a:r>
            <a:r>
              <a:rPr lang="pt-BR" dirty="0" err="1" smtClean="0"/>
              <a:t>las</a:t>
            </a:r>
            <a:r>
              <a:rPr lang="pt-BR" dirty="0" smtClean="0"/>
              <a:t> </a:t>
            </a:r>
            <a:r>
              <a:rPr lang="pt-BR" dirty="0" err="1" smtClean="0"/>
              <a:t>llamadas</a:t>
            </a:r>
            <a:r>
              <a:rPr lang="pt-BR" dirty="0" smtClean="0"/>
              <a:t> </a:t>
            </a:r>
            <a:r>
              <a:rPr lang="pt-BR" dirty="0" err="1" smtClean="0"/>
              <a:t>tienen</a:t>
            </a:r>
            <a:r>
              <a:rPr lang="pt-BR" dirty="0" smtClean="0"/>
              <a:t> </a:t>
            </a:r>
            <a:r>
              <a:rPr lang="pt-BR" dirty="0" err="1" smtClean="0"/>
              <a:t>las</a:t>
            </a:r>
            <a:r>
              <a:rPr lang="pt-BR" dirty="0" smtClean="0"/>
              <a:t> esquinas redondeadas</a:t>
            </a:r>
            <a:endParaRPr lang="pt-BR" dirty="0"/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6356267" y="1525952"/>
            <a:ext cx="3507124" cy="308420"/>
          </a:xfrm>
          <a:prstGeom prst="rect">
            <a:avLst/>
          </a:prstGeom>
        </p:spPr>
        <p:txBody>
          <a:bodyPr vert="horz" lIns="0" tIns="49347" rIns="0" bIns="49347" rtlCol="0" anchor="b">
            <a:noAutofit/>
          </a:bodyPr>
          <a:lstStyle/>
          <a:p>
            <a:pPr>
              <a:spcBef>
                <a:spcPct val="20000"/>
              </a:spcBef>
            </a:pPr>
            <a:r>
              <a:rPr lang="pt-BR" sz="1295" b="1" dirty="0">
                <a:solidFill>
                  <a:schemeClr val="accent1"/>
                </a:solidFill>
              </a:rPr>
              <a:t>La negrita </a:t>
            </a:r>
            <a:r>
              <a:rPr lang="pt-BR" sz="1295" b="1" dirty="0" err="1">
                <a:solidFill>
                  <a:schemeClr val="accent1"/>
                </a:solidFill>
              </a:rPr>
              <a:t>sólo</a:t>
            </a:r>
            <a:r>
              <a:rPr lang="pt-BR" sz="1295" b="1" dirty="0">
                <a:solidFill>
                  <a:schemeClr val="accent1"/>
                </a:solidFill>
              </a:rPr>
              <a:t> se usa </a:t>
            </a:r>
            <a:r>
              <a:rPr lang="pt-BR" sz="1295" b="1" dirty="0" err="1">
                <a:solidFill>
                  <a:schemeClr val="accent1"/>
                </a:solidFill>
              </a:rPr>
              <a:t>en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os</a:t>
            </a:r>
            <a:r>
              <a:rPr lang="pt-BR" sz="1295" b="1" dirty="0">
                <a:solidFill>
                  <a:schemeClr val="accent1"/>
                </a:solidFill>
              </a:rPr>
              <a:t> títulos</a:t>
            </a:r>
          </a:p>
        </p:txBody>
      </p:sp>
      <p:sp>
        <p:nvSpPr>
          <p:cNvPr id="6" name="34 Marcador de texto"/>
          <p:cNvSpPr txBox="1">
            <a:spLocks/>
          </p:cNvSpPr>
          <p:nvPr/>
        </p:nvSpPr>
        <p:spPr>
          <a:xfrm>
            <a:off x="2492890" y="1920705"/>
            <a:ext cx="3623966" cy="92525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/>
          <a:p>
            <a:pPr marL="197040" indent="-197040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con</a:t>
            </a:r>
            <a:r>
              <a:rPr lang="pt-BR" sz="1295" dirty="0"/>
              <a:t> borde de color</a:t>
            </a:r>
          </a:p>
          <a:p>
            <a:pPr marL="483176" lvl="1" indent="-186760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769312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657958" y="1920714"/>
            <a:ext cx="1680855" cy="92525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algn="ctr">
              <a:spcBef>
                <a:spcPct val="30000"/>
              </a:spcBef>
            </a:pPr>
            <a:r>
              <a:rPr lang="pt-BR" sz="1295" dirty="0">
                <a:solidFill>
                  <a:schemeClr val="bg1"/>
                </a:solidFill>
              </a:rPr>
              <a:t>Arial 12 centrado </a:t>
            </a:r>
            <a:r>
              <a:rPr lang="pt-BR" sz="1295" dirty="0" err="1">
                <a:solidFill>
                  <a:schemeClr val="bg1"/>
                </a:solidFill>
              </a:rPr>
              <a:t>sin</a:t>
            </a:r>
            <a:r>
              <a:rPr lang="pt-BR" sz="1295" dirty="0">
                <a:solidFill>
                  <a:schemeClr val="bg1"/>
                </a:solidFill>
              </a:rPr>
              <a:t> negrita; </a:t>
            </a:r>
            <a:r>
              <a:rPr lang="pt-BR" sz="1295" dirty="0" err="1">
                <a:solidFill>
                  <a:schemeClr val="bg1"/>
                </a:solidFill>
              </a:rPr>
              <a:t>Interlineado</a:t>
            </a:r>
            <a:r>
              <a:rPr lang="pt-BR" sz="1295" dirty="0">
                <a:solidFill>
                  <a:schemeClr val="bg1"/>
                </a:solidFill>
              </a:rPr>
              <a:t> </a:t>
            </a:r>
            <a:r>
              <a:rPr lang="pt-BR" sz="1295" dirty="0" err="1">
                <a:solidFill>
                  <a:schemeClr val="bg1"/>
                </a:solidFill>
              </a:rPr>
              <a:t>sencill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657958" y="3162998"/>
            <a:ext cx="1680855" cy="92525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algn="ctr">
              <a:spcBef>
                <a:spcPct val="30000"/>
              </a:spcBef>
            </a:pPr>
            <a:r>
              <a:rPr lang="pt-BR" sz="1295" dirty="0">
                <a:solidFill>
                  <a:schemeClr val="bg1"/>
                </a:solidFill>
              </a:rPr>
              <a:t>Arial 12 centrado </a:t>
            </a:r>
            <a:r>
              <a:rPr lang="pt-BR" sz="1295" dirty="0" err="1">
                <a:solidFill>
                  <a:schemeClr val="bg1"/>
                </a:solidFill>
              </a:rPr>
              <a:t>sin</a:t>
            </a:r>
            <a:r>
              <a:rPr lang="pt-BR" sz="1295" dirty="0">
                <a:solidFill>
                  <a:schemeClr val="bg1"/>
                </a:solidFill>
              </a:rPr>
              <a:t> negrita; </a:t>
            </a:r>
            <a:r>
              <a:rPr lang="pt-BR" sz="1295" dirty="0" err="1">
                <a:solidFill>
                  <a:schemeClr val="bg1"/>
                </a:solidFill>
              </a:rPr>
              <a:t>Interlineado</a:t>
            </a:r>
            <a:r>
              <a:rPr lang="pt-BR" sz="1295" dirty="0">
                <a:solidFill>
                  <a:schemeClr val="bg1"/>
                </a:solidFill>
              </a:rPr>
              <a:t> </a:t>
            </a:r>
            <a:r>
              <a:rPr lang="pt-BR" sz="1295" dirty="0" err="1">
                <a:solidFill>
                  <a:schemeClr val="bg1"/>
                </a:solidFill>
              </a:rPr>
              <a:t>sencill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657958" y="4339891"/>
            <a:ext cx="1680855" cy="92526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algn="ctr">
              <a:spcBef>
                <a:spcPct val="30000"/>
              </a:spcBef>
            </a:pPr>
            <a:r>
              <a:rPr lang="pt-BR" sz="1295" dirty="0"/>
              <a:t>Arial 12 centrado </a:t>
            </a:r>
            <a:r>
              <a:rPr lang="pt-BR" sz="1295" dirty="0" err="1"/>
              <a:t>sin</a:t>
            </a:r>
            <a:r>
              <a:rPr lang="pt-BR" sz="1295" dirty="0"/>
              <a:t> negrita; </a:t>
            </a:r>
            <a:r>
              <a:rPr lang="pt-BR" sz="1295" dirty="0" err="1"/>
              <a:t>Interlineado</a:t>
            </a:r>
            <a:r>
              <a:rPr lang="pt-BR" sz="1295" dirty="0"/>
              <a:t> </a:t>
            </a:r>
            <a:r>
              <a:rPr lang="pt-BR" sz="1295" dirty="0" err="1"/>
              <a:t>sencillo</a:t>
            </a:r>
            <a:endParaRPr lang="pt-BR" sz="1295" dirty="0"/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2493023" y="3000790"/>
            <a:ext cx="747918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2493023" y="4189786"/>
            <a:ext cx="747918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2492888" y="1525952"/>
            <a:ext cx="3630220" cy="308420"/>
          </a:xfrm>
          <a:prstGeom prst="rect">
            <a:avLst/>
          </a:prstGeom>
        </p:spPr>
        <p:txBody>
          <a:bodyPr vert="horz" lIns="0" tIns="49347" rIns="0" bIns="49347" rtlCol="0" anchor="b">
            <a:noAutofit/>
          </a:bodyPr>
          <a:lstStyle/>
          <a:p>
            <a:pPr>
              <a:spcBef>
                <a:spcPct val="20000"/>
              </a:spcBef>
            </a:pPr>
            <a:r>
              <a:rPr lang="pt-BR" sz="1295" b="1" dirty="0">
                <a:solidFill>
                  <a:schemeClr val="accent1"/>
                </a:solidFill>
              </a:rPr>
              <a:t>La negrita </a:t>
            </a:r>
            <a:r>
              <a:rPr lang="pt-BR" sz="1295" b="1" dirty="0" err="1">
                <a:solidFill>
                  <a:schemeClr val="accent1"/>
                </a:solidFill>
              </a:rPr>
              <a:t>sólo</a:t>
            </a:r>
            <a:r>
              <a:rPr lang="pt-BR" sz="1295" b="1" dirty="0">
                <a:solidFill>
                  <a:schemeClr val="accent1"/>
                </a:solidFill>
              </a:rPr>
              <a:t> se usa </a:t>
            </a:r>
            <a:r>
              <a:rPr lang="pt-BR" sz="1295" b="1" dirty="0" err="1">
                <a:solidFill>
                  <a:schemeClr val="accent1"/>
                </a:solidFill>
              </a:rPr>
              <a:t>en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os</a:t>
            </a:r>
            <a:r>
              <a:rPr lang="pt-BR" sz="1295" b="1" dirty="0">
                <a:solidFill>
                  <a:schemeClr val="accent1"/>
                </a:solidFill>
              </a:rPr>
              <a:t> títulos</a:t>
            </a:r>
          </a:p>
        </p:txBody>
      </p:sp>
      <p:sp>
        <p:nvSpPr>
          <p:cNvPr id="14" name="34 Marcador de texto"/>
          <p:cNvSpPr txBox="1">
            <a:spLocks/>
          </p:cNvSpPr>
          <p:nvPr/>
        </p:nvSpPr>
        <p:spPr>
          <a:xfrm>
            <a:off x="6317409" y="1920705"/>
            <a:ext cx="3623966" cy="925259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/>
          <a:p>
            <a:pPr marL="197040" indent="-19704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con</a:t>
            </a:r>
            <a:r>
              <a:rPr lang="pt-BR" sz="1295" dirty="0"/>
              <a:t> borde de color</a:t>
            </a:r>
          </a:p>
          <a:p>
            <a:pPr marL="483176" lvl="1" indent="-18676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868689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16" name="34 Marcador de texto"/>
          <p:cNvSpPr txBox="1">
            <a:spLocks/>
          </p:cNvSpPr>
          <p:nvPr/>
        </p:nvSpPr>
        <p:spPr>
          <a:xfrm>
            <a:off x="2492890" y="3155615"/>
            <a:ext cx="3623966" cy="92525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anchor="ctr"/>
          <a:lstStyle/>
          <a:p>
            <a:pPr marL="197040" indent="-19704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con</a:t>
            </a:r>
            <a:r>
              <a:rPr lang="pt-BR" sz="1295" dirty="0"/>
              <a:t> borde gris</a:t>
            </a:r>
          </a:p>
          <a:p>
            <a:pPr marL="483176" lvl="1" indent="-18676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769312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17" name="34 Marcador de texto"/>
          <p:cNvSpPr txBox="1">
            <a:spLocks/>
          </p:cNvSpPr>
          <p:nvPr/>
        </p:nvSpPr>
        <p:spPr>
          <a:xfrm>
            <a:off x="6317409" y="3155615"/>
            <a:ext cx="3623966" cy="925259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anchor="ctr"/>
          <a:lstStyle/>
          <a:p>
            <a:pPr marL="197040" indent="-19704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con</a:t>
            </a:r>
            <a:r>
              <a:rPr lang="pt-BR" sz="1295" dirty="0"/>
              <a:t> borde gris</a:t>
            </a:r>
          </a:p>
          <a:p>
            <a:pPr marL="483176" lvl="1" indent="-18676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769312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20" name="34 Marcador de texto"/>
          <p:cNvSpPr txBox="1">
            <a:spLocks/>
          </p:cNvSpPr>
          <p:nvPr/>
        </p:nvSpPr>
        <p:spPr>
          <a:xfrm>
            <a:off x="2492890" y="4390379"/>
            <a:ext cx="3623966" cy="925259"/>
          </a:xfrm>
          <a:prstGeom prst="rect">
            <a:avLst/>
          </a:prstGeom>
          <a:ln>
            <a:noFill/>
          </a:ln>
        </p:spPr>
        <p:txBody>
          <a:bodyPr anchor="ctr"/>
          <a:lstStyle/>
          <a:p>
            <a:pPr marL="197040" indent="-19704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sin</a:t>
            </a:r>
            <a:r>
              <a:rPr lang="pt-BR" sz="1295" dirty="0"/>
              <a:t> borde</a:t>
            </a:r>
          </a:p>
          <a:p>
            <a:pPr marL="483176" lvl="1" indent="-18676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769312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21" name="34 Marcador de texto"/>
          <p:cNvSpPr txBox="1">
            <a:spLocks/>
          </p:cNvSpPr>
          <p:nvPr/>
        </p:nvSpPr>
        <p:spPr>
          <a:xfrm>
            <a:off x="6317409" y="4390379"/>
            <a:ext cx="3623966" cy="925259"/>
          </a:xfrm>
          <a:prstGeom prst="rect">
            <a:avLst/>
          </a:prstGeom>
          <a:ln>
            <a:noFill/>
          </a:ln>
        </p:spPr>
        <p:txBody>
          <a:bodyPr anchor="ctr"/>
          <a:lstStyle/>
          <a:p>
            <a:pPr marL="197040" indent="-19704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s</a:t>
            </a:r>
            <a:r>
              <a:rPr lang="pt-BR" sz="1295" dirty="0"/>
              <a:t> </a:t>
            </a:r>
            <a:r>
              <a:rPr lang="pt-BR" sz="1295" dirty="0" err="1"/>
              <a:t>sin</a:t>
            </a:r>
            <a:r>
              <a:rPr lang="pt-BR" sz="1295" dirty="0"/>
              <a:t> borde</a:t>
            </a:r>
          </a:p>
          <a:p>
            <a:pPr marL="483176" lvl="1" indent="-186760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87" dirty="0" err="1"/>
              <a:t>Interlineado</a:t>
            </a:r>
            <a:r>
              <a:rPr lang="pt-BR" sz="1187" dirty="0"/>
              <a:t> </a:t>
            </a:r>
            <a:r>
              <a:rPr lang="pt-BR" sz="1187" dirty="0" err="1"/>
              <a:t>sencillo</a:t>
            </a:r>
            <a:r>
              <a:rPr lang="pt-BR" sz="1187" dirty="0"/>
              <a:t>; </a:t>
            </a:r>
            <a:r>
              <a:rPr lang="pt-BR" sz="1187" dirty="0" err="1"/>
              <a:t>espaciado</a:t>
            </a:r>
            <a:r>
              <a:rPr lang="pt-BR" sz="1187" dirty="0"/>
              <a:t> antes: </a:t>
            </a:r>
            <a:r>
              <a:rPr lang="pt-BR" sz="1187" dirty="0" err="1"/>
              <a:t>variable</a:t>
            </a:r>
            <a:r>
              <a:rPr lang="pt-BR" sz="1187" dirty="0"/>
              <a:t>; </a:t>
            </a:r>
            <a:r>
              <a:rPr lang="pt-BR" sz="1187" dirty="0" err="1"/>
              <a:t>después</a:t>
            </a:r>
            <a:r>
              <a:rPr lang="pt-BR" sz="1187" dirty="0"/>
              <a:t> 0</a:t>
            </a:r>
          </a:p>
          <a:p>
            <a:pPr marL="769312" lvl="2" indent="-178192" defTabSz="986912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Añsdklfj</a:t>
            </a:r>
            <a:endParaRPr lang="pt-BR" sz="1133" dirty="0"/>
          </a:p>
        </p:txBody>
      </p:sp>
      <p:sp>
        <p:nvSpPr>
          <p:cNvPr id="19" name="Rectangle 9"/>
          <p:cNvSpPr>
            <a:spLocks noChangeArrowheads="1"/>
          </p:cNvSpPr>
          <p:nvPr/>
        </p:nvSpPr>
        <p:spPr bwMode="auto">
          <a:xfrm>
            <a:off x="664811" y="5487220"/>
            <a:ext cx="1680855" cy="92526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algn="ctr">
              <a:spcBef>
                <a:spcPct val="30000"/>
              </a:spcBef>
            </a:pPr>
            <a:r>
              <a:rPr lang="pt-BR" sz="1295" dirty="0"/>
              <a:t>Arial 12 centrado </a:t>
            </a:r>
            <a:r>
              <a:rPr lang="pt-BR" sz="1295" dirty="0" err="1"/>
              <a:t>sin</a:t>
            </a:r>
            <a:r>
              <a:rPr lang="pt-BR" sz="1295" dirty="0"/>
              <a:t> negrita; </a:t>
            </a:r>
            <a:r>
              <a:rPr lang="pt-BR" sz="1295" dirty="0" err="1"/>
              <a:t>Interlineado</a:t>
            </a:r>
            <a:r>
              <a:rPr lang="pt-BR" sz="1295" dirty="0"/>
              <a:t> </a:t>
            </a:r>
            <a:r>
              <a:rPr lang="pt-BR" sz="1295" dirty="0" err="1"/>
              <a:t>sencillo</a:t>
            </a:r>
            <a:endParaRPr lang="pt-BR" sz="1295" dirty="0"/>
          </a:p>
        </p:txBody>
      </p:sp>
      <p:grpSp>
        <p:nvGrpSpPr>
          <p:cNvPr id="30" name="Grupo 29"/>
          <p:cNvGrpSpPr/>
          <p:nvPr/>
        </p:nvGrpSpPr>
        <p:grpSpPr>
          <a:xfrm>
            <a:off x="9325432" y="1140711"/>
            <a:ext cx="963729" cy="172200"/>
            <a:chOff x="8640040" y="983842"/>
            <a:chExt cx="892898" cy="159544"/>
          </a:xfrm>
        </p:grpSpPr>
        <p:sp>
          <p:nvSpPr>
            <p:cNvPr id="26" name="CaixaDeTexto 25"/>
            <p:cNvSpPr txBox="1"/>
            <p:nvPr/>
          </p:nvSpPr>
          <p:spPr>
            <a:xfrm>
              <a:off x="8663395" y="986682"/>
              <a:ext cx="869543" cy="1538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9428" tIns="0" rIns="19428" bIns="0" rtlCol="0" anchor="ctr" anchorCtr="0">
              <a:spAutoFit/>
            </a:bodyPr>
            <a:lstStyle/>
            <a:p>
              <a:pPr algn="r"/>
              <a:r>
                <a:rPr lang="pt-BR" sz="1079" dirty="0"/>
                <a:t>ILUSTRATIVO</a:t>
              </a:r>
            </a:p>
          </p:txBody>
        </p:sp>
        <p:grpSp>
          <p:nvGrpSpPr>
            <p:cNvPr id="29" name="Grupo 28"/>
            <p:cNvGrpSpPr/>
            <p:nvPr/>
          </p:nvGrpSpPr>
          <p:grpSpPr>
            <a:xfrm>
              <a:off x="8640040" y="983842"/>
              <a:ext cx="892898" cy="159544"/>
              <a:chOff x="8621864" y="983842"/>
              <a:chExt cx="911074" cy="159544"/>
            </a:xfrm>
          </p:grpSpPr>
          <p:cxnSp>
            <p:nvCxnSpPr>
              <p:cNvPr id="27" name="Conector reto 26"/>
              <p:cNvCxnSpPr/>
              <p:nvPr/>
            </p:nvCxnSpPr>
            <p:spPr>
              <a:xfrm flipH="1">
                <a:off x="8621864" y="983842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ector reto 27"/>
              <p:cNvCxnSpPr/>
              <p:nvPr/>
            </p:nvCxnSpPr>
            <p:spPr>
              <a:xfrm flipH="1">
                <a:off x="8621864" y="1143386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3786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Flechas de bloque </a:t>
            </a:r>
            <a:r>
              <a:rPr lang="pt-BR" dirty="0" err="1" smtClean="0"/>
              <a:t>con</a:t>
            </a:r>
            <a:r>
              <a:rPr lang="pt-BR" dirty="0" smtClean="0"/>
              <a:t> </a:t>
            </a:r>
            <a:r>
              <a:rPr lang="pt-BR" dirty="0" err="1" smtClean="0"/>
              <a:t>cuadros</a:t>
            </a:r>
            <a:r>
              <a:rPr lang="pt-BR" dirty="0" smtClean="0"/>
              <a:t> </a:t>
            </a:r>
            <a:r>
              <a:rPr lang="pt-BR" smtClean="0"/>
              <a:t>de Texto </a:t>
            </a:r>
            <a:r>
              <a:rPr lang="pt-BR" dirty="0" err="1" smtClean="0"/>
              <a:t>debajo</a:t>
            </a:r>
            <a:endParaRPr lang="pt-B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 smtClean="0"/>
              <a:t>Ejemplo</a:t>
            </a:r>
            <a:r>
              <a:rPr lang="pt-BR" dirty="0" smtClean="0"/>
              <a:t> de slide</a:t>
            </a:r>
            <a:endParaRPr lang="pt-BR" dirty="0"/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681946" y="2969699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  <a:endParaRPr lang="pt-BR" sz="1133" dirty="0">
              <a:cs typeface="Arial" pitchFamily="34" charset="0"/>
            </a:endParaRPr>
          </a:p>
        </p:txBody>
      </p:sp>
      <p:sp>
        <p:nvSpPr>
          <p:cNvPr id="7" name="Text Box 24"/>
          <p:cNvSpPr txBox="1">
            <a:spLocks noChangeArrowheads="1"/>
          </p:cNvSpPr>
          <p:nvPr/>
        </p:nvSpPr>
        <p:spPr bwMode="auto">
          <a:xfrm>
            <a:off x="3053294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I</a:t>
            </a:r>
          </a:p>
        </p:txBody>
      </p:sp>
      <p:sp>
        <p:nvSpPr>
          <p:cNvPr id="9" name="Text Box 24"/>
          <p:cNvSpPr txBox="1">
            <a:spLocks noChangeArrowheads="1"/>
          </p:cNvSpPr>
          <p:nvPr/>
        </p:nvSpPr>
        <p:spPr bwMode="auto">
          <a:xfrm>
            <a:off x="5399580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II</a:t>
            </a:r>
          </a:p>
        </p:txBody>
      </p:sp>
      <p:sp>
        <p:nvSpPr>
          <p:cNvPr id="11" name="Text Box 24"/>
          <p:cNvSpPr txBox="1">
            <a:spLocks noChangeArrowheads="1"/>
          </p:cNvSpPr>
          <p:nvPr/>
        </p:nvSpPr>
        <p:spPr bwMode="auto">
          <a:xfrm>
            <a:off x="7770178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V</a:t>
            </a:r>
          </a:p>
        </p:txBody>
      </p:sp>
      <p:sp>
        <p:nvSpPr>
          <p:cNvPr id="13" name="Text Box 24"/>
          <p:cNvSpPr txBox="1">
            <a:spLocks noChangeArrowheads="1"/>
          </p:cNvSpPr>
          <p:nvPr/>
        </p:nvSpPr>
        <p:spPr bwMode="auto">
          <a:xfrm>
            <a:off x="682696" y="1926218"/>
            <a:ext cx="1264319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Fase I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052545" y="2969699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648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Interlineado</a:t>
            </a:r>
            <a:r>
              <a:rPr lang="pt-BR" sz="1133" dirty="0"/>
              <a:t> </a:t>
            </a:r>
            <a:r>
              <a:rPr lang="pt-BR" sz="1133" dirty="0" err="1"/>
              <a:t>sencillo</a:t>
            </a:r>
            <a:endParaRPr lang="pt-BR" sz="1133" dirty="0"/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antes: </a:t>
            </a:r>
            <a:r>
              <a:rPr lang="pt-BR" sz="1133" dirty="0" err="1">
                <a:cs typeface="Arial" pitchFamily="34" charset="0"/>
              </a:rPr>
              <a:t>variable</a:t>
            </a:r>
            <a:r>
              <a:rPr lang="pt-BR" sz="1133" dirty="0">
                <a:cs typeface="Arial" pitchFamily="34" charset="0"/>
              </a:rPr>
              <a:t> </a:t>
            </a:r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</a:t>
            </a:r>
            <a:r>
              <a:rPr lang="pt-BR" sz="1133" dirty="0" err="1">
                <a:cs typeface="Arial" pitchFamily="34" charset="0"/>
              </a:rPr>
              <a:t>después</a:t>
            </a:r>
            <a:r>
              <a:rPr lang="pt-BR" sz="1133" dirty="0">
                <a:cs typeface="Arial" pitchFamily="34" charset="0"/>
              </a:rPr>
              <a:t>: 0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5423143" y="2947263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648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Interlineado</a:t>
            </a:r>
            <a:r>
              <a:rPr lang="pt-BR" sz="1133" dirty="0"/>
              <a:t> </a:t>
            </a:r>
            <a:r>
              <a:rPr lang="pt-BR" sz="1133" dirty="0" err="1"/>
              <a:t>sencillo</a:t>
            </a:r>
            <a:endParaRPr lang="pt-BR" sz="1133" dirty="0"/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antes: </a:t>
            </a:r>
            <a:r>
              <a:rPr lang="pt-BR" sz="1133" dirty="0" err="1">
                <a:cs typeface="Arial" pitchFamily="34" charset="0"/>
              </a:rPr>
              <a:t>variable</a:t>
            </a:r>
            <a:r>
              <a:rPr lang="pt-BR" sz="1133" dirty="0">
                <a:cs typeface="Arial" pitchFamily="34" charset="0"/>
              </a:rPr>
              <a:t> </a:t>
            </a:r>
          </a:p>
          <a:p>
            <a:pPr marL="382086" lvl="1" indent="-97664" defTabSz="738471" eaLnBrk="0" hangingPunct="0">
              <a:spcBef>
                <a:spcPts val="648"/>
              </a:spcBef>
              <a:buFont typeface="Arial" pitchFamily="34" charset="0"/>
              <a:buChar char="•"/>
            </a:pPr>
            <a:r>
              <a:rPr lang="pt-BR" sz="1133" dirty="0" err="1">
                <a:cs typeface="Arial" pitchFamily="34" charset="0"/>
              </a:rPr>
              <a:t>Espaciado</a:t>
            </a:r>
            <a:r>
              <a:rPr lang="pt-BR" sz="1133" dirty="0">
                <a:cs typeface="Arial" pitchFamily="34" charset="0"/>
              </a:rPr>
              <a:t> </a:t>
            </a:r>
            <a:r>
              <a:rPr lang="pt-BR" sz="1133" dirty="0" err="1">
                <a:cs typeface="Arial" pitchFamily="34" charset="0"/>
              </a:rPr>
              <a:t>después</a:t>
            </a:r>
            <a:r>
              <a:rPr lang="pt-BR" sz="1133" dirty="0">
                <a:cs typeface="Arial" pitchFamily="34" charset="0"/>
              </a:rPr>
              <a:t>: 0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7793742" y="2919232"/>
            <a:ext cx="2174317" cy="27128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50513" tIns="42741" rIns="50513" bIns="42741"/>
          <a:lstStyle/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  <a:p>
            <a:pPr marL="128505" indent="-128505">
              <a:spcBef>
                <a:spcPts val="324"/>
              </a:spcBef>
              <a:buFont typeface="Arial" pitchFamily="34" charset="0"/>
              <a:buChar char="•"/>
              <a:defRPr/>
            </a:pPr>
            <a:r>
              <a:rPr lang="pt-BR" sz="1133" dirty="0" err="1"/>
              <a:t>Cajas</a:t>
            </a:r>
            <a:r>
              <a:rPr lang="pt-BR" sz="1133" dirty="0"/>
              <a:t> </a:t>
            </a:r>
            <a:r>
              <a:rPr lang="pt-BR" sz="1133"/>
              <a:t>de Texto </a:t>
            </a:r>
            <a:r>
              <a:rPr lang="pt-BR" sz="1133" dirty="0" err="1"/>
              <a:t>sin</a:t>
            </a:r>
            <a:r>
              <a:rPr lang="pt-BR" sz="1133" dirty="0"/>
              <a:t> </a:t>
            </a:r>
            <a:r>
              <a:rPr lang="pt-BR" sz="1133" dirty="0" err="1"/>
              <a:t>fondo</a:t>
            </a:r>
            <a:r>
              <a:rPr lang="pt-BR" sz="1133" dirty="0"/>
              <a:t> </a:t>
            </a:r>
            <a:r>
              <a:rPr lang="pt-BR" sz="1133" dirty="0" err="1"/>
              <a:t>ni</a:t>
            </a:r>
            <a:r>
              <a:rPr lang="pt-BR" sz="1133" dirty="0"/>
              <a:t> borde</a:t>
            </a: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gray">
          <a:xfrm flipH="1">
            <a:off x="2961518" y="2940941"/>
            <a:ext cx="0" cy="2285732"/>
          </a:xfrm>
          <a:prstGeom prst="line">
            <a:avLst/>
          </a:prstGeom>
          <a:noFill/>
          <a:ln w="6350">
            <a:solidFill>
              <a:schemeClr val="accent1"/>
            </a:solidFill>
            <a:prstDash val="dash"/>
            <a:round/>
            <a:headEnd/>
            <a:tailEnd/>
          </a:ln>
        </p:spPr>
        <p:txBody>
          <a:bodyPr/>
          <a:lstStyle/>
          <a:p>
            <a:pPr algn="ctr" eaLnBrk="0" hangingPunct="0"/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18" name="17 Triángulo isósceles"/>
          <p:cNvSpPr/>
          <p:nvPr/>
        </p:nvSpPr>
        <p:spPr bwMode="auto">
          <a:xfrm>
            <a:off x="2874768" y="5209265"/>
            <a:ext cx="178568" cy="144228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86912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1079" dirty="0">
              <a:latin typeface="Verdana" pitchFamily="34" charset="0"/>
            </a:endParaRPr>
          </a:p>
        </p:txBody>
      </p:sp>
      <p:sp>
        <p:nvSpPr>
          <p:cNvPr id="19" name="Text Box 24"/>
          <p:cNvSpPr txBox="1">
            <a:spLocks noChangeArrowheads="1"/>
          </p:cNvSpPr>
          <p:nvPr/>
        </p:nvSpPr>
        <p:spPr bwMode="auto">
          <a:xfrm>
            <a:off x="2463955" y="5360193"/>
            <a:ext cx="1000193" cy="435632"/>
          </a:xfrm>
          <a:prstGeom prst="rect">
            <a:avLst/>
          </a:prstGeom>
          <a:solidFill>
            <a:schemeClr val="bg1"/>
          </a:solidFill>
          <a:ln w="12700" algn="ctr">
            <a:noFill/>
            <a:miter lim="800000"/>
            <a:headEnd/>
            <a:tailEnd/>
          </a:ln>
        </p:spPr>
        <p:txBody>
          <a:bodyPr wrap="square" lIns="87646" tIns="43053" rIns="87646" bIns="43053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pt-BR" sz="1133" dirty="0"/>
              <a:t>Avance de </a:t>
            </a:r>
            <a:r>
              <a:rPr lang="pt-BR" sz="1133" dirty="0" err="1"/>
              <a:t>proyecto</a:t>
            </a:r>
            <a:endParaRPr lang="pt-BR" sz="1133" dirty="0"/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681946" y="2154277"/>
            <a:ext cx="2370335" cy="730357"/>
          </a:xfrm>
          <a:prstGeom prst="homePlate">
            <a:avLst>
              <a:gd name="adj" fmla="val 24837"/>
            </a:avLst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 dirty="0"/>
              <a:t>Flechas </a:t>
            </a:r>
            <a:r>
              <a:rPr lang="pt-BR" sz="1295" kern="0" dirty="0" err="1"/>
              <a:t>con</a:t>
            </a:r>
            <a:r>
              <a:rPr lang="pt-BR" sz="1295" kern="0" dirty="0"/>
              <a:t> borde gris fino…</a:t>
            </a:r>
          </a:p>
        </p:txBody>
      </p:sp>
      <p:sp>
        <p:nvSpPr>
          <p:cNvPr id="21" name="AutoShape 8"/>
          <p:cNvSpPr>
            <a:spLocks noChangeArrowheads="1"/>
          </p:cNvSpPr>
          <p:nvPr/>
        </p:nvSpPr>
        <p:spPr bwMode="auto">
          <a:xfrm>
            <a:off x="3052545" y="2154277"/>
            <a:ext cx="2370335" cy="730357"/>
          </a:xfrm>
          <a:prstGeom prst="chevron">
            <a:avLst>
              <a:gd name="adj" fmla="val 22425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 dirty="0"/>
              <a:t>… </a:t>
            </a:r>
            <a:r>
              <a:rPr lang="pt-BR" sz="1295" kern="0" dirty="0" err="1"/>
              <a:t>sin</a:t>
            </a:r>
            <a:r>
              <a:rPr lang="pt-BR" sz="1295" kern="0" dirty="0"/>
              <a:t> sombra</a:t>
            </a:r>
          </a:p>
        </p:txBody>
      </p:sp>
      <p:sp>
        <p:nvSpPr>
          <p:cNvPr id="22" name="AutoShape 10"/>
          <p:cNvSpPr>
            <a:spLocks noChangeArrowheads="1"/>
          </p:cNvSpPr>
          <p:nvPr/>
        </p:nvSpPr>
        <p:spPr bwMode="auto">
          <a:xfrm>
            <a:off x="5423143" y="2154277"/>
            <a:ext cx="2370335" cy="730357"/>
          </a:xfrm>
          <a:prstGeom prst="chevron">
            <a:avLst>
              <a:gd name="adj" fmla="val 24193"/>
            </a:avLst>
          </a:prstGeom>
          <a:solidFill>
            <a:schemeClr val="accent5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defTabSz="986912" eaLnBrk="0" hangingPunct="0"/>
            <a:r>
              <a:rPr lang="pt-BR" sz="1295" kern="0"/>
              <a:t>Texto </a:t>
            </a:r>
            <a:r>
              <a:rPr lang="pt-BR" sz="1295" kern="0" dirty="0" err="1"/>
              <a:t>en</a:t>
            </a:r>
            <a:r>
              <a:rPr lang="pt-BR" sz="1295" kern="0" dirty="0"/>
              <a:t> Arial negro o </a:t>
            </a:r>
            <a:r>
              <a:rPr lang="pt-BR" sz="1295" kern="0" dirty="0" err="1"/>
              <a:t>blanco</a:t>
            </a:r>
            <a:r>
              <a:rPr lang="pt-BR" sz="1295" kern="0" dirty="0"/>
              <a:t>…</a:t>
            </a: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7793742" y="2154277"/>
            <a:ext cx="2370335" cy="730357"/>
          </a:xfrm>
          <a:prstGeom prst="chevron">
            <a:avLst>
              <a:gd name="adj" fmla="val 25749"/>
            </a:avLst>
          </a:prstGeom>
          <a:solidFill>
            <a:schemeClr val="accent4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eaLnBrk="0" hangingPunct="0"/>
            <a:r>
              <a:rPr lang="pt-BR" sz="1295" kern="0" dirty="0">
                <a:solidFill>
                  <a:schemeClr val="bg1"/>
                </a:solidFill>
              </a:rPr>
              <a:t>… </a:t>
            </a:r>
            <a:r>
              <a:rPr lang="pt-BR" sz="1295" kern="0" dirty="0" err="1">
                <a:solidFill>
                  <a:schemeClr val="bg1"/>
                </a:solidFill>
              </a:rPr>
              <a:t>sin</a:t>
            </a:r>
            <a:r>
              <a:rPr lang="pt-BR" sz="1295" kern="0" dirty="0">
                <a:solidFill>
                  <a:schemeClr val="bg1"/>
                </a:solidFill>
              </a:rPr>
              <a:t> negrita</a:t>
            </a:r>
          </a:p>
        </p:txBody>
      </p:sp>
      <p:sp>
        <p:nvSpPr>
          <p:cNvPr id="31" name="30 Rectángulo"/>
          <p:cNvSpPr/>
          <p:nvPr/>
        </p:nvSpPr>
        <p:spPr>
          <a:xfrm>
            <a:off x="-1" y="6266883"/>
            <a:ext cx="10691813" cy="686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15" rIns="777115" rtlCol="0" anchor="ctr"/>
          <a:lstStyle/>
          <a:p>
            <a:pPr algn="ctr"/>
            <a:r>
              <a:rPr lang="pt-BR" sz="1727">
                <a:solidFill>
                  <a:schemeClr val="bg1"/>
                </a:solidFill>
              </a:rPr>
              <a:t>Xxxxx xxxxxxxxxxxxx xxxxxxxx xxxxxxxxxxx xxxxxxxx xxxxxxxxxxxxxxxxxx </a:t>
            </a:r>
            <a:br>
              <a:rPr lang="pt-BR" sz="1727">
                <a:solidFill>
                  <a:schemeClr val="bg1"/>
                </a:solidFill>
              </a:rPr>
            </a:br>
            <a:r>
              <a:rPr lang="pt-BR" sz="1727">
                <a:solidFill>
                  <a:schemeClr val="bg1"/>
                </a:solidFill>
              </a:rPr>
              <a:t>xxxxxxx xxxxxxxxxxx xxxxxxxxxx xxxxxxxxxxxxxx xxxxxxxxxxxxxxxxxx</a:t>
            </a:r>
            <a:endParaRPr lang="pt-BR" sz="1727" dirty="0">
              <a:solidFill>
                <a:schemeClr val="bg1"/>
              </a:solidFill>
            </a:endParaRPr>
          </a:p>
        </p:txBody>
      </p:sp>
      <p:sp>
        <p:nvSpPr>
          <p:cNvPr id="35" name="15 Llamada rectangular redondeada"/>
          <p:cNvSpPr/>
          <p:nvPr/>
        </p:nvSpPr>
        <p:spPr>
          <a:xfrm>
            <a:off x="8532433" y="5343956"/>
            <a:ext cx="1476683" cy="612046"/>
          </a:xfrm>
          <a:prstGeom prst="wedgeRoundRectCallout">
            <a:avLst>
              <a:gd name="adj1" fmla="val -38268"/>
              <a:gd name="adj2" fmla="val 92073"/>
              <a:gd name="adj3" fmla="val 16667"/>
            </a:avLst>
          </a:prstGeom>
          <a:solidFill>
            <a:schemeClr val="bg1"/>
          </a:solidFill>
          <a:ln w="95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El </a:t>
            </a:r>
            <a:r>
              <a:rPr lang="pt-BR" sz="1079" dirty="0" err="1">
                <a:solidFill>
                  <a:schemeClr val="tx1"/>
                </a:solidFill>
              </a:rPr>
              <a:t>grosor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del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kicker</a:t>
            </a:r>
            <a:r>
              <a:rPr lang="pt-BR" sz="1079" dirty="0">
                <a:solidFill>
                  <a:schemeClr val="tx1"/>
                </a:solidFill>
              </a:rPr>
              <a:t> es </a:t>
            </a:r>
            <a:r>
              <a:rPr lang="pt-BR" sz="1079" dirty="0" err="1">
                <a:solidFill>
                  <a:schemeClr val="tx1"/>
                </a:solidFill>
              </a:rPr>
              <a:t>variable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según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cantidad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>
                <a:solidFill>
                  <a:schemeClr val="tx1"/>
                </a:solidFill>
              </a:rPr>
              <a:t>de Texto</a:t>
            </a:r>
            <a:endParaRPr lang="pt-BR" sz="1079" dirty="0">
              <a:solidFill>
                <a:schemeClr val="tx1"/>
              </a:solidFill>
            </a:endParaRPr>
          </a:p>
        </p:txBody>
      </p:sp>
      <p:grpSp>
        <p:nvGrpSpPr>
          <p:cNvPr id="40" name="Grupo 39"/>
          <p:cNvGrpSpPr/>
          <p:nvPr/>
        </p:nvGrpSpPr>
        <p:grpSpPr>
          <a:xfrm>
            <a:off x="681946" y="1303520"/>
            <a:ext cx="9327921" cy="300153"/>
            <a:chOff x="560508" y="1134683"/>
            <a:chExt cx="4320000" cy="278093"/>
          </a:xfrm>
        </p:grpSpPr>
        <p:sp>
          <p:nvSpPr>
            <p:cNvPr id="29" name="8 Marcador de texto"/>
            <p:cNvSpPr txBox="1">
              <a:spLocks/>
            </p:cNvSpPr>
            <p:nvPr/>
          </p:nvSpPr>
          <p:spPr>
            <a:xfrm>
              <a:off x="560508" y="1134683"/>
              <a:ext cx="432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 dirty="0">
                  <a:solidFill>
                    <a:schemeClr val="accent1"/>
                  </a:solidFill>
                </a:rPr>
                <a:t>Fases del proyecto</a:t>
              </a:r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560508" y="1412776"/>
              <a:ext cx="432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o 27"/>
          <p:cNvGrpSpPr/>
          <p:nvPr/>
        </p:nvGrpSpPr>
        <p:grpSpPr>
          <a:xfrm>
            <a:off x="9325432" y="1140711"/>
            <a:ext cx="963729" cy="172200"/>
            <a:chOff x="8640040" y="983842"/>
            <a:chExt cx="892898" cy="159544"/>
          </a:xfrm>
        </p:grpSpPr>
        <p:sp>
          <p:nvSpPr>
            <p:cNvPr id="30" name="CaixaDeTexto 29"/>
            <p:cNvSpPr txBox="1"/>
            <p:nvPr/>
          </p:nvSpPr>
          <p:spPr>
            <a:xfrm>
              <a:off x="8663395" y="986682"/>
              <a:ext cx="869543" cy="15386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19428" tIns="0" rIns="19428" bIns="0" rtlCol="0" anchor="ctr" anchorCtr="0">
              <a:spAutoFit/>
            </a:bodyPr>
            <a:lstStyle/>
            <a:p>
              <a:pPr algn="r"/>
              <a:r>
                <a:rPr lang="pt-BR" sz="1079" dirty="0"/>
                <a:t>ILUSTRATIVO</a:t>
              </a:r>
            </a:p>
          </p:txBody>
        </p:sp>
        <p:grpSp>
          <p:nvGrpSpPr>
            <p:cNvPr id="37" name="Grupo 28"/>
            <p:cNvGrpSpPr/>
            <p:nvPr/>
          </p:nvGrpSpPr>
          <p:grpSpPr>
            <a:xfrm>
              <a:off x="8640040" y="983842"/>
              <a:ext cx="892898" cy="159544"/>
              <a:chOff x="8621864" y="983842"/>
              <a:chExt cx="911074" cy="159544"/>
            </a:xfrm>
          </p:grpSpPr>
          <p:cxnSp>
            <p:nvCxnSpPr>
              <p:cNvPr id="38" name="Conector reto 37"/>
              <p:cNvCxnSpPr/>
              <p:nvPr/>
            </p:nvCxnSpPr>
            <p:spPr>
              <a:xfrm flipH="1">
                <a:off x="8621864" y="983842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ector reto 38"/>
              <p:cNvCxnSpPr/>
              <p:nvPr/>
            </p:nvCxnSpPr>
            <p:spPr>
              <a:xfrm flipH="1">
                <a:off x="8621864" y="1143386"/>
                <a:ext cx="91107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70970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dirty="0" smtClean="0"/>
              <a:t>Flechas de bloque: </a:t>
            </a:r>
            <a:r>
              <a:rPr lang="pt-BR" dirty="0" err="1" smtClean="0"/>
              <a:t>opciones</a:t>
            </a:r>
            <a:r>
              <a:rPr lang="pt-BR" dirty="0" smtClean="0"/>
              <a:t> </a:t>
            </a:r>
            <a:r>
              <a:rPr lang="pt-BR" dirty="0" err="1" smtClean="0"/>
              <a:t>con</a:t>
            </a:r>
            <a:r>
              <a:rPr lang="pt-BR" dirty="0" smtClean="0"/>
              <a:t> y </a:t>
            </a:r>
            <a:r>
              <a:rPr lang="pt-BR" dirty="0" err="1" smtClean="0"/>
              <a:t>sin</a:t>
            </a:r>
            <a:r>
              <a:rPr lang="pt-BR" dirty="0" smtClean="0"/>
              <a:t> degradado</a:t>
            </a:r>
            <a:endParaRPr lang="pt-BR" dirty="0"/>
          </a:p>
        </p:txBody>
      </p:sp>
      <p:sp>
        <p:nvSpPr>
          <p:cNvPr id="26" name="25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Título </a:t>
            </a:r>
            <a:r>
              <a:rPr lang="pt-BR" dirty="0" err="1" smtClean="0"/>
              <a:t>del</a:t>
            </a:r>
            <a:r>
              <a:rPr lang="pt-BR" dirty="0" smtClean="0"/>
              <a:t> capítulo</a:t>
            </a:r>
            <a:endParaRPr lang="pt-BR" dirty="0"/>
          </a:p>
        </p:txBody>
      </p:sp>
      <p:grpSp>
        <p:nvGrpSpPr>
          <p:cNvPr id="2" name="71 Grupo"/>
          <p:cNvGrpSpPr/>
          <p:nvPr/>
        </p:nvGrpSpPr>
        <p:grpSpPr>
          <a:xfrm>
            <a:off x="604976" y="5701868"/>
            <a:ext cx="8019469" cy="776666"/>
            <a:chOff x="615950" y="4509120"/>
            <a:chExt cx="7430065" cy="863600"/>
          </a:xfrm>
        </p:grpSpPr>
        <p:sp>
          <p:nvSpPr>
            <p:cNvPr id="67" name="AutoShape 10"/>
            <p:cNvSpPr>
              <a:spLocks noChangeArrowheads="1"/>
            </p:cNvSpPr>
            <p:nvPr/>
          </p:nvSpPr>
          <p:spPr bwMode="auto">
            <a:xfrm>
              <a:off x="615950" y="4509120"/>
              <a:ext cx="1496086" cy="863600"/>
            </a:xfrm>
            <a:prstGeom prst="homePlate">
              <a:avLst>
                <a:gd name="adj" fmla="val 16859"/>
              </a:avLst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algn="l">
                <a:spcBef>
                  <a:spcPct val="30000"/>
                </a:spcBef>
                <a:buFont typeface="Wingdings" pitchFamily="2" charset="2"/>
                <a:buNone/>
              </a:pPr>
              <a:r>
                <a:rPr lang="es-ES" sz="1295"/>
                <a:t>… o en grises</a:t>
              </a:r>
            </a:p>
          </p:txBody>
        </p:sp>
        <p:sp>
          <p:nvSpPr>
            <p:cNvPr id="68" name="AutoShape 11"/>
            <p:cNvSpPr>
              <a:spLocks noChangeArrowheads="1"/>
            </p:cNvSpPr>
            <p:nvPr/>
          </p:nvSpPr>
          <p:spPr bwMode="auto">
            <a:xfrm>
              <a:off x="2099445" y="4509120"/>
              <a:ext cx="1496086" cy="863600"/>
            </a:xfrm>
            <a:prstGeom prst="chevron">
              <a:avLst>
                <a:gd name="adj" fmla="val 16698"/>
              </a:avLst>
            </a:prstGeom>
            <a:solidFill>
              <a:schemeClr val="accent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/>
                <a:t>Sin borde</a:t>
              </a:r>
            </a:p>
          </p:txBody>
        </p:sp>
        <p:sp>
          <p:nvSpPr>
            <p:cNvPr id="69" name="AutoShape 12"/>
            <p:cNvSpPr>
              <a:spLocks noChangeArrowheads="1"/>
            </p:cNvSpPr>
            <p:nvPr/>
          </p:nvSpPr>
          <p:spPr bwMode="auto">
            <a:xfrm>
              <a:off x="3582939" y="4509120"/>
              <a:ext cx="1496086" cy="863600"/>
            </a:xfrm>
            <a:prstGeom prst="chevron">
              <a:avLst>
                <a:gd name="adj" fmla="val 16698"/>
              </a:avLst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Sin sombra</a:t>
              </a:r>
            </a:p>
          </p:txBody>
        </p:sp>
        <p:sp>
          <p:nvSpPr>
            <p:cNvPr id="70" name="AutoShape 13"/>
            <p:cNvSpPr>
              <a:spLocks noChangeArrowheads="1"/>
            </p:cNvSpPr>
            <p:nvPr/>
          </p:nvSpPr>
          <p:spPr bwMode="auto">
            <a:xfrm>
              <a:off x="5066434" y="4509120"/>
              <a:ext cx="1496086" cy="863600"/>
            </a:xfrm>
            <a:prstGeom prst="chevron">
              <a:avLst>
                <a:gd name="adj" fmla="val 16698"/>
              </a:avLst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  <p:sp>
          <p:nvSpPr>
            <p:cNvPr id="71" name="AutoShape 14"/>
            <p:cNvSpPr>
              <a:spLocks noChangeArrowheads="1"/>
            </p:cNvSpPr>
            <p:nvPr/>
          </p:nvSpPr>
          <p:spPr bwMode="auto">
            <a:xfrm>
              <a:off x="6549929" y="4509120"/>
              <a:ext cx="1496086" cy="863600"/>
            </a:xfrm>
            <a:prstGeom prst="chevron">
              <a:avLst>
                <a:gd name="adj" fmla="val 16698"/>
              </a:avLst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</p:grpSp>
      <p:sp>
        <p:nvSpPr>
          <p:cNvPr id="74" name="AutoShape 10"/>
          <p:cNvSpPr>
            <a:spLocks noChangeArrowheads="1"/>
          </p:cNvSpPr>
          <p:nvPr/>
        </p:nvSpPr>
        <p:spPr bwMode="auto">
          <a:xfrm>
            <a:off x="604975" y="4635294"/>
            <a:ext cx="1614766" cy="776666"/>
          </a:xfrm>
          <a:prstGeom prst="homePlate">
            <a:avLst>
              <a:gd name="adj" fmla="val 16859"/>
            </a:avLst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algn="l">
              <a:spcBef>
                <a:spcPct val="30000"/>
              </a:spcBef>
              <a:buFont typeface="Wingdings" pitchFamily="2" charset="2"/>
              <a:buNone/>
            </a:pPr>
            <a:r>
              <a:rPr lang="pt-BR" sz="1295" dirty="0"/>
              <a:t>… o </a:t>
            </a:r>
            <a:r>
              <a:rPr lang="pt-BR" sz="1295" dirty="0" err="1"/>
              <a:t>en</a:t>
            </a:r>
            <a:r>
              <a:rPr lang="pt-BR" sz="1295" dirty="0"/>
              <a:t> gris-azul</a:t>
            </a:r>
          </a:p>
        </p:txBody>
      </p:sp>
      <p:sp>
        <p:nvSpPr>
          <p:cNvPr id="75" name="AutoShape 11"/>
          <p:cNvSpPr>
            <a:spLocks noChangeArrowheads="1"/>
          </p:cNvSpPr>
          <p:nvPr/>
        </p:nvSpPr>
        <p:spPr bwMode="auto">
          <a:xfrm>
            <a:off x="2206151" y="4635294"/>
            <a:ext cx="1614766" cy="776666"/>
          </a:xfrm>
          <a:prstGeom prst="chevron">
            <a:avLst>
              <a:gd name="adj" fmla="val 16698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marL="99377" algn="ctr">
              <a:spcBef>
                <a:spcPct val="30000"/>
              </a:spcBef>
            </a:pPr>
            <a:r>
              <a:rPr lang="pt-BR" sz="1295" dirty="0" err="1"/>
              <a:t>Sin</a:t>
            </a:r>
            <a:r>
              <a:rPr lang="pt-BR" sz="1295" dirty="0"/>
              <a:t> borde</a:t>
            </a:r>
          </a:p>
        </p:txBody>
      </p:sp>
      <p:sp>
        <p:nvSpPr>
          <p:cNvPr id="76" name="AutoShape 12"/>
          <p:cNvSpPr>
            <a:spLocks noChangeArrowheads="1"/>
          </p:cNvSpPr>
          <p:nvPr/>
        </p:nvSpPr>
        <p:spPr bwMode="auto">
          <a:xfrm>
            <a:off x="3807327" y="4635294"/>
            <a:ext cx="1614766" cy="776666"/>
          </a:xfrm>
          <a:prstGeom prst="chevron">
            <a:avLst>
              <a:gd name="adj" fmla="val 16698"/>
            </a:avLst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marL="99377" algn="ctr">
              <a:spcBef>
                <a:spcPct val="30000"/>
              </a:spcBef>
            </a:pPr>
            <a:r>
              <a:rPr lang="pt-BR" sz="1295" dirty="0" err="1"/>
              <a:t>Sin</a:t>
            </a:r>
            <a:r>
              <a:rPr lang="pt-BR" sz="1295" dirty="0"/>
              <a:t> sombra</a:t>
            </a:r>
          </a:p>
        </p:txBody>
      </p:sp>
      <p:sp>
        <p:nvSpPr>
          <p:cNvPr id="77" name="AutoShape 13"/>
          <p:cNvSpPr>
            <a:spLocks noChangeArrowheads="1"/>
          </p:cNvSpPr>
          <p:nvPr/>
        </p:nvSpPr>
        <p:spPr bwMode="auto">
          <a:xfrm>
            <a:off x="5408503" y="4635294"/>
            <a:ext cx="1614766" cy="776666"/>
          </a:xfrm>
          <a:prstGeom prst="chevron">
            <a:avLst>
              <a:gd name="adj" fmla="val 16698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marL="99377" algn="ctr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78" name="AutoShape 14"/>
          <p:cNvSpPr>
            <a:spLocks noChangeArrowheads="1"/>
          </p:cNvSpPr>
          <p:nvPr/>
        </p:nvSpPr>
        <p:spPr bwMode="auto">
          <a:xfrm>
            <a:off x="7009679" y="4635294"/>
            <a:ext cx="1614766" cy="776666"/>
          </a:xfrm>
          <a:prstGeom prst="chevron">
            <a:avLst>
              <a:gd name="adj" fmla="val 16698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lIns="58284" tIns="50513" rIns="58284" anchor="ctr" anchorCtr="1"/>
          <a:lstStyle/>
          <a:p>
            <a:pPr marL="99377" algn="ctr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grpSp>
        <p:nvGrpSpPr>
          <p:cNvPr id="3" name="42 Grupo"/>
          <p:cNvGrpSpPr/>
          <p:nvPr/>
        </p:nvGrpSpPr>
        <p:grpSpPr>
          <a:xfrm>
            <a:off x="604976" y="2636771"/>
            <a:ext cx="8019469" cy="776667"/>
            <a:chOff x="615950" y="3645024"/>
            <a:chExt cx="7430065" cy="863601"/>
          </a:xfrm>
          <a:gradFill>
            <a:gsLst>
              <a:gs pos="0">
                <a:schemeClr val="accent4">
                  <a:lumMod val="75000"/>
                </a:schemeClr>
              </a:gs>
              <a:gs pos="86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</p:grpSpPr>
        <p:sp>
          <p:nvSpPr>
            <p:cNvPr id="85" name="AutoShape 10"/>
            <p:cNvSpPr>
              <a:spLocks noChangeArrowheads="1"/>
            </p:cNvSpPr>
            <p:nvPr/>
          </p:nvSpPr>
          <p:spPr bwMode="auto">
            <a:xfrm>
              <a:off x="615950" y="3645024"/>
              <a:ext cx="1496086" cy="863600"/>
            </a:xfrm>
            <a:prstGeom prst="homePlate">
              <a:avLst>
                <a:gd name="adj" fmla="val 16859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algn="l">
                <a:spcBef>
                  <a:spcPct val="30000"/>
                </a:spcBef>
                <a:buFont typeface="Wingdings" pitchFamily="2" charset="2"/>
                <a:buNone/>
              </a:pPr>
              <a:r>
                <a:rPr lang="es-ES" sz="1295">
                  <a:solidFill>
                    <a:schemeClr val="bg1"/>
                  </a:solidFill>
                </a:rPr>
                <a:t>… o en grises</a:t>
              </a:r>
            </a:p>
          </p:txBody>
        </p:sp>
        <p:sp>
          <p:nvSpPr>
            <p:cNvPr id="86" name="AutoShape 11"/>
            <p:cNvSpPr>
              <a:spLocks noChangeArrowheads="1"/>
            </p:cNvSpPr>
            <p:nvPr/>
          </p:nvSpPr>
          <p:spPr bwMode="auto">
            <a:xfrm>
              <a:off x="2099445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Sin borde</a:t>
              </a:r>
            </a:p>
          </p:txBody>
        </p:sp>
        <p:sp>
          <p:nvSpPr>
            <p:cNvPr id="87" name="AutoShape 12"/>
            <p:cNvSpPr>
              <a:spLocks noChangeArrowheads="1"/>
            </p:cNvSpPr>
            <p:nvPr/>
          </p:nvSpPr>
          <p:spPr bwMode="auto">
            <a:xfrm>
              <a:off x="3582939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Sin sombra</a:t>
              </a:r>
            </a:p>
          </p:txBody>
        </p:sp>
        <p:sp>
          <p:nvSpPr>
            <p:cNvPr id="88" name="AutoShape 13"/>
            <p:cNvSpPr>
              <a:spLocks noChangeArrowheads="1"/>
            </p:cNvSpPr>
            <p:nvPr/>
          </p:nvSpPr>
          <p:spPr bwMode="auto">
            <a:xfrm>
              <a:off x="5066434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  <p:sp>
          <p:nvSpPr>
            <p:cNvPr id="89" name="AutoShape 14"/>
            <p:cNvSpPr>
              <a:spLocks noChangeArrowheads="1"/>
            </p:cNvSpPr>
            <p:nvPr/>
          </p:nvSpPr>
          <p:spPr bwMode="auto">
            <a:xfrm>
              <a:off x="6549929" y="3645025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</p:grpSp>
      <p:grpSp>
        <p:nvGrpSpPr>
          <p:cNvPr id="5" name="48 Grupo"/>
          <p:cNvGrpSpPr/>
          <p:nvPr/>
        </p:nvGrpSpPr>
        <p:grpSpPr>
          <a:xfrm>
            <a:off x="604976" y="1604208"/>
            <a:ext cx="8019469" cy="776666"/>
            <a:chOff x="615950" y="3645024"/>
            <a:chExt cx="7430065" cy="863600"/>
          </a:xfrm>
          <a:gradFill>
            <a:gsLst>
              <a:gs pos="0">
                <a:schemeClr val="accent5"/>
              </a:gs>
              <a:gs pos="100000">
                <a:schemeClr val="accent1"/>
              </a:gs>
            </a:gsLst>
            <a:lin ang="0" scaled="1"/>
          </a:gradFill>
        </p:grpSpPr>
        <p:sp>
          <p:nvSpPr>
            <p:cNvPr id="91" name="AutoShape 10"/>
            <p:cNvSpPr>
              <a:spLocks noChangeArrowheads="1"/>
            </p:cNvSpPr>
            <p:nvPr/>
          </p:nvSpPr>
          <p:spPr bwMode="auto">
            <a:xfrm>
              <a:off x="615950" y="3645024"/>
              <a:ext cx="1496086" cy="863600"/>
            </a:xfrm>
            <a:prstGeom prst="homePlate">
              <a:avLst>
                <a:gd name="adj" fmla="val 16859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algn="l">
                <a:spcBef>
                  <a:spcPct val="30000"/>
                </a:spcBef>
                <a:buFont typeface="Wingdings" pitchFamily="2" charset="2"/>
                <a:buNone/>
              </a:pPr>
              <a:r>
                <a:rPr lang="es-ES" sz="1295">
                  <a:solidFill>
                    <a:schemeClr val="bg1"/>
                  </a:solidFill>
                </a:rPr>
                <a:t>… o en gris-azul</a:t>
              </a:r>
            </a:p>
          </p:txBody>
        </p:sp>
        <p:sp>
          <p:nvSpPr>
            <p:cNvPr id="92" name="AutoShape 11"/>
            <p:cNvSpPr>
              <a:spLocks noChangeArrowheads="1"/>
            </p:cNvSpPr>
            <p:nvPr/>
          </p:nvSpPr>
          <p:spPr bwMode="auto">
            <a:xfrm>
              <a:off x="2099445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Sin borde</a:t>
              </a:r>
            </a:p>
          </p:txBody>
        </p:sp>
        <p:sp>
          <p:nvSpPr>
            <p:cNvPr id="93" name="AutoShape 12"/>
            <p:cNvSpPr>
              <a:spLocks noChangeArrowheads="1"/>
            </p:cNvSpPr>
            <p:nvPr/>
          </p:nvSpPr>
          <p:spPr bwMode="auto">
            <a:xfrm>
              <a:off x="3582939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Sin sombra</a:t>
              </a:r>
            </a:p>
          </p:txBody>
        </p:sp>
        <p:sp>
          <p:nvSpPr>
            <p:cNvPr id="94" name="AutoShape 13"/>
            <p:cNvSpPr>
              <a:spLocks noChangeArrowheads="1"/>
            </p:cNvSpPr>
            <p:nvPr/>
          </p:nvSpPr>
          <p:spPr bwMode="auto">
            <a:xfrm>
              <a:off x="5066434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  <p:sp>
          <p:nvSpPr>
            <p:cNvPr id="95" name="AutoShape 14"/>
            <p:cNvSpPr>
              <a:spLocks noChangeArrowheads="1"/>
            </p:cNvSpPr>
            <p:nvPr/>
          </p:nvSpPr>
          <p:spPr bwMode="auto">
            <a:xfrm>
              <a:off x="6549929" y="3645024"/>
              <a:ext cx="1496086" cy="863600"/>
            </a:xfrm>
            <a:prstGeom prst="chevron">
              <a:avLst>
                <a:gd name="adj" fmla="val 1669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lIns="58284" tIns="50513" rIns="58284" anchor="ctr" anchorCtr="1"/>
            <a:lstStyle/>
            <a:p>
              <a:pPr marL="99377" algn="ctr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</p:grpSp>
      <p:sp>
        <p:nvSpPr>
          <p:cNvPr id="112" name="14 Llamada rectangular"/>
          <p:cNvSpPr/>
          <p:nvPr/>
        </p:nvSpPr>
        <p:spPr>
          <a:xfrm>
            <a:off x="8962051" y="1915088"/>
            <a:ext cx="1178171" cy="388601"/>
          </a:xfrm>
          <a:prstGeom prst="wedgeRoundRectCallout">
            <a:avLst>
              <a:gd name="adj1" fmla="val -55336"/>
              <a:gd name="adj2" fmla="val 111044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 err="1">
                <a:solidFill>
                  <a:schemeClr val="tx1"/>
                </a:solidFill>
              </a:rPr>
              <a:t>Con</a:t>
            </a:r>
            <a:r>
              <a:rPr lang="pt-BR" sz="1079" dirty="0">
                <a:solidFill>
                  <a:schemeClr val="tx1"/>
                </a:solidFill>
              </a:rPr>
              <a:t> Degradado</a:t>
            </a:r>
          </a:p>
        </p:txBody>
      </p:sp>
      <p:sp>
        <p:nvSpPr>
          <p:cNvPr id="113" name="14 Llamada rectangular"/>
          <p:cNvSpPr/>
          <p:nvPr/>
        </p:nvSpPr>
        <p:spPr>
          <a:xfrm>
            <a:off x="8962051" y="4790735"/>
            <a:ext cx="1178171" cy="388601"/>
          </a:xfrm>
          <a:prstGeom prst="wedgeRoundRectCallout">
            <a:avLst>
              <a:gd name="adj1" fmla="val -55336"/>
              <a:gd name="adj2" fmla="val 111044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 err="1">
                <a:solidFill>
                  <a:schemeClr val="tx1"/>
                </a:solidFill>
              </a:rPr>
              <a:t>Sin</a:t>
            </a:r>
            <a:r>
              <a:rPr lang="pt-BR" sz="1079" dirty="0">
                <a:solidFill>
                  <a:schemeClr val="tx1"/>
                </a:solidFill>
              </a:rPr>
              <a:t> Degradado</a:t>
            </a:r>
          </a:p>
        </p:txBody>
      </p:sp>
    </p:spTree>
    <p:extLst>
      <p:ext uri="{BB962C8B-B14F-4D97-AF65-F5344CB8AC3E}">
        <p14:creationId xmlns:p14="http://schemas.microsoft.com/office/powerpoint/2010/main" val="198363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095682" name="AutoShape 2"/>
          <p:cNvSpPr>
            <a:spLocks noChangeArrowheads="1"/>
          </p:cNvSpPr>
          <p:nvPr/>
        </p:nvSpPr>
        <p:spPr bwMode="auto">
          <a:xfrm>
            <a:off x="585120" y="1474798"/>
            <a:ext cx="2253162" cy="1137312"/>
          </a:xfrm>
          <a:prstGeom prst="homePlate">
            <a:avLst>
              <a:gd name="adj" fmla="val 23033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095687" name="AutoShape 7"/>
          <p:cNvSpPr>
            <a:spLocks noChangeArrowheads="1"/>
          </p:cNvSpPr>
          <p:nvPr/>
        </p:nvSpPr>
        <p:spPr bwMode="auto">
          <a:xfrm>
            <a:off x="585120" y="2961710"/>
            <a:ext cx="2253162" cy="1137312"/>
          </a:xfrm>
          <a:prstGeom prst="homePlate">
            <a:avLst>
              <a:gd name="adj" fmla="val 23033"/>
            </a:avLst>
          </a:prstGeom>
          <a:solidFill>
            <a:schemeClr val="accent2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095688" name="AutoShape 8"/>
          <p:cNvSpPr>
            <a:spLocks noChangeArrowheads="1"/>
          </p:cNvSpPr>
          <p:nvPr/>
        </p:nvSpPr>
        <p:spPr bwMode="auto">
          <a:xfrm>
            <a:off x="585120" y="4448621"/>
            <a:ext cx="2253162" cy="1137312"/>
          </a:xfrm>
          <a:prstGeom prst="homePlate">
            <a:avLst>
              <a:gd name="adj" fmla="val 23033"/>
            </a:avLst>
          </a:prstGeom>
          <a:solidFill>
            <a:schemeClr val="accent3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1095695" name="Line 15"/>
          <p:cNvSpPr>
            <a:spLocks noChangeShapeType="1"/>
          </p:cNvSpPr>
          <p:nvPr/>
        </p:nvSpPr>
        <p:spPr bwMode="auto">
          <a:xfrm>
            <a:off x="3073023" y="4273821"/>
            <a:ext cx="700622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095696" name="Line 16"/>
          <p:cNvSpPr>
            <a:spLocks noChangeShapeType="1"/>
          </p:cNvSpPr>
          <p:nvPr/>
        </p:nvSpPr>
        <p:spPr bwMode="auto">
          <a:xfrm>
            <a:off x="3073023" y="2786909"/>
            <a:ext cx="700622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18 Marcador de texto"/>
          <p:cNvSpPr txBox="1">
            <a:spLocks/>
          </p:cNvSpPr>
          <p:nvPr/>
        </p:nvSpPr>
        <p:spPr>
          <a:xfrm>
            <a:off x="3073023" y="2968348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</a:t>
            </a:r>
            <a:r>
              <a:rPr lang="pt-BR" sz="1295" dirty="0"/>
              <a:t> </a:t>
            </a:r>
            <a:r>
              <a:rPr lang="pt-BR" sz="1295"/>
              <a:t>de Texto</a:t>
            </a:r>
            <a:endParaRPr lang="pt-BR" sz="1295" dirty="0"/>
          </a:p>
        </p:txBody>
      </p:sp>
      <p:sp>
        <p:nvSpPr>
          <p:cNvPr id="25" name="19 Marcador de texto"/>
          <p:cNvSpPr txBox="1">
            <a:spLocks/>
          </p:cNvSpPr>
          <p:nvPr/>
        </p:nvSpPr>
        <p:spPr>
          <a:xfrm>
            <a:off x="3073024" y="1479220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>
              <a:spcBef>
                <a:spcPct val="20000"/>
              </a:spcBef>
              <a:buFont typeface="Arial" pitchFamily="34" charset="0"/>
              <a:buChar char="•"/>
            </a:pPr>
            <a:r>
              <a:rPr lang="pt-BR" sz="1295" dirty="0" err="1"/>
              <a:t>Caja</a:t>
            </a:r>
            <a:r>
              <a:rPr lang="pt-BR" sz="1295" dirty="0"/>
              <a:t> </a:t>
            </a:r>
            <a:r>
              <a:rPr lang="pt-BR" sz="1295"/>
              <a:t>de Texto</a:t>
            </a:r>
            <a:endParaRPr lang="pt-BR" sz="1295" dirty="0"/>
          </a:p>
        </p:txBody>
      </p:sp>
      <p:sp>
        <p:nvSpPr>
          <p:cNvPr id="26" name="20 Marcador de texto"/>
          <p:cNvSpPr txBox="1">
            <a:spLocks/>
          </p:cNvSpPr>
          <p:nvPr/>
        </p:nvSpPr>
        <p:spPr>
          <a:xfrm>
            <a:off x="3073023" y="4453043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Caja</a:t>
            </a:r>
            <a:r>
              <a:rPr lang="pt-BR" sz="1295" dirty="0"/>
              <a:t> </a:t>
            </a:r>
            <a:r>
              <a:rPr lang="pt-BR" sz="1295"/>
              <a:t>de Texto</a:t>
            </a:r>
            <a:endParaRPr lang="pt-BR" sz="1295" dirty="0"/>
          </a:p>
        </p:txBody>
      </p:sp>
      <p:sp>
        <p:nvSpPr>
          <p:cNvPr id="27" name="26 Rectángulo"/>
          <p:cNvSpPr/>
          <p:nvPr/>
        </p:nvSpPr>
        <p:spPr>
          <a:xfrm>
            <a:off x="-1" y="5960967"/>
            <a:ext cx="10691813" cy="677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8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662886"/>
            <a:ext cx="4882045" cy="346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(1</a:t>
            </a:r>
            <a:r>
              <a:rPr lang="pt-BR" sz="863" baseline="30000">
                <a:solidFill>
                  <a:sysClr val="windowText" lastClr="000000"/>
                </a:solidFill>
              </a:rPr>
              <a:t>)</a:t>
            </a:r>
            <a:r>
              <a:rPr lang="pt-BR" sz="863">
                <a:solidFill>
                  <a:sysClr val="windowText" lastClr="000000"/>
                </a:solidFill>
              </a:rPr>
              <a:t> x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Nota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55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0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2</a:t>
            </a:r>
            <a:endParaRPr lang="pt-BR" dirty="0"/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5610" name="Rectangle 10"/>
          <p:cNvSpPr>
            <a:spLocks noChangeArrowheads="1"/>
          </p:cNvSpPr>
          <p:nvPr/>
        </p:nvSpPr>
        <p:spPr bwMode="auto">
          <a:xfrm>
            <a:off x="2714075" y="1805964"/>
            <a:ext cx="7484269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5611" name="AutoShape 11"/>
          <p:cNvSpPr>
            <a:spLocks noChangeArrowheads="1"/>
          </p:cNvSpPr>
          <p:nvPr/>
        </p:nvSpPr>
        <p:spPr bwMode="auto">
          <a:xfrm>
            <a:off x="402657" y="1559230"/>
            <a:ext cx="2056118" cy="1809384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5612" name="Rectangle 12"/>
          <p:cNvSpPr>
            <a:spLocks noChangeArrowheads="1"/>
          </p:cNvSpPr>
          <p:nvPr/>
        </p:nvSpPr>
        <p:spPr bwMode="auto">
          <a:xfrm>
            <a:off x="2714075" y="4026571"/>
            <a:ext cx="7484269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5613" name="AutoShape 13"/>
          <p:cNvSpPr>
            <a:spLocks noChangeArrowheads="1"/>
          </p:cNvSpPr>
          <p:nvPr/>
        </p:nvSpPr>
        <p:spPr bwMode="auto">
          <a:xfrm>
            <a:off x="402657" y="3779837"/>
            <a:ext cx="2056118" cy="1809384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cxnSp>
        <p:nvCxnSpPr>
          <p:cNvPr id="11" name="10 Conector recto"/>
          <p:cNvCxnSpPr/>
          <p:nvPr/>
        </p:nvCxnSpPr>
        <p:spPr>
          <a:xfrm>
            <a:off x="2314819" y="3577201"/>
            <a:ext cx="784973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9054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62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3</a:t>
            </a:r>
            <a:endParaRPr lang="pt-BR" dirty="0"/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6638" name="AutoShape 14"/>
          <p:cNvSpPr>
            <a:spLocks noChangeArrowheads="1"/>
          </p:cNvSpPr>
          <p:nvPr/>
        </p:nvSpPr>
        <p:spPr bwMode="auto">
          <a:xfrm>
            <a:off x="402657" y="1312496"/>
            <a:ext cx="205611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6640" name="AutoShape 16"/>
          <p:cNvSpPr>
            <a:spLocks noChangeArrowheads="1"/>
          </p:cNvSpPr>
          <p:nvPr/>
        </p:nvSpPr>
        <p:spPr bwMode="auto">
          <a:xfrm>
            <a:off x="402657" y="3039635"/>
            <a:ext cx="205611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6642" name="AutoShape 18"/>
          <p:cNvSpPr>
            <a:spLocks noChangeArrowheads="1"/>
          </p:cNvSpPr>
          <p:nvPr/>
        </p:nvSpPr>
        <p:spPr bwMode="auto">
          <a:xfrm>
            <a:off x="402657" y="4766774"/>
            <a:ext cx="205611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6637" name="Rectangle 13"/>
          <p:cNvSpPr>
            <a:spLocks noChangeArrowheads="1"/>
          </p:cNvSpPr>
          <p:nvPr/>
        </p:nvSpPr>
        <p:spPr bwMode="auto">
          <a:xfrm>
            <a:off x="2717197" y="1312496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6639" name="Rectangle 15"/>
          <p:cNvSpPr>
            <a:spLocks noChangeArrowheads="1"/>
          </p:cNvSpPr>
          <p:nvPr/>
        </p:nvSpPr>
        <p:spPr bwMode="auto">
          <a:xfrm>
            <a:off x="2717197" y="3039635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6641" name="Rectangle 17"/>
          <p:cNvSpPr>
            <a:spLocks noChangeArrowheads="1"/>
          </p:cNvSpPr>
          <p:nvPr/>
        </p:nvSpPr>
        <p:spPr bwMode="auto">
          <a:xfrm>
            <a:off x="2628023" y="4769850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26" name="25 Conector recto"/>
          <p:cNvCxnSpPr/>
          <p:nvPr/>
        </p:nvCxnSpPr>
        <p:spPr>
          <a:xfrm>
            <a:off x="2368511" y="2847195"/>
            <a:ext cx="7920645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26 Conector recto"/>
          <p:cNvCxnSpPr/>
          <p:nvPr/>
        </p:nvCxnSpPr>
        <p:spPr>
          <a:xfrm>
            <a:off x="2368511" y="4555651"/>
            <a:ext cx="7920645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232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65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4</a:t>
            </a:r>
            <a:endParaRPr lang="pt-BR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7665" name="AutoShape 17"/>
          <p:cNvSpPr>
            <a:spLocks noChangeArrowheads="1"/>
          </p:cNvSpPr>
          <p:nvPr/>
        </p:nvSpPr>
        <p:spPr bwMode="auto">
          <a:xfrm>
            <a:off x="402657" y="1312496"/>
            <a:ext cx="205611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7667" name="AutoShape 19"/>
          <p:cNvSpPr>
            <a:spLocks noChangeArrowheads="1"/>
          </p:cNvSpPr>
          <p:nvPr/>
        </p:nvSpPr>
        <p:spPr bwMode="auto">
          <a:xfrm>
            <a:off x="402657" y="2546166"/>
            <a:ext cx="205611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7669" name="AutoShape 21"/>
          <p:cNvSpPr>
            <a:spLocks noChangeArrowheads="1"/>
          </p:cNvSpPr>
          <p:nvPr/>
        </p:nvSpPr>
        <p:spPr bwMode="auto">
          <a:xfrm>
            <a:off x="402657" y="3779837"/>
            <a:ext cx="205611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7671" name="AutoShape 23"/>
          <p:cNvSpPr>
            <a:spLocks noChangeArrowheads="1"/>
          </p:cNvSpPr>
          <p:nvPr/>
        </p:nvSpPr>
        <p:spPr bwMode="auto">
          <a:xfrm>
            <a:off x="402657" y="5013508"/>
            <a:ext cx="205611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7664" name="Rectangle 16"/>
          <p:cNvSpPr>
            <a:spLocks noChangeArrowheads="1"/>
          </p:cNvSpPr>
          <p:nvPr/>
        </p:nvSpPr>
        <p:spPr bwMode="auto">
          <a:xfrm>
            <a:off x="2716133" y="1312496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7666" name="Rectangle 18"/>
          <p:cNvSpPr>
            <a:spLocks noChangeArrowheads="1"/>
          </p:cNvSpPr>
          <p:nvPr/>
        </p:nvSpPr>
        <p:spPr bwMode="auto">
          <a:xfrm>
            <a:off x="2716133" y="2546166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7668" name="Rectangle 20"/>
          <p:cNvSpPr>
            <a:spLocks noChangeArrowheads="1"/>
          </p:cNvSpPr>
          <p:nvPr/>
        </p:nvSpPr>
        <p:spPr bwMode="auto">
          <a:xfrm>
            <a:off x="2716133" y="3779837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7670" name="Rectangle 22"/>
          <p:cNvSpPr>
            <a:spLocks noChangeArrowheads="1"/>
          </p:cNvSpPr>
          <p:nvPr/>
        </p:nvSpPr>
        <p:spPr bwMode="auto">
          <a:xfrm>
            <a:off x="2716133" y="5013508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14" name="13 Conector recto"/>
          <p:cNvCxnSpPr/>
          <p:nvPr/>
        </p:nvCxnSpPr>
        <p:spPr>
          <a:xfrm>
            <a:off x="2368512" y="2515965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2392684" y="3749313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>
            <a:off x="2392684" y="4986339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4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dirty="0" smtClean="0"/>
              <a:t>Composição/segmentação de 2 temas</a:t>
            </a:r>
            <a:endParaRPr lang="pt-BR" dirty="0"/>
          </a:p>
        </p:txBody>
      </p:sp>
      <p:sp>
        <p:nvSpPr>
          <p:cNvPr id="72" name="Espaço Reservado para Texto 7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en-US" sz="1133" dirty="0" err="1">
                <a:solidFill>
                  <a:prstClr val="black"/>
                </a:solidFill>
              </a:rPr>
              <a:t>Capítulo</a:t>
            </a:r>
            <a:r>
              <a:rPr lang="en-US" sz="1133" dirty="0">
                <a:solidFill>
                  <a:prstClr val="black"/>
                </a:solidFill>
              </a:rPr>
              <a:t> 1: Slides </a:t>
            </a:r>
            <a:r>
              <a:rPr lang="en-US" sz="1133" dirty="0" err="1">
                <a:solidFill>
                  <a:prstClr val="black"/>
                </a:solidFill>
              </a:rPr>
              <a:t>conceituais</a:t>
            </a:r>
            <a:r>
              <a:rPr lang="pt-BR" sz="1133" dirty="0">
                <a:solidFill>
                  <a:prstClr val="black"/>
                </a:solidFill>
              </a:rPr>
              <a:t> | </a:t>
            </a:r>
            <a:r>
              <a:rPr lang="pt-BR" sz="1133" i="1" dirty="0" err="1">
                <a:solidFill>
                  <a:prstClr val="black"/>
                </a:solidFill>
              </a:rPr>
              <a:t>Templates</a:t>
            </a:r>
            <a:r>
              <a:rPr lang="pt-BR" sz="1133" dirty="0">
                <a:solidFill>
                  <a:prstClr val="black"/>
                </a:solidFill>
              </a:rPr>
              <a:t> mais frequentes </a:t>
            </a:r>
            <a:endParaRPr lang="en-US" sz="1133" dirty="0">
              <a:solidFill>
                <a:prstClr val="black"/>
              </a:solidFill>
            </a:endParaRPr>
          </a:p>
        </p:txBody>
      </p:sp>
      <p:sp>
        <p:nvSpPr>
          <p:cNvPr id="39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778302"/>
            <a:ext cx="4882045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 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</a:t>
            </a:r>
            <a:r>
              <a:rPr lang="pt-BR" sz="863">
                <a:solidFill>
                  <a:sysClr val="windowText" lastClr="000000"/>
                </a:solidFill>
              </a:rPr>
              <a:t>: xxxxxxxx</a:t>
            </a:r>
            <a:endParaRPr lang="pt-BR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3" name="Grupo 43"/>
          <p:cNvGrpSpPr/>
          <p:nvPr/>
        </p:nvGrpSpPr>
        <p:grpSpPr>
          <a:xfrm>
            <a:off x="397517" y="1321191"/>
            <a:ext cx="4496044" cy="282481"/>
            <a:chOff x="368300" y="1151056"/>
            <a:chExt cx="4584699" cy="261720"/>
          </a:xfrm>
        </p:grpSpPr>
        <p:sp>
          <p:nvSpPr>
            <p:cNvPr id="49" name="8 Marcador de texto"/>
            <p:cNvSpPr txBox="1">
              <a:spLocks/>
            </p:cNvSpPr>
            <p:nvPr/>
          </p:nvSpPr>
          <p:spPr>
            <a:xfrm>
              <a:off x="368300" y="1151056"/>
              <a:ext cx="458004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rgbClr val="0E507A"/>
                  </a:solidFill>
                </a:rPr>
                <a:t>Xxxxxx</a:t>
              </a:r>
              <a:r>
                <a:rPr lang="pt-BR" sz="1511" b="1" dirty="0">
                  <a:solidFill>
                    <a:srgbClr val="0E507A"/>
                  </a:solidFill>
                </a:rPr>
                <a:t> </a:t>
              </a:r>
            </a:p>
          </p:txBody>
        </p:sp>
        <p:cxnSp>
          <p:nvCxnSpPr>
            <p:cNvPr id="50" name="24 Conector recto"/>
            <p:cNvCxnSpPr/>
            <p:nvPr/>
          </p:nvCxnSpPr>
          <p:spPr>
            <a:xfrm>
              <a:off x="368300" y="1412776"/>
              <a:ext cx="4584699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30 Rectángulo"/>
          <p:cNvSpPr/>
          <p:nvPr/>
        </p:nvSpPr>
        <p:spPr>
          <a:xfrm>
            <a:off x="-1" y="6069929"/>
            <a:ext cx="10691813" cy="6877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3135" rIns="233135" rtlCol="0" anchor="ctr"/>
          <a:lstStyle/>
          <a:p>
            <a:pPr algn="ctr"/>
            <a:r>
              <a:rPr lang="pt-BR" sz="1511">
                <a:solidFill>
                  <a:prstClr val="white"/>
                </a:solidFill>
              </a:rPr>
              <a:t>xxxxxxxx</a:t>
            </a:r>
            <a:endParaRPr lang="pt-BR" sz="1511" dirty="0">
              <a:solidFill>
                <a:prstClr val="white"/>
              </a:solidFill>
            </a:endParaRPr>
          </a:p>
        </p:txBody>
      </p:sp>
      <p:grpSp>
        <p:nvGrpSpPr>
          <p:cNvPr id="5" name="Grupo 56"/>
          <p:cNvGrpSpPr/>
          <p:nvPr/>
        </p:nvGrpSpPr>
        <p:grpSpPr>
          <a:xfrm>
            <a:off x="5796539" y="1321191"/>
            <a:ext cx="4496044" cy="282481"/>
            <a:chOff x="368300" y="1151056"/>
            <a:chExt cx="4584699" cy="261720"/>
          </a:xfrm>
        </p:grpSpPr>
        <p:sp>
          <p:nvSpPr>
            <p:cNvPr id="58" name="8 Marcador de texto"/>
            <p:cNvSpPr txBox="1">
              <a:spLocks/>
            </p:cNvSpPr>
            <p:nvPr/>
          </p:nvSpPr>
          <p:spPr>
            <a:xfrm>
              <a:off x="368300" y="1151056"/>
              <a:ext cx="458004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511" b="1" dirty="0" err="1">
                  <a:solidFill>
                    <a:srgbClr val="0E507A"/>
                  </a:solidFill>
                </a:rPr>
                <a:t>Xxxxx</a:t>
              </a:r>
              <a:r>
                <a:rPr lang="pt-BR" sz="1511" b="1" dirty="0">
                  <a:solidFill>
                    <a:srgbClr val="0E507A"/>
                  </a:solidFill>
                </a:rPr>
                <a:t> </a:t>
              </a:r>
            </a:p>
          </p:txBody>
        </p:sp>
        <p:cxnSp>
          <p:nvCxnSpPr>
            <p:cNvPr id="59" name="24 Conector recto"/>
            <p:cNvCxnSpPr/>
            <p:nvPr/>
          </p:nvCxnSpPr>
          <p:spPr>
            <a:xfrm>
              <a:off x="368300" y="1412776"/>
              <a:ext cx="4584699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8"/>
          <p:cNvSpPr/>
          <p:nvPr/>
        </p:nvSpPr>
        <p:spPr>
          <a:xfrm>
            <a:off x="397517" y="1749079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97517" y="3079349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97517" y="4409617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796540" y="1749079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796540" y="3079349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796540" y="4409617"/>
            <a:ext cx="853289" cy="12814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>
                <a:solidFill>
                  <a:schemeClr val="bg1"/>
                </a:solidFill>
              </a:rPr>
              <a:t>xxxxx</a:t>
            </a:r>
            <a:endParaRPr lang="en-US" sz="1295" dirty="0">
              <a:solidFill>
                <a:schemeClr val="bg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6760594" y="1749079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6760594" y="3079348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6760594" y="4409617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cxnSp>
        <p:nvCxnSpPr>
          <p:cNvPr id="25" name="Conector reto 24"/>
          <p:cNvCxnSpPr/>
          <p:nvPr/>
        </p:nvCxnSpPr>
        <p:spPr>
          <a:xfrm>
            <a:off x="6760516" y="3054948"/>
            <a:ext cx="353206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6760516" y="4385217"/>
            <a:ext cx="353206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56"/>
          <p:cNvSpPr/>
          <p:nvPr/>
        </p:nvSpPr>
        <p:spPr>
          <a:xfrm>
            <a:off x="1361572" y="1749079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sp>
        <p:nvSpPr>
          <p:cNvPr id="30" name="Rectangle 65"/>
          <p:cNvSpPr/>
          <p:nvPr/>
        </p:nvSpPr>
        <p:spPr>
          <a:xfrm>
            <a:off x="1361572" y="3079348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sp>
        <p:nvSpPr>
          <p:cNvPr id="31" name="Rectangle 66"/>
          <p:cNvSpPr/>
          <p:nvPr/>
        </p:nvSpPr>
        <p:spPr>
          <a:xfrm>
            <a:off x="1361572" y="4409617"/>
            <a:ext cx="3531989" cy="128146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x</a:t>
            </a:r>
            <a:endParaRPr lang="pt-BR" sz="1295" dirty="0">
              <a:solidFill>
                <a:schemeClr val="tx1"/>
              </a:solidFill>
            </a:endParaRPr>
          </a:p>
          <a:p>
            <a:pPr marL="185046" indent="-185046">
              <a:buFont typeface="Arial" panose="020B0604020202020204" pitchFamily="34" charset="0"/>
              <a:buChar char="•"/>
            </a:pPr>
            <a:r>
              <a:rPr lang="pt-BR" sz="1295" dirty="0" err="1">
                <a:solidFill>
                  <a:schemeClr val="tx1"/>
                </a:solidFill>
              </a:rPr>
              <a:t>Xxxxxx</a:t>
            </a:r>
            <a:endParaRPr lang="en-US" sz="1295" dirty="0">
              <a:solidFill>
                <a:schemeClr val="tx1"/>
              </a:solidFill>
            </a:endParaRPr>
          </a:p>
        </p:txBody>
      </p:sp>
      <p:cxnSp>
        <p:nvCxnSpPr>
          <p:cNvPr id="32" name="Conector reto 31"/>
          <p:cNvCxnSpPr/>
          <p:nvPr/>
        </p:nvCxnSpPr>
        <p:spPr>
          <a:xfrm>
            <a:off x="1361494" y="3054948"/>
            <a:ext cx="353206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/>
          <p:cNvCxnSpPr/>
          <p:nvPr/>
        </p:nvCxnSpPr>
        <p:spPr>
          <a:xfrm>
            <a:off x="1361494" y="4385217"/>
            <a:ext cx="353206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100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67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5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8692" name="AutoShape 20"/>
          <p:cNvSpPr>
            <a:spLocks noChangeArrowheads="1"/>
          </p:cNvSpPr>
          <p:nvPr/>
        </p:nvSpPr>
        <p:spPr bwMode="auto">
          <a:xfrm>
            <a:off x="402657" y="1312496"/>
            <a:ext cx="205611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8694" name="AutoShape 22"/>
          <p:cNvSpPr>
            <a:spLocks noChangeArrowheads="1"/>
          </p:cNvSpPr>
          <p:nvPr/>
        </p:nvSpPr>
        <p:spPr bwMode="auto">
          <a:xfrm>
            <a:off x="402657" y="2299432"/>
            <a:ext cx="205611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8696" name="AutoShape 24"/>
          <p:cNvSpPr>
            <a:spLocks noChangeArrowheads="1"/>
          </p:cNvSpPr>
          <p:nvPr/>
        </p:nvSpPr>
        <p:spPr bwMode="auto">
          <a:xfrm>
            <a:off x="402657" y="3286369"/>
            <a:ext cx="205611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8698" name="AutoShape 26"/>
          <p:cNvSpPr>
            <a:spLocks noChangeArrowheads="1"/>
          </p:cNvSpPr>
          <p:nvPr/>
        </p:nvSpPr>
        <p:spPr bwMode="auto">
          <a:xfrm>
            <a:off x="402657" y="4273305"/>
            <a:ext cx="205611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8700" name="AutoShape 28"/>
          <p:cNvSpPr>
            <a:spLocks noChangeArrowheads="1"/>
          </p:cNvSpPr>
          <p:nvPr/>
        </p:nvSpPr>
        <p:spPr bwMode="auto">
          <a:xfrm>
            <a:off x="402657" y="5260242"/>
            <a:ext cx="205611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8691" name="Rectangle 19"/>
          <p:cNvSpPr>
            <a:spLocks noChangeArrowheads="1"/>
          </p:cNvSpPr>
          <p:nvPr/>
        </p:nvSpPr>
        <p:spPr bwMode="auto">
          <a:xfrm>
            <a:off x="2715995" y="1312496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8693" name="Rectangle 21"/>
          <p:cNvSpPr>
            <a:spLocks noChangeArrowheads="1"/>
          </p:cNvSpPr>
          <p:nvPr/>
        </p:nvSpPr>
        <p:spPr bwMode="auto">
          <a:xfrm>
            <a:off x="2715995" y="2299432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8695" name="Rectangle 23"/>
          <p:cNvSpPr>
            <a:spLocks noChangeArrowheads="1"/>
          </p:cNvSpPr>
          <p:nvPr/>
        </p:nvSpPr>
        <p:spPr bwMode="auto">
          <a:xfrm>
            <a:off x="2715995" y="3286369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8697" name="Rectangle 25"/>
          <p:cNvSpPr>
            <a:spLocks noChangeArrowheads="1"/>
          </p:cNvSpPr>
          <p:nvPr/>
        </p:nvSpPr>
        <p:spPr bwMode="auto">
          <a:xfrm>
            <a:off x="2715995" y="4273305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68699" name="Rectangle 27"/>
          <p:cNvSpPr>
            <a:spLocks noChangeArrowheads="1"/>
          </p:cNvSpPr>
          <p:nvPr/>
        </p:nvSpPr>
        <p:spPr bwMode="auto">
          <a:xfrm>
            <a:off x="2715995" y="5260242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16" name="15 Conector recto"/>
          <p:cNvCxnSpPr/>
          <p:nvPr/>
        </p:nvCxnSpPr>
        <p:spPr>
          <a:xfrm>
            <a:off x="2392539" y="2255958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>
            <a:off x="2392539" y="322645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 Conector recto"/>
          <p:cNvCxnSpPr/>
          <p:nvPr/>
        </p:nvCxnSpPr>
        <p:spPr>
          <a:xfrm>
            <a:off x="2392539" y="4241071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"/>
          <p:cNvCxnSpPr/>
          <p:nvPr/>
        </p:nvCxnSpPr>
        <p:spPr>
          <a:xfrm>
            <a:off x="2392539" y="521191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587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69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6</a:t>
            </a:r>
            <a:endParaRPr lang="pt-BR" dirty="0"/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9719" name="AutoShape 23"/>
          <p:cNvSpPr>
            <a:spLocks noChangeArrowheads="1"/>
          </p:cNvSpPr>
          <p:nvPr/>
        </p:nvSpPr>
        <p:spPr bwMode="auto">
          <a:xfrm>
            <a:off x="402657" y="1312496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21" name="AutoShape 25"/>
          <p:cNvSpPr>
            <a:spLocks noChangeArrowheads="1"/>
          </p:cNvSpPr>
          <p:nvPr/>
        </p:nvSpPr>
        <p:spPr bwMode="auto">
          <a:xfrm>
            <a:off x="402657" y="2134943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23" name="AutoShape 27"/>
          <p:cNvSpPr>
            <a:spLocks noChangeArrowheads="1"/>
          </p:cNvSpPr>
          <p:nvPr/>
        </p:nvSpPr>
        <p:spPr bwMode="auto">
          <a:xfrm>
            <a:off x="402657" y="2957390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25" name="AutoShape 29"/>
          <p:cNvSpPr>
            <a:spLocks noChangeArrowheads="1"/>
          </p:cNvSpPr>
          <p:nvPr/>
        </p:nvSpPr>
        <p:spPr bwMode="auto">
          <a:xfrm>
            <a:off x="402657" y="3779837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27" name="AutoShape 31"/>
          <p:cNvSpPr>
            <a:spLocks noChangeArrowheads="1"/>
          </p:cNvSpPr>
          <p:nvPr/>
        </p:nvSpPr>
        <p:spPr bwMode="auto">
          <a:xfrm>
            <a:off x="402657" y="4602284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29" name="AutoShape 33"/>
          <p:cNvSpPr>
            <a:spLocks noChangeArrowheads="1"/>
          </p:cNvSpPr>
          <p:nvPr/>
        </p:nvSpPr>
        <p:spPr bwMode="auto">
          <a:xfrm>
            <a:off x="402657" y="5424731"/>
            <a:ext cx="205611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69718" name="Rectangle 22"/>
          <p:cNvSpPr>
            <a:spLocks noChangeArrowheads="1"/>
          </p:cNvSpPr>
          <p:nvPr/>
        </p:nvSpPr>
        <p:spPr bwMode="auto">
          <a:xfrm>
            <a:off x="2715995" y="1312496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669720" name="Rectangle 24"/>
          <p:cNvSpPr>
            <a:spLocks noChangeArrowheads="1"/>
          </p:cNvSpPr>
          <p:nvPr/>
        </p:nvSpPr>
        <p:spPr bwMode="auto">
          <a:xfrm>
            <a:off x="2715995" y="2134943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669722" name="Rectangle 26"/>
          <p:cNvSpPr>
            <a:spLocks noChangeArrowheads="1"/>
          </p:cNvSpPr>
          <p:nvPr/>
        </p:nvSpPr>
        <p:spPr bwMode="auto">
          <a:xfrm>
            <a:off x="2715995" y="2957390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669724" name="Rectangle 28"/>
          <p:cNvSpPr>
            <a:spLocks noChangeArrowheads="1"/>
          </p:cNvSpPr>
          <p:nvPr/>
        </p:nvSpPr>
        <p:spPr bwMode="auto">
          <a:xfrm>
            <a:off x="2715995" y="3779837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669726" name="Rectangle 30"/>
          <p:cNvSpPr>
            <a:spLocks noChangeArrowheads="1"/>
          </p:cNvSpPr>
          <p:nvPr/>
        </p:nvSpPr>
        <p:spPr bwMode="auto">
          <a:xfrm>
            <a:off x="2715995" y="4602284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669728" name="Rectangle 32"/>
          <p:cNvSpPr>
            <a:spLocks noChangeArrowheads="1"/>
          </p:cNvSpPr>
          <p:nvPr/>
        </p:nvSpPr>
        <p:spPr bwMode="auto">
          <a:xfrm>
            <a:off x="2715995" y="5424731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cxnSp>
        <p:nvCxnSpPr>
          <p:cNvPr id="18" name="17 Conector recto"/>
          <p:cNvCxnSpPr/>
          <p:nvPr/>
        </p:nvCxnSpPr>
        <p:spPr>
          <a:xfrm>
            <a:off x="2392539" y="209034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"/>
          <p:cNvCxnSpPr/>
          <p:nvPr/>
        </p:nvCxnSpPr>
        <p:spPr>
          <a:xfrm>
            <a:off x="2392539" y="292771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/>
        </p:nvCxnSpPr>
        <p:spPr>
          <a:xfrm>
            <a:off x="2392539" y="3741427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>
            <a:off x="2392539" y="4578799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"/>
          <p:cNvCxnSpPr/>
          <p:nvPr/>
        </p:nvCxnSpPr>
        <p:spPr>
          <a:xfrm>
            <a:off x="2392539" y="538120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813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72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7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70746" name="AutoShape 26"/>
          <p:cNvSpPr>
            <a:spLocks noChangeArrowheads="1"/>
          </p:cNvSpPr>
          <p:nvPr/>
        </p:nvSpPr>
        <p:spPr bwMode="auto">
          <a:xfrm>
            <a:off x="402657" y="1312496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48" name="AutoShape 28"/>
          <p:cNvSpPr>
            <a:spLocks noChangeArrowheads="1"/>
          </p:cNvSpPr>
          <p:nvPr/>
        </p:nvSpPr>
        <p:spPr bwMode="auto">
          <a:xfrm>
            <a:off x="402657" y="2016976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50" name="AutoShape 30"/>
          <p:cNvSpPr>
            <a:spLocks noChangeArrowheads="1"/>
          </p:cNvSpPr>
          <p:nvPr/>
        </p:nvSpPr>
        <p:spPr bwMode="auto">
          <a:xfrm>
            <a:off x="402657" y="2721456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52" name="AutoShape 32"/>
          <p:cNvSpPr>
            <a:spLocks noChangeArrowheads="1"/>
          </p:cNvSpPr>
          <p:nvPr/>
        </p:nvSpPr>
        <p:spPr bwMode="auto">
          <a:xfrm>
            <a:off x="402657" y="3425937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54" name="AutoShape 34"/>
          <p:cNvSpPr>
            <a:spLocks noChangeArrowheads="1"/>
          </p:cNvSpPr>
          <p:nvPr/>
        </p:nvSpPr>
        <p:spPr bwMode="auto">
          <a:xfrm>
            <a:off x="402657" y="4130417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56" name="AutoShape 36"/>
          <p:cNvSpPr>
            <a:spLocks noChangeArrowheads="1"/>
          </p:cNvSpPr>
          <p:nvPr/>
        </p:nvSpPr>
        <p:spPr bwMode="auto">
          <a:xfrm>
            <a:off x="402657" y="4834897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60" name="AutoShape 40"/>
          <p:cNvSpPr>
            <a:spLocks noChangeArrowheads="1"/>
          </p:cNvSpPr>
          <p:nvPr/>
        </p:nvSpPr>
        <p:spPr bwMode="auto">
          <a:xfrm>
            <a:off x="402657" y="5539377"/>
            <a:ext cx="2056118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0745" name="Rectangle 25"/>
          <p:cNvSpPr>
            <a:spLocks noChangeArrowheads="1"/>
          </p:cNvSpPr>
          <p:nvPr/>
        </p:nvSpPr>
        <p:spPr bwMode="auto">
          <a:xfrm>
            <a:off x="2715995" y="131249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47" name="Rectangle 27"/>
          <p:cNvSpPr>
            <a:spLocks noChangeArrowheads="1"/>
          </p:cNvSpPr>
          <p:nvPr/>
        </p:nvSpPr>
        <p:spPr bwMode="auto">
          <a:xfrm>
            <a:off x="2715995" y="201697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49" name="Rectangle 29"/>
          <p:cNvSpPr>
            <a:spLocks noChangeArrowheads="1"/>
          </p:cNvSpPr>
          <p:nvPr/>
        </p:nvSpPr>
        <p:spPr bwMode="auto">
          <a:xfrm>
            <a:off x="2715995" y="272145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51" name="Rectangle 31"/>
          <p:cNvSpPr>
            <a:spLocks noChangeArrowheads="1"/>
          </p:cNvSpPr>
          <p:nvPr/>
        </p:nvSpPr>
        <p:spPr bwMode="auto">
          <a:xfrm>
            <a:off x="2715995" y="342593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53" name="Rectangle 33"/>
          <p:cNvSpPr>
            <a:spLocks noChangeArrowheads="1"/>
          </p:cNvSpPr>
          <p:nvPr/>
        </p:nvSpPr>
        <p:spPr bwMode="auto">
          <a:xfrm>
            <a:off x="2715995" y="413041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55" name="Rectangle 35"/>
          <p:cNvSpPr>
            <a:spLocks noChangeArrowheads="1"/>
          </p:cNvSpPr>
          <p:nvPr/>
        </p:nvSpPr>
        <p:spPr bwMode="auto">
          <a:xfrm>
            <a:off x="2715995" y="483489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670759" name="Rectangle 39"/>
          <p:cNvSpPr>
            <a:spLocks noChangeArrowheads="1"/>
          </p:cNvSpPr>
          <p:nvPr/>
        </p:nvSpPr>
        <p:spPr bwMode="auto">
          <a:xfrm>
            <a:off x="2715995" y="553937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cxnSp>
        <p:nvCxnSpPr>
          <p:cNvPr id="20" name="19 Conector recto"/>
          <p:cNvCxnSpPr/>
          <p:nvPr/>
        </p:nvCxnSpPr>
        <p:spPr>
          <a:xfrm>
            <a:off x="2392539" y="1987447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>
            <a:off x="2392539" y="269025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"/>
          <p:cNvCxnSpPr/>
          <p:nvPr/>
        </p:nvCxnSpPr>
        <p:spPr>
          <a:xfrm>
            <a:off x="2392539" y="3389916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>
            <a:off x="2392539" y="409272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>
            <a:off x="2392539" y="479108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recto"/>
          <p:cNvCxnSpPr/>
          <p:nvPr/>
        </p:nvCxnSpPr>
        <p:spPr>
          <a:xfrm>
            <a:off x="2392539" y="549389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62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748" name="AutoShape 4"/>
          <p:cNvSpPr>
            <a:spLocks noChangeArrowheads="1"/>
          </p:cNvSpPr>
          <p:nvPr/>
        </p:nvSpPr>
        <p:spPr bwMode="auto">
          <a:xfrm>
            <a:off x="402657" y="1476985"/>
            <a:ext cx="1653461" cy="4493851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116567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71757" name="Rectangle 13"/>
          <p:cNvSpPr>
            <a:spLocks noChangeArrowheads="1"/>
          </p:cNvSpPr>
          <p:nvPr/>
        </p:nvSpPr>
        <p:spPr bwMode="auto">
          <a:xfrm>
            <a:off x="3043054" y="4235610"/>
            <a:ext cx="7155290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71755" name="Rectangle 11"/>
          <p:cNvSpPr>
            <a:spLocks noChangeArrowheads="1"/>
          </p:cNvSpPr>
          <p:nvPr/>
        </p:nvSpPr>
        <p:spPr bwMode="auto">
          <a:xfrm>
            <a:off x="3043054" y="2015003"/>
            <a:ext cx="7155290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671756" name="AutoShape 12"/>
          <p:cNvSpPr>
            <a:spLocks noChangeArrowheads="1"/>
          </p:cNvSpPr>
          <p:nvPr/>
        </p:nvSpPr>
        <p:spPr bwMode="auto">
          <a:xfrm>
            <a:off x="822447" y="2015003"/>
            <a:ext cx="205611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1758" name="AutoShape 14"/>
          <p:cNvSpPr>
            <a:spLocks noChangeArrowheads="1"/>
          </p:cNvSpPr>
          <p:nvPr/>
        </p:nvSpPr>
        <p:spPr bwMode="auto">
          <a:xfrm>
            <a:off x="822447" y="4235610"/>
            <a:ext cx="205611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174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2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cxnSp>
        <p:nvCxnSpPr>
          <p:cNvPr id="11" name="10 Conector recto"/>
          <p:cNvCxnSpPr/>
          <p:nvPr/>
        </p:nvCxnSpPr>
        <p:spPr>
          <a:xfrm>
            <a:off x="2625700" y="3790012"/>
            <a:ext cx="7771402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893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to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212713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15" imgW="325" imgH="325" progId="TCLayout.ActiveDocument.1">
                  <p:embed/>
                </p:oleObj>
              </mc:Choice>
              <mc:Fallback>
                <p:oleObj name="think-cell Slide" r:id="rId15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AutoShap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2656" y="1026284"/>
            <a:ext cx="1560936" cy="5211828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50513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72771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3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2" name="11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4" name="AutoShap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7736" y="1312496"/>
            <a:ext cx="193103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16" name="AutoShap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7736" y="3039635"/>
            <a:ext cx="193103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17" name="AutoShap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7736" y="4766774"/>
            <a:ext cx="1931038" cy="1315915"/>
          </a:xfrm>
          <a:prstGeom prst="homePlate">
            <a:avLst>
              <a:gd name="adj" fmla="val 1510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17197" y="1312496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717197" y="3039635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0" name="Rectangl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28023" y="4769850"/>
            <a:ext cx="7551875" cy="13159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21" name="25 Conector recto"/>
          <p:cNvCxnSpPr/>
          <p:nvPr>
            <p:custDataLst>
              <p:tags r:id="rId12"/>
            </p:custDataLst>
          </p:nvPr>
        </p:nvCxnSpPr>
        <p:spPr>
          <a:xfrm>
            <a:off x="2368511" y="2847195"/>
            <a:ext cx="7920645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6 Conector recto"/>
          <p:cNvCxnSpPr/>
          <p:nvPr>
            <p:custDataLst>
              <p:tags r:id="rId13"/>
            </p:custDataLst>
          </p:nvPr>
        </p:nvCxnSpPr>
        <p:spPr>
          <a:xfrm>
            <a:off x="2368511" y="4555651"/>
            <a:ext cx="7920645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126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1909072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18" imgW="325" imgH="325" progId="TCLayout.ActiveDocument.1">
                  <p:embed/>
                </p:oleObj>
              </mc:Choice>
              <mc:Fallback>
                <p:oleObj name="think-cell Slide" r:id="rId18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AutoShap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2656" y="1026284"/>
            <a:ext cx="1560936" cy="5211828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50513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73795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4</a:t>
            </a:r>
            <a:endParaRPr lang="pt-BR" dirty="0"/>
          </a:p>
        </p:txBody>
      </p:sp>
      <p:sp>
        <p:nvSpPr>
          <p:cNvPr id="31" name="Espaço Reservado para Texto 3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4" name="13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7736" y="1312496"/>
            <a:ext cx="193103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19" name="AutoShape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7736" y="2546166"/>
            <a:ext cx="193103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0" name="AutoShape 2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7736" y="3779837"/>
            <a:ext cx="193103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1" name="AutoShape 2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27736" y="5013508"/>
            <a:ext cx="1931038" cy="1151426"/>
          </a:xfrm>
          <a:prstGeom prst="homePlate">
            <a:avLst>
              <a:gd name="adj" fmla="val 172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2" name="Rectangl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716133" y="1312496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3" name="Rectangle 1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716133" y="2546166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4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16133" y="3779837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5" name="Rectangle 2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16133" y="5013508"/>
            <a:ext cx="7528829" cy="115142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26" name="13 Conector recto"/>
          <p:cNvCxnSpPr/>
          <p:nvPr>
            <p:custDataLst>
              <p:tags r:id="rId14"/>
            </p:custDataLst>
          </p:nvPr>
        </p:nvCxnSpPr>
        <p:spPr>
          <a:xfrm>
            <a:off x="2368512" y="2515965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14 Conector recto"/>
          <p:cNvCxnSpPr/>
          <p:nvPr>
            <p:custDataLst>
              <p:tags r:id="rId15"/>
            </p:custDataLst>
          </p:nvPr>
        </p:nvCxnSpPr>
        <p:spPr>
          <a:xfrm>
            <a:off x="2392684" y="3749313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15 Conector recto"/>
          <p:cNvCxnSpPr/>
          <p:nvPr>
            <p:custDataLst>
              <p:tags r:id="rId16"/>
            </p:custDataLst>
          </p:nvPr>
        </p:nvCxnSpPr>
        <p:spPr>
          <a:xfrm>
            <a:off x="2392684" y="4986339"/>
            <a:ext cx="7896473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01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to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203521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22" imgW="325" imgH="325" progId="TCLayout.ActiveDocument.1">
                  <p:embed/>
                </p:oleObj>
              </mc:Choice>
              <mc:Fallback>
                <p:oleObj name="think-cell Slide" r:id="rId22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tângulo 35"/>
          <p:cNvSpPr/>
          <p:nvPr>
            <p:custDataLst>
              <p:tags r:id="rId3"/>
            </p:custDataLst>
          </p:nvPr>
        </p:nvSpPr>
        <p:spPr>
          <a:xfrm>
            <a:off x="2287432" y="2299432"/>
            <a:ext cx="8001725" cy="90533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  <p:sp>
        <p:nvSpPr>
          <p:cNvPr id="674819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5</a:t>
            </a:r>
            <a:endParaRPr lang="pt-BR" dirty="0"/>
          </a:p>
        </p:txBody>
      </p:sp>
      <p:sp>
        <p:nvSpPr>
          <p:cNvPr id="38" name="Espaço Reservado para Texto 3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6" name="15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1" name="AutoShape 2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2656" y="1026284"/>
            <a:ext cx="1560936" cy="5211828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50513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22" name="AutoShape 2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7736" y="1312496"/>
            <a:ext cx="193103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3" name="AutoShape 2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7736" y="2299432"/>
            <a:ext cx="193103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4" name="AutoShape 2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27736" y="3286369"/>
            <a:ext cx="193103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5" name="AutoShape 2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27736" y="4273305"/>
            <a:ext cx="193103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6" name="AutoShape 2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27736" y="5260242"/>
            <a:ext cx="1931038" cy="904692"/>
          </a:xfrm>
          <a:prstGeom prst="homePlate">
            <a:avLst>
              <a:gd name="adj" fmla="val 2197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7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15995" y="1312496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8" name="Rectangle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15995" y="2299432"/>
            <a:ext cx="7528966" cy="904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29" name="Rectangle 2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715995" y="3286369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30" name="Rectangle 2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715995" y="4273305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sp>
        <p:nvSpPr>
          <p:cNvPr id="31" name="Rectangle 2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715995" y="5260242"/>
            <a:ext cx="7528966" cy="9046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xx</a:t>
            </a:r>
            <a:endParaRPr lang="pt-BR" sz="1295" dirty="0"/>
          </a:p>
        </p:txBody>
      </p:sp>
      <p:cxnSp>
        <p:nvCxnSpPr>
          <p:cNvPr id="32" name="15 Conector recto"/>
          <p:cNvCxnSpPr/>
          <p:nvPr>
            <p:custDataLst>
              <p:tags r:id="rId17"/>
            </p:custDataLst>
          </p:nvPr>
        </p:nvCxnSpPr>
        <p:spPr>
          <a:xfrm>
            <a:off x="2392539" y="2255958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16 Conector recto"/>
          <p:cNvCxnSpPr/>
          <p:nvPr>
            <p:custDataLst>
              <p:tags r:id="rId18"/>
            </p:custDataLst>
          </p:nvPr>
        </p:nvCxnSpPr>
        <p:spPr>
          <a:xfrm>
            <a:off x="2392539" y="322645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17 Conector recto"/>
          <p:cNvCxnSpPr/>
          <p:nvPr>
            <p:custDataLst>
              <p:tags r:id="rId19"/>
            </p:custDataLst>
          </p:nvPr>
        </p:nvCxnSpPr>
        <p:spPr>
          <a:xfrm>
            <a:off x="2392539" y="4241071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18 Conector recto"/>
          <p:cNvCxnSpPr/>
          <p:nvPr>
            <p:custDataLst>
              <p:tags r:id="rId20"/>
            </p:custDataLst>
          </p:nvPr>
        </p:nvCxnSpPr>
        <p:spPr>
          <a:xfrm>
            <a:off x="2392539" y="521191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01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to 4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9928394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24" imgW="325" imgH="325" progId="TCLayout.ActiveDocument.1">
                  <p:embed/>
                </p:oleObj>
              </mc:Choice>
              <mc:Fallback>
                <p:oleObj name="think-cell Slide" r:id="rId24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AutoShap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2656" y="1026284"/>
            <a:ext cx="1560936" cy="5211828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50513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75843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6</a:t>
            </a:r>
            <a:endParaRPr lang="pt-BR" dirty="0"/>
          </a:p>
        </p:txBody>
      </p:sp>
      <p:sp>
        <p:nvSpPr>
          <p:cNvPr id="43" name="Espaço Reservado para Texto 4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8" name="17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4" name="AutoShape 23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7736" y="1312496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5" name="AutoShape 2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7736" y="2134943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6" name="AutoShape 2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7736" y="2957390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7" name="AutoShape 2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27736" y="3779837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8" name="AutoShape 3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27736" y="4602284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9" name="AutoShape 3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27736" y="5424731"/>
            <a:ext cx="1931038" cy="740202"/>
          </a:xfrm>
          <a:prstGeom prst="homePlate">
            <a:avLst>
              <a:gd name="adj" fmla="val 26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0" name="Rectangle 2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15995" y="1312496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31" name="Rectangle 2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15995" y="2134943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32" name="Rectangle 2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715995" y="2957390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33" name="Rectangle 2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715995" y="3779837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34" name="Rectangle 3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715995" y="4602284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sp>
        <p:nvSpPr>
          <p:cNvPr id="35" name="Rectangle 3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715995" y="5424731"/>
            <a:ext cx="7528966" cy="7402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xxx</a:t>
            </a:r>
            <a:endParaRPr lang="pt-BR" sz="1133" dirty="0"/>
          </a:p>
        </p:txBody>
      </p:sp>
      <p:cxnSp>
        <p:nvCxnSpPr>
          <p:cNvPr id="36" name="17 Conector recto"/>
          <p:cNvCxnSpPr/>
          <p:nvPr>
            <p:custDataLst>
              <p:tags r:id="rId18"/>
            </p:custDataLst>
          </p:nvPr>
        </p:nvCxnSpPr>
        <p:spPr>
          <a:xfrm>
            <a:off x="2392539" y="209034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18 Conector recto"/>
          <p:cNvCxnSpPr/>
          <p:nvPr>
            <p:custDataLst>
              <p:tags r:id="rId19"/>
            </p:custDataLst>
          </p:nvPr>
        </p:nvCxnSpPr>
        <p:spPr>
          <a:xfrm>
            <a:off x="2392539" y="292771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19 Conector recto"/>
          <p:cNvCxnSpPr/>
          <p:nvPr>
            <p:custDataLst>
              <p:tags r:id="rId20"/>
            </p:custDataLst>
          </p:nvPr>
        </p:nvCxnSpPr>
        <p:spPr>
          <a:xfrm>
            <a:off x="2392539" y="3741427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20 Conector recto"/>
          <p:cNvCxnSpPr/>
          <p:nvPr>
            <p:custDataLst>
              <p:tags r:id="rId21"/>
            </p:custDataLst>
          </p:nvPr>
        </p:nvCxnSpPr>
        <p:spPr>
          <a:xfrm>
            <a:off x="2392539" y="4578799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21 Conector recto"/>
          <p:cNvCxnSpPr/>
          <p:nvPr>
            <p:custDataLst>
              <p:tags r:id="rId22"/>
            </p:custDataLst>
          </p:nvPr>
        </p:nvCxnSpPr>
        <p:spPr>
          <a:xfrm>
            <a:off x="2392539" y="538120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90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to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389746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27" imgW="325" imgH="325" progId="TCLayout.ActiveDocument.1">
                  <p:embed/>
                </p:oleObj>
              </mc:Choice>
              <mc:Fallback>
                <p:oleObj name="think-cell Slide" r:id="rId27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AutoShap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2656" y="1026284"/>
            <a:ext cx="1560936" cy="5211828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  <a:effectLst/>
        </p:spPr>
        <p:txBody>
          <a:bodyPr lIns="97139" tIns="50513" rIns="97139" anchor="t"/>
          <a:lstStyle/>
          <a:p>
            <a:pPr algn="ctr" defTabSz="105544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76867" name="Rectangle 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Bar 7</a:t>
            </a:r>
            <a:endParaRPr lang="pt-BR" dirty="0"/>
          </a:p>
        </p:txBody>
      </p:sp>
      <p:sp>
        <p:nvSpPr>
          <p:cNvPr id="49" name="Espaço Reservado para Texto 4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0" name="19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7" name="AutoShape 2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7738" y="1312496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8" name="AutoShape 2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7738" y="2016976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29" name="AutoShape 3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7738" y="2721456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0" name="AutoShape 3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27738" y="3425937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1" name="AutoShape 3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27738" y="4130417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2" name="AutoShape 3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27738" y="4834897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3" name="AutoShape 4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27738" y="5539377"/>
            <a:ext cx="1931037" cy="626205"/>
          </a:xfrm>
          <a:prstGeom prst="homePlate">
            <a:avLst>
              <a:gd name="adj" fmla="val 3020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4" name="Rectangle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715995" y="131249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35" name="Rectangle 2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715995" y="201697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36" name="Rectangle 29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715995" y="2721456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37" name="Rectangle 3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715995" y="342593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38" name="Rectangle 3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715995" y="413041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39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715995" y="483489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sp>
        <p:nvSpPr>
          <p:cNvPr id="40" name="Rectangle 3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715995" y="5539377"/>
            <a:ext cx="7528966" cy="6262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133"/>
              <a:t>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  <a:p>
            <a:pPr marL="620247" lvl="1" indent="-203894">
              <a:buFont typeface="Arial" pitchFamily="34" charset="0"/>
              <a:buChar char="•"/>
            </a:pPr>
            <a:r>
              <a:rPr lang="pt-BR" sz="1133"/>
              <a:t>xxxxxxxxx</a:t>
            </a:r>
            <a:endParaRPr lang="pt-BR" sz="1133" dirty="0"/>
          </a:p>
        </p:txBody>
      </p:sp>
      <p:cxnSp>
        <p:nvCxnSpPr>
          <p:cNvPr id="41" name="19 Conector recto"/>
          <p:cNvCxnSpPr/>
          <p:nvPr>
            <p:custDataLst>
              <p:tags r:id="rId20"/>
            </p:custDataLst>
          </p:nvPr>
        </p:nvCxnSpPr>
        <p:spPr>
          <a:xfrm>
            <a:off x="2392539" y="1987447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20 Conector recto"/>
          <p:cNvCxnSpPr/>
          <p:nvPr>
            <p:custDataLst>
              <p:tags r:id="rId21"/>
            </p:custDataLst>
          </p:nvPr>
        </p:nvCxnSpPr>
        <p:spPr>
          <a:xfrm>
            <a:off x="2392539" y="269025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21 Conector recto"/>
          <p:cNvCxnSpPr/>
          <p:nvPr>
            <p:custDataLst>
              <p:tags r:id="rId22"/>
            </p:custDataLst>
          </p:nvPr>
        </p:nvCxnSpPr>
        <p:spPr>
          <a:xfrm>
            <a:off x="2392539" y="3389916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22 Conector recto"/>
          <p:cNvCxnSpPr/>
          <p:nvPr>
            <p:custDataLst>
              <p:tags r:id="rId23"/>
            </p:custDataLst>
          </p:nvPr>
        </p:nvCxnSpPr>
        <p:spPr>
          <a:xfrm>
            <a:off x="2392539" y="4092725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23 Conector recto"/>
          <p:cNvCxnSpPr/>
          <p:nvPr>
            <p:custDataLst>
              <p:tags r:id="rId24"/>
            </p:custDataLst>
          </p:nvPr>
        </p:nvCxnSpPr>
        <p:spPr>
          <a:xfrm>
            <a:off x="2392539" y="4791084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24 Conector recto"/>
          <p:cNvCxnSpPr/>
          <p:nvPr>
            <p:custDataLst>
              <p:tags r:id="rId25"/>
            </p:custDataLst>
          </p:nvPr>
        </p:nvCxnSpPr>
        <p:spPr>
          <a:xfrm>
            <a:off x="2392539" y="5493893"/>
            <a:ext cx="7896617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419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898" name="AutoShape 10"/>
          <p:cNvSpPr>
            <a:spLocks noChangeArrowheads="1"/>
          </p:cNvSpPr>
          <p:nvPr/>
        </p:nvSpPr>
        <p:spPr bwMode="auto">
          <a:xfrm>
            <a:off x="666525" y="1394740"/>
            <a:ext cx="4588570" cy="986134"/>
          </a:xfrm>
          <a:prstGeom prst="homePlate">
            <a:avLst>
              <a:gd name="adj" fmla="val 1996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511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7899" name="AutoShape 11"/>
          <p:cNvSpPr>
            <a:spLocks noChangeArrowheads="1"/>
          </p:cNvSpPr>
          <p:nvPr/>
        </p:nvSpPr>
        <p:spPr bwMode="auto">
          <a:xfrm>
            <a:off x="5518963" y="1394740"/>
            <a:ext cx="4588570" cy="986134"/>
          </a:xfrm>
          <a:prstGeom prst="chevron">
            <a:avLst>
              <a:gd name="adj" fmla="val 1907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0"/>
          <a:lstStyle/>
          <a:p>
            <a:pPr algn="ctr" defTabSz="738471"/>
            <a:r>
              <a:rPr lang="pt-BR" sz="1511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7789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2</a:t>
            </a:r>
            <a:endParaRPr lang="pt-BR" dirty="0"/>
          </a:p>
        </p:txBody>
      </p:sp>
      <p:sp>
        <p:nvSpPr>
          <p:cNvPr id="10" name="Espaço Reservado para Texto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77900" name="Rectangle 12"/>
          <p:cNvSpPr>
            <a:spLocks noChangeArrowheads="1"/>
          </p:cNvSpPr>
          <p:nvPr/>
        </p:nvSpPr>
        <p:spPr bwMode="auto">
          <a:xfrm>
            <a:off x="666525" y="2546166"/>
            <a:ext cx="4358970" cy="35365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77901" name="Rectangle 13"/>
          <p:cNvSpPr>
            <a:spLocks noChangeArrowheads="1"/>
          </p:cNvSpPr>
          <p:nvPr/>
        </p:nvSpPr>
        <p:spPr bwMode="auto">
          <a:xfrm>
            <a:off x="5518963" y="2546166"/>
            <a:ext cx="4358970" cy="35365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9" name="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373417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escrição de 3 temas</a:t>
            </a:r>
            <a:endParaRPr lang="pt-BR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en-US" sz="1133" dirty="0" err="1">
                <a:solidFill>
                  <a:prstClr val="black"/>
                </a:solidFill>
              </a:rPr>
              <a:t>Capítulo</a:t>
            </a:r>
            <a:r>
              <a:rPr lang="en-US" sz="1133" dirty="0">
                <a:solidFill>
                  <a:prstClr val="black"/>
                </a:solidFill>
              </a:rPr>
              <a:t> 1: Slides </a:t>
            </a:r>
            <a:r>
              <a:rPr lang="en-US" sz="1133" dirty="0" err="1">
                <a:solidFill>
                  <a:prstClr val="black"/>
                </a:solidFill>
              </a:rPr>
              <a:t>conceituais</a:t>
            </a:r>
            <a:r>
              <a:rPr lang="pt-BR" sz="1133" dirty="0">
                <a:solidFill>
                  <a:prstClr val="black"/>
                </a:solidFill>
              </a:rPr>
              <a:t> | </a:t>
            </a:r>
            <a:r>
              <a:rPr lang="pt-BR" sz="1133" i="1" dirty="0" err="1">
                <a:solidFill>
                  <a:prstClr val="black"/>
                </a:solidFill>
              </a:rPr>
              <a:t>Templates</a:t>
            </a:r>
            <a:r>
              <a:rPr lang="pt-BR" sz="1133" dirty="0">
                <a:solidFill>
                  <a:prstClr val="black"/>
                </a:solidFill>
              </a:rPr>
              <a:t> mais frequentes </a:t>
            </a:r>
            <a:endParaRPr lang="en-US" sz="1133" dirty="0">
              <a:solidFill>
                <a:prstClr val="black"/>
              </a:solidFill>
            </a:endParaRPr>
          </a:p>
        </p:txBody>
      </p:sp>
      <p:grpSp>
        <p:nvGrpSpPr>
          <p:cNvPr id="20" name="Grupo 19"/>
          <p:cNvGrpSpPr/>
          <p:nvPr/>
        </p:nvGrpSpPr>
        <p:grpSpPr>
          <a:xfrm>
            <a:off x="402657" y="1321225"/>
            <a:ext cx="3019093" cy="2671702"/>
            <a:chOff x="344488" y="1300577"/>
            <a:chExt cx="2797200" cy="2475341"/>
          </a:xfrm>
        </p:grpSpPr>
        <p:sp>
          <p:nvSpPr>
            <p:cNvPr id="784388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3836361" y="1321225"/>
            <a:ext cx="3019093" cy="2671702"/>
            <a:chOff x="344488" y="1300577"/>
            <a:chExt cx="2797200" cy="2475341"/>
          </a:xfrm>
        </p:grpSpPr>
        <p:sp>
          <p:nvSpPr>
            <p:cNvPr id="24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5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26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7270063" y="1321225"/>
            <a:ext cx="3019093" cy="2671702"/>
            <a:chOff x="344488" y="1300577"/>
            <a:chExt cx="2797200" cy="2475341"/>
          </a:xfrm>
        </p:grpSpPr>
        <p:sp>
          <p:nvSpPr>
            <p:cNvPr id="28" name="Rectangle 4"/>
            <p:cNvSpPr>
              <a:spLocks noChangeArrowheads="1"/>
            </p:cNvSpPr>
            <p:nvPr/>
          </p:nvSpPr>
          <p:spPr bwMode="auto">
            <a:xfrm>
              <a:off x="344488" y="1700808"/>
              <a:ext cx="2797200" cy="2075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bg1"/>
              </a:outerShdw>
            </a:effectLst>
          </p:spPr>
          <p:txBody>
            <a:bodyPr wrap="square" lIns="0" tIns="0" rIns="0" bIns="0">
              <a:noAutofit/>
            </a:bodyPr>
            <a:lstStyle/>
            <a:p>
              <a:pPr marL="193613" indent="-193613" defTabSz="1082862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n-US" sz="1295"/>
                <a:t>Texto </a:t>
              </a:r>
              <a:endParaRPr lang="en-US" sz="1295" dirty="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auto">
            <a:xfrm>
              <a:off x="344488" y="1300577"/>
              <a:ext cx="2797200" cy="21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defTabSz="928657">
                <a:spcBef>
                  <a:spcPct val="30000"/>
                </a:spcBef>
              </a:pPr>
              <a:r>
                <a:rPr lang="en-US" sz="1511" b="1">
                  <a:solidFill>
                    <a:schemeClr val="accent1"/>
                  </a:solidFill>
                </a:rPr>
                <a:t>Texto</a:t>
              </a:r>
              <a:endParaRPr lang="en-US" sz="1511" b="1" dirty="0">
                <a:solidFill>
                  <a:schemeClr val="accent1"/>
                </a:solidFill>
              </a:endParaRPr>
            </a:p>
          </p:txBody>
        </p:sp>
        <p:sp>
          <p:nvSpPr>
            <p:cNvPr id="30" name="Line 8"/>
            <p:cNvSpPr>
              <a:spLocks noChangeShapeType="1"/>
            </p:cNvSpPr>
            <p:nvPr/>
          </p:nvSpPr>
          <p:spPr bwMode="blackWhite">
            <a:xfrm>
              <a:off x="344488" y="1556792"/>
              <a:ext cx="2797200" cy="0"/>
            </a:xfrm>
            <a:prstGeom prst="line">
              <a:avLst/>
            </a:prstGeom>
            <a:noFill/>
            <a:ln w="1905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ca-ES" sz="1511" b="1"/>
            </a:p>
          </p:txBody>
        </p:sp>
      </p:grpSp>
      <p:sp>
        <p:nvSpPr>
          <p:cNvPr id="18" name="30 Rectángulo"/>
          <p:cNvSpPr/>
          <p:nvPr/>
        </p:nvSpPr>
        <p:spPr>
          <a:xfrm>
            <a:off x="-1" y="6069929"/>
            <a:ext cx="10691813" cy="6877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3135" rIns="233135" rtlCol="0" anchor="ctr"/>
          <a:lstStyle/>
          <a:p>
            <a:pPr algn="ctr"/>
            <a:r>
              <a:rPr lang="pt-BR" sz="1511">
                <a:solidFill>
                  <a:prstClr val="white"/>
                </a:solidFill>
              </a:rPr>
              <a:t>xxxxxxxx</a:t>
            </a:r>
            <a:endParaRPr lang="pt-BR" sz="151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31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321" name="Rectangle 9"/>
          <p:cNvSpPr>
            <a:spLocks noChangeArrowheads="1"/>
          </p:cNvSpPr>
          <p:nvPr/>
        </p:nvSpPr>
        <p:spPr bwMode="auto">
          <a:xfrm>
            <a:off x="402657" y="1980322"/>
            <a:ext cx="2549586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53322" name="Rectangle 10"/>
          <p:cNvSpPr>
            <a:spLocks noChangeArrowheads="1"/>
          </p:cNvSpPr>
          <p:nvPr/>
        </p:nvSpPr>
        <p:spPr bwMode="auto">
          <a:xfrm>
            <a:off x="3295118" y="1980322"/>
            <a:ext cx="6994038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5331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1 Box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53323" name="AutoShape 11"/>
          <p:cNvSpPr>
            <a:spLocks noChangeArrowheads="1"/>
          </p:cNvSpPr>
          <p:nvPr/>
        </p:nvSpPr>
        <p:spPr bwMode="auto">
          <a:xfrm flipV="1">
            <a:off x="5568411" y="3434411"/>
            <a:ext cx="2186820" cy="17847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lIns="50513" tIns="43053" rIns="50513" bIns="43053" anchor="ctr" anchorCtr="1"/>
          <a:lstStyle/>
          <a:p>
            <a:pPr defTabSz="738471"/>
            <a:endParaRPr lang="pt-BR" sz="1511" b="1" dirty="0">
              <a:solidFill>
                <a:srgbClr val="000099"/>
              </a:solidFill>
            </a:endParaRPr>
          </a:p>
        </p:txBody>
      </p:sp>
      <p:sp>
        <p:nvSpPr>
          <p:cNvPr id="653325" name="Rectangle 13"/>
          <p:cNvSpPr>
            <a:spLocks noChangeArrowheads="1"/>
          </p:cNvSpPr>
          <p:nvPr/>
        </p:nvSpPr>
        <p:spPr bwMode="auto">
          <a:xfrm>
            <a:off x="402657" y="4365419"/>
            <a:ext cx="2549586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53326" name="Rectangle 14"/>
          <p:cNvSpPr>
            <a:spLocks noChangeArrowheads="1"/>
          </p:cNvSpPr>
          <p:nvPr/>
        </p:nvSpPr>
        <p:spPr bwMode="auto">
          <a:xfrm>
            <a:off x="3295118" y="4365419"/>
            <a:ext cx="6994038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12" name="1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1" name="AutoShape 11"/>
          <p:cNvSpPr>
            <a:spLocks noChangeArrowheads="1"/>
          </p:cNvSpPr>
          <p:nvPr/>
        </p:nvSpPr>
        <p:spPr bwMode="auto">
          <a:xfrm flipV="1">
            <a:off x="1081952" y="3434410"/>
            <a:ext cx="1388308" cy="178474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lIns="50513" tIns="43053" rIns="50513" bIns="43053" anchor="ctr" anchorCtr="1"/>
          <a:lstStyle/>
          <a:p>
            <a:pPr defTabSz="738471"/>
            <a:endParaRPr lang="pt-BR" sz="1511" b="1" dirty="0">
              <a:solidFill>
                <a:srgbClr val="000099"/>
              </a:solidFill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3295118" y="1522248"/>
            <a:ext cx="6994038" cy="300153"/>
            <a:chOff x="3052938" y="1556792"/>
            <a:chExt cx="6480000" cy="278093"/>
          </a:xfrm>
        </p:grpSpPr>
        <p:sp>
          <p:nvSpPr>
            <p:cNvPr id="18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2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o 18"/>
          <p:cNvGrpSpPr/>
          <p:nvPr/>
        </p:nvGrpSpPr>
        <p:grpSpPr>
          <a:xfrm>
            <a:off x="3295118" y="3931574"/>
            <a:ext cx="6994038" cy="300153"/>
            <a:chOff x="3052938" y="3789040"/>
            <a:chExt cx="6480000" cy="278093"/>
          </a:xfrm>
        </p:grpSpPr>
        <p:sp>
          <p:nvSpPr>
            <p:cNvPr id="24" name="8 Marcador de texto"/>
            <p:cNvSpPr txBox="1">
              <a:spLocks/>
            </p:cNvSpPr>
            <p:nvPr/>
          </p:nvSpPr>
          <p:spPr>
            <a:xfrm>
              <a:off x="3052938" y="3789040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3052938" y="4067133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71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to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2571514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6" imgW="325" imgH="325" progId="TCLayout.ActiveDocument.1">
                  <p:embed/>
                </p:oleObj>
              </mc:Choice>
              <mc:Fallback>
                <p:oleObj name="think-cell Slide" r:id="rId6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4339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smtClean="0"/>
              <a:t>2 Boxes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27" name="Espaço Reservado para Texto 2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7" name="16 Rectángulo"/>
          <p:cNvSpPr/>
          <p:nvPr>
            <p:custDataLst>
              <p:tags r:id="rId4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295118" y="1980322"/>
            <a:ext cx="3346965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24" name="Grupo 23"/>
          <p:cNvGrpSpPr/>
          <p:nvPr/>
        </p:nvGrpSpPr>
        <p:grpSpPr>
          <a:xfrm>
            <a:off x="3295118" y="1522248"/>
            <a:ext cx="3346965" cy="300153"/>
            <a:chOff x="3052938" y="1556792"/>
            <a:chExt cx="6480000" cy="278093"/>
          </a:xfrm>
        </p:grpSpPr>
        <p:sp>
          <p:nvSpPr>
            <p:cNvPr id="25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6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6942192" y="1980322"/>
            <a:ext cx="3346965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35" name="Grupo 34"/>
          <p:cNvGrpSpPr/>
          <p:nvPr/>
        </p:nvGrpSpPr>
        <p:grpSpPr>
          <a:xfrm>
            <a:off x="6942192" y="1522248"/>
            <a:ext cx="3346965" cy="300153"/>
            <a:chOff x="3052938" y="1556792"/>
            <a:chExt cx="6480000" cy="278093"/>
          </a:xfrm>
        </p:grpSpPr>
        <p:sp>
          <p:nvSpPr>
            <p:cNvPr id="38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41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tangle 10"/>
          <p:cNvSpPr>
            <a:spLocks noChangeArrowheads="1"/>
          </p:cNvSpPr>
          <p:nvPr/>
        </p:nvSpPr>
        <p:spPr bwMode="auto">
          <a:xfrm>
            <a:off x="3295118" y="4365419"/>
            <a:ext cx="3346965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44" name="Grupo 43"/>
          <p:cNvGrpSpPr/>
          <p:nvPr/>
        </p:nvGrpSpPr>
        <p:grpSpPr>
          <a:xfrm>
            <a:off x="3295118" y="3931574"/>
            <a:ext cx="3346965" cy="300153"/>
            <a:chOff x="3052938" y="1556792"/>
            <a:chExt cx="6480000" cy="278093"/>
          </a:xfrm>
        </p:grpSpPr>
        <p:sp>
          <p:nvSpPr>
            <p:cNvPr id="45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46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Rectangle 10"/>
          <p:cNvSpPr>
            <a:spLocks noChangeArrowheads="1"/>
          </p:cNvSpPr>
          <p:nvPr/>
        </p:nvSpPr>
        <p:spPr bwMode="auto">
          <a:xfrm>
            <a:off x="6942192" y="4365419"/>
            <a:ext cx="3346965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49" name="Grupo 48"/>
          <p:cNvGrpSpPr/>
          <p:nvPr/>
        </p:nvGrpSpPr>
        <p:grpSpPr>
          <a:xfrm>
            <a:off x="6942192" y="3931574"/>
            <a:ext cx="3346965" cy="300153"/>
            <a:chOff x="3052938" y="1556792"/>
            <a:chExt cx="6480000" cy="278093"/>
          </a:xfrm>
        </p:grpSpPr>
        <p:sp>
          <p:nvSpPr>
            <p:cNvPr id="50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51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6" name="Rectangle 9"/>
          <p:cNvSpPr>
            <a:spLocks noChangeArrowheads="1"/>
          </p:cNvSpPr>
          <p:nvPr/>
        </p:nvSpPr>
        <p:spPr bwMode="auto">
          <a:xfrm>
            <a:off x="402657" y="1980322"/>
            <a:ext cx="2549586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0" name="Rectangle 13"/>
          <p:cNvSpPr>
            <a:spLocks noChangeArrowheads="1"/>
          </p:cNvSpPr>
          <p:nvPr/>
        </p:nvSpPr>
        <p:spPr bwMode="auto">
          <a:xfrm>
            <a:off x="402657" y="4365419"/>
            <a:ext cx="2549586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</p:spTree>
    <p:extLst>
      <p:ext uri="{BB962C8B-B14F-4D97-AF65-F5344CB8AC3E}">
        <p14:creationId xmlns:p14="http://schemas.microsoft.com/office/powerpoint/2010/main" val="414196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63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3 Boxes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36" name="Espaço Reservado para Texto 3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2" name="2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59" name="Rectangle 9"/>
          <p:cNvSpPr>
            <a:spLocks noChangeArrowheads="1"/>
          </p:cNvSpPr>
          <p:nvPr/>
        </p:nvSpPr>
        <p:spPr bwMode="auto">
          <a:xfrm>
            <a:off x="402657" y="1980322"/>
            <a:ext cx="2074554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60" name="Rectangle 13"/>
          <p:cNvSpPr>
            <a:spLocks noChangeArrowheads="1"/>
          </p:cNvSpPr>
          <p:nvPr/>
        </p:nvSpPr>
        <p:spPr bwMode="auto">
          <a:xfrm>
            <a:off x="402657" y="4365419"/>
            <a:ext cx="2074554" cy="986937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/>
            <a:r>
              <a:rPr lang="pt-BR" sz="1295" dirty="0">
                <a:solidFill>
                  <a:schemeClr val="bg1"/>
                </a:solidFill>
              </a:rPr>
              <a:t>Título fila</a:t>
            </a:r>
          </a:p>
        </p:txBody>
      </p:sp>
      <p:sp>
        <p:nvSpPr>
          <p:cNvPr id="31" name="Rectangle 10"/>
          <p:cNvSpPr>
            <a:spLocks noChangeArrowheads="1"/>
          </p:cNvSpPr>
          <p:nvPr/>
        </p:nvSpPr>
        <p:spPr bwMode="auto">
          <a:xfrm>
            <a:off x="5442260" y="1980322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32" name="Grupo 31"/>
          <p:cNvGrpSpPr/>
          <p:nvPr/>
        </p:nvGrpSpPr>
        <p:grpSpPr>
          <a:xfrm>
            <a:off x="5442260" y="1522248"/>
            <a:ext cx="2227276" cy="300153"/>
            <a:chOff x="3052938" y="1556792"/>
            <a:chExt cx="6480000" cy="278093"/>
          </a:xfrm>
        </p:grpSpPr>
        <p:sp>
          <p:nvSpPr>
            <p:cNvPr id="33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4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Rectangle 10"/>
          <p:cNvSpPr>
            <a:spLocks noChangeArrowheads="1"/>
          </p:cNvSpPr>
          <p:nvPr/>
        </p:nvSpPr>
        <p:spPr bwMode="auto">
          <a:xfrm>
            <a:off x="5442260" y="4365419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42" name="Grupo 41"/>
          <p:cNvGrpSpPr/>
          <p:nvPr/>
        </p:nvGrpSpPr>
        <p:grpSpPr>
          <a:xfrm>
            <a:off x="5442260" y="3931574"/>
            <a:ext cx="2227276" cy="300153"/>
            <a:chOff x="3052938" y="1556792"/>
            <a:chExt cx="6480000" cy="278093"/>
          </a:xfrm>
        </p:grpSpPr>
        <p:sp>
          <p:nvSpPr>
            <p:cNvPr id="45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48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10"/>
          <p:cNvSpPr>
            <a:spLocks noChangeArrowheads="1"/>
          </p:cNvSpPr>
          <p:nvPr/>
        </p:nvSpPr>
        <p:spPr bwMode="auto">
          <a:xfrm>
            <a:off x="8061882" y="1980322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37" name="Grupo 36"/>
          <p:cNvGrpSpPr/>
          <p:nvPr/>
        </p:nvGrpSpPr>
        <p:grpSpPr>
          <a:xfrm>
            <a:off x="8061882" y="1522248"/>
            <a:ext cx="2227276" cy="300153"/>
            <a:chOff x="3052938" y="1556792"/>
            <a:chExt cx="6480000" cy="278093"/>
          </a:xfrm>
        </p:grpSpPr>
        <p:sp>
          <p:nvSpPr>
            <p:cNvPr id="38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40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tangle 10"/>
          <p:cNvSpPr>
            <a:spLocks noChangeArrowheads="1"/>
          </p:cNvSpPr>
          <p:nvPr/>
        </p:nvSpPr>
        <p:spPr bwMode="auto">
          <a:xfrm>
            <a:off x="8061882" y="4365419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54" name="Grupo 53"/>
          <p:cNvGrpSpPr/>
          <p:nvPr/>
        </p:nvGrpSpPr>
        <p:grpSpPr>
          <a:xfrm>
            <a:off x="8061882" y="3931574"/>
            <a:ext cx="2227276" cy="300153"/>
            <a:chOff x="3052938" y="1556792"/>
            <a:chExt cx="6480000" cy="278093"/>
          </a:xfrm>
        </p:grpSpPr>
        <p:sp>
          <p:nvSpPr>
            <p:cNvPr id="57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58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tangle 10"/>
          <p:cNvSpPr>
            <a:spLocks noChangeArrowheads="1"/>
          </p:cNvSpPr>
          <p:nvPr/>
        </p:nvSpPr>
        <p:spPr bwMode="auto">
          <a:xfrm>
            <a:off x="2822640" y="1980322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65" name="Grupo 64"/>
          <p:cNvGrpSpPr/>
          <p:nvPr/>
        </p:nvGrpSpPr>
        <p:grpSpPr>
          <a:xfrm>
            <a:off x="2822640" y="1522248"/>
            <a:ext cx="2227276" cy="300153"/>
            <a:chOff x="3052938" y="1556792"/>
            <a:chExt cx="6480000" cy="278093"/>
          </a:xfrm>
        </p:grpSpPr>
        <p:sp>
          <p:nvSpPr>
            <p:cNvPr id="70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71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2822640" y="4365419"/>
            <a:ext cx="2227276" cy="986937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0467" indent="-200467" defTabSz="738471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grpSp>
        <p:nvGrpSpPr>
          <p:cNvPr id="67" name="Grupo 66"/>
          <p:cNvGrpSpPr/>
          <p:nvPr/>
        </p:nvGrpSpPr>
        <p:grpSpPr>
          <a:xfrm>
            <a:off x="2822640" y="3931574"/>
            <a:ext cx="2227276" cy="300153"/>
            <a:chOff x="3052938" y="1556792"/>
            <a:chExt cx="6480000" cy="278093"/>
          </a:xfrm>
        </p:grpSpPr>
        <p:sp>
          <p:nvSpPr>
            <p:cNvPr id="68" name="8 Marcador de texto"/>
            <p:cNvSpPr txBox="1">
              <a:spLocks/>
            </p:cNvSpPr>
            <p:nvPr/>
          </p:nvSpPr>
          <p:spPr>
            <a:xfrm>
              <a:off x="3052938" y="1556792"/>
              <a:ext cx="6480000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69" name="21 Conector recto"/>
            <p:cNvCxnSpPr/>
            <p:nvPr/>
          </p:nvCxnSpPr>
          <p:spPr>
            <a:xfrm>
              <a:off x="3052938" y="1834885"/>
              <a:ext cx="6480000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8584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465" name="AutoShape 9"/>
          <p:cNvSpPr>
            <a:spLocks noChangeArrowheads="1"/>
          </p:cNvSpPr>
          <p:nvPr/>
        </p:nvSpPr>
        <p:spPr bwMode="auto">
          <a:xfrm rot="5400000">
            <a:off x="-765408" y="2735863"/>
            <a:ext cx="4227758" cy="1891628"/>
          </a:xfrm>
          <a:prstGeom prst="homePlate">
            <a:avLst>
              <a:gd name="adj" fmla="val 1358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5945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1</a:t>
            </a:r>
            <a:endParaRPr lang="pt-BR" dirty="0"/>
          </a:p>
        </p:txBody>
      </p:sp>
      <p:sp>
        <p:nvSpPr>
          <p:cNvPr id="13" name="Espaço Reservado para Texto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59462" name="Rectangle 6"/>
          <p:cNvSpPr>
            <a:spLocks noChangeArrowheads="1"/>
          </p:cNvSpPr>
          <p:nvPr/>
        </p:nvSpPr>
        <p:spPr bwMode="auto">
          <a:xfrm>
            <a:off x="2568435" y="3805276"/>
            <a:ext cx="762991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10" name="9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1" name="28 Grupo"/>
          <p:cNvGrpSpPr/>
          <p:nvPr/>
        </p:nvGrpSpPr>
        <p:grpSpPr>
          <a:xfrm>
            <a:off x="2547979" y="1137352"/>
            <a:ext cx="7772018" cy="300153"/>
            <a:chOff x="631582" y="1134683"/>
            <a:chExt cx="8856984" cy="278093"/>
          </a:xfrm>
        </p:grpSpPr>
        <p:sp>
          <p:nvSpPr>
            <p:cNvPr id="12" name="8 Marcador de texto"/>
            <p:cNvSpPr txBox="1">
              <a:spLocks/>
            </p:cNvSpPr>
            <p:nvPr/>
          </p:nvSpPr>
          <p:spPr>
            <a:xfrm>
              <a:off x="631582" y="1134683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5" name="30 Conector recto"/>
            <p:cNvCxnSpPr/>
            <p:nvPr/>
          </p:nvCxnSpPr>
          <p:spPr>
            <a:xfrm>
              <a:off x="63158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7047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487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2</a:t>
            </a:r>
            <a:endParaRPr lang="pt-BR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0496" name="AutoShape 16"/>
          <p:cNvSpPr>
            <a:spLocks noChangeArrowheads="1"/>
          </p:cNvSpPr>
          <p:nvPr/>
        </p:nvSpPr>
        <p:spPr bwMode="auto">
          <a:xfrm rot="5400000">
            <a:off x="216750" y="3941759"/>
            <a:ext cx="2263442" cy="1891628"/>
          </a:xfrm>
          <a:prstGeom prst="chevron">
            <a:avLst>
              <a:gd name="adj" fmla="val 1412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0492" name="AutoShape 12"/>
          <p:cNvSpPr>
            <a:spLocks noChangeArrowheads="1"/>
          </p:cNvSpPr>
          <p:nvPr/>
        </p:nvSpPr>
        <p:spPr bwMode="auto">
          <a:xfrm rot="5400000">
            <a:off x="181624" y="1788832"/>
            <a:ext cx="2333694" cy="1891628"/>
          </a:xfrm>
          <a:prstGeom prst="homePlate">
            <a:avLst>
              <a:gd name="adj" fmla="val 1446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0493" name="Rectangle 13"/>
          <p:cNvSpPr>
            <a:spLocks noChangeArrowheads="1"/>
          </p:cNvSpPr>
          <p:nvPr/>
        </p:nvSpPr>
        <p:spPr bwMode="auto">
          <a:xfrm>
            <a:off x="2568435" y="2666825"/>
            <a:ext cx="762991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0497" name="Rectangle 17"/>
          <p:cNvSpPr>
            <a:spLocks noChangeArrowheads="1"/>
          </p:cNvSpPr>
          <p:nvPr/>
        </p:nvSpPr>
        <p:spPr bwMode="auto">
          <a:xfrm>
            <a:off x="2568435" y="4853162"/>
            <a:ext cx="762991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0498" name="Line 18"/>
          <p:cNvSpPr>
            <a:spLocks noChangeShapeType="1"/>
          </p:cNvSpPr>
          <p:nvPr/>
        </p:nvSpPr>
        <p:spPr bwMode="blackWhite">
          <a:xfrm>
            <a:off x="2568435" y="3895617"/>
            <a:ext cx="7629910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13" name="12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4" name="28 Grupo"/>
          <p:cNvGrpSpPr/>
          <p:nvPr/>
        </p:nvGrpSpPr>
        <p:grpSpPr>
          <a:xfrm>
            <a:off x="2547979" y="1137352"/>
            <a:ext cx="7772018" cy="300153"/>
            <a:chOff x="631582" y="1134683"/>
            <a:chExt cx="8856984" cy="278093"/>
          </a:xfrm>
        </p:grpSpPr>
        <p:sp>
          <p:nvSpPr>
            <p:cNvPr id="15" name="8 Marcador de texto"/>
            <p:cNvSpPr txBox="1">
              <a:spLocks/>
            </p:cNvSpPr>
            <p:nvPr/>
          </p:nvSpPr>
          <p:spPr>
            <a:xfrm>
              <a:off x="631582" y="1134683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6" name="30 Conector recto"/>
            <p:cNvCxnSpPr/>
            <p:nvPr/>
          </p:nvCxnSpPr>
          <p:spPr>
            <a:xfrm>
              <a:off x="63158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6237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513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3</a:t>
            </a:r>
            <a:endParaRPr lang="pt-BR" dirty="0"/>
          </a:p>
        </p:txBody>
      </p:sp>
      <p:sp>
        <p:nvSpPr>
          <p:cNvPr id="20" name="Espaço Reservado para Texto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6" name="15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17" name="28 Grupo"/>
          <p:cNvGrpSpPr/>
          <p:nvPr/>
        </p:nvGrpSpPr>
        <p:grpSpPr>
          <a:xfrm>
            <a:off x="2547979" y="1137352"/>
            <a:ext cx="7772018" cy="300153"/>
            <a:chOff x="631582" y="1134683"/>
            <a:chExt cx="8856984" cy="278093"/>
          </a:xfrm>
        </p:grpSpPr>
        <p:sp>
          <p:nvSpPr>
            <p:cNvPr id="18" name="8 Marcador de texto"/>
            <p:cNvSpPr txBox="1">
              <a:spLocks/>
            </p:cNvSpPr>
            <p:nvPr/>
          </p:nvSpPr>
          <p:spPr>
            <a:xfrm>
              <a:off x="631582" y="1134683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19" name="30 Conector recto"/>
            <p:cNvCxnSpPr/>
            <p:nvPr/>
          </p:nvCxnSpPr>
          <p:spPr>
            <a:xfrm>
              <a:off x="63158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5"/>
          <p:cNvSpPr>
            <a:spLocks noChangeArrowheads="1"/>
          </p:cNvSpPr>
          <p:nvPr/>
        </p:nvSpPr>
        <p:spPr bwMode="auto">
          <a:xfrm>
            <a:off x="2518002" y="2071547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5" name="Rectangle 27"/>
          <p:cNvSpPr>
            <a:spLocks noChangeArrowheads="1"/>
          </p:cNvSpPr>
          <p:nvPr/>
        </p:nvSpPr>
        <p:spPr bwMode="auto">
          <a:xfrm>
            <a:off x="2518002" y="5018740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2518002" y="3493849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3" name="AutoShape 24"/>
          <p:cNvSpPr>
            <a:spLocks noChangeArrowheads="1"/>
          </p:cNvSpPr>
          <p:nvPr/>
        </p:nvSpPr>
        <p:spPr bwMode="auto">
          <a:xfrm rot="5400000">
            <a:off x="625085" y="1345371"/>
            <a:ext cx="1446774" cy="1891628"/>
          </a:xfrm>
          <a:prstGeom prst="homePlate">
            <a:avLst>
              <a:gd name="adj" fmla="val 1378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6" name="AutoShape 32"/>
          <p:cNvSpPr>
            <a:spLocks noChangeArrowheads="1"/>
          </p:cNvSpPr>
          <p:nvPr/>
        </p:nvSpPr>
        <p:spPr bwMode="auto">
          <a:xfrm rot="5400000">
            <a:off x="559874" y="2752534"/>
            <a:ext cx="1577196" cy="1891628"/>
          </a:xfrm>
          <a:prstGeom prst="chevron">
            <a:avLst>
              <a:gd name="adj" fmla="val 12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9" name="AutoShape 42"/>
          <p:cNvSpPr>
            <a:spLocks noChangeArrowheads="1"/>
          </p:cNvSpPr>
          <p:nvPr/>
        </p:nvSpPr>
        <p:spPr bwMode="auto">
          <a:xfrm rot="5400000">
            <a:off x="559874" y="4224911"/>
            <a:ext cx="1577196" cy="1891628"/>
          </a:xfrm>
          <a:prstGeom prst="chevron">
            <a:avLst>
              <a:gd name="adj" fmla="val 12852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1" name="Line 29"/>
          <p:cNvSpPr>
            <a:spLocks noChangeShapeType="1"/>
          </p:cNvSpPr>
          <p:nvPr/>
        </p:nvSpPr>
        <p:spPr bwMode="blackWhite">
          <a:xfrm>
            <a:off x="2518002" y="2832660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2" name="Line 31"/>
          <p:cNvSpPr>
            <a:spLocks noChangeShapeType="1"/>
          </p:cNvSpPr>
          <p:nvPr/>
        </p:nvSpPr>
        <p:spPr bwMode="blackWhite">
          <a:xfrm>
            <a:off x="2518002" y="4314846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244251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539" name="Rectangle 1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4</a:t>
            </a:r>
            <a:endParaRPr lang="pt-BR" dirty="0"/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9" name="18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0" name="28 Grupo"/>
          <p:cNvGrpSpPr/>
          <p:nvPr/>
        </p:nvGrpSpPr>
        <p:grpSpPr>
          <a:xfrm>
            <a:off x="2547979" y="1137352"/>
            <a:ext cx="7772018" cy="300153"/>
            <a:chOff x="631582" y="1134683"/>
            <a:chExt cx="8856984" cy="278093"/>
          </a:xfrm>
        </p:grpSpPr>
        <p:sp>
          <p:nvSpPr>
            <p:cNvPr id="21" name="8 Marcador de texto"/>
            <p:cNvSpPr txBox="1">
              <a:spLocks/>
            </p:cNvSpPr>
            <p:nvPr/>
          </p:nvSpPr>
          <p:spPr>
            <a:xfrm>
              <a:off x="631582" y="1134683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2" name="30 Conector recto"/>
            <p:cNvCxnSpPr/>
            <p:nvPr/>
          </p:nvCxnSpPr>
          <p:spPr>
            <a:xfrm>
              <a:off x="63158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AutoShape 24"/>
          <p:cNvSpPr>
            <a:spLocks noChangeArrowheads="1"/>
          </p:cNvSpPr>
          <p:nvPr/>
        </p:nvSpPr>
        <p:spPr bwMode="auto">
          <a:xfrm rot="5400000">
            <a:off x="767884" y="1202571"/>
            <a:ext cx="1161174" cy="1891628"/>
          </a:xfrm>
          <a:prstGeom prst="homePlate">
            <a:avLst>
              <a:gd name="adj" fmla="val 2083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7" name="Rectangle 25"/>
          <p:cNvSpPr>
            <a:spLocks noChangeArrowheads="1"/>
          </p:cNvSpPr>
          <p:nvPr/>
        </p:nvSpPr>
        <p:spPr bwMode="auto">
          <a:xfrm>
            <a:off x="2518002" y="1923375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518002" y="4035152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9" name="AutoShape 32"/>
          <p:cNvSpPr>
            <a:spLocks noChangeArrowheads="1"/>
          </p:cNvSpPr>
          <p:nvPr/>
        </p:nvSpPr>
        <p:spPr bwMode="auto">
          <a:xfrm rot="5400000">
            <a:off x="715546" y="2226205"/>
            <a:ext cx="1265850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0" name="Rectangle 33"/>
          <p:cNvSpPr>
            <a:spLocks noChangeArrowheads="1"/>
          </p:cNvSpPr>
          <p:nvPr/>
        </p:nvSpPr>
        <p:spPr bwMode="auto">
          <a:xfrm>
            <a:off x="2518002" y="2959180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1" name="Rectangle 35"/>
          <p:cNvSpPr>
            <a:spLocks noChangeArrowheads="1"/>
          </p:cNvSpPr>
          <p:nvPr/>
        </p:nvSpPr>
        <p:spPr bwMode="auto">
          <a:xfrm>
            <a:off x="2518002" y="5111126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3" name="AutoShape 42"/>
          <p:cNvSpPr>
            <a:spLocks noChangeArrowheads="1"/>
          </p:cNvSpPr>
          <p:nvPr/>
        </p:nvSpPr>
        <p:spPr bwMode="auto">
          <a:xfrm rot="5400000">
            <a:off x="715546" y="3302178"/>
            <a:ext cx="1265850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4" name="AutoShape 43"/>
          <p:cNvSpPr>
            <a:spLocks noChangeArrowheads="1"/>
          </p:cNvSpPr>
          <p:nvPr/>
        </p:nvSpPr>
        <p:spPr bwMode="auto">
          <a:xfrm rot="5400000">
            <a:off x="714329" y="4379367"/>
            <a:ext cx="1268284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6" name="Line 29"/>
          <p:cNvSpPr>
            <a:spLocks noChangeShapeType="1"/>
          </p:cNvSpPr>
          <p:nvPr/>
        </p:nvSpPr>
        <p:spPr bwMode="blackWhite">
          <a:xfrm>
            <a:off x="2518002" y="2522053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7" name="Line 31"/>
          <p:cNvSpPr>
            <a:spLocks noChangeShapeType="1"/>
          </p:cNvSpPr>
          <p:nvPr/>
        </p:nvSpPr>
        <p:spPr bwMode="blackWhite">
          <a:xfrm>
            <a:off x="2518002" y="3595590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8" name="Line 34"/>
          <p:cNvSpPr>
            <a:spLocks noChangeShapeType="1"/>
          </p:cNvSpPr>
          <p:nvPr/>
        </p:nvSpPr>
        <p:spPr bwMode="blackWhite">
          <a:xfrm>
            <a:off x="2518002" y="4671564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58672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Objeto 4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739445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22" imgW="325" imgH="325" progId="TCLayout.ActiveDocument.1">
                  <p:embed/>
                </p:oleObj>
              </mc:Choice>
              <mc:Fallback>
                <p:oleObj name="think-cell Slide" r:id="rId22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tângulo 45"/>
          <p:cNvSpPr/>
          <p:nvPr>
            <p:custDataLst>
              <p:tags r:id="rId3"/>
            </p:custDataLst>
          </p:nvPr>
        </p:nvSpPr>
        <p:spPr>
          <a:xfrm>
            <a:off x="2287432" y="2347948"/>
            <a:ext cx="8001725" cy="815054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  <p:sp>
        <p:nvSpPr>
          <p:cNvPr id="663565" name="Rectangle 13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5</a:t>
            </a:r>
            <a:endParaRPr lang="pt-BR" dirty="0"/>
          </a:p>
        </p:txBody>
      </p:sp>
      <p:sp>
        <p:nvSpPr>
          <p:cNvPr id="27" name="Espaço Reservado para Texto 2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2" name="21 Rectángulo"/>
          <p:cNvSpPr/>
          <p:nvPr>
            <p:custDataLst>
              <p:tags r:id="rId5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23" name="28 Grupo"/>
          <p:cNvGrpSpPr/>
          <p:nvPr>
            <p:custDataLst>
              <p:tags r:id="rId6"/>
            </p:custDataLst>
          </p:nvPr>
        </p:nvGrpSpPr>
        <p:grpSpPr>
          <a:xfrm>
            <a:off x="2547979" y="1137352"/>
            <a:ext cx="7772018" cy="300153"/>
            <a:chOff x="631582" y="1134683"/>
            <a:chExt cx="8856984" cy="278093"/>
          </a:xfrm>
        </p:grpSpPr>
        <p:sp>
          <p:nvSpPr>
            <p:cNvPr id="24" name="8 Marcador de texto"/>
            <p:cNvSpPr txBox="1">
              <a:spLocks/>
            </p:cNvSpPr>
            <p:nvPr/>
          </p:nvSpPr>
          <p:spPr>
            <a:xfrm>
              <a:off x="631582" y="1134683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5" name="30 Conector recto"/>
            <p:cNvCxnSpPr/>
            <p:nvPr/>
          </p:nvCxnSpPr>
          <p:spPr>
            <a:xfrm>
              <a:off x="63158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AutoShap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2140" y="1088314"/>
            <a:ext cx="932662" cy="1891628"/>
          </a:xfrm>
          <a:prstGeom prst="homePlate">
            <a:avLst>
              <a:gd name="adj" fmla="val 2083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9" name="Rectangle 2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518002" y="1833791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0" name="Rectangle 2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18002" y="3529983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1" name="AutoShape 3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400000">
            <a:off x="840103" y="1910503"/>
            <a:ext cx="1016738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2" name="Rectangle 3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18002" y="2665755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3" name="Rectangle 3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18002" y="4394211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4" name="Rectangle 4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518002" y="5258438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5" name="AutoShape 4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840103" y="2774730"/>
            <a:ext cx="1016738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6" name="AutoShape 43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5400000">
            <a:off x="839125" y="3639936"/>
            <a:ext cx="1018692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7" name="AutoShape 4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5400000">
            <a:off x="840103" y="4505139"/>
            <a:ext cx="1016738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40" name="Line 29"/>
          <p:cNvSpPr>
            <a:spLocks noChangeShapeType="1"/>
          </p:cNvSpPr>
          <p:nvPr>
            <p:custDataLst>
              <p:tags r:id="rId17"/>
            </p:custDataLst>
          </p:nvPr>
        </p:nvSpPr>
        <p:spPr bwMode="blackWhite">
          <a:xfrm>
            <a:off x="2518002" y="2314522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41" name="Line 31"/>
          <p:cNvSpPr>
            <a:spLocks noChangeShapeType="1"/>
          </p:cNvSpPr>
          <p:nvPr>
            <p:custDataLst>
              <p:tags r:id="rId18"/>
            </p:custDataLst>
          </p:nvPr>
        </p:nvSpPr>
        <p:spPr bwMode="blackWhite">
          <a:xfrm>
            <a:off x="2518002" y="3196532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42" name="Line 34"/>
          <p:cNvSpPr>
            <a:spLocks noChangeShapeType="1"/>
          </p:cNvSpPr>
          <p:nvPr>
            <p:custDataLst>
              <p:tags r:id="rId19"/>
            </p:custDataLst>
          </p:nvPr>
        </p:nvSpPr>
        <p:spPr bwMode="blackWhite">
          <a:xfrm>
            <a:off x="2518002" y="4060761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43" name="Line 36"/>
          <p:cNvSpPr>
            <a:spLocks noChangeShapeType="1"/>
          </p:cNvSpPr>
          <p:nvPr>
            <p:custDataLst>
              <p:tags r:id="rId20"/>
            </p:custDataLst>
          </p:nvPr>
        </p:nvSpPr>
        <p:spPr bwMode="blackWhite">
          <a:xfrm>
            <a:off x="2518002" y="4924988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72356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591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Vertical 6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64600" name="AutoShape 24"/>
          <p:cNvSpPr>
            <a:spLocks noChangeArrowheads="1"/>
          </p:cNvSpPr>
          <p:nvPr/>
        </p:nvSpPr>
        <p:spPr bwMode="auto">
          <a:xfrm rot="5400000">
            <a:off x="939817" y="1030637"/>
            <a:ext cx="817307" cy="1891628"/>
          </a:xfrm>
          <a:prstGeom prst="homePlate">
            <a:avLst>
              <a:gd name="adj" fmla="val 20838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01" name="Rectangle 25"/>
          <p:cNvSpPr>
            <a:spLocks noChangeArrowheads="1"/>
          </p:cNvSpPr>
          <p:nvPr/>
        </p:nvSpPr>
        <p:spPr bwMode="auto">
          <a:xfrm>
            <a:off x="2518002" y="1788568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4603" name="Rectangle 27"/>
          <p:cNvSpPr>
            <a:spLocks noChangeArrowheads="1"/>
          </p:cNvSpPr>
          <p:nvPr/>
        </p:nvSpPr>
        <p:spPr bwMode="auto">
          <a:xfrm>
            <a:off x="2518002" y="3274969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4608" name="AutoShape 32"/>
          <p:cNvSpPr>
            <a:spLocks noChangeArrowheads="1"/>
          </p:cNvSpPr>
          <p:nvPr/>
        </p:nvSpPr>
        <p:spPr bwMode="auto">
          <a:xfrm rot="5400000">
            <a:off x="902979" y="1751135"/>
            <a:ext cx="890984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09" name="Rectangle 33"/>
          <p:cNvSpPr>
            <a:spLocks noChangeArrowheads="1"/>
          </p:cNvSpPr>
          <p:nvPr/>
        </p:nvSpPr>
        <p:spPr bwMode="auto">
          <a:xfrm>
            <a:off x="2518002" y="2517633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4611" name="Rectangle 35"/>
          <p:cNvSpPr>
            <a:spLocks noChangeArrowheads="1"/>
          </p:cNvSpPr>
          <p:nvPr/>
        </p:nvSpPr>
        <p:spPr bwMode="auto">
          <a:xfrm>
            <a:off x="2518002" y="4032307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4616" name="Rectangle 40"/>
          <p:cNvSpPr>
            <a:spLocks noChangeArrowheads="1"/>
          </p:cNvSpPr>
          <p:nvPr/>
        </p:nvSpPr>
        <p:spPr bwMode="auto">
          <a:xfrm>
            <a:off x="2518002" y="4789644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64618" name="AutoShape 42"/>
          <p:cNvSpPr>
            <a:spLocks noChangeArrowheads="1"/>
          </p:cNvSpPr>
          <p:nvPr/>
        </p:nvSpPr>
        <p:spPr bwMode="auto">
          <a:xfrm rot="5400000">
            <a:off x="902979" y="2508472"/>
            <a:ext cx="890984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19" name="AutoShape 43"/>
          <p:cNvSpPr>
            <a:spLocks noChangeArrowheads="1"/>
          </p:cNvSpPr>
          <p:nvPr/>
        </p:nvSpPr>
        <p:spPr bwMode="auto">
          <a:xfrm rot="5400000">
            <a:off x="902122" y="3266666"/>
            <a:ext cx="892697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20" name="AutoShape 44"/>
          <p:cNvSpPr>
            <a:spLocks noChangeArrowheads="1"/>
          </p:cNvSpPr>
          <p:nvPr/>
        </p:nvSpPr>
        <p:spPr bwMode="auto">
          <a:xfrm rot="5400000">
            <a:off x="902979" y="4024858"/>
            <a:ext cx="890984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21" name="AutoShape 45"/>
          <p:cNvSpPr>
            <a:spLocks noChangeArrowheads="1"/>
          </p:cNvSpPr>
          <p:nvPr/>
        </p:nvSpPr>
        <p:spPr bwMode="auto">
          <a:xfrm rot="5400000">
            <a:off x="902979" y="4782195"/>
            <a:ext cx="890984" cy="1891628"/>
          </a:xfrm>
          <a:prstGeom prst="chevron">
            <a:avLst>
              <a:gd name="adj" fmla="val 19796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vert="vert270" lIns="50513" tIns="43053" rIns="50513" bIns="43053" anchor="ctr" anchorCtr="0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64622" name="Rectangle 46"/>
          <p:cNvSpPr>
            <a:spLocks noChangeArrowheads="1"/>
          </p:cNvSpPr>
          <p:nvPr/>
        </p:nvSpPr>
        <p:spPr bwMode="auto">
          <a:xfrm>
            <a:off x="2518002" y="5511854"/>
            <a:ext cx="777115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05607" indent="-205607" defTabSz="92865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25" name="2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664605" name="Line 29"/>
          <p:cNvSpPr>
            <a:spLocks noChangeShapeType="1"/>
          </p:cNvSpPr>
          <p:nvPr/>
        </p:nvSpPr>
        <p:spPr bwMode="blackWhite">
          <a:xfrm>
            <a:off x="2518002" y="2239463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64607" name="Line 31"/>
          <p:cNvSpPr>
            <a:spLocks noChangeShapeType="1"/>
          </p:cNvSpPr>
          <p:nvPr/>
        </p:nvSpPr>
        <p:spPr bwMode="blackWhite">
          <a:xfrm>
            <a:off x="2518002" y="2995085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64610" name="Line 34"/>
          <p:cNvSpPr>
            <a:spLocks noChangeShapeType="1"/>
          </p:cNvSpPr>
          <p:nvPr/>
        </p:nvSpPr>
        <p:spPr bwMode="blackWhite">
          <a:xfrm>
            <a:off x="2518002" y="3752423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64612" name="Line 36"/>
          <p:cNvSpPr>
            <a:spLocks noChangeShapeType="1"/>
          </p:cNvSpPr>
          <p:nvPr/>
        </p:nvSpPr>
        <p:spPr bwMode="blackWhite">
          <a:xfrm>
            <a:off x="2518002" y="4509760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664617" name="Line 41"/>
          <p:cNvSpPr>
            <a:spLocks noChangeShapeType="1"/>
          </p:cNvSpPr>
          <p:nvPr/>
        </p:nvSpPr>
        <p:spPr bwMode="blackWhite">
          <a:xfrm>
            <a:off x="2518002" y="5267096"/>
            <a:ext cx="7771154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dash"/>
            <a:round/>
            <a:headEnd/>
            <a:tailEnd/>
          </a:ln>
          <a:effectLst/>
        </p:spPr>
        <p:txBody>
          <a:bodyPr wrap="none" anchor="ctr"/>
          <a:lstStyle/>
          <a:p>
            <a:endParaRPr lang="pt-BR" sz="2159" dirty="0"/>
          </a:p>
        </p:txBody>
      </p:sp>
      <p:sp>
        <p:nvSpPr>
          <p:cNvPr id="30" name="8 Marcador de texto"/>
          <p:cNvSpPr txBox="1">
            <a:spLocks/>
          </p:cNvSpPr>
          <p:nvPr/>
        </p:nvSpPr>
        <p:spPr>
          <a:xfrm>
            <a:off x="2518002" y="1137351"/>
            <a:ext cx="7771154" cy="2824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511" b="1">
                <a:solidFill>
                  <a:schemeClr val="accent1"/>
                </a:solidFill>
              </a:rPr>
              <a:t>xxxxxx</a:t>
            </a:r>
            <a:endParaRPr lang="pt-BR" sz="1511" b="1" dirty="0">
              <a:solidFill>
                <a:schemeClr val="accent1"/>
              </a:solidFill>
            </a:endParaRPr>
          </a:p>
        </p:txBody>
      </p:sp>
      <p:cxnSp>
        <p:nvCxnSpPr>
          <p:cNvPr id="31" name="30 Conector recto"/>
          <p:cNvCxnSpPr/>
          <p:nvPr/>
        </p:nvCxnSpPr>
        <p:spPr>
          <a:xfrm>
            <a:off x="2518002" y="1437504"/>
            <a:ext cx="777115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987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750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2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27746" name="Rectangle 2"/>
          <p:cNvSpPr>
            <a:spLocks noChangeArrowheads="1"/>
          </p:cNvSpPr>
          <p:nvPr/>
        </p:nvSpPr>
        <p:spPr bwMode="auto">
          <a:xfrm>
            <a:off x="2549586" y="2079845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47" name="AutoShape 3"/>
          <p:cNvSpPr>
            <a:spLocks noChangeArrowheads="1"/>
          </p:cNvSpPr>
          <p:nvPr/>
        </p:nvSpPr>
        <p:spPr bwMode="auto">
          <a:xfrm>
            <a:off x="2549586" y="1370512"/>
            <a:ext cx="3701012" cy="627089"/>
          </a:xfrm>
          <a:prstGeom prst="homePlate">
            <a:avLst>
              <a:gd name="adj" fmla="val 12660"/>
            </a:avLst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927748" name="AutoShape 4"/>
          <p:cNvSpPr>
            <a:spLocks noChangeArrowheads="1"/>
          </p:cNvSpPr>
          <p:nvPr/>
        </p:nvSpPr>
        <p:spPr bwMode="auto">
          <a:xfrm>
            <a:off x="6332843" y="1370512"/>
            <a:ext cx="3701012" cy="627089"/>
          </a:xfrm>
          <a:prstGeom prst="chevron">
            <a:avLst>
              <a:gd name="adj" fmla="val 9936"/>
            </a:avLst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927749" name="Rectangle 5"/>
          <p:cNvSpPr>
            <a:spLocks noChangeArrowheads="1"/>
          </p:cNvSpPr>
          <p:nvPr/>
        </p:nvSpPr>
        <p:spPr bwMode="auto">
          <a:xfrm>
            <a:off x="6332843" y="2079845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54" name="Rectangle 10"/>
          <p:cNvSpPr>
            <a:spLocks noChangeArrowheads="1"/>
          </p:cNvSpPr>
          <p:nvPr/>
        </p:nvSpPr>
        <p:spPr bwMode="auto">
          <a:xfrm>
            <a:off x="657957" y="2079845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927755" name="Rectangle 11"/>
          <p:cNvSpPr>
            <a:spLocks noChangeArrowheads="1"/>
          </p:cNvSpPr>
          <p:nvPr/>
        </p:nvSpPr>
        <p:spPr bwMode="auto">
          <a:xfrm>
            <a:off x="2549586" y="3313516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56" name="Rectangle 12"/>
          <p:cNvSpPr>
            <a:spLocks noChangeArrowheads="1"/>
          </p:cNvSpPr>
          <p:nvPr/>
        </p:nvSpPr>
        <p:spPr bwMode="auto">
          <a:xfrm>
            <a:off x="6332843" y="3313516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58" name="Rectangle 14"/>
          <p:cNvSpPr>
            <a:spLocks noChangeArrowheads="1"/>
          </p:cNvSpPr>
          <p:nvPr/>
        </p:nvSpPr>
        <p:spPr bwMode="auto">
          <a:xfrm>
            <a:off x="657957" y="3313516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927759" name="Rectangle 15"/>
          <p:cNvSpPr>
            <a:spLocks noChangeArrowheads="1"/>
          </p:cNvSpPr>
          <p:nvPr/>
        </p:nvSpPr>
        <p:spPr bwMode="auto">
          <a:xfrm>
            <a:off x="2549586" y="4547187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60" name="Rectangle 16"/>
          <p:cNvSpPr>
            <a:spLocks noChangeArrowheads="1"/>
          </p:cNvSpPr>
          <p:nvPr/>
        </p:nvSpPr>
        <p:spPr bwMode="auto">
          <a:xfrm>
            <a:off x="6332843" y="4547187"/>
            <a:ext cx="3618767" cy="10691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35995" tIns="50513" rIns="135995" anchor="t"/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927762" name="Rectangle 18"/>
          <p:cNvSpPr>
            <a:spLocks noChangeArrowheads="1"/>
          </p:cNvSpPr>
          <p:nvPr/>
        </p:nvSpPr>
        <p:spPr bwMode="auto">
          <a:xfrm>
            <a:off x="657957" y="4547187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927763" name="Line 19"/>
          <p:cNvSpPr>
            <a:spLocks noChangeShapeType="1"/>
          </p:cNvSpPr>
          <p:nvPr/>
        </p:nvSpPr>
        <p:spPr bwMode="auto">
          <a:xfrm>
            <a:off x="2549586" y="3231271"/>
            <a:ext cx="7484269" cy="0"/>
          </a:xfrm>
          <a:prstGeom prst="line">
            <a:avLst/>
          </a:prstGeom>
          <a:noFill/>
          <a:ln w="9525">
            <a:solidFill>
              <a:schemeClr val="accent5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927764" name="Line 20"/>
          <p:cNvSpPr>
            <a:spLocks noChangeShapeType="1"/>
          </p:cNvSpPr>
          <p:nvPr/>
        </p:nvSpPr>
        <p:spPr bwMode="auto">
          <a:xfrm>
            <a:off x="2549586" y="4464942"/>
            <a:ext cx="7484269" cy="0"/>
          </a:xfrm>
          <a:prstGeom prst="line">
            <a:avLst/>
          </a:prstGeom>
          <a:noFill/>
          <a:ln w="9525">
            <a:solidFill>
              <a:schemeClr val="accent5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927765" name="Line 21"/>
          <p:cNvSpPr>
            <a:spLocks noChangeShapeType="1"/>
          </p:cNvSpPr>
          <p:nvPr/>
        </p:nvSpPr>
        <p:spPr bwMode="auto">
          <a:xfrm>
            <a:off x="2549586" y="5698613"/>
            <a:ext cx="7484269" cy="0"/>
          </a:xfrm>
          <a:prstGeom prst="line">
            <a:avLst/>
          </a:prstGeom>
          <a:noFill/>
          <a:ln w="1270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8" name="17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</p:spTree>
    <p:extLst>
      <p:ext uri="{BB962C8B-B14F-4D97-AF65-F5344CB8AC3E}">
        <p14:creationId xmlns:p14="http://schemas.microsoft.com/office/powerpoint/2010/main" val="181471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3"/>
          <p:cNvSpPr>
            <a:spLocks noGrp="1"/>
          </p:cNvSpPr>
          <p:nvPr>
            <p:ph type="title"/>
          </p:nvPr>
        </p:nvSpPr>
        <p:spPr>
          <a:xfrm>
            <a:off x="327024" y="349128"/>
            <a:ext cx="6948000" cy="615553"/>
          </a:xfrm>
        </p:spPr>
        <p:txBody>
          <a:bodyPr/>
          <a:lstStyle/>
          <a:p>
            <a:r>
              <a:rPr lang="pt-BR" dirty="0" smtClean="0"/>
              <a:t>Slide padrão de apresentação de 3 ou mais temas principais</a:t>
            </a:r>
            <a:endParaRPr lang="pt-BR" dirty="0"/>
          </a:p>
        </p:txBody>
      </p:sp>
      <p:sp>
        <p:nvSpPr>
          <p:cNvPr id="15" name="Espaço Reservado para Texto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1" indent="0"/>
            <a:r>
              <a:rPr lang="en-US" sz="1133" dirty="0" err="1">
                <a:solidFill>
                  <a:prstClr val="black"/>
                </a:solidFill>
              </a:rPr>
              <a:t>Capítulo</a:t>
            </a:r>
            <a:r>
              <a:rPr lang="en-US" sz="1133" dirty="0">
                <a:solidFill>
                  <a:prstClr val="black"/>
                </a:solidFill>
              </a:rPr>
              <a:t> 1: Slides </a:t>
            </a:r>
            <a:r>
              <a:rPr lang="en-US" sz="1133" dirty="0" err="1">
                <a:solidFill>
                  <a:prstClr val="black"/>
                </a:solidFill>
              </a:rPr>
              <a:t>conceituais</a:t>
            </a:r>
            <a:r>
              <a:rPr lang="pt-BR" sz="1133" dirty="0">
                <a:solidFill>
                  <a:prstClr val="black"/>
                </a:solidFill>
              </a:rPr>
              <a:t> | </a:t>
            </a:r>
            <a:r>
              <a:rPr lang="pt-BR" sz="1133" i="1" dirty="0" err="1">
                <a:solidFill>
                  <a:prstClr val="black"/>
                </a:solidFill>
              </a:rPr>
              <a:t>Templates</a:t>
            </a:r>
            <a:r>
              <a:rPr lang="pt-BR" sz="1133" dirty="0">
                <a:solidFill>
                  <a:prstClr val="black"/>
                </a:solidFill>
              </a:rPr>
              <a:t> mais frequentes </a:t>
            </a:r>
            <a:endParaRPr lang="en-US" sz="1133" dirty="0">
              <a:solidFill>
                <a:prstClr val="black"/>
              </a:solidFill>
            </a:endParaRPr>
          </a:p>
        </p:txBody>
      </p:sp>
      <p:sp>
        <p:nvSpPr>
          <p:cNvPr id="1095682" name="AutoShape 2"/>
          <p:cNvSpPr>
            <a:spLocks noChangeArrowheads="1"/>
          </p:cNvSpPr>
          <p:nvPr/>
        </p:nvSpPr>
        <p:spPr bwMode="auto">
          <a:xfrm>
            <a:off x="982636" y="1865955"/>
            <a:ext cx="1635487" cy="1137312"/>
          </a:xfrm>
          <a:prstGeom prst="homePlate">
            <a:avLst>
              <a:gd name="adj" fmla="val 23033"/>
            </a:avLst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095687" name="AutoShape 7"/>
          <p:cNvSpPr>
            <a:spLocks noChangeArrowheads="1"/>
          </p:cNvSpPr>
          <p:nvPr/>
        </p:nvSpPr>
        <p:spPr bwMode="auto">
          <a:xfrm>
            <a:off x="982636" y="3157289"/>
            <a:ext cx="1635487" cy="1137312"/>
          </a:xfrm>
          <a:prstGeom prst="homePlate">
            <a:avLst>
              <a:gd name="adj" fmla="val 23033"/>
            </a:avLst>
          </a:prstGeom>
          <a:solidFill>
            <a:schemeClr val="accent2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095688" name="AutoShape 8"/>
          <p:cNvSpPr>
            <a:spLocks noChangeArrowheads="1"/>
          </p:cNvSpPr>
          <p:nvPr/>
        </p:nvSpPr>
        <p:spPr bwMode="auto">
          <a:xfrm>
            <a:off x="982636" y="4448621"/>
            <a:ext cx="1635487" cy="1137312"/>
          </a:xfrm>
          <a:prstGeom prst="homePlate">
            <a:avLst>
              <a:gd name="adj" fmla="val 23033"/>
            </a:avLst>
          </a:prstGeom>
          <a:solidFill>
            <a:schemeClr val="accent3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295"/>
              <a:t>Xxx</a:t>
            </a:r>
            <a:endParaRPr lang="pt-BR" sz="1295" dirty="0"/>
          </a:p>
        </p:txBody>
      </p:sp>
      <p:grpSp>
        <p:nvGrpSpPr>
          <p:cNvPr id="3" name="Group 2"/>
          <p:cNvGrpSpPr/>
          <p:nvPr/>
        </p:nvGrpSpPr>
        <p:grpSpPr>
          <a:xfrm>
            <a:off x="982637" y="3080278"/>
            <a:ext cx="8781369" cy="1291334"/>
            <a:chOff x="542116" y="2780856"/>
            <a:chExt cx="8796337" cy="1196425"/>
          </a:xfrm>
        </p:grpSpPr>
        <p:sp>
          <p:nvSpPr>
            <p:cNvPr id="1095695" name="Line 15"/>
            <p:cNvSpPr>
              <a:spLocks noChangeShapeType="1"/>
            </p:cNvSpPr>
            <p:nvPr/>
          </p:nvSpPr>
          <p:spPr bwMode="auto">
            <a:xfrm>
              <a:off x="542116" y="3977281"/>
              <a:ext cx="8796337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pt-BR" sz="2159" dirty="0"/>
            </a:p>
          </p:txBody>
        </p:sp>
        <p:sp>
          <p:nvSpPr>
            <p:cNvPr id="1095696" name="Line 16"/>
            <p:cNvSpPr>
              <a:spLocks noChangeShapeType="1"/>
            </p:cNvSpPr>
            <p:nvPr/>
          </p:nvSpPr>
          <p:spPr bwMode="auto">
            <a:xfrm>
              <a:off x="542116" y="2780856"/>
              <a:ext cx="8796337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prstDash val="dash"/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pt-BR" sz="2159" dirty="0"/>
            </a:p>
          </p:txBody>
        </p:sp>
      </p:grpSp>
      <p:sp>
        <p:nvSpPr>
          <p:cNvPr id="24" name="18 Marcador de texto"/>
          <p:cNvSpPr txBox="1">
            <a:spLocks/>
          </p:cNvSpPr>
          <p:nvPr/>
        </p:nvSpPr>
        <p:spPr>
          <a:xfrm>
            <a:off x="2730336" y="3166133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Xxxxx</a:t>
            </a:r>
            <a:r>
              <a:rPr lang="pt-BR" sz="1295" dirty="0"/>
              <a:t> </a:t>
            </a:r>
          </a:p>
        </p:txBody>
      </p:sp>
      <p:sp>
        <p:nvSpPr>
          <p:cNvPr id="25" name="19 Marcador de texto"/>
          <p:cNvSpPr txBox="1">
            <a:spLocks/>
          </p:cNvSpPr>
          <p:nvPr/>
        </p:nvSpPr>
        <p:spPr>
          <a:xfrm>
            <a:off x="2730338" y="1874799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>
              <a:spcBef>
                <a:spcPct val="20000"/>
              </a:spcBef>
              <a:buFont typeface="Arial" pitchFamily="34" charset="0"/>
              <a:buChar char="•"/>
            </a:pPr>
            <a:r>
              <a:rPr lang="pt-BR" sz="1295" dirty="0" err="1"/>
              <a:t>Xxxxxx</a:t>
            </a:r>
            <a:r>
              <a:rPr lang="pt-BR" sz="1295" dirty="0"/>
              <a:t> </a:t>
            </a:r>
          </a:p>
        </p:txBody>
      </p:sp>
      <p:sp>
        <p:nvSpPr>
          <p:cNvPr id="26" name="20 Marcador de texto"/>
          <p:cNvSpPr txBox="1">
            <a:spLocks/>
          </p:cNvSpPr>
          <p:nvPr/>
        </p:nvSpPr>
        <p:spPr>
          <a:xfrm>
            <a:off x="2730336" y="4457465"/>
            <a:ext cx="7033669" cy="1128468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Xxxxx</a:t>
            </a:r>
            <a:r>
              <a:rPr lang="pt-BR" sz="1295" dirty="0"/>
              <a:t> 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-1" y="5960967"/>
            <a:ext cx="10691813" cy="677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>
                <a:solidFill>
                  <a:schemeClr val="bg1"/>
                </a:solidFill>
              </a:rPr>
              <a:t>xxxx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28" name="36 Rectángulo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1504" y="6662886"/>
            <a:ext cx="4882045" cy="346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246728" indent="-246728" defTabSz="738471">
              <a:lnSpc>
                <a:spcPts val="863"/>
              </a:lnSpc>
            </a:pPr>
            <a:r>
              <a:rPr lang="pt-BR" sz="863" baseline="30000" dirty="0">
                <a:solidFill>
                  <a:sysClr val="windowText" lastClr="000000"/>
                </a:solidFill>
              </a:rPr>
              <a:t>(1</a:t>
            </a:r>
            <a:r>
              <a:rPr lang="pt-BR" sz="863" baseline="30000">
                <a:solidFill>
                  <a:sysClr val="windowText" lastClr="000000"/>
                </a:solidFill>
              </a:rPr>
              <a:t>)</a:t>
            </a:r>
            <a:r>
              <a:rPr lang="pt-BR" sz="863">
                <a:solidFill>
                  <a:sysClr val="windowText" lastClr="000000"/>
                </a:solidFill>
              </a:rPr>
              <a:t> xx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Nota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  <a:p>
            <a:pPr marL="246728" indent="-246728" defTabSz="738471">
              <a:lnSpc>
                <a:spcPts val="863"/>
              </a:lnSpc>
            </a:pPr>
            <a:r>
              <a:rPr lang="pt-BR" sz="863" dirty="0">
                <a:solidFill>
                  <a:sysClr val="windowText" lastClr="000000"/>
                </a:solidFill>
              </a:rPr>
              <a:t>Fonte</a:t>
            </a:r>
            <a:r>
              <a:rPr lang="pt-BR" sz="863">
                <a:solidFill>
                  <a:sysClr val="windowText" lastClr="000000"/>
                </a:solidFill>
              </a:rPr>
              <a:t>: xxx</a:t>
            </a:r>
            <a:endParaRPr lang="pt-BR" sz="863" dirty="0">
              <a:solidFill>
                <a:sysClr val="windowText" lastClr="000000"/>
              </a:solidFill>
            </a:endParaRPr>
          </a:p>
        </p:txBody>
      </p:sp>
      <p:grpSp>
        <p:nvGrpSpPr>
          <p:cNvPr id="16" name="25 Grupo"/>
          <p:cNvGrpSpPr/>
          <p:nvPr/>
        </p:nvGrpSpPr>
        <p:grpSpPr>
          <a:xfrm>
            <a:off x="397516" y="1321191"/>
            <a:ext cx="9896780" cy="282481"/>
            <a:chOff x="559574" y="1151056"/>
            <a:chExt cx="8857922" cy="261720"/>
          </a:xfrm>
        </p:grpSpPr>
        <p:sp>
          <p:nvSpPr>
            <p:cNvPr id="17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</a:pPr>
              <a:r>
                <a:rPr lang="pt-BR" sz="1511" b="1" dirty="0" err="1">
                  <a:solidFill>
                    <a:srgbClr val="0E507A"/>
                  </a:solidFill>
                </a:rPr>
                <a:t>Xxxxxx</a:t>
              </a:r>
              <a:r>
                <a:rPr lang="pt-BR" sz="1511" b="1" dirty="0">
                  <a:solidFill>
                    <a:srgbClr val="0E507A"/>
                  </a:solidFill>
                </a:rPr>
                <a:t> </a:t>
              </a:r>
            </a:p>
          </p:txBody>
        </p:sp>
        <p:cxnSp>
          <p:nvCxnSpPr>
            <p:cNvPr id="18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31604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952" name="Rectangle 16"/>
          <p:cNvSpPr>
            <a:spLocks noChangeArrowheads="1"/>
          </p:cNvSpPr>
          <p:nvPr/>
        </p:nvSpPr>
        <p:spPr bwMode="auto">
          <a:xfrm>
            <a:off x="402657" y="2433081"/>
            <a:ext cx="320754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679949" name="AutoShape 13"/>
          <p:cNvSpPr>
            <a:spLocks noChangeArrowheads="1"/>
          </p:cNvSpPr>
          <p:nvPr/>
        </p:nvSpPr>
        <p:spPr bwMode="auto">
          <a:xfrm>
            <a:off x="402657" y="1394741"/>
            <a:ext cx="3255520" cy="908413"/>
          </a:xfrm>
          <a:prstGeom prst="homePlate">
            <a:avLst>
              <a:gd name="adj" fmla="val 20179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79950" name="AutoShape 14"/>
          <p:cNvSpPr>
            <a:spLocks noChangeArrowheads="1"/>
          </p:cNvSpPr>
          <p:nvPr/>
        </p:nvSpPr>
        <p:spPr bwMode="auto">
          <a:xfrm>
            <a:off x="3718147" y="1394741"/>
            <a:ext cx="3255520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79939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3</a:t>
            </a:r>
            <a:endParaRPr lang="pt-BR" dirty="0"/>
          </a:p>
        </p:txBody>
      </p:sp>
      <p:sp>
        <p:nvSpPr>
          <p:cNvPr id="12" name="Espaço Reservado para Texto 1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79953" name="Rectangle 17"/>
          <p:cNvSpPr>
            <a:spLocks noChangeArrowheads="1"/>
          </p:cNvSpPr>
          <p:nvPr/>
        </p:nvSpPr>
        <p:spPr bwMode="auto">
          <a:xfrm>
            <a:off x="3718147" y="2433081"/>
            <a:ext cx="320754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679954" name="Rectangle 18"/>
          <p:cNvSpPr>
            <a:spLocks noChangeArrowheads="1"/>
          </p:cNvSpPr>
          <p:nvPr/>
        </p:nvSpPr>
        <p:spPr bwMode="auto">
          <a:xfrm>
            <a:off x="7033636" y="2433081"/>
            <a:ext cx="320754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10" name="9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1" name="AutoShape 14"/>
          <p:cNvSpPr>
            <a:spLocks noChangeArrowheads="1"/>
          </p:cNvSpPr>
          <p:nvPr/>
        </p:nvSpPr>
        <p:spPr bwMode="auto">
          <a:xfrm>
            <a:off x="7033636" y="1394741"/>
            <a:ext cx="3255520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9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to 2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269533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11" imgW="325" imgH="325" progId="TCLayout.ActiveDocument.1">
                  <p:embed/>
                </p:oleObj>
              </mc:Choice>
              <mc:Fallback>
                <p:oleObj name="think-cell Slide" r:id="rId11" imgW="325" imgH="3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16"/>
          <p:cNvSpPr>
            <a:spLocks noChangeArrowheads="1"/>
          </p:cNvSpPr>
          <p:nvPr/>
        </p:nvSpPr>
        <p:spPr bwMode="auto">
          <a:xfrm>
            <a:off x="2374816" y="243308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24" name="AutoShape 13"/>
          <p:cNvSpPr>
            <a:spLocks noChangeArrowheads="1"/>
          </p:cNvSpPr>
          <p:nvPr/>
        </p:nvSpPr>
        <p:spPr bwMode="auto">
          <a:xfrm>
            <a:off x="2374816" y="1394741"/>
            <a:ext cx="2606108" cy="908413"/>
          </a:xfrm>
          <a:prstGeom prst="homePlate">
            <a:avLst>
              <a:gd name="adj" fmla="val 20179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5" name="AutoShape 14"/>
          <p:cNvSpPr>
            <a:spLocks noChangeArrowheads="1"/>
          </p:cNvSpPr>
          <p:nvPr/>
        </p:nvSpPr>
        <p:spPr bwMode="auto">
          <a:xfrm>
            <a:off x="5028933" y="1394741"/>
            <a:ext cx="2606108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auto">
          <a:xfrm>
            <a:off x="5028933" y="243308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27" name="Rectangle 18"/>
          <p:cNvSpPr>
            <a:spLocks noChangeArrowheads="1"/>
          </p:cNvSpPr>
          <p:nvPr/>
        </p:nvSpPr>
        <p:spPr bwMode="auto">
          <a:xfrm>
            <a:off x="7683048" y="243308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28" name="AutoShape 14"/>
          <p:cNvSpPr>
            <a:spLocks noChangeArrowheads="1"/>
          </p:cNvSpPr>
          <p:nvPr/>
        </p:nvSpPr>
        <p:spPr bwMode="auto">
          <a:xfrm>
            <a:off x="7683048" y="1394741"/>
            <a:ext cx="2606108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80963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3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29" name="Espaço Reservado para Texto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80984" name="Rectangle 2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02657" y="2433080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80988" name="Rectangle 2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02657" y="3666751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80992" name="Rectangle 3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02657" y="4900421"/>
            <a:ext cx="1727139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680993" name="Line 33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2374816" y="3584506"/>
            <a:ext cx="774985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680995" name="Line 35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>
            <a:off x="2374816" y="4818176"/>
            <a:ext cx="7749851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21 Rectángulo"/>
          <p:cNvSpPr/>
          <p:nvPr>
            <p:custDataLst>
              <p:tags r:id="rId9"/>
            </p:custDataLst>
          </p:nvPr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2374816" y="366675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3" name="Rectangle 17"/>
          <p:cNvSpPr>
            <a:spLocks noChangeArrowheads="1"/>
          </p:cNvSpPr>
          <p:nvPr/>
        </p:nvSpPr>
        <p:spPr bwMode="auto">
          <a:xfrm>
            <a:off x="5028933" y="366675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7683048" y="3666751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5" name="Rectangle 16"/>
          <p:cNvSpPr>
            <a:spLocks noChangeArrowheads="1"/>
          </p:cNvSpPr>
          <p:nvPr/>
        </p:nvSpPr>
        <p:spPr bwMode="auto">
          <a:xfrm>
            <a:off x="2374816" y="4900422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6" name="Rectangle 17"/>
          <p:cNvSpPr>
            <a:spLocks noChangeArrowheads="1"/>
          </p:cNvSpPr>
          <p:nvPr/>
        </p:nvSpPr>
        <p:spPr bwMode="auto">
          <a:xfrm>
            <a:off x="5028933" y="4900422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7683048" y="4900422"/>
            <a:ext cx="2567703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</p:spTree>
    <p:extLst>
      <p:ext uri="{BB962C8B-B14F-4D97-AF65-F5344CB8AC3E}">
        <p14:creationId xmlns:p14="http://schemas.microsoft.com/office/powerpoint/2010/main" val="248751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774" name="Rectangle 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4 </a:t>
            </a:r>
            <a:r>
              <a:rPr lang="pt-BR" dirty="0" err="1" smtClean="0"/>
              <a:t>Title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6" name="25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grpSp>
        <p:nvGrpSpPr>
          <p:cNvPr id="30" name="Grupo 29"/>
          <p:cNvGrpSpPr/>
          <p:nvPr/>
        </p:nvGrpSpPr>
        <p:grpSpPr>
          <a:xfrm>
            <a:off x="527737" y="1394740"/>
            <a:ext cx="9761420" cy="1221019"/>
            <a:chOff x="373063" y="1219200"/>
            <a:chExt cx="9159875" cy="1131278"/>
          </a:xfrm>
        </p:grpSpPr>
        <p:sp>
          <p:nvSpPr>
            <p:cNvPr id="31" name="Rectangle 16"/>
            <p:cNvSpPr>
              <a:spLocks noChangeArrowheads="1"/>
            </p:cNvSpPr>
            <p:nvPr/>
          </p:nvSpPr>
          <p:spPr bwMode="auto">
            <a:xfrm>
              <a:off x="373063" y="2181225"/>
              <a:ext cx="2225475" cy="1692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>
              <a:spAutoFit/>
            </a:bodyPr>
            <a:lstStyle/>
            <a:p>
              <a:pPr marL="200467" indent="-20046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1187"/>
                <a:t>Texto</a:t>
              </a:r>
              <a:endParaRPr lang="es-ES_tradnl" sz="1187" dirty="0"/>
            </a:p>
          </p:txBody>
        </p:sp>
        <p:sp>
          <p:nvSpPr>
            <p:cNvPr id="32" name="AutoShape 13"/>
            <p:cNvSpPr>
              <a:spLocks noChangeArrowheads="1"/>
            </p:cNvSpPr>
            <p:nvPr/>
          </p:nvSpPr>
          <p:spPr bwMode="auto">
            <a:xfrm>
              <a:off x="373063" y="1219200"/>
              <a:ext cx="2258762" cy="841648"/>
            </a:xfrm>
            <a:prstGeom prst="homePlate">
              <a:avLst>
                <a:gd name="adj" fmla="val 20179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513" tIns="43053" rIns="50513" bIns="43053" anchor="ctr" anchorCtr="1"/>
            <a:lstStyle/>
            <a:p>
              <a:pPr defTabSz="738471">
                <a:spcBef>
                  <a:spcPct val="30000"/>
                </a:spcBef>
              </a:pPr>
              <a:r>
                <a:rPr lang="es-ES_tradnl" sz="1295">
                  <a:solidFill>
                    <a:schemeClr val="bg1"/>
                  </a:solidFill>
                </a:rPr>
                <a:t>Texto</a:t>
              </a:r>
              <a:endParaRPr lang="es-ES_tradnl" sz="1295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14"/>
            <p:cNvSpPr>
              <a:spLocks noChangeArrowheads="1"/>
            </p:cNvSpPr>
            <p:nvPr/>
          </p:nvSpPr>
          <p:spPr bwMode="auto">
            <a:xfrm>
              <a:off x="2673435" y="1219200"/>
              <a:ext cx="2258762" cy="841648"/>
            </a:xfrm>
            <a:prstGeom prst="chevron">
              <a:avLst>
                <a:gd name="adj" fmla="val 20111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513" tIns="43053" rIns="50513" bIns="43053" anchor="ctr" anchorCtr="1"/>
            <a:lstStyle/>
            <a:p>
              <a:pPr defTabSz="738471">
                <a:spcBef>
                  <a:spcPct val="30000"/>
                </a:spcBef>
              </a:pPr>
              <a:r>
                <a:rPr lang="es-ES_tradnl" sz="1295">
                  <a:solidFill>
                    <a:schemeClr val="bg1"/>
                  </a:solidFill>
                </a:rPr>
                <a:t>Texto</a:t>
              </a:r>
              <a:endParaRPr lang="es-ES_tradnl" sz="1295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2673435" y="2181225"/>
              <a:ext cx="2225475" cy="1692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>
              <a:spAutoFit/>
            </a:bodyPr>
            <a:lstStyle/>
            <a:p>
              <a:pPr marL="200467" indent="-20046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1187"/>
                <a:t>Texto</a:t>
              </a:r>
              <a:endParaRPr lang="es-ES_tradnl" sz="1187" dirty="0"/>
            </a:p>
          </p:txBody>
        </p:sp>
        <p:sp>
          <p:nvSpPr>
            <p:cNvPr id="35" name="Rectangle 18"/>
            <p:cNvSpPr>
              <a:spLocks noChangeArrowheads="1"/>
            </p:cNvSpPr>
            <p:nvPr/>
          </p:nvSpPr>
          <p:spPr bwMode="auto">
            <a:xfrm>
              <a:off x="4973805" y="2181225"/>
              <a:ext cx="2225475" cy="1692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>
              <a:spAutoFit/>
            </a:bodyPr>
            <a:lstStyle/>
            <a:p>
              <a:pPr marL="200467" indent="-20046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1187"/>
                <a:t>Texto</a:t>
              </a:r>
              <a:endParaRPr lang="es-ES_tradnl" sz="1187" dirty="0"/>
            </a:p>
          </p:txBody>
        </p:sp>
        <p:sp>
          <p:nvSpPr>
            <p:cNvPr id="36" name="AutoShape 14"/>
            <p:cNvSpPr>
              <a:spLocks noChangeArrowheads="1"/>
            </p:cNvSpPr>
            <p:nvPr/>
          </p:nvSpPr>
          <p:spPr bwMode="auto">
            <a:xfrm>
              <a:off x="4973805" y="1219200"/>
              <a:ext cx="2258762" cy="841648"/>
            </a:xfrm>
            <a:prstGeom prst="chevron">
              <a:avLst>
                <a:gd name="adj" fmla="val 20111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513" tIns="43053" rIns="50513" bIns="43053" anchor="ctr" anchorCtr="1"/>
            <a:lstStyle/>
            <a:p>
              <a:pPr defTabSz="738471">
                <a:spcBef>
                  <a:spcPct val="30000"/>
                </a:spcBef>
              </a:pPr>
              <a:r>
                <a:rPr lang="es-ES_tradnl" sz="1295">
                  <a:solidFill>
                    <a:schemeClr val="bg1"/>
                  </a:solidFill>
                </a:rPr>
                <a:t>Texto</a:t>
              </a:r>
              <a:endParaRPr lang="es-ES_tradnl" sz="1295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 18"/>
            <p:cNvSpPr>
              <a:spLocks noChangeArrowheads="1"/>
            </p:cNvSpPr>
            <p:nvPr/>
          </p:nvSpPr>
          <p:spPr bwMode="auto">
            <a:xfrm>
              <a:off x="7274176" y="2181225"/>
              <a:ext cx="2225475" cy="16925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t">
              <a:spAutoFit/>
            </a:bodyPr>
            <a:lstStyle/>
            <a:p>
              <a:pPr marL="200467" indent="-20046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1187"/>
                <a:t>Texto</a:t>
              </a:r>
              <a:endParaRPr lang="es-ES_tradnl" sz="1187" dirty="0"/>
            </a:p>
          </p:txBody>
        </p:sp>
        <p:sp>
          <p:nvSpPr>
            <p:cNvPr id="38" name="AutoShape 14"/>
            <p:cNvSpPr>
              <a:spLocks noChangeArrowheads="1"/>
            </p:cNvSpPr>
            <p:nvPr/>
          </p:nvSpPr>
          <p:spPr bwMode="auto">
            <a:xfrm>
              <a:off x="7274176" y="1219200"/>
              <a:ext cx="2258762" cy="841648"/>
            </a:xfrm>
            <a:prstGeom prst="chevron">
              <a:avLst>
                <a:gd name="adj" fmla="val 20111"/>
              </a:avLst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50513" tIns="43053" rIns="50513" bIns="43053" anchor="ctr" anchorCtr="1"/>
            <a:lstStyle/>
            <a:p>
              <a:pPr defTabSz="738471">
                <a:spcBef>
                  <a:spcPct val="30000"/>
                </a:spcBef>
              </a:pPr>
              <a:r>
                <a:rPr lang="es-ES_tradnl" sz="1295">
                  <a:solidFill>
                    <a:schemeClr val="bg1"/>
                  </a:solidFill>
                </a:rPr>
                <a:t>Texto</a:t>
              </a:r>
              <a:endParaRPr lang="es-ES_tradnl" sz="1295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383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9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Flow</a:t>
            </a:r>
            <a:r>
              <a:rPr lang="pt-BR" dirty="0" smtClean="0"/>
              <a:t> Horizontal 4</a:t>
            </a:r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2" name="11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1788823" y="2433081"/>
            <a:ext cx="206523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14" name="AutoShape 13"/>
          <p:cNvSpPr>
            <a:spLocks noChangeArrowheads="1"/>
          </p:cNvSpPr>
          <p:nvPr/>
        </p:nvSpPr>
        <p:spPr bwMode="auto">
          <a:xfrm>
            <a:off x="1788823" y="1394741"/>
            <a:ext cx="2096124" cy="908413"/>
          </a:xfrm>
          <a:prstGeom prst="homePlate">
            <a:avLst>
              <a:gd name="adj" fmla="val 20179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5" name="AutoShape 14"/>
          <p:cNvSpPr>
            <a:spLocks noChangeArrowheads="1"/>
          </p:cNvSpPr>
          <p:nvPr/>
        </p:nvSpPr>
        <p:spPr bwMode="auto">
          <a:xfrm>
            <a:off x="3923561" y="1394741"/>
            <a:ext cx="2096124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3923561" y="2433081"/>
            <a:ext cx="206523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6058297" y="2433081"/>
            <a:ext cx="206523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18" name="AutoShape 14"/>
          <p:cNvSpPr>
            <a:spLocks noChangeArrowheads="1"/>
          </p:cNvSpPr>
          <p:nvPr/>
        </p:nvSpPr>
        <p:spPr bwMode="auto">
          <a:xfrm>
            <a:off x="6058297" y="1394741"/>
            <a:ext cx="2096124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22" name="Rectangle 18"/>
          <p:cNvSpPr>
            <a:spLocks noChangeArrowheads="1"/>
          </p:cNvSpPr>
          <p:nvPr/>
        </p:nvSpPr>
        <p:spPr bwMode="auto">
          <a:xfrm>
            <a:off x="8193033" y="2433081"/>
            <a:ext cx="2065234" cy="18267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>
            <a:spAutoFit/>
          </a:bodyPr>
          <a:lstStyle/>
          <a:p>
            <a:pPr marL="200467" indent="-200467">
              <a:spcBef>
                <a:spcPct val="30000"/>
              </a:spcBef>
              <a:buFont typeface="Arial" pitchFamily="34" charset="0"/>
              <a:buChar char="•"/>
            </a:pPr>
            <a:r>
              <a:rPr lang="pt-BR" sz="1187"/>
              <a:t>Texto</a:t>
            </a:r>
            <a:endParaRPr lang="pt-BR" sz="1187" dirty="0"/>
          </a:p>
        </p:txBody>
      </p:sp>
      <p:sp>
        <p:nvSpPr>
          <p:cNvPr id="23" name="AutoShape 14"/>
          <p:cNvSpPr>
            <a:spLocks noChangeArrowheads="1"/>
          </p:cNvSpPr>
          <p:nvPr/>
        </p:nvSpPr>
        <p:spPr bwMode="auto">
          <a:xfrm>
            <a:off x="8193033" y="1394741"/>
            <a:ext cx="2096124" cy="908413"/>
          </a:xfrm>
          <a:prstGeom prst="chevron">
            <a:avLst>
              <a:gd name="adj" fmla="val 20111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>
                <a:solidFill>
                  <a:schemeClr val="bg1"/>
                </a:solidFill>
              </a:rPr>
              <a:t>Texto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30" name="Rectangle 2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02657" y="2433080"/>
            <a:ext cx="1262798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1" name="Rectangle 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2657" y="3666751"/>
            <a:ext cx="1262798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2" name="Rectangle 3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02657" y="4900421"/>
            <a:ext cx="1262798" cy="106918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 anchorCtr="1"/>
          <a:lstStyle/>
          <a:p>
            <a:pPr defTabSz="738471">
              <a:spcBef>
                <a:spcPct val="30000"/>
              </a:spcBef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41" name="Line 33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829945" y="3584506"/>
            <a:ext cx="8294722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42" name="Line 33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829945" y="4818176"/>
            <a:ext cx="8294722" cy="0"/>
          </a:xfrm>
          <a:prstGeom prst="line">
            <a:avLst/>
          </a:prstGeom>
          <a:noFill/>
          <a:ln w="9525">
            <a:solidFill>
              <a:schemeClr val="tx2"/>
            </a:solidFill>
            <a:prstDash val="dash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235579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ablas: color contraste + grises</a:t>
            </a:r>
            <a:endParaRPr lang="pt-BR" dirty="0"/>
          </a:p>
        </p:txBody>
      </p:sp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7" name="6 Tabla"/>
          <p:cNvGraphicFramePr>
            <a:graphicFrameLocks noGrp="1"/>
          </p:cNvGraphicFramePr>
          <p:nvPr/>
        </p:nvGraphicFramePr>
        <p:xfrm>
          <a:off x="604975" y="1472315"/>
          <a:ext cx="9404145" cy="162844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880829"/>
                <a:gridCol w="1880829"/>
                <a:gridCol w="1880829"/>
                <a:gridCol w="1880829"/>
                <a:gridCol w="1880829"/>
              </a:tblGrid>
              <a:tr h="271408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Títul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Títul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Títul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Títul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</a:tr>
              <a:tr h="271408">
                <a:tc>
                  <a:txBody>
                    <a:bodyPr/>
                    <a:lstStyle/>
                    <a:p>
                      <a:r>
                        <a:rPr lang="es-ES" sz="1100" b="1" smtClean="0"/>
                        <a:t>Text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08">
                <a:tc>
                  <a:txBody>
                    <a:bodyPr/>
                    <a:lstStyle/>
                    <a:p>
                      <a:r>
                        <a:rPr lang="es-ES" sz="1100" b="1" smtClean="0"/>
                        <a:t>Text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08">
                <a:tc>
                  <a:txBody>
                    <a:bodyPr/>
                    <a:lstStyle/>
                    <a:p>
                      <a:r>
                        <a:rPr lang="es-ES" sz="1100" b="1" smtClean="0"/>
                        <a:t>Text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Número</a:t>
                      </a:r>
                      <a:endParaRPr lang="es-ES" sz="110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1408">
                <a:tc>
                  <a:txBody>
                    <a:bodyPr/>
                    <a:lstStyle/>
                    <a:p>
                      <a:r>
                        <a:rPr lang="es-ES" sz="1100" b="1" smtClean="0"/>
                        <a:t>Text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dirty="0" smtClean="0"/>
                        <a:t>Número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271408">
                <a:tc>
                  <a:txBody>
                    <a:bodyPr/>
                    <a:lstStyle/>
                    <a:p>
                      <a:r>
                        <a:rPr lang="es-ES" sz="1100" b="1" dirty="0" smtClean="0"/>
                        <a:t>Total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1" dirty="0" smtClean="0"/>
                        <a:t>Númer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1" dirty="0" smtClean="0"/>
                        <a:t>Númer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1" dirty="0" smtClean="0"/>
                        <a:t>Númer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b="1" dirty="0" smtClean="0"/>
                        <a:t>Número</a:t>
                      </a:r>
                      <a:endParaRPr lang="es-ES" sz="1100" b="1" dirty="0"/>
                    </a:p>
                  </a:txBody>
                  <a:tcPr marL="98694" marR="98694" marT="49347" marB="49347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8 Tabla"/>
          <p:cNvGraphicFramePr>
            <a:graphicFrameLocks noGrp="1"/>
          </p:cNvGraphicFramePr>
          <p:nvPr/>
        </p:nvGraphicFramePr>
        <p:xfrm>
          <a:off x="1693059" y="3784733"/>
          <a:ext cx="7127876" cy="292967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018268"/>
                <a:gridCol w="1018268"/>
                <a:gridCol w="1018268"/>
                <a:gridCol w="1018268"/>
                <a:gridCol w="1018268"/>
                <a:gridCol w="1018268"/>
                <a:gridCol w="1018268"/>
              </a:tblGrid>
              <a:tr h="263183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solidFill>
                      <a:schemeClr val="accent1"/>
                    </a:solidFill>
                  </a:tcPr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</a:tr>
              <a:tr h="263183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/>
                </a:tc>
              </a:tr>
            </a:tbl>
          </a:graphicData>
        </a:graphic>
      </p:graphicFrame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627604" y="1137351"/>
            <a:ext cx="5417784" cy="30842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50513" rIns="0" anchor="b" anchorCtr="0"/>
          <a:lstStyle/>
          <a:p>
            <a:pPr>
              <a:spcBef>
                <a:spcPct val="30000"/>
              </a:spcBef>
            </a:pPr>
            <a:r>
              <a:rPr lang="pt-BR" sz="1295" b="1" dirty="0" err="1">
                <a:solidFill>
                  <a:schemeClr val="accent1"/>
                </a:solidFill>
              </a:rPr>
              <a:t>En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a</a:t>
            </a:r>
            <a:r>
              <a:rPr lang="pt-BR" sz="1295" b="1" dirty="0">
                <a:solidFill>
                  <a:schemeClr val="accent1"/>
                </a:solidFill>
              </a:rPr>
              <a:t> medida de </a:t>
            </a:r>
            <a:r>
              <a:rPr lang="pt-BR" sz="1295" b="1" dirty="0" err="1">
                <a:solidFill>
                  <a:schemeClr val="accent1"/>
                </a:solidFill>
              </a:rPr>
              <a:t>la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egibilidad</a:t>
            </a:r>
            <a:r>
              <a:rPr lang="pt-BR" sz="1295" b="1" dirty="0">
                <a:solidFill>
                  <a:schemeClr val="accent1"/>
                </a:solidFill>
              </a:rPr>
              <a:t>, </a:t>
            </a:r>
            <a:r>
              <a:rPr lang="pt-BR" sz="1295" b="1" dirty="0" err="1">
                <a:solidFill>
                  <a:schemeClr val="accent1"/>
                </a:solidFill>
              </a:rPr>
              <a:t>sólo</a:t>
            </a:r>
            <a:r>
              <a:rPr lang="pt-BR" sz="1295" b="1" dirty="0">
                <a:solidFill>
                  <a:schemeClr val="accent1"/>
                </a:solidFill>
              </a:rPr>
              <a:t> líneas </a:t>
            </a:r>
            <a:r>
              <a:rPr lang="pt-BR" sz="1295" b="1" dirty="0" err="1">
                <a:solidFill>
                  <a:schemeClr val="accent1"/>
                </a:solidFill>
              </a:rPr>
              <a:t>horizontales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693057" y="3235796"/>
            <a:ext cx="6418592" cy="49058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50513" rIns="0" anchor="b" anchorCtr="0"/>
          <a:lstStyle/>
          <a:p>
            <a:pPr>
              <a:spcBef>
                <a:spcPct val="30000"/>
              </a:spcBef>
            </a:pPr>
            <a:r>
              <a:rPr lang="pt-BR" sz="1295" b="1" dirty="0">
                <a:solidFill>
                  <a:schemeClr val="accent1"/>
                </a:solidFill>
              </a:rPr>
              <a:t>Si </a:t>
            </a:r>
            <a:r>
              <a:rPr lang="pt-BR" sz="1295" b="1" dirty="0" err="1">
                <a:solidFill>
                  <a:schemeClr val="accent1"/>
                </a:solidFill>
              </a:rPr>
              <a:t>tenemos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muchos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datos</a:t>
            </a:r>
            <a:r>
              <a:rPr lang="pt-BR" sz="1295" b="1" dirty="0">
                <a:solidFill>
                  <a:schemeClr val="accent1"/>
                </a:solidFill>
              </a:rPr>
              <a:t>, este formato (por </a:t>
            </a:r>
            <a:r>
              <a:rPr lang="pt-BR" sz="1295" b="1" dirty="0" err="1">
                <a:solidFill>
                  <a:schemeClr val="accent1"/>
                </a:solidFill>
              </a:rPr>
              <a:t>defecto</a:t>
            </a:r>
            <a:r>
              <a:rPr lang="pt-BR" sz="1295" b="1" dirty="0">
                <a:solidFill>
                  <a:schemeClr val="accent1"/>
                </a:solidFill>
              </a:rPr>
              <a:t>: filas alternas y líneas </a:t>
            </a:r>
            <a:r>
              <a:rPr lang="pt-BR" sz="1295" b="1" dirty="0" err="1">
                <a:solidFill>
                  <a:schemeClr val="accent1"/>
                </a:solidFill>
              </a:rPr>
              <a:t>verticales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igeras</a:t>
            </a:r>
            <a:r>
              <a:rPr lang="pt-BR" sz="1295" b="1" dirty="0">
                <a:solidFill>
                  <a:schemeClr val="accent1"/>
                </a:solidFill>
              </a:rPr>
              <a:t>) permite una </a:t>
            </a:r>
            <a:r>
              <a:rPr lang="pt-BR" sz="1295" b="1" dirty="0" err="1">
                <a:solidFill>
                  <a:schemeClr val="accent1"/>
                </a:solidFill>
              </a:rPr>
              <a:t>mejor</a:t>
            </a:r>
            <a:r>
              <a:rPr lang="pt-BR" sz="1295" b="1" dirty="0">
                <a:solidFill>
                  <a:schemeClr val="accent1"/>
                </a:solidFill>
              </a:rPr>
              <a:t> </a:t>
            </a:r>
            <a:r>
              <a:rPr lang="pt-BR" sz="1295" b="1" dirty="0" err="1">
                <a:solidFill>
                  <a:schemeClr val="accent1"/>
                </a:solidFill>
              </a:rPr>
              <a:t>legibilidad</a:t>
            </a:r>
            <a:endParaRPr lang="pt-BR" sz="1295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86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Tablas</a:t>
            </a:r>
            <a:endParaRPr lang="pt-BR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9" name="8 Tabla"/>
          <p:cNvGraphicFramePr>
            <a:graphicFrameLocks noGrp="1"/>
          </p:cNvGraphicFramePr>
          <p:nvPr/>
        </p:nvGraphicFramePr>
        <p:xfrm>
          <a:off x="1120589" y="1567798"/>
          <a:ext cx="8272824" cy="4760701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181832"/>
                <a:gridCol w="1181832"/>
                <a:gridCol w="1181832"/>
                <a:gridCol w="1181832"/>
                <a:gridCol w="1181832"/>
                <a:gridCol w="1181832"/>
                <a:gridCol w="1181832"/>
              </a:tblGrid>
              <a:tr h="432791">
                <a:tc>
                  <a:txBody>
                    <a:bodyPr/>
                    <a:lstStyle/>
                    <a:p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2791"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ES" sz="1100" smtClean="0"/>
                        <a:t>xxx</a:t>
                      </a:r>
                      <a:endParaRPr lang="es-ES" sz="1100" dirty="0"/>
                    </a:p>
                  </a:txBody>
                  <a:tcPr marL="98694" marR="98694" marT="49347" marB="49347" anchor="ctr">
                    <a:lnL w="12700" cmpd="sng">
                      <a:noFill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382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Gráficos: </a:t>
            </a:r>
            <a:r>
              <a:rPr lang="pt-BR" dirty="0" err="1" smtClean="0"/>
              <a:t>mejor</a:t>
            </a:r>
            <a:r>
              <a:rPr lang="pt-BR" dirty="0" smtClean="0"/>
              <a:t> </a:t>
            </a:r>
            <a:r>
              <a:rPr lang="pt-BR" dirty="0" err="1" smtClean="0"/>
              <a:t>siempre</a:t>
            </a:r>
            <a:r>
              <a:rPr lang="pt-BR" dirty="0" smtClean="0"/>
              <a:t> insertar uno </a:t>
            </a:r>
            <a:r>
              <a:rPr lang="pt-BR" dirty="0" err="1" smtClean="0"/>
              <a:t>nuevo</a:t>
            </a:r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3 Llamada rectangular redondeada"/>
          <p:cNvSpPr/>
          <p:nvPr/>
        </p:nvSpPr>
        <p:spPr>
          <a:xfrm>
            <a:off x="4552400" y="2657493"/>
            <a:ext cx="1182456" cy="544041"/>
          </a:xfrm>
          <a:prstGeom prst="wedgeRoundRectCallout">
            <a:avLst>
              <a:gd name="adj1" fmla="val -36342"/>
              <a:gd name="adj2" fmla="val 100780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Arial 10 para todo </a:t>
            </a:r>
            <a:r>
              <a:rPr lang="pt-BR" sz="1079" dirty="0" err="1">
                <a:solidFill>
                  <a:schemeClr val="tx1"/>
                </a:solidFill>
              </a:rPr>
              <a:t>el</a:t>
            </a:r>
            <a:r>
              <a:rPr lang="pt-BR" sz="1079" dirty="0">
                <a:solidFill>
                  <a:schemeClr val="tx1"/>
                </a:solidFill>
              </a:rPr>
              <a:t> gráfico</a:t>
            </a:r>
          </a:p>
        </p:txBody>
      </p:sp>
      <p:sp>
        <p:nvSpPr>
          <p:cNvPr id="11" name="10 Rectángulo"/>
          <p:cNvSpPr/>
          <p:nvPr/>
        </p:nvSpPr>
        <p:spPr>
          <a:xfrm>
            <a:off x="-1" y="6547551"/>
            <a:ext cx="10691813" cy="4161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Por </a:t>
            </a:r>
            <a:r>
              <a:rPr lang="pt-BR" sz="1511" dirty="0" err="1">
                <a:solidFill>
                  <a:schemeClr val="bg1"/>
                </a:solidFill>
              </a:rPr>
              <a:t>defecto</a:t>
            </a:r>
            <a:r>
              <a:rPr lang="pt-BR" sz="1511" dirty="0">
                <a:solidFill>
                  <a:schemeClr val="bg1"/>
                </a:solidFill>
              </a:rPr>
              <a:t> </a:t>
            </a:r>
            <a:r>
              <a:rPr lang="pt-BR" sz="1511" dirty="0" err="1">
                <a:solidFill>
                  <a:schemeClr val="bg1"/>
                </a:solidFill>
              </a:rPr>
              <a:t>los</a:t>
            </a:r>
            <a:r>
              <a:rPr lang="pt-BR" sz="1511" dirty="0">
                <a:solidFill>
                  <a:schemeClr val="bg1"/>
                </a:solidFill>
              </a:rPr>
              <a:t> gráficos se </a:t>
            </a:r>
            <a:r>
              <a:rPr lang="pt-BR" sz="1511" dirty="0" err="1">
                <a:solidFill>
                  <a:schemeClr val="bg1"/>
                </a:solidFill>
              </a:rPr>
              <a:t>insertan</a:t>
            </a:r>
            <a:r>
              <a:rPr lang="pt-BR" sz="1511" dirty="0">
                <a:solidFill>
                  <a:schemeClr val="bg1"/>
                </a:solidFill>
              </a:rPr>
              <a:t> </a:t>
            </a:r>
            <a:r>
              <a:rPr lang="pt-BR" sz="1511" dirty="0" err="1">
                <a:solidFill>
                  <a:schemeClr val="bg1"/>
                </a:solidFill>
              </a:rPr>
              <a:t>en</a:t>
            </a:r>
            <a:r>
              <a:rPr lang="pt-BR" sz="1511" dirty="0">
                <a:solidFill>
                  <a:schemeClr val="bg1"/>
                </a:solidFill>
              </a:rPr>
              <a:t> una gama de azules seguidos de grises</a:t>
            </a:r>
          </a:p>
        </p:txBody>
      </p:sp>
      <p:sp>
        <p:nvSpPr>
          <p:cNvPr id="16" name="15 Llamada rectangular redondeada"/>
          <p:cNvSpPr/>
          <p:nvPr/>
        </p:nvSpPr>
        <p:spPr>
          <a:xfrm>
            <a:off x="7714950" y="2882006"/>
            <a:ext cx="932642" cy="456606"/>
          </a:xfrm>
          <a:prstGeom prst="wedgeRoundRectCallout">
            <a:avLst>
              <a:gd name="adj1" fmla="val 84068"/>
              <a:gd name="adj2" fmla="val 76554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Para cortar </a:t>
            </a:r>
            <a:r>
              <a:rPr lang="pt-BR" sz="1079" dirty="0" err="1">
                <a:solidFill>
                  <a:schemeClr val="tx1"/>
                </a:solidFill>
              </a:rPr>
              <a:t>la</a:t>
            </a:r>
            <a:r>
              <a:rPr lang="pt-BR" sz="1079" dirty="0">
                <a:solidFill>
                  <a:schemeClr val="tx1"/>
                </a:solidFill>
              </a:rPr>
              <a:t> escala</a:t>
            </a:r>
          </a:p>
        </p:txBody>
      </p:sp>
      <p:graphicFrame>
        <p:nvGraphicFramePr>
          <p:cNvPr id="17" name="16 Gráfico"/>
          <p:cNvGraphicFramePr/>
          <p:nvPr/>
        </p:nvGraphicFramePr>
        <p:xfrm>
          <a:off x="875575" y="2001296"/>
          <a:ext cx="8704659" cy="4267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2" name="Group 1"/>
          <p:cNvGrpSpPr>
            <a:grpSpLocks/>
          </p:cNvGrpSpPr>
          <p:nvPr/>
        </p:nvGrpSpPr>
        <p:grpSpPr bwMode="auto">
          <a:xfrm rot="20672080">
            <a:off x="8930948" y="3558069"/>
            <a:ext cx="490846" cy="78818"/>
            <a:chOff x="172" y="3838"/>
            <a:chExt cx="226" cy="46"/>
          </a:xfrm>
        </p:grpSpPr>
        <p:sp>
          <p:nvSpPr>
            <p:cNvPr id="13" name="Rectangle 2"/>
            <p:cNvSpPr>
              <a:spLocks noChangeArrowheads="1"/>
            </p:cNvSpPr>
            <p:nvPr/>
          </p:nvSpPr>
          <p:spPr bwMode="auto">
            <a:xfrm>
              <a:off x="172" y="3838"/>
              <a:ext cx="226" cy="4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" name="Line 3"/>
            <p:cNvSpPr>
              <a:spLocks noChangeShapeType="1"/>
            </p:cNvSpPr>
            <p:nvPr/>
          </p:nvSpPr>
          <p:spPr bwMode="auto">
            <a:xfrm>
              <a:off x="172" y="3838"/>
              <a:ext cx="226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" name="Line 4"/>
            <p:cNvSpPr>
              <a:spLocks noChangeShapeType="1"/>
            </p:cNvSpPr>
            <p:nvPr/>
          </p:nvSpPr>
          <p:spPr bwMode="auto">
            <a:xfrm>
              <a:off x="172" y="3884"/>
              <a:ext cx="226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sp>
        <p:nvSpPr>
          <p:cNvPr id="18" name="17 Llamada rectangular redondeada"/>
          <p:cNvSpPr/>
          <p:nvPr/>
        </p:nvSpPr>
        <p:spPr>
          <a:xfrm>
            <a:off x="2003939" y="3857557"/>
            <a:ext cx="1088081" cy="310881"/>
          </a:xfrm>
          <a:prstGeom prst="wedgeRoundRectCallout">
            <a:avLst>
              <a:gd name="adj1" fmla="val 19856"/>
              <a:gd name="adj2" fmla="val 204301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Borde </a:t>
            </a:r>
            <a:r>
              <a:rPr lang="pt-BR" sz="1079" dirty="0" err="1">
                <a:solidFill>
                  <a:schemeClr val="tx1"/>
                </a:solidFill>
              </a:rPr>
              <a:t>blanco</a:t>
            </a:r>
            <a:endParaRPr lang="pt-BR" sz="1079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698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4" name="3 Gráfico"/>
          <p:cNvGraphicFramePr/>
          <p:nvPr/>
        </p:nvGraphicFramePr>
        <p:xfrm>
          <a:off x="371815" y="1691735"/>
          <a:ext cx="4663210" cy="47519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4 Llamada rectangular redondeada"/>
          <p:cNvSpPr/>
          <p:nvPr/>
        </p:nvSpPr>
        <p:spPr>
          <a:xfrm>
            <a:off x="4891924" y="1813809"/>
            <a:ext cx="1321243" cy="544041"/>
          </a:xfrm>
          <a:prstGeom prst="wedgeRoundRectCallout">
            <a:avLst>
              <a:gd name="adj1" fmla="val -64648"/>
              <a:gd name="adj2" fmla="val 16759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El total se </a:t>
            </a:r>
            <a:r>
              <a:rPr lang="pt-BR" sz="1079" dirty="0" err="1">
                <a:solidFill>
                  <a:schemeClr val="tx1"/>
                </a:solidFill>
              </a:rPr>
              <a:t>pone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en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el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eje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secundario</a:t>
            </a:r>
            <a:endParaRPr lang="pt-BR" sz="1079" dirty="0">
              <a:solidFill>
                <a:schemeClr val="tx1"/>
              </a:solidFill>
            </a:endParaRPr>
          </a:p>
        </p:txBody>
      </p:sp>
      <p:graphicFrame>
        <p:nvGraphicFramePr>
          <p:cNvPr id="6" name="5 Gráfico"/>
          <p:cNvGraphicFramePr/>
          <p:nvPr/>
        </p:nvGraphicFramePr>
        <p:xfrm>
          <a:off x="5345906" y="2124690"/>
          <a:ext cx="4974092" cy="4318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6 Llamada rectangular redondeada"/>
          <p:cNvSpPr/>
          <p:nvPr/>
        </p:nvSpPr>
        <p:spPr>
          <a:xfrm>
            <a:off x="6610884" y="2280129"/>
            <a:ext cx="1088081" cy="310881"/>
          </a:xfrm>
          <a:prstGeom prst="wedgeRoundRectCallout">
            <a:avLst>
              <a:gd name="adj1" fmla="val 19856"/>
              <a:gd name="adj2" fmla="val 204301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Borde </a:t>
            </a:r>
            <a:r>
              <a:rPr lang="pt-BR" sz="1079" dirty="0" err="1">
                <a:solidFill>
                  <a:schemeClr val="tx1"/>
                </a:solidFill>
              </a:rPr>
              <a:t>blanco</a:t>
            </a:r>
            <a:endParaRPr lang="pt-BR" sz="1079" dirty="0">
              <a:solidFill>
                <a:schemeClr val="tx1"/>
              </a:solidFill>
            </a:endParaRPr>
          </a:p>
        </p:txBody>
      </p:sp>
      <p:sp>
        <p:nvSpPr>
          <p:cNvPr id="8" name="7 Llamada rectangular redondeada"/>
          <p:cNvSpPr/>
          <p:nvPr/>
        </p:nvSpPr>
        <p:spPr>
          <a:xfrm>
            <a:off x="4801866" y="3135051"/>
            <a:ext cx="1088081" cy="310881"/>
          </a:xfrm>
          <a:prstGeom prst="wedgeRoundRectCallout">
            <a:avLst>
              <a:gd name="adj1" fmla="val -60003"/>
              <a:gd name="adj2" fmla="val 142188"/>
              <a:gd name="adj3" fmla="val 16667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Borde </a:t>
            </a:r>
            <a:r>
              <a:rPr lang="pt-BR" sz="1079" dirty="0" err="1">
                <a:solidFill>
                  <a:schemeClr val="tx1"/>
                </a:solidFill>
              </a:rPr>
              <a:t>blanco</a:t>
            </a:r>
            <a:endParaRPr lang="pt-BR" sz="1079" dirty="0">
              <a:solidFill>
                <a:schemeClr val="tx1"/>
              </a:solidFill>
            </a:endParaRPr>
          </a:p>
        </p:txBody>
      </p:sp>
      <p:grpSp>
        <p:nvGrpSpPr>
          <p:cNvPr id="13" name="12 Grupo"/>
          <p:cNvGrpSpPr/>
          <p:nvPr/>
        </p:nvGrpSpPr>
        <p:grpSpPr>
          <a:xfrm>
            <a:off x="1071297" y="2591010"/>
            <a:ext cx="1010361" cy="273583"/>
            <a:chOff x="1069331" y="2239420"/>
            <a:chExt cx="662713" cy="253476"/>
          </a:xfrm>
        </p:grpSpPr>
        <p:cxnSp>
          <p:nvCxnSpPr>
            <p:cNvPr id="14" name="13 Conector recto de flecha"/>
            <p:cNvCxnSpPr/>
            <p:nvPr/>
          </p:nvCxnSpPr>
          <p:spPr>
            <a:xfrm flipV="1">
              <a:off x="1069331" y="2286200"/>
              <a:ext cx="662713" cy="152203"/>
            </a:xfrm>
            <a:prstGeom prst="straightConnector1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5" name="14 Elipse"/>
            <p:cNvSpPr/>
            <p:nvPr/>
          </p:nvSpPr>
          <p:spPr>
            <a:xfrm>
              <a:off x="1204913" y="2239420"/>
              <a:ext cx="380214" cy="253476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es-ES" sz="1079">
                  <a:solidFill>
                    <a:schemeClr val="tx1"/>
                  </a:solidFill>
                </a:rPr>
                <a:t>xx%</a:t>
              </a:r>
              <a:endParaRPr lang="es-ES" sz="107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6" name="15 Grupo"/>
          <p:cNvGrpSpPr/>
          <p:nvPr/>
        </p:nvGrpSpPr>
        <p:grpSpPr>
          <a:xfrm>
            <a:off x="2278221" y="2591010"/>
            <a:ext cx="854922" cy="273583"/>
            <a:chOff x="2110780" y="2060848"/>
            <a:chExt cx="792088" cy="253476"/>
          </a:xfrm>
        </p:grpSpPr>
        <p:cxnSp>
          <p:nvCxnSpPr>
            <p:cNvPr id="17" name="16 Conector recto de flecha"/>
            <p:cNvCxnSpPr/>
            <p:nvPr/>
          </p:nvCxnSpPr>
          <p:spPr>
            <a:xfrm>
              <a:off x="2110780" y="2116174"/>
              <a:ext cx="792088" cy="128787"/>
            </a:xfrm>
            <a:prstGeom prst="straightConnector1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8" name="17 Elipse"/>
            <p:cNvSpPr/>
            <p:nvPr/>
          </p:nvSpPr>
          <p:spPr>
            <a:xfrm>
              <a:off x="2238292" y="2060848"/>
              <a:ext cx="537064" cy="253476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es-ES" sz="1079">
                  <a:solidFill>
                    <a:schemeClr val="tx1"/>
                  </a:solidFill>
                </a:rPr>
                <a:t>xx%</a:t>
              </a:r>
              <a:endParaRPr lang="es-ES" sz="1079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9" name="18 Grupo"/>
          <p:cNvGrpSpPr/>
          <p:nvPr/>
        </p:nvGrpSpPr>
        <p:grpSpPr>
          <a:xfrm>
            <a:off x="3197263" y="2124689"/>
            <a:ext cx="781325" cy="273583"/>
            <a:chOff x="1138361" y="2239420"/>
            <a:chExt cx="512484" cy="253476"/>
          </a:xfrm>
        </p:grpSpPr>
        <p:cxnSp>
          <p:nvCxnSpPr>
            <p:cNvPr id="20" name="19 Conector recto de flecha"/>
            <p:cNvCxnSpPr/>
            <p:nvPr/>
          </p:nvCxnSpPr>
          <p:spPr>
            <a:xfrm flipV="1">
              <a:off x="1138361" y="2296545"/>
              <a:ext cx="512484" cy="171450"/>
            </a:xfrm>
            <a:prstGeom prst="straightConnector1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1" name="20 Elipse"/>
            <p:cNvSpPr/>
            <p:nvPr/>
          </p:nvSpPr>
          <p:spPr>
            <a:xfrm>
              <a:off x="1204913" y="2239420"/>
              <a:ext cx="380214" cy="253476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es-ES" sz="1079">
                  <a:solidFill>
                    <a:schemeClr val="tx1"/>
                  </a:solidFill>
                </a:rPr>
                <a:t>xx%</a:t>
              </a:r>
              <a:endParaRPr lang="es-ES" sz="1079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271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Calendario</a:t>
            </a:r>
            <a:r>
              <a:rPr lang="pt-BR" dirty="0" smtClean="0"/>
              <a:t>: </a:t>
            </a:r>
            <a:r>
              <a:rPr lang="pt-BR" dirty="0" err="1" smtClean="0"/>
              <a:t>ejemplo</a:t>
            </a:r>
            <a:r>
              <a:rPr lang="pt-BR" dirty="0" smtClean="0"/>
              <a:t> de uso </a:t>
            </a:r>
            <a:r>
              <a:rPr lang="pt-BR" dirty="0" err="1" smtClean="0"/>
              <a:t>del</a:t>
            </a:r>
            <a:r>
              <a:rPr lang="pt-BR" dirty="0" smtClean="0"/>
              <a:t> degradado de color</a:t>
            </a:r>
            <a:endParaRPr lang="pt-BR" dirty="0"/>
          </a:p>
        </p:txBody>
      </p:sp>
      <p:sp>
        <p:nvSpPr>
          <p:cNvPr id="35" name="Espaço Reservado para Texto 3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5" name="Group 91"/>
          <p:cNvGraphicFramePr>
            <a:graphicFrameLocks noGrp="1"/>
          </p:cNvGraphicFramePr>
          <p:nvPr/>
        </p:nvGraphicFramePr>
        <p:xfrm>
          <a:off x="595539" y="2146834"/>
          <a:ext cx="9482128" cy="3374304"/>
        </p:xfrm>
        <a:graphic>
          <a:graphicData uri="http://schemas.openxmlformats.org/drawingml/2006/table">
            <a:tbl>
              <a:tblPr/>
              <a:tblGrid>
                <a:gridCol w="389335"/>
                <a:gridCol w="1395857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  <a:gridCol w="148018"/>
              </a:tblGrid>
              <a:tr h="234040"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008</a:t>
                      </a:r>
                    </a:p>
                  </a:txBody>
                  <a:tcPr marL="84188" marR="0" marT="38856" marB="0" anchor="ctr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Jan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Feb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Mar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Apr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May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Jun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Jul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Aug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Sep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Oct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0" marR="0" marT="0" marB="0" anchor="ctr" anchorCtr="1" horzOverflow="overflow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Nov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Dec.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86005">
                <a:tc gridSpan="2"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s-ES" sz="1000" dirty="0"/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5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6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7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8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9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0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3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4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5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6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7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8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19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0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3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4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5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6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7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8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29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0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3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4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5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6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7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8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39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0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3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4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5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6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7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8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49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50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51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800" b="0" i="0" u="none" strike="noStrike" cap="none" normalizeH="0" baseline="0" noProof="0" smtClean="0">
                          <a:ln>
                            <a:noFill/>
                          </a:ln>
                          <a:solidFill>
                            <a:srgbClr val="6F6F6F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52</a:t>
                      </a: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</a:tr>
              <a:tr h="32825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>
                          <a:tab pos="717550" algn="l"/>
                        </a:tabLst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ítulo</a:t>
                      </a:r>
                    </a:p>
                  </a:txBody>
                  <a:tcPr marL="0" marR="0" marT="38856" marB="0" vert="vert270" anchor="ctr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9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exto example</a:t>
                      </a:r>
                      <a:endParaRPr kumimoji="0" lang="es-ES" sz="9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84188" marR="0" marT="38856" marB="0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A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ítulo</a:t>
                      </a:r>
                    </a:p>
                  </a:txBody>
                  <a:tcPr marL="0" marR="0" marT="38856" marB="0" vert="vert270" anchor="ctr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1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s-ES" sz="9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exto example</a:t>
                      </a:r>
                      <a:endParaRPr kumimoji="0" lang="es-ES" sz="9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84188" marR="0" marT="38856" marB="0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57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A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s-ES" sz="10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ítulo</a:t>
                      </a:r>
                    </a:p>
                  </a:txBody>
                  <a:tcPr marL="0" marR="0" marT="38856" marB="0" vert="vert270" anchor="ctr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s-ES" sz="900" b="1" i="0" u="none" strike="noStrike" cap="none" normalizeH="0" baseline="0" noProof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Texto example</a:t>
                      </a:r>
                      <a:endParaRPr kumimoji="0" lang="es-ES" sz="9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  <a:p>
                      <a:pPr marL="90488" marR="0" lvl="0" indent="-904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s-ES" sz="9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 pitchFamily="16" charset="-128"/>
                          <a:cs typeface="Arial" pitchFamily="34" charset="0"/>
                        </a:rPr>
                        <a:t>Bullet</a:t>
                      </a:r>
                      <a:endParaRPr kumimoji="0" lang="es-ES" sz="9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84188" marR="0" marT="38856" marB="0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57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251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16" charset="-128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57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6F6F6F"/>
                        </a:solidFill>
                        <a:effectLst/>
                        <a:latin typeface="Arial" pitchFamily="34" charset="0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7200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A0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19050" cap="flat" cmpd="sng" algn="ctr">
                      <a:solidFill>
                        <a:schemeClr val="accent4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s-ES" sz="11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ＭＳ Ｐゴシック" pitchFamily="16" charset="-128"/>
                        <a:cs typeface="Arial" pitchFamily="34" charset="0"/>
                      </a:endParaRPr>
                    </a:p>
                  </a:txBody>
                  <a:tcPr marL="0" marR="0" marT="38856" marB="0" anchor="ctr" anchorCtr="1" horzOverflow="overflow">
                    <a:lnL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5 Rombo"/>
          <p:cNvSpPr/>
          <p:nvPr/>
        </p:nvSpPr>
        <p:spPr>
          <a:xfrm>
            <a:off x="5131480" y="3192204"/>
            <a:ext cx="161520" cy="154209"/>
          </a:xfrm>
          <a:prstGeom prst="diamond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159" dirty="0"/>
          </a:p>
        </p:txBody>
      </p:sp>
      <p:cxnSp>
        <p:nvCxnSpPr>
          <p:cNvPr id="7" name="6 Conector recto"/>
          <p:cNvCxnSpPr/>
          <p:nvPr/>
        </p:nvCxnSpPr>
        <p:spPr>
          <a:xfrm rot="5400000" flipH="1" flipV="1">
            <a:off x="2153421" y="2820368"/>
            <a:ext cx="462627" cy="1795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 rot="5400000" flipH="1" flipV="1">
            <a:off x="6165411" y="2819470"/>
            <a:ext cx="462627" cy="3590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/>
        </p:nvCxnSpPr>
        <p:spPr>
          <a:xfrm rot="5400000">
            <a:off x="3404318" y="2974577"/>
            <a:ext cx="771044" cy="1794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 rot="5400000">
            <a:off x="4610501" y="2974536"/>
            <a:ext cx="772758" cy="3590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10 Conector recto"/>
          <p:cNvCxnSpPr/>
          <p:nvPr/>
        </p:nvCxnSpPr>
        <p:spPr>
          <a:xfrm rot="5400000" flipH="1" flipV="1">
            <a:off x="5246113" y="3322403"/>
            <a:ext cx="1466697" cy="1794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"/>
          <p:cNvCxnSpPr/>
          <p:nvPr/>
        </p:nvCxnSpPr>
        <p:spPr>
          <a:xfrm rot="5400000" flipH="1" flipV="1">
            <a:off x="7318959" y="3322404"/>
            <a:ext cx="1466697" cy="1795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 rot="5400000" flipH="1" flipV="1">
            <a:off x="6071797" y="3476612"/>
            <a:ext cx="1775115" cy="1794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 rot="5400000" flipH="1" flipV="1">
            <a:off x="7862879" y="3476612"/>
            <a:ext cx="1775115" cy="1794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 rot="5400000" flipH="1" flipV="1">
            <a:off x="6408597" y="3823582"/>
            <a:ext cx="2469054" cy="1795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15 Conector recto"/>
          <p:cNvCxnSpPr/>
          <p:nvPr/>
        </p:nvCxnSpPr>
        <p:spPr>
          <a:xfrm rot="5400000" flipH="1" flipV="1">
            <a:off x="7661279" y="3823582"/>
            <a:ext cx="2469054" cy="1795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16 Conector recto"/>
          <p:cNvCxnSpPr/>
          <p:nvPr/>
        </p:nvCxnSpPr>
        <p:spPr>
          <a:xfrm rot="5400000" flipH="1" flipV="1">
            <a:off x="7074554" y="3977791"/>
            <a:ext cx="2777472" cy="1794"/>
          </a:xfrm>
          <a:prstGeom prst="line">
            <a:avLst/>
          </a:prstGeom>
          <a:ln>
            <a:solidFill>
              <a:srgbClr val="A0A0A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17 Conector recto"/>
          <p:cNvCxnSpPr/>
          <p:nvPr/>
        </p:nvCxnSpPr>
        <p:spPr>
          <a:xfrm>
            <a:off x="2466391" y="2943755"/>
            <a:ext cx="3867521" cy="0"/>
          </a:xfrm>
          <a:prstGeom prst="line">
            <a:avLst/>
          </a:prstGeom>
          <a:ln w="28575">
            <a:solidFill>
              <a:schemeClr val="accent1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recto"/>
          <p:cNvCxnSpPr/>
          <p:nvPr/>
        </p:nvCxnSpPr>
        <p:spPr>
          <a:xfrm>
            <a:off x="3828548" y="3259024"/>
            <a:ext cx="1103723" cy="0"/>
          </a:xfrm>
          <a:prstGeom prst="line">
            <a:avLst/>
          </a:prstGeom>
          <a:ln w="28575">
            <a:solidFill>
              <a:schemeClr val="accent1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/>
        </p:nvCxnSpPr>
        <p:spPr>
          <a:xfrm flipV="1">
            <a:off x="6032406" y="3922123"/>
            <a:ext cx="1923889" cy="0"/>
          </a:xfrm>
          <a:prstGeom prst="line">
            <a:avLst/>
          </a:prstGeom>
          <a:ln w="28575"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20 Conector recto"/>
          <p:cNvCxnSpPr/>
          <p:nvPr/>
        </p:nvCxnSpPr>
        <p:spPr>
          <a:xfrm flipV="1">
            <a:off x="7014091" y="4225402"/>
            <a:ext cx="1676224" cy="0"/>
          </a:xfrm>
          <a:prstGeom prst="line">
            <a:avLst/>
          </a:prstGeom>
          <a:ln w="28575">
            <a:solidFill>
              <a:schemeClr val="accent2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recto"/>
          <p:cNvCxnSpPr/>
          <p:nvPr/>
        </p:nvCxnSpPr>
        <p:spPr>
          <a:xfrm>
            <a:off x="8688521" y="4227113"/>
            <a:ext cx="884774" cy="0"/>
          </a:xfrm>
          <a:prstGeom prst="line">
            <a:avLst/>
          </a:prstGeom>
          <a:ln w="28575">
            <a:solidFill>
              <a:schemeClr val="accent2"/>
            </a:solidFill>
            <a:prstDash val="dash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22 Conector recto"/>
          <p:cNvCxnSpPr/>
          <p:nvPr/>
        </p:nvCxnSpPr>
        <p:spPr>
          <a:xfrm>
            <a:off x="7715808" y="4922769"/>
            <a:ext cx="1132438" cy="0"/>
          </a:xfrm>
          <a:prstGeom prst="line">
            <a:avLst/>
          </a:prstGeom>
          <a:ln w="28575">
            <a:solidFill>
              <a:schemeClr val="accent3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recto"/>
          <p:cNvCxnSpPr/>
          <p:nvPr/>
        </p:nvCxnSpPr>
        <p:spPr>
          <a:xfrm flipV="1">
            <a:off x="8507258" y="5231197"/>
            <a:ext cx="1500964" cy="0"/>
          </a:xfrm>
          <a:prstGeom prst="line">
            <a:avLst/>
          </a:prstGeom>
          <a:ln w="28575">
            <a:solidFill>
              <a:schemeClr val="accent3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21 Rombo"/>
          <p:cNvSpPr/>
          <p:nvPr/>
        </p:nvSpPr>
        <p:spPr>
          <a:xfrm>
            <a:off x="5777563" y="3853589"/>
            <a:ext cx="161520" cy="154209"/>
          </a:xfrm>
          <a:prstGeom prst="diamond">
            <a:avLst/>
          </a:prstGeom>
          <a:solidFill>
            <a:schemeClr val="accent2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159" dirty="0"/>
          </a:p>
        </p:txBody>
      </p:sp>
      <p:sp>
        <p:nvSpPr>
          <p:cNvPr id="26" name="21 Rombo"/>
          <p:cNvSpPr/>
          <p:nvPr/>
        </p:nvSpPr>
        <p:spPr>
          <a:xfrm>
            <a:off x="8927213" y="4847379"/>
            <a:ext cx="161520" cy="154209"/>
          </a:xfrm>
          <a:prstGeom prst="diamond">
            <a:avLst/>
          </a:prstGeom>
          <a:solidFill>
            <a:schemeClr val="accent3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159" dirty="0">
              <a:ln>
                <a:solidFill>
                  <a:schemeClr val="accent5">
                    <a:lumMod val="75000"/>
                  </a:schemeClr>
                </a:solidFill>
              </a:ln>
            </a:endParaRPr>
          </a:p>
        </p:txBody>
      </p:sp>
      <p:sp>
        <p:nvSpPr>
          <p:cNvPr id="29" name="8 Marcador de texto"/>
          <p:cNvSpPr txBox="1">
            <a:spLocks/>
          </p:cNvSpPr>
          <p:nvPr/>
        </p:nvSpPr>
        <p:spPr>
          <a:xfrm>
            <a:off x="613678" y="1777953"/>
            <a:ext cx="3400258" cy="28248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Título Arial 12 negrita, </a:t>
            </a:r>
            <a:r>
              <a:rPr lang="pt-BR" sz="1295" b="1" dirty="0" err="1">
                <a:solidFill>
                  <a:schemeClr val="accent2"/>
                </a:solidFill>
              </a:rPr>
              <a:t>izquierda</a:t>
            </a:r>
            <a:r>
              <a:rPr lang="pt-BR" sz="1295" b="1" dirty="0">
                <a:solidFill>
                  <a:schemeClr val="accent2"/>
                </a:solidFill>
              </a:rPr>
              <a:t>:</a:t>
            </a:r>
          </a:p>
        </p:txBody>
      </p:sp>
      <p:sp>
        <p:nvSpPr>
          <p:cNvPr id="31" name="39 Marcador de texto"/>
          <p:cNvSpPr txBox="1">
            <a:spLocks/>
          </p:cNvSpPr>
          <p:nvPr/>
        </p:nvSpPr>
        <p:spPr>
          <a:xfrm>
            <a:off x="604842" y="6130283"/>
            <a:ext cx="4663344" cy="525200"/>
          </a:xfrm>
          <a:prstGeom prst="rect">
            <a:avLst/>
          </a:prstGeom>
        </p:spPr>
        <p:txBody>
          <a:bodyPr/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/>
              <a:t>Texto</a:t>
            </a:r>
            <a:endParaRPr lang="pt-BR" sz="1295" dirty="0"/>
          </a:p>
          <a:p>
            <a:pPr marL="579125" lvl="1" indent="-181619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187"/>
              <a:t>Texto </a:t>
            </a:r>
            <a:endParaRPr lang="pt-BR" sz="1187" dirty="0"/>
          </a:p>
        </p:txBody>
      </p:sp>
      <p:sp>
        <p:nvSpPr>
          <p:cNvPr id="32" name="8 Marcador de texto"/>
          <p:cNvSpPr txBox="1">
            <a:spLocks/>
          </p:cNvSpPr>
          <p:nvPr/>
        </p:nvSpPr>
        <p:spPr>
          <a:xfrm>
            <a:off x="617613" y="5770082"/>
            <a:ext cx="4657064" cy="282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 dirty="0"/>
              <a:t>Título Arial 12 negrita, </a:t>
            </a:r>
            <a:r>
              <a:rPr lang="pt-BR" sz="1295" b="1" dirty="0" err="1"/>
              <a:t>izquierda</a:t>
            </a:r>
            <a:endParaRPr lang="pt-BR" sz="1295" b="1" dirty="0"/>
          </a:p>
        </p:txBody>
      </p:sp>
      <p:sp>
        <p:nvSpPr>
          <p:cNvPr id="33" name="39 Marcador de texto"/>
          <p:cNvSpPr txBox="1">
            <a:spLocks/>
          </p:cNvSpPr>
          <p:nvPr/>
        </p:nvSpPr>
        <p:spPr>
          <a:xfrm>
            <a:off x="5410856" y="6130283"/>
            <a:ext cx="4663344" cy="525200"/>
          </a:xfrm>
          <a:prstGeom prst="rect">
            <a:avLst/>
          </a:prstGeom>
        </p:spPr>
        <p:txBody>
          <a:bodyPr/>
          <a:lstStyle/>
          <a:p>
            <a:pPr marL="193613" indent="-193613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295"/>
              <a:t>Texto</a:t>
            </a:r>
            <a:endParaRPr lang="pt-BR" sz="1295" dirty="0"/>
          </a:p>
          <a:p>
            <a:pPr marL="579125" lvl="1" indent="-181619" algn="just" defTabSz="98691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pt-BR" sz="1187"/>
              <a:t>Texto </a:t>
            </a:r>
            <a:endParaRPr lang="pt-BR" sz="1187" dirty="0"/>
          </a:p>
        </p:txBody>
      </p:sp>
      <p:sp>
        <p:nvSpPr>
          <p:cNvPr id="34" name="8 Marcador de texto"/>
          <p:cNvSpPr txBox="1">
            <a:spLocks/>
          </p:cNvSpPr>
          <p:nvPr/>
        </p:nvSpPr>
        <p:spPr>
          <a:xfrm>
            <a:off x="5423627" y="5770082"/>
            <a:ext cx="4657064" cy="282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50513" rIns="0" bIns="50513" anchor="b" anchorCtr="0"/>
          <a:lstStyle/>
          <a:p>
            <a:pPr>
              <a:spcBef>
                <a:spcPct val="30000"/>
              </a:spcBef>
              <a:defRPr/>
            </a:pPr>
            <a:r>
              <a:rPr lang="pt-BR" sz="1295" b="1" dirty="0"/>
              <a:t>Título Arial 12 negrita, </a:t>
            </a:r>
            <a:r>
              <a:rPr lang="pt-BR" sz="1295" b="1" dirty="0" err="1"/>
              <a:t>izquierda</a:t>
            </a:r>
            <a:endParaRPr lang="pt-BR" sz="1295" b="1" dirty="0"/>
          </a:p>
        </p:txBody>
      </p:sp>
      <p:grpSp>
        <p:nvGrpSpPr>
          <p:cNvPr id="37" name="36 Grupo"/>
          <p:cNvGrpSpPr/>
          <p:nvPr/>
        </p:nvGrpSpPr>
        <p:grpSpPr>
          <a:xfrm>
            <a:off x="604976" y="1234501"/>
            <a:ext cx="9481861" cy="291451"/>
            <a:chOff x="560512" y="1070738"/>
            <a:chExt cx="8856984" cy="270030"/>
          </a:xfrm>
        </p:grpSpPr>
        <p:sp>
          <p:nvSpPr>
            <p:cNvPr id="27" name="8 Marcador de texto"/>
            <p:cNvSpPr txBox="1">
              <a:spLocks/>
            </p:cNvSpPr>
            <p:nvPr/>
          </p:nvSpPr>
          <p:spPr>
            <a:xfrm>
              <a:off x="569513" y="1070738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 dirty="0">
                  <a:solidFill>
                    <a:schemeClr val="accent1"/>
                  </a:solidFill>
                </a:rPr>
                <a:t>Título </a:t>
              </a:r>
              <a:r>
                <a:rPr lang="es-ES" sz="1511" b="1" dirty="0" err="1">
                  <a:solidFill>
                    <a:schemeClr val="accent1"/>
                  </a:solidFill>
                </a:rPr>
                <a:t>Arial</a:t>
              </a:r>
              <a:r>
                <a:rPr lang="es-ES" sz="1511" b="1" dirty="0">
                  <a:solidFill>
                    <a:schemeClr val="accent1"/>
                  </a:solidFill>
                </a:rPr>
                <a:t> 14 negrita, izquierda con raya debajo</a:t>
              </a:r>
            </a:p>
          </p:txBody>
        </p:sp>
        <p:cxnSp>
          <p:nvCxnSpPr>
            <p:cNvPr id="36" name="35 Conector recto"/>
            <p:cNvCxnSpPr/>
            <p:nvPr/>
          </p:nvCxnSpPr>
          <p:spPr>
            <a:xfrm>
              <a:off x="560512" y="1340768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3023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45 Marcador de texto"/>
          <p:cNvSpPr txBox="1">
            <a:spLocks/>
          </p:cNvSpPr>
          <p:nvPr/>
        </p:nvSpPr>
        <p:spPr>
          <a:xfrm>
            <a:off x="480624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2" name="47 Marcador de texto"/>
          <p:cNvSpPr txBox="1">
            <a:spLocks/>
          </p:cNvSpPr>
          <p:nvPr/>
        </p:nvSpPr>
        <p:spPr>
          <a:xfrm>
            <a:off x="5525294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prstClr val="black"/>
                </a:solidFill>
                <a:latin typeface="Arial"/>
              </a:rPr>
              <a:t>Texto</a:t>
            </a:r>
            <a:endParaRPr lang="pt-BR" sz="1295" dirty="0"/>
          </a:p>
        </p:txBody>
      </p:sp>
      <p:sp>
        <p:nvSpPr>
          <p:cNvPr id="33" name="48 Marcador de texto"/>
          <p:cNvSpPr txBox="1">
            <a:spLocks/>
          </p:cNvSpPr>
          <p:nvPr/>
        </p:nvSpPr>
        <p:spPr>
          <a:xfrm>
            <a:off x="3002959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sp>
        <p:nvSpPr>
          <p:cNvPr id="34" name="49 Marcador de texto"/>
          <p:cNvSpPr txBox="1">
            <a:spLocks/>
          </p:cNvSpPr>
          <p:nvPr/>
        </p:nvSpPr>
        <p:spPr>
          <a:xfrm>
            <a:off x="8047629" y="3158075"/>
            <a:ext cx="2225590" cy="77105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Texto</a:t>
            </a:r>
            <a:endParaRPr lang="pt-BR" sz="1295" dirty="0"/>
          </a:p>
        </p:txBody>
      </p:sp>
      <p:cxnSp>
        <p:nvCxnSpPr>
          <p:cNvPr id="816130" name="AutoShape 2"/>
          <p:cNvCxnSpPr>
            <a:cxnSpLocks noChangeShapeType="1"/>
            <a:stCxn id="816153" idx="0"/>
            <a:endCxn id="34" idx="2"/>
          </p:cNvCxnSpPr>
          <p:nvPr/>
        </p:nvCxnSpPr>
        <p:spPr bwMode="auto">
          <a:xfrm rot="5400000" flipH="1" flipV="1">
            <a:off x="8524358" y="3966219"/>
            <a:ext cx="673159" cy="59897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1" name="AutoShape 3"/>
          <p:cNvCxnSpPr>
            <a:cxnSpLocks noChangeShapeType="1"/>
            <a:stCxn id="816154" idx="0"/>
            <a:endCxn id="34" idx="2"/>
          </p:cNvCxnSpPr>
          <p:nvPr/>
        </p:nvCxnSpPr>
        <p:spPr bwMode="auto">
          <a:xfrm rot="16200000" flipV="1">
            <a:off x="9131033" y="3958516"/>
            <a:ext cx="673159" cy="61437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2" name="AutoShape 4"/>
          <p:cNvCxnSpPr>
            <a:cxnSpLocks noChangeShapeType="1"/>
            <a:stCxn id="816149" idx="0"/>
            <a:endCxn id="33" idx="2"/>
          </p:cNvCxnSpPr>
          <p:nvPr/>
        </p:nvCxnSpPr>
        <p:spPr bwMode="auto">
          <a:xfrm rot="5400000" flipH="1" flipV="1">
            <a:off x="3459913" y="3946443"/>
            <a:ext cx="673159" cy="63852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3" name="AutoShape 5"/>
          <p:cNvCxnSpPr>
            <a:cxnSpLocks noChangeShapeType="1"/>
            <a:stCxn id="816150" idx="0"/>
            <a:endCxn id="33" idx="2"/>
          </p:cNvCxnSpPr>
          <p:nvPr/>
        </p:nvCxnSpPr>
        <p:spPr bwMode="auto">
          <a:xfrm rot="16200000" flipV="1">
            <a:off x="4066588" y="3978291"/>
            <a:ext cx="673159" cy="57482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4" name="AutoShape 6"/>
          <p:cNvCxnSpPr>
            <a:cxnSpLocks noChangeShapeType="1"/>
            <a:stCxn id="816151" idx="0"/>
            <a:endCxn id="32" idx="2"/>
          </p:cNvCxnSpPr>
          <p:nvPr/>
        </p:nvCxnSpPr>
        <p:spPr bwMode="auto">
          <a:xfrm rot="5400000" flipH="1" flipV="1">
            <a:off x="5987185" y="3951380"/>
            <a:ext cx="673159" cy="62865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5" name="AutoShape 7"/>
          <p:cNvCxnSpPr>
            <a:cxnSpLocks noChangeShapeType="1"/>
            <a:stCxn id="816152" idx="0"/>
            <a:endCxn id="32" idx="2"/>
          </p:cNvCxnSpPr>
          <p:nvPr/>
        </p:nvCxnSpPr>
        <p:spPr bwMode="auto">
          <a:xfrm rot="16200000" flipV="1">
            <a:off x="6593860" y="3973354"/>
            <a:ext cx="673159" cy="584701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6" name="AutoShape 8"/>
          <p:cNvCxnSpPr>
            <a:cxnSpLocks noChangeShapeType="1"/>
            <a:stCxn id="816147" idx="0"/>
            <a:endCxn id="46" idx="2"/>
          </p:cNvCxnSpPr>
          <p:nvPr/>
        </p:nvCxnSpPr>
        <p:spPr bwMode="auto">
          <a:xfrm rot="5400000" flipH="1" flipV="1">
            <a:off x="920830" y="3930230"/>
            <a:ext cx="668237" cy="67587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7" name="AutoShape 9"/>
          <p:cNvCxnSpPr>
            <a:cxnSpLocks noChangeShapeType="1"/>
            <a:stCxn id="816148" idx="0"/>
            <a:endCxn id="46" idx="2"/>
          </p:cNvCxnSpPr>
          <p:nvPr/>
        </p:nvCxnSpPr>
        <p:spPr bwMode="auto">
          <a:xfrm rot="16200000" flipV="1">
            <a:off x="1540693" y="3986239"/>
            <a:ext cx="668237" cy="56385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8" name="AutoShape 10"/>
          <p:cNvCxnSpPr>
            <a:cxnSpLocks noChangeShapeType="1"/>
            <a:stCxn id="33" idx="0"/>
            <a:endCxn id="816142" idx="2"/>
          </p:cNvCxnSpPr>
          <p:nvPr/>
        </p:nvCxnSpPr>
        <p:spPr bwMode="auto">
          <a:xfrm rot="5400000" flipH="1" flipV="1">
            <a:off x="4383753" y="2195923"/>
            <a:ext cx="694154" cy="123015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39" name="AutoShape 11"/>
          <p:cNvCxnSpPr>
            <a:cxnSpLocks noChangeShapeType="1"/>
            <a:stCxn id="32" idx="0"/>
            <a:endCxn id="816142" idx="2"/>
          </p:cNvCxnSpPr>
          <p:nvPr/>
        </p:nvCxnSpPr>
        <p:spPr bwMode="auto">
          <a:xfrm rot="16200000" flipV="1">
            <a:off x="5644922" y="2164908"/>
            <a:ext cx="694154" cy="129218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40" name="AutoShape 12"/>
          <p:cNvCxnSpPr>
            <a:cxnSpLocks noChangeShapeType="1"/>
            <a:stCxn id="34" idx="0"/>
            <a:endCxn id="816142" idx="2"/>
          </p:cNvCxnSpPr>
          <p:nvPr/>
        </p:nvCxnSpPr>
        <p:spPr bwMode="auto">
          <a:xfrm rot="16200000" flipV="1">
            <a:off x="6906089" y="903740"/>
            <a:ext cx="694154" cy="381451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816141" name="AutoShape 13"/>
          <p:cNvCxnSpPr>
            <a:cxnSpLocks noChangeShapeType="1"/>
            <a:stCxn id="31" idx="0"/>
            <a:endCxn id="816142" idx="2"/>
          </p:cNvCxnSpPr>
          <p:nvPr/>
        </p:nvCxnSpPr>
        <p:spPr bwMode="auto">
          <a:xfrm rot="5400000" flipH="1" flipV="1">
            <a:off x="3122585" y="934756"/>
            <a:ext cx="694154" cy="375248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816142" name="Rectangle 14"/>
          <p:cNvSpPr>
            <a:spLocks noChangeArrowheads="1"/>
          </p:cNvSpPr>
          <p:nvPr/>
        </p:nvSpPr>
        <p:spPr bwMode="auto">
          <a:xfrm>
            <a:off x="4119368" y="1559230"/>
            <a:ext cx="2453078" cy="90469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Texto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816147" name="Rectangle 19"/>
          <p:cNvSpPr>
            <a:spLocks noChangeArrowheads="1"/>
          </p:cNvSpPr>
          <p:nvPr/>
        </p:nvSpPr>
        <p:spPr bwMode="auto">
          <a:xfrm>
            <a:off x="402657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48" name="Rectangle 20"/>
          <p:cNvSpPr>
            <a:spLocks noChangeArrowheads="1"/>
          </p:cNvSpPr>
          <p:nvPr/>
        </p:nvSpPr>
        <p:spPr bwMode="auto">
          <a:xfrm>
            <a:off x="1642385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49" name="Rectangle 21"/>
          <p:cNvSpPr>
            <a:spLocks noChangeArrowheads="1"/>
          </p:cNvSpPr>
          <p:nvPr/>
        </p:nvSpPr>
        <p:spPr bwMode="auto">
          <a:xfrm>
            <a:off x="296287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0" name="Rectangle 22"/>
          <p:cNvSpPr>
            <a:spLocks noChangeArrowheads="1"/>
          </p:cNvSpPr>
          <p:nvPr/>
        </p:nvSpPr>
        <p:spPr bwMode="auto">
          <a:xfrm>
            <a:off x="417622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1" name="Rectangle 23"/>
          <p:cNvSpPr>
            <a:spLocks noChangeArrowheads="1"/>
          </p:cNvSpPr>
          <p:nvPr/>
        </p:nvSpPr>
        <p:spPr bwMode="auto">
          <a:xfrm>
            <a:off x="5495084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2" name="Rectangle 24"/>
          <p:cNvSpPr>
            <a:spLocks noChangeArrowheads="1"/>
          </p:cNvSpPr>
          <p:nvPr/>
        </p:nvSpPr>
        <p:spPr bwMode="auto">
          <a:xfrm>
            <a:off x="6708435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3" name="Rectangle 25"/>
          <p:cNvSpPr>
            <a:spLocks noChangeArrowheads="1"/>
          </p:cNvSpPr>
          <p:nvPr/>
        </p:nvSpPr>
        <p:spPr bwMode="auto">
          <a:xfrm>
            <a:off x="804709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4" name="Rectangle 26"/>
          <p:cNvSpPr>
            <a:spLocks noChangeArrowheads="1"/>
          </p:cNvSpPr>
          <p:nvPr/>
        </p:nvSpPr>
        <p:spPr bwMode="auto">
          <a:xfrm>
            <a:off x="9260446" y="4602284"/>
            <a:ext cx="1028710" cy="740202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50513" tIns="43053" rIns="50513" bIns="43053" anchor="ctr"/>
          <a:lstStyle/>
          <a:p>
            <a:pPr algn="ctr" defTabSz="738471"/>
            <a:r>
              <a:rPr lang="pt-BR" sz="1295" dirty="0"/>
              <a:t>Sub...</a:t>
            </a:r>
          </a:p>
        </p:txBody>
      </p:sp>
      <p:sp>
        <p:nvSpPr>
          <p:cNvPr id="816155" name="Rectangle 27"/>
          <p:cNvSpPr>
            <a:spLocks noChangeArrowheads="1"/>
          </p:cNvSpPr>
          <p:nvPr/>
        </p:nvSpPr>
        <p:spPr bwMode="auto">
          <a:xfrm>
            <a:off x="-3427" y="6456617"/>
            <a:ext cx="10695240" cy="5097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None/>
            </a:pPr>
            <a:r>
              <a:rPr lang="pt-BR" sz="1511" err="1">
                <a:solidFill>
                  <a:schemeClr val="bg1"/>
                </a:solidFill>
              </a:rPr>
              <a:t>Kicker</a:t>
            </a:r>
            <a:r>
              <a:rPr lang="pt-BR" sz="1511">
                <a:solidFill>
                  <a:schemeClr val="bg1"/>
                </a:solidFill>
              </a:rPr>
              <a:t> bo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816156" name="Rectangle 2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Organigrama</a:t>
            </a:r>
            <a:endParaRPr lang="pt-BR" dirty="0"/>
          </a:p>
        </p:txBody>
      </p:sp>
      <p:sp>
        <p:nvSpPr>
          <p:cNvPr id="46" name="45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Título </a:t>
            </a:r>
            <a:r>
              <a:rPr lang="pt-BR" dirty="0" err="1" smtClean="0"/>
              <a:t>del</a:t>
            </a:r>
            <a:r>
              <a:rPr lang="pt-BR" dirty="0" smtClean="0"/>
              <a:t> capítulo</a:t>
            </a:r>
          </a:p>
        </p:txBody>
      </p:sp>
    </p:spTree>
    <p:extLst>
      <p:ext uri="{BB962C8B-B14F-4D97-AF65-F5344CB8AC3E}">
        <p14:creationId xmlns:p14="http://schemas.microsoft.com/office/powerpoint/2010/main" val="634653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786005"/>
              </p:ext>
            </p:extLst>
          </p:nvPr>
        </p:nvGraphicFramePr>
        <p:xfrm>
          <a:off x="0" y="78825"/>
          <a:ext cx="171343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71343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pPr marL="0" lvl="1" indent="0"/>
            <a:r>
              <a:rPr lang="en-US" sz="1133" dirty="0" err="1"/>
              <a:t>Capítulo</a:t>
            </a:r>
            <a:r>
              <a:rPr lang="en-US" sz="1133" dirty="0"/>
              <a:t> 1: Slides </a:t>
            </a:r>
            <a:r>
              <a:rPr lang="en-US" sz="1133" dirty="0" err="1"/>
              <a:t>conceituais</a:t>
            </a:r>
            <a:r>
              <a:rPr lang="pt-BR" sz="1133" dirty="0"/>
              <a:t> | </a:t>
            </a:r>
            <a:r>
              <a:rPr lang="pt-BR" sz="1133" i="1" dirty="0" err="1"/>
              <a:t>Templates</a:t>
            </a:r>
            <a:r>
              <a:rPr lang="pt-BR" sz="1133" dirty="0"/>
              <a:t> mais frequentes </a:t>
            </a:r>
            <a:endParaRPr lang="en-US" sz="1133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dirty="0" smtClean="0"/>
              <a:t>Apresentação de temas vs. situações/cenários</a:t>
            </a:r>
            <a:endParaRPr lang="en-US" dirty="0"/>
          </a:p>
        </p:txBody>
      </p:sp>
      <p:sp>
        <p:nvSpPr>
          <p:cNvPr id="9" name="AutoShap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7516" y="4220959"/>
            <a:ext cx="1531470" cy="2225900"/>
          </a:xfrm>
          <a:prstGeom prst="homePlate">
            <a:avLst>
              <a:gd name="adj" fmla="val 17963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eaLnBrk="0" hangingPunct="0"/>
            <a:r>
              <a:rPr lang="pt-BR" sz="1511" kern="0">
                <a:solidFill>
                  <a:schemeClr val="bg1"/>
                </a:solidFill>
              </a:rPr>
              <a:t>xxxx</a:t>
            </a:r>
            <a:endParaRPr lang="pt-BR" sz="1511" kern="0" dirty="0">
              <a:solidFill>
                <a:schemeClr val="bg1"/>
              </a:solidFill>
            </a:endParaRPr>
          </a:p>
        </p:txBody>
      </p:sp>
      <p:sp>
        <p:nvSpPr>
          <p:cNvPr id="13" name="AutoShap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97516" y="1752679"/>
            <a:ext cx="1531470" cy="2225900"/>
          </a:xfrm>
          <a:prstGeom prst="homePlate">
            <a:avLst>
              <a:gd name="adj" fmla="val 17963"/>
            </a:avLst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anchor="ctr"/>
          <a:lstStyle/>
          <a:p>
            <a:pPr algn="ctr" eaLnBrk="0" hangingPunct="0"/>
            <a:r>
              <a:rPr lang="pt-BR" sz="1511" kern="0">
                <a:solidFill>
                  <a:schemeClr val="bg1"/>
                </a:solidFill>
              </a:rPr>
              <a:t>xxxx</a:t>
            </a:r>
            <a:endParaRPr lang="pt-BR" sz="1511" kern="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2292571" y="4220959"/>
            <a:ext cx="3673829" cy="22258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191900" lvl="2" indent="-191900">
              <a:spcBef>
                <a:spcPts val="1295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Xxxxx</a:t>
            </a:r>
            <a:r>
              <a:rPr lang="pt-BR" sz="1295" dirty="0"/>
              <a:t> </a:t>
            </a: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2292571" y="1752673"/>
            <a:ext cx="3673829" cy="22259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191900" lvl="2" indent="-191900">
              <a:spcBef>
                <a:spcPts val="1295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Xxxx</a:t>
            </a:r>
            <a:r>
              <a:rPr lang="pt-BR" sz="1295" dirty="0"/>
              <a:t> </a:t>
            </a:r>
            <a:endParaRPr lang="pt-BR" sz="1295" i="1" dirty="0"/>
          </a:p>
        </p:txBody>
      </p:sp>
      <p:cxnSp>
        <p:nvCxnSpPr>
          <p:cNvPr id="14" name="Straight Connector 13"/>
          <p:cNvCxnSpPr/>
          <p:nvPr>
            <p:custDataLst>
              <p:tags r:id="rId8"/>
            </p:custDataLst>
          </p:nvPr>
        </p:nvCxnSpPr>
        <p:spPr>
          <a:xfrm>
            <a:off x="397517" y="4095833"/>
            <a:ext cx="9895067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6354365" y="4220959"/>
            <a:ext cx="3938218" cy="2225896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191900" lvl="2" indent="-191900">
              <a:spcBef>
                <a:spcPts val="1295"/>
              </a:spcBef>
              <a:buFont typeface="Arial" pitchFamily="34" charset="0"/>
              <a:buChar char="•"/>
              <a:defRPr/>
            </a:pPr>
            <a:r>
              <a:rPr lang="pt-BR" sz="1295" dirty="0" err="1"/>
              <a:t>Xxxxx</a:t>
            </a:r>
            <a:r>
              <a:rPr lang="pt-BR" sz="1295" dirty="0"/>
              <a:t> </a:t>
            </a:r>
          </a:p>
        </p:txBody>
      </p:sp>
      <p:sp>
        <p:nvSpPr>
          <p:cNvPr id="16" name="Rectangle 15"/>
          <p:cNvSpPr/>
          <p:nvPr>
            <p:custDataLst>
              <p:tags r:id="rId10"/>
            </p:custDataLst>
          </p:nvPr>
        </p:nvSpPr>
        <p:spPr>
          <a:xfrm>
            <a:off x="6354365" y="1752673"/>
            <a:ext cx="3938218" cy="222590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191900" lvl="2" indent="-191900">
              <a:spcBef>
                <a:spcPts val="1295"/>
              </a:spcBef>
              <a:buFont typeface="Arial" pitchFamily="34" charset="0"/>
              <a:buChar char="•"/>
              <a:defRPr/>
            </a:pPr>
            <a:r>
              <a:rPr lang="pt-BR" sz="1295" dirty="0" err="1">
                <a:solidFill>
                  <a:srgbClr val="000000"/>
                </a:solidFill>
              </a:rPr>
              <a:t>Xxxx</a:t>
            </a:r>
            <a:r>
              <a:rPr lang="pt-BR" sz="1295" dirty="0">
                <a:solidFill>
                  <a:srgbClr val="000000"/>
                </a:solidFill>
              </a:rPr>
              <a:t> </a:t>
            </a:r>
            <a:endParaRPr lang="pt-BR" sz="1295" i="1" dirty="0"/>
          </a:p>
        </p:txBody>
      </p:sp>
      <p:grpSp>
        <p:nvGrpSpPr>
          <p:cNvPr id="20" name="Grupo 19"/>
          <p:cNvGrpSpPr/>
          <p:nvPr/>
        </p:nvGrpSpPr>
        <p:grpSpPr>
          <a:xfrm>
            <a:off x="2292570" y="1256807"/>
            <a:ext cx="3673830" cy="346864"/>
            <a:chOff x="2124074" y="1001761"/>
            <a:chExt cx="3403816" cy="321371"/>
          </a:xfrm>
        </p:grpSpPr>
        <p:sp>
          <p:nvSpPr>
            <p:cNvPr id="21" name="8 Marcador de texto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2124074" y="1001761"/>
              <a:ext cx="3403815" cy="305442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50513" rIns="0" anchor="b" anchorCtr="0">
              <a:spAutoFit/>
            </a:bodyPr>
            <a:lstStyle/>
            <a:p>
              <a:pPr defTabSz="986912">
                <a:spcBef>
                  <a:spcPct val="30000"/>
                </a:spcBef>
                <a:defRPr/>
              </a:pPr>
              <a:r>
                <a:rPr lang="pt-BR" sz="1511" b="1" kern="0" dirty="0">
                  <a:solidFill>
                    <a:srgbClr val="1F497D"/>
                  </a:solidFill>
                  <a:latin typeface="Arial" pitchFamily="34" charset="0"/>
                  <a:cs typeface="Arial" pitchFamily="34" charset="0"/>
                </a:rPr>
                <a:t>Descrição: Situação 1</a:t>
              </a:r>
            </a:p>
          </p:txBody>
        </p:sp>
        <p:cxnSp>
          <p:nvCxnSpPr>
            <p:cNvPr id="22" name="27 Conector recto"/>
            <p:cNvCxnSpPr/>
            <p:nvPr>
              <p:custDataLst>
                <p:tags r:id="rId14"/>
              </p:custDataLst>
            </p:nvPr>
          </p:nvCxnSpPr>
          <p:spPr>
            <a:xfrm>
              <a:off x="2124075" y="1323132"/>
              <a:ext cx="3403815" cy="0"/>
            </a:xfrm>
            <a:prstGeom prst="line">
              <a:avLst/>
            </a:prstGeom>
            <a:noFill/>
            <a:ln w="19050" cap="flat" cmpd="sng" algn="ctr">
              <a:solidFill>
                <a:srgbClr val="0E507A"/>
              </a:solidFill>
              <a:prstDash val="solid"/>
            </a:ln>
            <a:effectLst/>
          </p:spPr>
        </p:cxnSp>
      </p:grpSp>
      <p:grpSp>
        <p:nvGrpSpPr>
          <p:cNvPr id="23" name="Grupo 22"/>
          <p:cNvGrpSpPr/>
          <p:nvPr/>
        </p:nvGrpSpPr>
        <p:grpSpPr>
          <a:xfrm>
            <a:off x="6354365" y="1256807"/>
            <a:ext cx="3938218" cy="346864"/>
            <a:chOff x="5912740" y="1001761"/>
            <a:chExt cx="3648772" cy="321371"/>
          </a:xfrm>
        </p:grpSpPr>
        <p:sp>
          <p:nvSpPr>
            <p:cNvPr id="25" name="8 Marcador de texto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912740" y="1001761"/>
              <a:ext cx="3648772" cy="305442"/>
            </a:xfrm>
            <a:prstGeom prst="rect">
              <a:avLst/>
            </a:prstGeom>
            <a:solidFill>
              <a:sysClr val="window" lastClr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50513" rIns="0" anchor="b" anchorCtr="0">
              <a:spAutoFit/>
            </a:bodyPr>
            <a:lstStyle/>
            <a:p>
              <a:pPr lvl="0">
                <a:spcBef>
                  <a:spcPct val="30000"/>
                </a:spcBef>
                <a:defRPr/>
              </a:pPr>
              <a:r>
                <a:rPr lang="pt-BR" sz="1511" b="1" kern="0" dirty="0">
                  <a:solidFill>
                    <a:srgbClr val="1F497D"/>
                  </a:solidFill>
                  <a:latin typeface="Arial" pitchFamily="34" charset="0"/>
                  <a:cs typeface="Arial" pitchFamily="34" charset="0"/>
                </a:rPr>
                <a:t>Descrição: Situação 2</a:t>
              </a:r>
            </a:p>
          </p:txBody>
        </p:sp>
        <p:cxnSp>
          <p:nvCxnSpPr>
            <p:cNvPr id="26" name="27 Conector recto"/>
            <p:cNvCxnSpPr/>
            <p:nvPr>
              <p:custDataLst>
                <p:tags r:id="rId12"/>
              </p:custDataLst>
            </p:nvPr>
          </p:nvCxnSpPr>
          <p:spPr>
            <a:xfrm>
              <a:off x="5912740" y="1323132"/>
              <a:ext cx="3648772" cy="0"/>
            </a:xfrm>
            <a:prstGeom prst="line">
              <a:avLst/>
            </a:prstGeom>
            <a:noFill/>
            <a:ln w="19050" cap="flat" cmpd="sng" algn="ctr">
              <a:solidFill>
                <a:srgbClr val="0E507A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0246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12355" name="Rectangle 3"/>
          <p:cNvSpPr>
            <a:spLocks noChangeArrowheads="1"/>
          </p:cNvSpPr>
          <p:nvPr/>
        </p:nvSpPr>
        <p:spPr bwMode="auto">
          <a:xfrm>
            <a:off x="1566076" y="3694165"/>
            <a:ext cx="2028703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2356" name="Rectangle 4"/>
          <p:cNvSpPr>
            <a:spLocks noChangeArrowheads="1"/>
          </p:cNvSpPr>
          <p:nvPr/>
        </p:nvSpPr>
        <p:spPr bwMode="auto">
          <a:xfrm>
            <a:off x="7097033" y="3694165"/>
            <a:ext cx="2028703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2357" name="Rectangle 5"/>
          <p:cNvSpPr>
            <a:spLocks noChangeArrowheads="1"/>
          </p:cNvSpPr>
          <p:nvPr/>
        </p:nvSpPr>
        <p:spPr bwMode="auto">
          <a:xfrm>
            <a:off x="1566076" y="4598857"/>
            <a:ext cx="2028271" cy="139499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 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endParaRPr lang="pt-BR" sz="1295" dirty="0"/>
          </a:p>
          <a:p>
            <a:pPr marL="205607" indent="-205607" defTabSz="822427">
              <a:buFontTx/>
              <a:buChar char="•"/>
            </a:pPr>
            <a:endParaRPr lang="pt-BR" sz="1295" dirty="0"/>
          </a:p>
        </p:txBody>
      </p:sp>
      <p:sp>
        <p:nvSpPr>
          <p:cNvPr id="612358" name="Rectangle 6"/>
          <p:cNvSpPr>
            <a:spLocks noChangeArrowheads="1"/>
          </p:cNvSpPr>
          <p:nvPr/>
        </p:nvSpPr>
        <p:spPr bwMode="auto">
          <a:xfrm>
            <a:off x="7097033" y="4598856"/>
            <a:ext cx="2028271" cy="11957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endParaRPr lang="pt-BR" sz="1295" dirty="0"/>
          </a:p>
        </p:txBody>
      </p:sp>
      <p:cxnSp>
        <p:nvCxnSpPr>
          <p:cNvPr id="612360" name="AutoShape 8"/>
          <p:cNvCxnSpPr>
            <a:cxnSpLocks noChangeShapeType="1"/>
            <a:stCxn id="612362" idx="2"/>
            <a:endCxn id="612356" idx="0"/>
          </p:cNvCxnSpPr>
          <p:nvPr/>
        </p:nvCxnSpPr>
        <p:spPr bwMode="auto">
          <a:xfrm rot="16200000" flipH="1">
            <a:off x="6231750" y="1814531"/>
            <a:ext cx="993790" cy="276547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12362" name="Rectangle 10"/>
          <p:cNvSpPr>
            <a:spLocks noChangeArrowheads="1"/>
          </p:cNvSpPr>
          <p:nvPr/>
        </p:nvSpPr>
        <p:spPr bwMode="auto">
          <a:xfrm>
            <a:off x="4331555" y="1877928"/>
            <a:ext cx="2028703" cy="8224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cxnSp>
        <p:nvCxnSpPr>
          <p:cNvPr id="17" name="AutoShape 8"/>
          <p:cNvCxnSpPr>
            <a:cxnSpLocks noChangeShapeType="1"/>
            <a:stCxn id="612362" idx="2"/>
            <a:endCxn id="612355" idx="0"/>
          </p:cNvCxnSpPr>
          <p:nvPr/>
        </p:nvCxnSpPr>
        <p:spPr bwMode="auto">
          <a:xfrm rot="5400000">
            <a:off x="3466272" y="1814532"/>
            <a:ext cx="993790" cy="2765478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6606991" y="1836833"/>
            <a:ext cx="2933395" cy="110976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74857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ítulo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9" name="Espaço Reservado para Texto 1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33859" name="Rectangle 3"/>
          <p:cNvSpPr>
            <a:spLocks noChangeArrowheads="1"/>
          </p:cNvSpPr>
          <p:nvPr/>
        </p:nvSpPr>
        <p:spPr bwMode="auto">
          <a:xfrm>
            <a:off x="1151426" y="3694165"/>
            <a:ext cx="2028703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3860" name="Rectangle 4"/>
          <p:cNvSpPr>
            <a:spLocks noChangeArrowheads="1"/>
          </p:cNvSpPr>
          <p:nvPr/>
        </p:nvSpPr>
        <p:spPr bwMode="auto">
          <a:xfrm>
            <a:off x="7484268" y="3694165"/>
            <a:ext cx="2028703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3861" name="Rectangle 5"/>
          <p:cNvSpPr>
            <a:spLocks noChangeArrowheads="1"/>
          </p:cNvSpPr>
          <p:nvPr/>
        </p:nvSpPr>
        <p:spPr bwMode="auto">
          <a:xfrm>
            <a:off x="1151426" y="4598858"/>
            <a:ext cx="1891628" cy="9964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 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3862" name="Rectangle 6"/>
          <p:cNvSpPr>
            <a:spLocks noChangeArrowheads="1"/>
          </p:cNvSpPr>
          <p:nvPr/>
        </p:nvSpPr>
        <p:spPr bwMode="auto">
          <a:xfrm>
            <a:off x="7484268" y="4598858"/>
            <a:ext cx="2056118" cy="9964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633864" name="AutoShape 8"/>
          <p:cNvCxnSpPr>
            <a:cxnSpLocks noChangeShapeType="1"/>
            <a:stCxn id="633866" idx="2"/>
            <a:endCxn id="633860" idx="0"/>
          </p:cNvCxnSpPr>
          <p:nvPr/>
        </p:nvCxnSpPr>
        <p:spPr bwMode="auto">
          <a:xfrm rot="16200000" flipH="1">
            <a:off x="6425368" y="1620913"/>
            <a:ext cx="993790" cy="3152714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33866" name="Rectangle 10"/>
          <p:cNvSpPr>
            <a:spLocks noChangeArrowheads="1"/>
          </p:cNvSpPr>
          <p:nvPr/>
        </p:nvSpPr>
        <p:spPr bwMode="auto">
          <a:xfrm>
            <a:off x="4331555" y="1877928"/>
            <a:ext cx="2028703" cy="8224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33868" name="Rectangle 12"/>
          <p:cNvSpPr>
            <a:spLocks noChangeArrowheads="1"/>
          </p:cNvSpPr>
          <p:nvPr/>
        </p:nvSpPr>
        <p:spPr bwMode="auto">
          <a:xfrm>
            <a:off x="4331555" y="3694165"/>
            <a:ext cx="2028703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3870" name="Rectangle 14"/>
          <p:cNvSpPr>
            <a:spLocks noChangeArrowheads="1"/>
          </p:cNvSpPr>
          <p:nvPr/>
        </p:nvSpPr>
        <p:spPr bwMode="auto">
          <a:xfrm>
            <a:off x="4317847" y="4598858"/>
            <a:ext cx="2056118" cy="99642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22" name="AutoShape 8"/>
          <p:cNvCxnSpPr>
            <a:cxnSpLocks noChangeShapeType="1"/>
            <a:stCxn id="633866" idx="2"/>
            <a:endCxn id="633859" idx="0"/>
          </p:cNvCxnSpPr>
          <p:nvPr/>
        </p:nvCxnSpPr>
        <p:spPr bwMode="auto">
          <a:xfrm rot="5400000">
            <a:off x="3258947" y="1607206"/>
            <a:ext cx="993790" cy="3180129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26" name="25 Conector recto"/>
          <p:cNvCxnSpPr>
            <a:stCxn id="633866" idx="2"/>
            <a:endCxn id="633868" idx="0"/>
          </p:cNvCxnSpPr>
          <p:nvPr/>
        </p:nvCxnSpPr>
        <p:spPr>
          <a:xfrm>
            <a:off x="5345906" y="2700375"/>
            <a:ext cx="0" cy="99379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6606991" y="1836833"/>
            <a:ext cx="2933395" cy="110976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</p:spTree>
    <p:extLst>
      <p:ext uri="{BB962C8B-B14F-4D97-AF65-F5344CB8AC3E}">
        <p14:creationId xmlns:p14="http://schemas.microsoft.com/office/powerpoint/2010/main" val="365787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1" name="Espaço Reservado para Texto 2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13383" name="Rectangle 7"/>
          <p:cNvSpPr>
            <a:spLocks noChangeArrowheads="1"/>
          </p:cNvSpPr>
          <p:nvPr/>
        </p:nvSpPr>
        <p:spPr bwMode="auto">
          <a:xfrm>
            <a:off x="6606991" y="1836833"/>
            <a:ext cx="2933395" cy="110976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  <p:cxnSp>
        <p:nvCxnSpPr>
          <p:cNvPr id="613384" name="AutoShape 8"/>
          <p:cNvCxnSpPr>
            <a:cxnSpLocks noChangeShapeType="1"/>
            <a:stCxn id="613379" idx="0"/>
            <a:endCxn id="613386" idx="2"/>
          </p:cNvCxnSpPr>
          <p:nvPr/>
        </p:nvCxnSpPr>
        <p:spPr bwMode="auto">
          <a:xfrm rot="5400000" flipH="1" flipV="1">
            <a:off x="2879859" y="1228120"/>
            <a:ext cx="993790" cy="3938303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13386" name="Rectangle 10"/>
          <p:cNvSpPr>
            <a:spLocks noChangeArrowheads="1"/>
          </p:cNvSpPr>
          <p:nvPr/>
        </p:nvSpPr>
        <p:spPr bwMode="auto">
          <a:xfrm>
            <a:off x="4331555" y="1877928"/>
            <a:ext cx="2028703" cy="8224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13379" name="Rectangle 3"/>
          <p:cNvSpPr>
            <a:spLocks noChangeArrowheads="1"/>
          </p:cNvSpPr>
          <p:nvPr/>
        </p:nvSpPr>
        <p:spPr bwMode="auto">
          <a:xfrm>
            <a:off x="402657" y="3694165"/>
            <a:ext cx="2009892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3380" name="Rectangle 4"/>
          <p:cNvSpPr>
            <a:spLocks noChangeArrowheads="1"/>
          </p:cNvSpPr>
          <p:nvPr/>
        </p:nvSpPr>
        <p:spPr bwMode="auto">
          <a:xfrm>
            <a:off x="8279263" y="3694165"/>
            <a:ext cx="2009892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3381" name="Rectangle 5"/>
          <p:cNvSpPr>
            <a:spLocks noChangeArrowheads="1"/>
          </p:cNvSpPr>
          <p:nvPr/>
        </p:nvSpPr>
        <p:spPr bwMode="auto">
          <a:xfrm>
            <a:off x="402657" y="4622846"/>
            <a:ext cx="2039945" cy="17134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 xxxxx</a:t>
            </a:r>
            <a:endParaRPr lang="pt-BR" sz="1295" dirty="0"/>
          </a:p>
        </p:txBody>
      </p:sp>
      <p:sp>
        <p:nvSpPr>
          <p:cNvPr id="613382" name="Rectangle 6"/>
          <p:cNvSpPr>
            <a:spLocks noChangeArrowheads="1"/>
          </p:cNvSpPr>
          <p:nvPr/>
        </p:nvSpPr>
        <p:spPr bwMode="auto">
          <a:xfrm>
            <a:off x="8279263" y="4622845"/>
            <a:ext cx="2001990" cy="56200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 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13387" name="Rectangle 11"/>
          <p:cNvSpPr>
            <a:spLocks noChangeArrowheads="1"/>
          </p:cNvSpPr>
          <p:nvPr/>
        </p:nvSpPr>
        <p:spPr bwMode="auto">
          <a:xfrm>
            <a:off x="3027060" y="4622845"/>
            <a:ext cx="1956526" cy="14941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xxx 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  <p:sp>
        <p:nvSpPr>
          <p:cNvPr id="613388" name="Rectangle 12"/>
          <p:cNvSpPr>
            <a:spLocks noChangeArrowheads="1"/>
          </p:cNvSpPr>
          <p:nvPr/>
        </p:nvSpPr>
        <p:spPr bwMode="auto">
          <a:xfrm>
            <a:off x="5653163" y="3694165"/>
            <a:ext cx="2009892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3389" name="Rectangle 13"/>
          <p:cNvSpPr>
            <a:spLocks noChangeArrowheads="1"/>
          </p:cNvSpPr>
          <p:nvPr/>
        </p:nvSpPr>
        <p:spPr bwMode="auto">
          <a:xfrm>
            <a:off x="5653163" y="4622846"/>
            <a:ext cx="1938701" cy="10400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5607" indent="-205607" defTabSz="822427">
              <a:buFontTx/>
              <a:buChar char="•"/>
            </a:pPr>
            <a:r>
              <a:rPr lang="pt-BR" sz="1295"/>
              <a:t>xx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</a:t>
            </a:r>
            <a:endParaRPr lang="pt-BR" sz="1295" dirty="0"/>
          </a:p>
          <a:p>
            <a:pPr marL="205607" indent="-205607" defTabSz="822427">
              <a:buFontTx/>
              <a:buChar char="•"/>
            </a:pPr>
            <a:r>
              <a:rPr lang="pt-BR" sz="1295"/>
              <a:t>xxxxxxxx</a:t>
            </a:r>
            <a:endParaRPr lang="pt-BR" sz="1295" dirty="0"/>
          </a:p>
        </p:txBody>
      </p:sp>
      <p:sp>
        <p:nvSpPr>
          <p:cNvPr id="613391" name="Rectangle 15"/>
          <p:cNvSpPr>
            <a:spLocks noChangeArrowheads="1"/>
          </p:cNvSpPr>
          <p:nvPr/>
        </p:nvSpPr>
        <p:spPr bwMode="auto">
          <a:xfrm>
            <a:off x="3027060" y="3694165"/>
            <a:ext cx="2009892" cy="82244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/>
              <a:t>xxx</a:t>
            </a:r>
            <a:endParaRPr lang="pt-BR" sz="1295" dirty="0"/>
          </a:p>
        </p:txBody>
      </p:sp>
      <p:cxnSp>
        <p:nvCxnSpPr>
          <p:cNvPr id="613396" name="AutoShape 20"/>
          <p:cNvCxnSpPr>
            <a:cxnSpLocks noChangeShapeType="1"/>
            <a:stCxn id="613386" idx="2"/>
            <a:endCxn id="613391" idx="0"/>
          </p:cNvCxnSpPr>
          <p:nvPr/>
        </p:nvCxnSpPr>
        <p:spPr bwMode="auto">
          <a:xfrm rot="5400000">
            <a:off x="4192061" y="2540321"/>
            <a:ext cx="993790" cy="131390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13397" name="AutoShape 21"/>
          <p:cNvCxnSpPr>
            <a:cxnSpLocks noChangeShapeType="1"/>
            <a:stCxn id="613386" idx="2"/>
            <a:endCxn id="613388" idx="0"/>
          </p:cNvCxnSpPr>
          <p:nvPr/>
        </p:nvCxnSpPr>
        <p:spPr bwMode="auto">
          <a:xfrm rot="16200000" flipH="1">
            <a:off x="5505112" y="2541169"/>
            <a:ext cx="993790" cy="131220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22" name="AutoShape 21"/>
          <p:cNvCxnSpPr>
            <a:cxnSpLocks noChangeShapeType="1"/>
            <a:stCxn id="613386" idx="2"/>
            <a:endCxn id="613380" idx="0"/>
          </p:cNvCxnSpPr>
          <p:nvPr/>
        </p:nvCxnSpPr>
        <p:spPr bwMode="auto">
          <a:xfrm rot="16200000" flipH="1">
            <a:off x="6818162" y="1228119"/>
            <a:ext cx="993790" cy="393830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304476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cxnSp>
        <p:nvCxnSpPr>
          <p:cNvPr id="623627" name="AutoShape 11"/>
          <p:cNvCxnSpPr>
            <a:cxnSpLocks noChangeShapeType="1"/>
            <a:stCxn id="22" idx="2"/>
            <a:endCxn id="623626" idx="0"/>
          </p:cNvCxnSpPr>
          <p:nvPr/>
        </p:nvCxnSpPr>
        <p:spPr bwMode="auto">
          <a:xfrm rot="16200000" flipH="1">
            <a:off x="6939299" y="1106982"/>
            <a:ext cx="993790" cy="4180576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3628" name="AutoShape 12"/>
          <p:cNvCxnSpPr>
            <a:cxnSpLocks noChangeShapeType="1"/>
            <a:stCxn id="623622" idx="0"/>
            <a:endCxn id="22" idx="2"/>
          </p:cNvCxnSpPr>
          <p:nvPr/>
        </p:nvCxnSpPr>
        <p:spPr bwMode="auto">
          <a:xfrm rot="5400000" flipH="1" flipV="1">
            <a:off x="3803866" y="2152127"/>
            <a:ext cx="993790" cy="2090288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3632" name="AutoShape 16"/>
          <p:cNvCxnSpPr>
            <a:cxnSpLocks noChangeShapeType="1"/>
            <a:stCxn id="623624" idx="0"/>
            <a:endCxn id="22" idx="2"/>
          </p:cNvCxnSpPr>
          <p:nvPr/>
        </p:nvCxnSpPr>
        <p:spPr bwMode="auto">
          <a:xfrm flipV="1">
            <a:off x="5345906" y="2700376"/>
            <a:ext cx="0" cy="995503"/>
          </a:xfrm>
          <a:prstGeom prst="straightConnector1">
            <a:avLst/>
          </a:prstGeom>
          <a:noFill/>
          <a:ln w="12700">
            <a:solidFill>
              <a:schemeClr val="accent4"/>
            </a:solidFill>
            <a:round/>
            <a:headEnd/>
            <a:tailEnd/>
          </a:ln>
          <a:effectLst/>
        </p:spPr>
      </p:cxnSp>
      <p:cxnSp>
        <p:nvCxnSpPr>
          <p:cNvPr id="20" name="AutoShape 12"/>
          <p:cNvCxnSpPr>
            <a:cxnSpLocks noChangeShapeType="1"/>
            <a:stCxn id="623620" idx="0"/>
            <a:endCxn id="22" idx="2"/>
          </p:cNvCxnSpPr>
          <p:nvPr/>
        </p:nvCxnSpPr>
        <p:spPr bwMode="auto">
          <a:xfrm rot="5400000" flipH="1" flipV="1">
            <a:off x="2758723" y="1106982"/>
            <a:ext cx="993790" cy="4180576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23" name="AutoShape 11"/>
          <p:cNvCxnSpPr>
            <a:cxnSpLocks noChangeShapeType="1"/>
            <a:stCxn id="22" idx="2"/>
            <a:endCxn id="623625" idx="0"/>
          </p:cNvCxnSpPr>
          <p:nvPr/>
        </p:nvCxnSpPr>
        <p:spPr bwMode="auto">
          <a:xfrm rot="16200000" flipH="1">
            <a:off x="5894155" y="2152126"/>
            <a:ext cx="993790" cy="2090288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3620" name="Text Box 4"/>
          <p:cNvSpPr txBox="1">
            <a:spLocks noChangeArrowheads="1"/>
          </p:cNvSpPr>
          <p:nvPr/>
        </p:nvSpPr>
        <p:spPr bwMode="auto">
          <a:xfrm>
            <a:off x="402657" y="3694166"/>
            <a:ext cx="1525346" cy="63225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3622" name="Text Box 6"/>
          <p:cNvSpPr txBox="1">
            <a:spLocks noChangeArrowheads="1"/>
          </p:cNvSpPr>
          <p:nvPr/>
        </p:nvSpPr>
        <p:spPr bwMode="auto">
          <a:xfrm>
            <a:off x="2492945" y="3694166"/>
            <a:ext cx="1525346" cy="63225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3624" name="Text Box 8"/>
          <p:cNvSpPr txBox="1">
            <a:spLocks noChangeArrowheads="1"/>
          </p:cNvSpPr>
          <p:nvPr/>
        </p:nvSpPr>
        <p:spPr bwMode="auto">
          <a:xfrm>
            <a:off x="4583233" y="3695878"/>
            <a:ext cx="1525346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3625" name="Text Box 9"/>
          <p:cNvSpPr txBox="1">
            <a:spLocks noChangeArrowheads="1"/>
          </p:cNvSpPr>
          <p:nvPr/>
        </p:nvSpPr>
        <p:spPr bwMode="auto">
          <a:xfrm>
            <a:off x="6673521" y="3694166"/>
            <a:ext cx="1525346" cy="63225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3626" name="Text Box 10"/>
          <p:cNvSpPr txBox="1">
            <a:spLocks noChangeArrowheads="1"/>
          </p:cNvSpPr>
          <p:nvPr/>
        </p:nvSpPr>
        <p:spPr bwMode="auto">
          <a:xfrm>
            <a:off x="8763809" y="3694166"/>
            <a:ext cx="1525346" cy="632256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3633" name="Rectangle 17"/>
          <p:cNvSpPr>
            <a:spLocks noChangeArrowheads="1"/>
          </p:cNvSpPr>
          <p:nvPr/>
        </p:nvSpPr>
        <p:spPr bwMode="auto">
          <a:xfrm>
            <a:off x="2512595" y="4370970"/>
            <a:ext cx="1471958" cy="11805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 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432033" y="4370970"/>
            <a:ext cx="1471958" cy="11805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 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</p:txBody>
      </p:sp>
      <p:sp>
        <p:nvSpPr>
          <p:cNvPr id="28" name="Rectangle 17"/>
          <p:cNvSpPr>
            <a:spLocks noChangeArrowheads="1"/>
          </p:cNvSpPr>
          <p:nvPr/>
        </p:nvSpPr>
        <p:spPr bwMode="auto">
          <a:xfrm>
            <a:off x="4601056" y="4370970"/>
            <a:ext cx="1471958" cy="11805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 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</p:txBody>
      </p:sp>
      <p:sp>
        <p:nvSpPr>
          <p:cNvPr id="29" name="Rectangle 17"/>
          <p:cNvSpPr>
            <a:spLocks noChangeArrowheads="1"/>
          </p:cNvSpPr>
          <p:nvPr/>
        </p:nvSpPr>
        <p:spPr bwMode="auto">
          <a:xfrm>
            <a:off x="6707258" y="4370970"/>
            <a:ext cx="1471958" cy="11805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 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</p:txBody>
      </p:sp>
      <p:sp>
        <p:nvSpPr>
          <p:cNvPr id="30" name="Rectangle 17"/>
          <p:cNvSpPr>
            <a:spLocks noChangeArrowheads="1"/>
          </p:cNvSpPr>
          <p:nvPr/>
        </p:nvSpPr>
        <p:spPr bwMode="auto">
          <a:xfrm>
            <a:off x="8803086" y="4370970"/>
            <a:ext cx="1471958" cy="118055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xxxxx 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xx</a:t>
            </a:r>
            <a:endParaRPr lang="pt-BR" sz="971" dirty="0"/>
          </a:p>
        </p:txBody>
      </p:sp>
      <p:sp>
        <p:nvSpPr>
          <p:cNvPr id="22" name="Rectangle 10"/>
          <p:cNvSpPr>
            <a:spLocks noChangeArrowheads="1"/>
          </p:cNvSpPr>
          <p:nvPr/>
        </p:nvSpPr>
        <p:spPr bwMode="auto">
          <a:xfrm>
            <a:off x="4331555" y="1877928"/>
            <a:ext cx="2028703" cy="8224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90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ítulo 4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2" name="Espaço Reservado para Texto 4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7717" name="Text Box 5"/>
          <p:cNvSpPr txBox="1">
            <a:spLocks noChangeArrowheads="1"/>
          </p:cNvSpPr>
          <p:nvPr/>
        </p:nvSpPr>
        <p:spPr bwMode="auto">
          <a:xfrm>
            <a:off x="732126" y="3142440"/>
            <a:ext cx="1747700" cy="63739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7719" name="Text Box 7"/>
          <p:cNvSpPr txBox="1">
            <a:spLocks noChangeArrowheads="1"/>
          </p:cNvSpPr>
          <p:nvPr/>
        </p:nvSpPr>
        <p:spPr bwMode="auto">
          <a:xfrm>
            <a:off x="8211985" y="3142440"/>
            <a:ext cx="1747700" cy="63739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x</a:t>
            </a:r>
            <a:endParaRPr lang="pt-BR" sz="1295" dirty="0"/>
          </a:p>
        </p:txBody>
      </p:sp>
      <p:cxnSp>
        <p:nvCxnSpPr>
          <p:cNvPr id="627720" name="AutoShape 8"/>
          <p:cNvCxnSpPr>
            <a:cxnSpLocks noChangeShapeType="1"/>
            <a:stCxn id="39" idx="2"/>
            <a:endCxn id="627719" idx="0"/>
          </p:cNvCxnSpPr>
          <p:nvPr/>
        </p:nvCxnSpPr>
        <p:spPr bwMode="auto">
          <a:xfrm rot="16200000" flipH="1">
            <a:off x="6839772" y="896378"/>
            <a:ext cx="752196" cy="3739929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7737" name="Text Box 25"/>
          <p:cNvSpPr txBox="1">
            <a:spLocks noChangeArrowheads="1"/>
          </p:cNvSpPr>
          <p:nvPr/>
        </p:nvSpPr>
        <p:spPr bwMode="auto">
          <a:xfrm>
            <a:off x="3225412" y="3142440"/>
            <a:ext cx="1747700" cy="63739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39" name="Text Box 27"/>
          <p:cNvSpPr txBox="1">
            <a:spLocks noChangeArrowheads="1"/>
          </p:cNvSpPr>
          <p:nvPr/>
        </p:nvSpPr>
        <p:spPr bwMode="auto">
          <a:xfrm>
            <a:off x="5718698" y="3142440"/>
            <a:ext cx="1747700" cy="63739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627757" name="AutoShape 45"/>
          <p:cNvCxnSpPr>
            <a:cxnSpLocks noChangeShapeType="1"/>
            <a:stCxn id="39" idx="2"/>
            <a:endCxn id="627739" idx="0"/>
          </p:cNvCxnSpPr>
          <p:nvPr/>
        </p:nvCxnSpPr>
        <p:spPr bwMode="auto">
          <a:xfrm rot="16200000" flipH="1">
            <a:off x="5593129" y="2143022"/>
            <a:ext cx="752196" cy="1246642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7758" name="AutoShape 46"/>
          <p:cNvCxnSpPr>
            <a:cxnSpLocks noChangeShapeType="1"/>
            <a:stCxn id="627737" idx="0"/>
            <a:endCxn id="39" idx="2"/>
          </p:cNvCxnSpPr>
          <p:nvPr/>
        </p:nvCxnSpPr>
        <p:spPr bwMode="auto">
          <a:xfrm rot="5400000" flipH="1" flipV="1">
            <a:off x="4346486" y="2143021"/>
            <a:ext cx="752196" cy="124664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7722" name="Text Box 10"/>
          <p:cNvSpPr txBox="1">
            <a:spLocks noChangeArrowheads="1"/>
          </p:cNvSpPr>
          <p:nvPr/>
        </p:nvSpPr>
        <p:spPr bwMode="auto">
          <a:xfrm>
            <a:off x="402657" y="4566303"/>
            <a:ext cx="1159995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7723" name="Text Box 11"/>
          <p:cNvSpPr txBox="1">
            <a:spLocks noChangeArrowheads="1"/>
          </p:cNvSpPr>
          <p:nvPr/>
        </p:nvSpPr>
        <p:spPr bwMode="auto">
          <a:xfrm>
            <a:off x="1649301" y="4566303"/>
            <a:ext cx="1159995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24" name="Text Box 12"/>
          <p:cNvSpPr txBox="1">
            <a:spLocks noChangeArrowheads="1"/>
          </p:cNvSpPr>
          <p:nvPr/>
        </p:nvSpPr>
        <p:spPr bwMode="auto">
          <a:xfrm>
            <a:off x="2895944" y="4566303"/>
            <a:ext cx="1159994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25" name="Text Box 13"/>
          <p:cNvSpPr txBox="1">
            <a:spLocks noChangeArrowheads="1"/>
          </p:cNvSpPr>
          <p:nvPr/>
        </p:nvSpPr>
        <p:spPr bwMode="auto">
          <a:xfrm>
            <a:off x="4142587" y="4566303"/>
            <a:ext cx="1159995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26" name="Text Box 14"/>
          <p:cNvSpPr txBox="1">
            <a:spLocks noChangeArrowheads="1"/>
          </p:cNvSpPr>
          <p:nvPr/>
        </p:nvSpPr>
        <p:spPr bwMode="auto">
          <a:xfrm>
            <a:off x="5389230" y="4566303"/>
            <a:ext cx="1159994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7727" name="Text Box 15"/>
          <p:cNvSpPr txBox="1">
            <a:spLocks noChangeArrowheads="1"/>
          </p:cNvSpPr>
          <p:nvPr/>
        </p:nvSpPr>
        <p:spPr bwMode="auto">
          <a:xfrm>
            <a:off x="6635874" y="4566303"/>
            <a:ext cx="1159995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28" name="Text Box 16"/>
          <p:cNvSpPr txBox="1">
            <a:spLocks noChangeArrowheads="1"/>
          </p:cNvSpPr>
          <p:nvPr/>
        </p:nvSpPr>
        <p:spPr bwMode="auto">
          <a:xfrm>
            <a:off x="7882516" y="4566303"/>
            <a:ext cx="1159994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29" name="Text Box 17"/>
          <p:cNvSpPr txBox="1">
            <a:spLocks noChangeArrowheads="1"/>
          </p:cNvSpPr>
          <p:nvPr/>
        </p:nvSpPr>
        <p:spPr bwMode="auto">
          <a:xfrm>
            <a:off x="9129161" y="4566303"/>
            <a:ext cx="1159995" cy="478047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7730" name="Text Box 18"/>
          <p:cNvSpPr txBox="1">
            <a:spLocks noChangeArrowheads="1"/>
          </p:cNvSpPr>
          <p:nvPr/>
        </p:nvSpPr>
        <p:spPr bwMode="auto">
          <a:xfrm>
            <a:off x="402656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59" name="Text Box 47"/>
          <p:cNvSpPr txBox="1">
            <a:spLocks noChangeArrowheads="1"/>
          </p:cNvSpPr>
          <p:nvPr/>
        </p:nvSpPr>
        <p:spPr bwMode="auto">
          <a:xfrm>
            <a:off x="1647921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0" name="Text Box 48"/>
          <p:cNvSpPr txBox="1">
            <a:spLocks noChangeArrowheads="1"/>
          </p:cNvSpPr>
          <p:nvPr/>
        </p:nvSpPr>
        <p:spPr bwMode="auto">
          <a:xfrm>
            <a:off x="2894794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1" name="Text Box 49"/>
          <p:cNvSpPr txBox="1">
            <a:spLocks noChangeArrowheads="1"/>
          </p:cNvSpPr>
          <p:nvPr/>
        </p:nvSpPr>
        <p:spPr bwMode="auto">
          <a:xfrm>
            <a:off x="4141667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2" name="Text Box 50"/>
          <p:cNvSpPr txBox="1">
            <a:spLocks noChangeArrowheads="1"/>
          </p:cNvSpPr>
          <p:nvPr/>
        </p:nvSpPr>
        <p:spPr bwMode="auto">
          <a:xfrm>
            <a:off x="5388541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3" name="Text Box 51"/>
          <p:cNvSpPr txBox="1">
            <a:spLocks noChangeArrowheads="1"/>
          </p:cNvSpPr>
          <p:nvPr/>
        </p:nvSpPr>
        <p:spPr bwMode="auto">
          <a:xfrm>
            <a:off x="7882287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5" name="Text Box 53"/>
          <p:cNvSpPr txBox="1">
            <a:spLocks noChangeArrowheads="1"/>
          </p:cNvSpPr>
          <p:nvPr/>
        </p:nvSpPr>
        <p:spPr bwMode="auto">
          <a:xfrm>
            <a:off x="9129160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sp>
        <p:nvSpPr>
          <p:cNvPr id="627766" name="Text Box 54"/>
          <p:cNvSpPr txBox="1">
            <a:spLocks noChangeArrowheads="1"/>
          </p:cNvSpPr>
          <p:nvPr/>
        </p:nvSpPr>
        <p:spPr bwMode="auto">
          <a:xfrm>
            <a:off x="6635413" y="5122873"/>
            <a:ext cx="1161788" cy="29897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  <a:p>
            <a:pPr marL="193613" indent="-193613" defTabSz="822427">
              <a:buFontTx/>
              <a:buChar char="•"/>
            </a:pPr>
            <a:r>
              <a:rPr lang="pt-BR" sz="971"/>
              <a:t>xxxx</a:t>
            </a:r>
            <a:endParaRPr lang="pt-BR" sz="971" dirty="0"/>
          </a:p>
        </p:txBody>
      </p:sp>
      <p:cxnSp>
        <p:nvCxnSpPr>
          <p:cNvPr id="627767" name="AutoShape 55"/>
          <p:cNvCxnSpPr>
            <a:cxnSpLocks noChangeShapeType="1"/>
            <a:stCxn id="627722" idx="0"/>
            <a:endCxn id="627729" idx="0"/>
          </p:cNvCxnSpPr>
          <p:nvPr/>
        </p:nvCxnSpPr>
        <p:spPr bwMode="auto">
          <a:xfrm rot="5400000" flipH="1" flipV="1">
            <a:off x="5345487" y="203052"/>
            <a:ext cx="13707" cy="8726504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7768" name="AutoShape 56"/>
          <p:cNvCxnSpPr>
            <a:cxnSpLocks noChangeShapeType="1"/>
            <a:stCxn id="627723" idx="0"/>
            <a:endCxn id="627728" idx="0"/>
          </p:cNvCxnSpPr>
          <p:nvPr/>
        </p:nvCxnSpPr>
        <p:spPr bwMode="auto">
          <a:xfrm rot="5400000" flipH="1" flipV="1">
            <a:off x="5345487" y="1449694"/>
            <a:ext cx="13707" cy="6233217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7769" name="AutoShape 57"/>
          <p:cNvCxnSpPr>
            <a:cxnSpLocks noChangeShapeType="1"/>
            <a:stCxn id="627724" idx="0"/>
            <a:endCxn id="627727" idx="0"/>
          </p:cNvCxnSpPr>
          <p:nvPr/>
        </p:nvCxnSpPr>
        <p:spPr bwMode="auto">
          <a:xfrm rot="5400000" flipH="1" flipV="1">
            <a:off x="5345487" y="2696339"/>
            <a:ext cx="13707" cy="3739929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7770" name="AutoShape 58"/>
          <p:cNvCxnSpPr>
            <a:cxnSpLocks noChangeShapeType="1"/>
            <a:stCxn id="627725" idx="0"/>
            <a:endCxn id="627726" idx="0"/>
          </p:cNvCxnSpPr>
          <p:nvPr/>
        </p:nvCxnSpPr>
        <p:spPr bwMode="auto">
          <a:xfrm rot="5400000" flipH="1" flipV="1">
            <a:off x="5345487" y="3942981"/>
            <a:ext cx="13707" cy="1246644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43" name="AutoShape 46"/>
          <p:cNvCxnSpPr>
            <a:cxnSpLocks noChangeShapeType="1"/>
            <a:stCxn id="627717" idx="0"/>
            <a:endCxn id="39" idx="2"/>
          </p:cNvCxnSpPr>
          <p:nvPr/>
        </p:nvCxnSpPr>
        <p:spPr bwMode="auto">
          <a:xfrm rot="5400000" flipH="1" flipV="1">
            <a:off x="3099843" y="896378"/>
            <a:ext cx="752196" cy="373993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39" name="Rectangle 10"/>
          <p:cNvSpPr>
            <a:spLocks noChangeArrowheads="1"/>
          </p:cNvSpPr>
          <p:nvPr/>
        </p:nvSpPr>
        <p:spPr bwMode="auto">
          <a:xfrm>
            <a:off x="4331555" y="1567798"/>
            <a:ext cx="2028703" cy="82244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cxnSp>
        <p:nvCxnSpPr>
          <p:cNvPr id="34" name="Conector reto 33"/>
          <p:cNvCxnSpPr/>
          <p:nvPr/>
        </p:nvCxnSpPr>
        <p:spPr>
          <a:xfrm>
            <a:off x="1605976" y="3779837"/>
            <a:ext cx="0" cy="548298"/>
          </a:xfrm>
          <a:prstGeom prst="line">
            <a:avLst/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35" name="Conector reto 34"/>
          <p:cNvCxnSpPr/>
          <p:nvPr/>
        </p:nvCxnSpPr>
        <p:spPr>
          <a:xfrm>
            <a:off x="4099262" y="3779837"/>
            <a:ext cx="0" cy="548298"/>
          </a:xfrm>
          <a:prstGeom prst="line">
            <a:avLst/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38" name="Conector reto 37"/>
          <p:cNvCxnSpPr/>
          <p:nvPr/>
        </p:nvCxnSpPr>
        <p:spPr>
          <a:xfrm>
            <a:off x="6592548" y="3779837"/>
            <a:ext cx="0" cy="548298"/>
          </a:xfrm>
          <a:prstGeom prst="line">
            <a:avLst/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40" name="Conector reto 39"/>
          <p:cNvCxnSpPr/>
          <p:nvPr/>
        </p:nvCxnSpPr>
        <p:spPr>
          <a:xfrm>
            <a:off x="9085835" y="3779837"/>
            <a:ext cx="0" cy="548298"/>
          </a:xfrm>
          <a:prstGeom prst="line">
            <a:avLst/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94827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9" name="Espaço Reservado para Texto 2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35908" name="Rectangle 4"/>
          <p:cNvSpPr>
            <a:spLocks noChangeArrowheads="1"/>
          </p:cNvSpPr>
          <p:nvPr/>
        </p:nvSpPr>
        <p:spPr bwMode="auto">
          <a:xfrm>
            <a:off x="876996" y="4297294"/>
            <a:ext cx="1969642" cy="469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5909" name="Rectangle 5"/>
          <p:cNvSpPr>
            <a:spLocks noChangeArrowheads="1"/>
          </p:cNvSpPr>
          <p:nvPr/>
        </p:nvSpPr>
        <p:spPr bwMode="auto">
          <a:xfrm>
            <a:off x="3179848" y="4297294"/>
            <a:ext cx="1969642" cy="469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35911" name="Rectangle 7"/>
          <p:cNvSpPr>
            <a:spLocks noChangeArrowheads="1"/>
          </p:cNvSpPr>
          <p:nvPr/>
        </p:nvSpPr>
        <p:spPr bwMode="auto">
          <a:xfrm>
            <a:off x="5542322" y="4297294"/>
            <a:ext cx="1969642" cy="469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35912" name="Rectangle 8"/>
          <p:cNvSpPr>
            <a:spLocks noChangeArrowheads="1"/>
          </p:cNvSpPr>
          <p:nvPr/>
        </p:nvSpPr>
        <p:spPr bwMode="auto">
          <a:xfrm>
            <a:off x="7845174" y="4297294"/>
            <a:ext cx="1969642" cy="469480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5916" name="Rectangle 12"/>
          <p:cNvSpPr>
            <a:spLocks noChangeArrowheads="1"/>
          </p:cNvSpPr>
          <p:nvPr/>
        </p:nvSpPr>
        <p:spPr bwMode="auto">
          <a:xfrm>
            <a:off x="2355286" y="3310357"/>
            <a:ext cx="1315915" cy="57571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35917" name="Rectangle 13"/>
          <p:cNvSpPr>
            <a:spLocks noChangeArrowheads="1"/>
          </p:cNvSpPr>
          <p:nvPr/>
        </p:nvSpPr>
        <p:spPr bwMode="auto">
          <a:xfrm>
            <a:off x="6993196" y="3310357"/>
            <a:ext cx="1370745" cy="575713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35919" name="Rectangle 15"/>
          <p:cNvSpPr>
            <a:spLocks noChangeArrowheads="1"/>
          </p:cNvSpPr>
          <p:nvPr/>
        </p:nvSpPr>
        <p:spPr bwMode="auto">
          <a:xfrm>
            <a:off x="4345262" y="2158931"/>
            <a:ext cx="1973873" cy="57571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35921" name="Text Box 17"/>
          <p:cNvSpPr txBox="1">
            <a:spLocks noChangeArrowheads="1"/>
          </p:cNvSpPr>
          <p:nvPr/>
        </p:nvSpPr>
        <p:spPr bwMode="auto">
          <a:xfrm>
            <a:off x="6565187" y="2347145"/>
            <a:ext cx="24526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>
              <a:spcBef>
                <a:spcPct val="50000"/>
              </a:spcBef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5923" name="Text Box 19"/>
          <p:cNvSpPr txBox="1">
            <a:spLocks noChangeArrowheads="1"/>
          </p:cNvSpPr>
          <p:nvPr/>
        </p:nvSpPr>
        <p:spPr bwMode="auto">
          <a:xfrm>
            <a:off x="7817946" y="2347145"/>
            <a:ext cx="654025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>
              <a:spcBef>
                <a:spcPct val="50000"/>
              </a:spcBef>
            </a:pPr>
            <a:r>
              <a:rPr lang="pt-BR" sz="1295"/>
              <a:t>xxxxxxxx</a:t>
            </a:r>
            <a:endParaRPr lang="pt-BR" sz="1295" dirty="0"/>
          </a:p>
        </p:txBody>
      </p:sp>
      <p:sp>
        <p:nvSpPr>
          <p:cNvPr id="635934" name="Text Box 30"/>
          <p:cNvSpPr txBox="1">
            <a:spLocks noChangeArrowheads="1"/>
          </p:cNvSpPr>
          <p:nvPr/>
        </p:nvSpPr>
        <p:spPr bwMode="auto">
          <a:xfrm>
            <a:off x="7845174" y="4867920"/>
            <a:ext cx="1958622" cy="398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164485" indent="-164485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35935" name="Text Box 31"/>
          <p:cNvSpPr txBox="1">
            <a:spLocks noChangeArrowheads="1"/>
          </p:cNvSpPr>
          <p:nvPr/>
        </p:nvSpPr>
        <p:spPr bwMode="auto">
          <a:xfrm>
            <a:off x="5542322" y="4867920"/>
            <a:ext cx="1940889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buFontTx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35936" name="Text Box 32"/>
          <p:cNvSpPr txBox="1">
            <a:spLocks noChangeArrowheads="1"/>
          </p:cNvSpPr>
          <p:nvPr/>
        </p:nvSpPr>
        <p:spPr bwMode="auto">
          <a:xfrm>
            <a:off x="3816843" y="3498571"/>
            <a:ext cx="327013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>
              <a:spcBef>
                <a:spcPct val="50000"/>
              </a:spcBef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35940" name="Text Box 36"/>
          <p:cNvSpPr txBox="1">
            <a:spLocks noChangeArrowheads="1"/>
          </p:cNvSpPr>
          <p:nvPr/>
        </p:nvSpPr>
        <p:spPr bwMode="auto">
          <a:xfrm>
            <a:off x="8542139" y="3498571"/>
            <a:ext cx="654025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>
              <a:spcBef>
                <a:spcPct val="50000"/>
              </a:spcBef>
            </a:pPr>
            <a:r>
              <a:rPr lang="pt-BR" sz="1295"/>
              <a:t>xxxxxxxx</a:t>
            </a:r>
            <a:endParaRPr lang="pt-BR" sz="1295" dirty="0"/>
          </a:p>
        </p:txBody>
      </p:sp>
      <p:sp>
        <p:nvSpPr>
          <p:cNvPr id="635941" name="Text Box 37"/>
          <p:cNvSpPr txBox="1">
            <a:spLocks noChangeArrowheads="1"/>
          </p:cNvSpPr>
          <p:nvPr/>
        </p:nvSpPr>
        <p:spPr bwMode="auto">
          <a:xfrm>
            <a:off x="3179848" y="4867920"/>
            <a:ext cx="1971758" cy="398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buFontTx/>
              <a:buChar char="•"/>
            </a:pPr>
            <a:r>
              <a:rPr lang="pt-BR" sz="1295"/>
              <a:t>xxxxxx xxx</a:t>
            </a:r>
            <a:endParaRPr lang="pt-BR" sz="1295" dirty="0"/>
          </a:p>
          <a:p>
            <a:pPr marL="164485" indent="-164485" defTabSz="822427">
              <a:buFontTx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35942" name="Text Box 38"/>
          <p:cNvSpPr txBox="1">
            <a:spLocks noChangeArrowheads="1"/>
          </p:cNvSpPr>
          <p:nvPr/>
        </p:nvSpPr>
        <p:spPr bwMode="auto">
          <a:xfrm>
            <a:off x="876996" y="4867920"/>
            <a:ext cx="1943004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buFontTx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  <p:cxnSp>
        <p:nvCxnSpPr>
          <p:cNvPr id="635944" name="AutoShape 40"/>
          <p:cNvCxnSpPr>
            <a:cxnSpLocks noChangeShapeType="1"/>
            <a:stCxn id="635919" idx="2"/>
            <a:endCxn id="635916" idx="0"/>
          </p:cNvCxnSpPr>
          <p:nvPr/>
        </p:nvCxnSpPr>
        <p:spPr bwMode="auto">
          <a:xfrm rot="5400000">
            <a:off x="3884864" y="1863023"/>
            <a:ext cx="575713" cy="231895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5945" name="AutoShape 41"/>
          <p:cNvCxnSpPr>
            <a:cxnSpLocks noChangeShapeType="1"/>
            <a:stCxn id="635919" idx="2"/>
            <a:endCxn id="635917" idx="0"/>
          </p:cNvCxnSpPr>
          <p:nvPr/>
        </p:nvCxnSpPr>
        <p:spPr bwMode="auto">
          <a:xfrm rot="16200000" flipH="1">
            <a:off x="6217527" y="1849315"/>
            <a:ext cx="575713" cy="2346370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5948" name="AutoShape 44"/>
          <p:cNvCxnSpPr>
            <a:cxnSpLocks noChangeShapeType="1"/>
            <a:stCxn id="635916" idx="2"/>
            <a:endCxn id="635908" idx="0"/>
          </p:cNvCxnSpPr>
          <p:nvPr/>
        </p:nvCxnSpPr>
        <p:spPr bwMode="auto">
          <a:xfrm rot="5400000">
            <a:off x="2231918" y="3515969"/>
            <a:ext cx="411224" cy="11514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5949" name="AutoShape 45"/>
          <p:cNvCxnSpPr>
            <a:cxnSpLocks noChangeShapeType="1"/>
            <a:stCxn id="635916" idx="2"/>
            <a:endCxn id="635909" idx="0"/>
          </p:cNvCxnSpPr>
          <p:nvPr/>
        </p:nvCxnSpPr>
        <p:spPr bwMode="auto">
          <a:xfrm rot="16200000" flipH="1">
            <a:off x="3383344" y="3515969"/>
            <a:ext cx="411224" cy="11514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5950" name="AutoShape 46"/>
          <p:cNvCxnSpPr>
            <a:cxnSpLocks noChangeShapeType="1"/>
            <a:stCxn id="635917" idx="2"/>
            <a:endCxn id="635911" idx="0"/>
          </p:cNvCxnSpPr>
          <p:nvPr/>
        </p:nvCxnSpPr>
        <p:spPr bwMode="auto">
          <a:xfrm rot="5400000">
            <a:off x="6897244" y="3515969"/>
            <a:ext cx="411224" cy="11514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5951" name="AutoShape 47"/>
          <p:cNvCxnSpPr>
            <a:cxnSpLocks noChangeShapeType="1"/>
            <a:stCxn id="635917" idx="2"/>
            <a:endCxn id="635912" idx="0"/>
          </p:cNvCxnSpPr>
          <p:nvPr/>
        </p:nvCxnSpPr>
        <p:spPr bwMode="auto">
          <a:xfrm rot="16200000" flipH="1">
            <a:off x="8048670" y="3515969"/>
            <a:ext cx="411224" cy="11514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32" name="31 Flecha derecha"/>
          <p:cNvSpPr/>
          <p:nvPr/>
        </p:nvSpPr>
        <p:spPr>
          <a:xfrm>
            <a:off x="7118464" y="2291347"/>
            <a:ext cx="310881" cy="310881"/>
          </a:xfrm>
          <a:prstGeom prst="rightArrow">
            <a:avLst/>
          </a:prstGeom>
          <a:solidFill>
            <a:schemeClr val="accent4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endParaRPr lang="pt-BR" sz="1187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13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2" name="Espaço Reservado para Texto 3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9764" name="Rectangle 4"/>
          <p:cNvSpPr>
            <a:spLocks noChangeArrowheads="1"/>
          </p:cNvSpPr>
          <p:nvPr/>
        </p:nvSpPr>
        <p:spPr bwMode="auto">
          <a:xfrm>
            <a:off x="4250807" y="2052698"/>
            <a:ext cx="2190198" cy="65795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29765" name="Rectangle 5"/>
          <p:cNvSpPr>
            <a:spLocks noChangeArrowheads="1"/>
          </p:cNvSpPr>
          <p:nvPr/>
        </p:nvSpPr>
        <p:spPr bwMode="auto">
          <a:xfrm>
            <a:off x="402658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66" name="Rectangle 6"/>
          <p:cNvSpPr>
            <a:spLocks noChangeArrowheads="1"/>
          </p:cNvSpPr>
          <p:nvPr/>
        </p:nvSpPr>
        <p:spPr bwMode="auto">
          <a:xfrm>
            <a:off x="1595524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67" name="Rectangle 7"/>
          <p:cNvSpPr>
            <a:spLocks noChangeArrowheads="1"/>
          </p:cNvSpPr>
          <p:nvPr/>
        </p:nvSpPr>
        <p:spPr bwMode="auto">
          <a:xfrm>
            <a:off x="2935502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68" name="Rectangle 8"/>
          <p:cNvSpPr>
            <a:spLocks noChangeArrowheads="1"/>
          </p:cNvSpPr>
          <p:nvPr/>
        </p:nvSpPr>
        <p:spPr bwMode="auto">
          <a:xfrm>
            <a:off x="4128368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69" name="Rectangle 9"/>
          <p:cNvSpPr>
            <a:spLocks noChangeArrowheads="1"/>
          </p:cNvSpPr>
          <p:nvPr/>
        </p:nvSpPr>
        <p:spPr bwMode="auto">
          <a:xfrm>
            <a:off x="5468345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70" name="Rectangle 10"/>
          <p:cNvSpPr>
            <a:spLocks noChangeArrowheads="1"/>
          </p:cNvSpPr>
          <p:nvPr/>
        </p:nvSpPr>
        <p:spPr bwMode="auto">
          <a:xfrm>
            <a:off x="6661211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71" name="Rectangle 11"/>
          <p:cNvSpPr>
            <a:spLocks noChangeArrowheads="1"/>
          </p:cNvSpPr>
          <p:nvPr/>
        </p:nvSpPr>
        <p:spPr bwMode="auto">
          <a:xfrm>
            <a:off x="8001189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sp>
        <p:nvSpPr>
          <p:cNvPr id="629772" name="Rectangle 12"/>
          <p:cNvSpPr>
            <a:spLocks noChangeArrowheads="1"/>
          </p:cNvSpPr>
          <p:nvPr/>
        </p:nvSpPr>
        <p:spPr bwMode="auto">
          <a:xfrm>
            <a:off x="9194058" y="4766773"/>
            <a:ext cx="1095099" cy="657958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/>
              <a:t>Sub...</a:t>
            </a:r>
          </a:p>
        </p:txBody>
      </p:sp>
      <p:cxnSp>
        <p:nvCxnSpPr>
          <p:cNvPr id="629773" name="AutoShape 13"/>
          <p:cNvCxnSpPr>
            <a:cxnSpLocks noChangeShapeType="1"/>
            <a:stCxn id="629771" idx="0"/>
            <a:endCxn id="629776" idx="2"/>
          </p:cNvCxnSpPr>
          <p:nvPr/>
        </p:nvCxnSpPr>
        <p:spPr bwMode="auto">
          <a:xfrm rot="5400000" flipH="1" flipV="1">
            <a:off x="8476854" y="4098455"/>
            <a:ext cx="740202" cy="596434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9774" name="Rectangle 14"/>
          <p:cNvSpPr>
            <a:spLocks noChangeArrowheads="1"/>
          </p:cNvSpPr>
          <p:nvPr/>
        </p:nvSpPr>
        <p:spPr bwMode="auto">
          <a:xfrm>
            <a:off x="3219049" y="3368613"/>
            <a:ext cx="1720870" cy="657958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 err="1">
                <a:solidFill>
                  <a:schemeClr val="bg1"/>
                </a:solidFill>
              </a:rPr>
              <a:t>Region</a:t>
            </a:r>
            <a:r>
              <a:rPr lang="pt-BR" sz="1295" dirty="0">
                <a:solidFill>
                  <a:schemeClr val="bg1"/>
                </a:solidFill>
              </a:rPr>
              <a:t> 2</a:t>
            </a:r>
          </a:p>
        </p:txBody>
      </p:sp>
      <p:sp>
        <p:nvSpPr>
          <p:cNvPr id="629775" name="Rectangle 15"/>
          <p:cNvSpPr>
            <a:spLocks noChangeArrowheads="1"/>
          </p:cNvSpPr>
          <p:nvPr/>
        </p:nvSpPr>
        <p:spPr bwMode="auto">
          <a:xfrm>
            <a:off x="5751893" y="3368613"/>
            <a:ext cx="1720870" cy="657958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 err="1">
                <a:solidFill>
                  <a:schemeClr val="bg1"/>
                </a:solidFill>
              </a:rPr>
              <a:t>Region</a:t>
            </a:r>
            <a:r>
              <a:rPr lang="pt-BR" sz="1295" dirty="0">
                <a:solidFill>
                  <a:schemeClr val="bg1"/>
                </a:solidFill>
              </a:rPr>
              <a:t> 3</a:t>
            </a:r>
          </a:p>
        </p:txBody>
      </p:sp>
      <p:sp>
        <p:nvSpPr>
          <p:cNvPr id="629776" name="Rectangle 16"/>
          <p:cNvSpPr>
            <a:spLocks noChangeArrowheads="1"/>
          </p:cNvSpPr>
          <p:nvPr/>
        </p:nvSpPr>
        <p:spPr bwMode="auto">
          <a:xfrm>
            <a:off x="8284737" y="3368613"/>
            <a:ext cx="1720870" cy="657958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 err="1">
                <a:solidFill>
                  <a:schemeClr val="bg1"/>
                </a:solidFill>
              </a:rPr>
              <a:t>Region</a:t>
            </a:r>
            <a:r>
              <a:rPr lang="pt-BR" sz="1295" dirty="0">
                <a:solidFill>
                  <a:schemeClr val="bg1"/>
                </a:solidFill>
              </a:rPr>
              <a:t> 4</a:t>
            </a:r>
          </a:p>
        </p:txBody>
      </p:sp>
      <p:sp>
        <p:nvSpPr>
          <p:cNvPr id="629777" name="Rectangle 17"/>
          <p:cNvSpPr>
            <a:spLocks noChangeArrowheads="1"/>
          </p:cNvSpPr>
          <p:nvPr/>
        </p:nvSpPr>
        <p:spPr bwMode="auto">
          <a:xfrm>
            <a:off x="686206" y="3368613"/>
            <a:ext cx="1720870" cy="657958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 dirty="0" err="1">
                <a:solidFill>
                  <a:schemeClr val="bg1"/>
                </a:solidFill>
              </a:rPr>
              <a:t>Region</a:t>
            </a:r>
            <a:r>
              <a:rPr lang="pt-BR" sz="1295" dirty="0">
                <a:solidFill>
                  <a:schemeClr val="bg1"/>
                </a:solidFill>
              </a:rPr>
              <a:t> 1</a:t>
            </a:r>
          </a:p>
        </p:txBody>
      </p:sp>
      <p:cxnSp>
        <p:nvCxnSpPr>
          <p:cNvPr id="629778" name="AutoShape 18"/>
          <p:cNvCxnSpPr>
            <a:cxnSpLocks noChangeShapeType="1"/>
            <a:stCxn id="629772" idx="0"/>
            <a:endCxn id="629776" idx="2"/>
          </p:cNvCxnSpPr>
          <p:nvPr/>
        </p:nvCxnSpPr>
        <p:spPr bwMode="auto">
          <a:xfrm rot="16200000" flipV="1">
            <a:off x="9073289" y="4098455"/>
            <a:ext cx="740202" cy="59643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79" name="AutoShape 19"/>
          <p:cNvCxnSpPr>
            <a:cxnSpLocks noChangeShapeType="1"/>
            <a:stCxn id="629767" idx="0"/>
            <a:endCxn id="629774" idx="2"/>
          </p:cNvCxnSpPr>
          <p:nvPr/>
        </p:nvCxnSpPr>
        <p:spPr bwMode="auto">
          <a:xfrm rot="5400000" flipH="1" flipV="1">
            <a:off x="3411166" y="4098457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0" name="AutoShape 20"/>
          <p:cNvCxnSpPr>
            <a:cxnSpLocks noChangeShapeType="1"/>
            <a:stCxn id="629768" idx="0"/>
            <a:endCxn id="629774" idx="2"/>
          </p:cNvCxnSpPr>
          <p:nvPr/>
        </p:nvCxnSpPr>
        <p:spPr bwMode="auto">
          <a:xfrm rot="16200000" flipV="1">
            <a:off x="4007600" y="4098456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1" name="AutoShape 21"/>
          <p:cNvCxnSpPr>
            <a:cxnSpLocks noChangeShapeType="1"/>
            <a:stCxn id="629769" idx="0"/>
            <a:endCxn id="629775" idx="2"/>
          </p:cNvCxnSpPr>
          <p:nvPr/>
        </p:nvCxnSpPr>
        <p:spPr bwMode="auto">
          <a:xfrm rot="5400000" flipH="1" flipV="1">
            <a:off x="5944010" y="4098457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2" name="AutoShape 22"/>
          <p:cNvCxnSpPr>
            <a:cxnSpLocks noChangeShapeType="1"/>
            <a:stCxn id="629770" idx="0"/>
            <a:endCxn id="629775" idx="2"/>
          </p:cNvCxnSpPr>
          <p:nvPr/>
        </p:nvCxnSpPr>
        <p:spPr bwMode="auto">
          <a:xfrm rot="16200000" flipV="1">
            <a:off x="6540444" y="4098456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3" name="AutoShape 23"/>
          <p:cNvCxnSpPr>
            <a:cxnSpLocks noChangeShapeType="1"/>
            <a:stCxn id="629765" idx="0"/>
            <a:endCxn id="629777" idx="2"/>
          </p:cNvCxnSpPr>
          <p:nvPr/>
        </p:nvCxnSpPr>
        <p:spPr bwMode="auto">
          <a:xfrm rot="5400000" flipH="1" flipV="1">
            <a:off x="878323" y="4098457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4" name="AutoShape 24"/>
          <p:cNvCxnSpPr>
            <a:cxnSpLocks noChangeShapeType="1"/>
            <a:stCxn id="629766" idx="0"/>
            <a:endCxn id="629777" idx="2"/>
          </p:cNvCxnSpPr>
          <p:nvPr/>
        </p:nvCxnSpPr>
        <p:spPr bwMode="auto">
          <a:xfrm rot="16200000" flipV="1">
            <a:off x="1474757" y="4098456"/>
            <a:ext cx="740202" cy="59643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5" name="AutoShape 25"/>
          <p:cNvCxnSpPr>
            <a:cxnSpLocks noChangeShapeType="1"/>
            <a:stCxn id="629774" idx="0"/>
            <a:endCxn id="629764" idx="2"/>
          </p:cNvCxnSpPr>
          <p:nvPr/>
        </p:nvCxnSpPr>
        <p:spPr bwMode="auto">
          <a:xfrm rot="5400000" flipH="1" flipV="1">
            <a:off x="4383716" y="2406424"/>
            <a:ext cx="657958" cy="126642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6" name="AutoShape 26"/>
          <p:cNvCxnSpPr>
            <a:cxnSpLocks noChangeShapeType="1"/>
            <a:stCxn id="629775" idx="0"/>
            <a:endCxn id="629764" idx="2"/>
          </p:cNvCxnSpPr>
          <p:nvPr/>
        </p:nvCxnSpPr>
        <p:spPr bwMode="auto">
          <a:xfrm rot="16200000" flipV="1">
            <a:off x="5650138" y="2406424"/>
            <a:ext cx="657958" cy="126642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7" name="AutoShape 27"/>
          <p:cNvCxnSpPr>
            <a:cxnSpLocks noChangeShapeType="1"/>
            <a:stCxn id="629776" idx="0"/>
            <a:endCxn id="629764" idx="2"/>
          </p:cNvCxnSpPr>
          <p:nvPr/>
        </p:nvCxnSpPr>
        <p:spPr bwMode="auto">
          <a:xfrm rot="16200000" flipV="1">
            <a:off x="6916561" y="1140002"/>
            <a:ext cx="657958" cy="379926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9788" name="AutoShape 28"/>
          <p:cNvCxnSpPr>
            <a:cxnSpLocks noChangeShapeType="1"/>
            <a:stCxn id="629777" idx="0"/>
            <a:endCxn id="629764" idx="2"/>
          </p:cNvCxnSpPr>
          <p:nvPr/>
        </p:nvCxnSpPr>
        <p:spPr bwMode="auto">
          <a:xfrm rot="5400000" flipH="1" flipV="1">
            <a:off x="3117294" y="1140002"/>
            <a:ext cx="657958" cy="379926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320124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ítulo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7" name="Espaço Reservado para Texto 3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cxnSp>
        <p:nvCxnSpPr>
          <p:cNvPr id="634890" name="AutoShape 10"/>
          <p:cNvCxnSpPr>
            <a:cxnSpLocks noChangeShapeType="1"/>
            <a:stCxn id="634888" idx="2"/>
            <a:endCxn id="634914" idx="0"/>
          </p:cNvCxnSpPr>
          <p:nvPr/>
        </p:nvCxnSpPr>
        <p:spPr bwMode="auto">
          <a:xfrm rot="5400000">
            <a:off x="1559203" y="4349533"/>
            <a:ext cx="727352" cy="40869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891" name="AutoShape 11"/>
          <p:cNvCxnSpPr>
            <a:cxnSpLocks noChangeShapeType="1"/>
            <a:stCxn id="634913" idx="0"/>
            <a:endCxn id="634888" idx="2"/>
          </p:cNvCxnSpPr>
          <p:nvPr/>
        </p:nvCxnSpPr>
        <p:spPr bwMode="auto">
          <a:xfrm rot="16200000" flipV="1">
            <a:off x="1976017" y="4341412"/>
            <a:ext cx="727352" cy="42493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894" name="AutoShape 14"/>
          <p:cNvCxnSpPr>
            <a:cxnSpLocks noChangeShapeType="1"/>
            <a:stCxn id="634897" idx="2"/>
            <a:endCxn id="634892" idx="0"/>
          </p:cNvCxnSpPr>
          <p:nvPr/>
        </p:nvCxnSpPr>
        <p:spPr bwMode="auto">
          <a:xfrm rot="5400000">
            <a:off x="4569690" y="4141338"/>
            <a:ext cx="727351" cy="825086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895" name="AutoShape 15"/>
          <p:cNvCxnSpPr>
            <a:cxnSpLocks noChangeShapeType="1"/>
            <a:stCxn id="634893" idx="0"/>
            <a:endCxn id="634897" idx="2"/>
          </p:cNvCxnSpPr>
          <p:nvPr/>
        </p:nvCxnSpPr>
        <p:spPr bwMode="auto">
          <a:xfrm rot="16200000" flipV="1">
            <a:off x="5394775" y="4141338"/>
            <a:ext cx="727351" cy="82508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34896" name="Rectangle 16"/>
          <p:cNvSpPr>
            <a:spLocks noChangeArrowheads="1"/>
          </p:cNvSpPr>
          <p:nvPr/>
        </p:nvSpPr>
        <p:spPr bwMode="auto">
          <a:xfrm>
            <a:off x="4687949" y="2189772"/>
            <a:ext cx="1315915" cy="65795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34888" name="Rectangle 8"/>
          <p:cNvSpPr>
            <a:spLocks noChangeArrowheads="1"/>
          </p:cNvSpPr>
          <p:nvPr/>
        </p:nvSpPr>
        <p:spPr bwMode="auto">
          <a:xfrm>
            <a:off x="1590922" y="3588790"/>
            <a:ext cx="1072608" cy="60141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4889" name="Rectangle 9"/>
          <p:cNvSpPr>
            <a:spLocks noChangeArrowheads="1"/>
          </p:cNvSpPr>
          <p:nvPr/>
        </p:nvSpPr>
        <p:spPr bwMode="auto">
          <a:xfrm>
            <a:off x="8028283" y="3588790"/>
            <a:ext cx="1072608" cy="601414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4897" name="Rectangle 17"/>
          <p:cNvSpPr>
            <a:spLocks noChangeArrowheads="1"/>
          </p:cNvSpPr>
          <p:nvPr/>
        </p:nvSpPr>
        <p:spPr bwMode="auto">
          <a:xfrm>
            <a:off x="4809603" y="3588790"/>
            <a:ext cx="1072608" cy="60141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cxnSp>
        <p:nvCxnSpPr>
          <p:cNvPr id="634898" name="AutoShape 18"/>
          <p:cNvCxnSpPr>
            <a:cxnSpLocks noChangeShapeType="1"/>
            <a:stCxn id="634896" idx="2"/>
            <a:endCxn id="634889" idx="0"/>
          </p:cNvCxnSpPr>
          <p:nvPr/>
        </p:nvCxnSpPr>
        <p:spPr bwMode="auto">
          <a:xfrm rot="16200000" flipH="1">
            <a:off x="6584717" y="1608919"/>
            <a:ext cx="741059" cy="321868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899" name="AutoShape 19"/>
          <p:cNvCxnSpPr>
            <a:cxnSpLocks noChangeShapeType="1"/>
            <a:stCxn id="634915" idx="0"/>
            <a:endCxn id="634889" idx="2"/>
          </p:cNvCxnSpPr>
          <p:nvPr/>
        </p:nvCxnSpPr>
        <p:spPr bwMode="auto">
          <a:xfrm rot="5400000" flipH="1" flipV="1">
            <a:off x="7578688" y="3931655"/>
            <a:ext cx="727351" cy="124444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34906" name="Text Box 26"/>
          <p:cNvSpPr txBox="1">
            <a:spLocks noChangeArrowheads="1"/>
          </p:cNvSpPr>
          <p:nvPr/>
        </p:nvSpPr>
        <p:spPr bwMode="auto">
          <a:xfrm>
            <a:off x="2769796" y="3789855"/>
            <a:ext cx="24526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/>
            <a:r>
              <a:rPr lang="pt-BR" sz="1295"/>
              <a:t>xxx</a:t>
            </a:r>
            <a:endParaRPr lang="pt-BR" sz="2159" dirty="0"/>
          </a:p>
        </p:txBody>
      </p:sp>
      <p:sp>
        <p:nvSpPr>
          <p:cNvPr id="634907" name="Text Box 27"/>
          <p:cNvSpPr txBox="1">
            <a:spLocks noChangeArrowheads="1"/>
          </p:cNvSpPr>
          <p:nvPr/>
        </p:nvSpPr>
        <p:spPr bwMode="auto">
          <a:xfrm>
            <a:off x="5993789" y="3789855"/>
            <a:ext cx="24526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/>
            <a:r>
              <a:rPr lang="pt-BR" sz="1295"/>
              <a:t>xxx</a:t>
            </a:r>
            <a:endParaRPr lang="pt-BR" sz="2159" dirty="0"/>
          </a:p>
        </p:txBody>
      </p:sp>
      <p:sp>
        <p:nvSpPr>
          <p:cNvPr id="634908" name="Text Box 28"/>
          <p:cNvSpPr txBox="1">
            <a:spLocks noChangeArrowheads="1"/>
          </p:cNvSpPr>
          <p:nvPr/>
        </p:nvSpPr>
        <p:spPr bwMode="auto">
          <a:xfrm>
            <a:off x="9220043" y="3789855"/>
            <a:ext cx="24526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/>
            <a:r>
              <a:rPr lang="pt-BR" sz="1295"/>
              <a:t>xxx</a:t>
            </a:r>
            <a:endParaRPr lang="pt-BR" sz="2159" dirty="0"/>
          </a:p>
        </p:txBody>
      </p:sp>
      <p:sp>
        <p:nvSpPr>
          <p:cNvPr id="634909" name="Text Box 29"/>
          <p:cNvSpPr txBox="1">
            <a:spLocks noChangeArrowheads="1"/>
          </p:cNvSpPr>
          <p:nvPr/>
        </p:nvSpPr>
        <p:spPr bwMode="auto">
          <a:xfrm>
            <a:off x="6087548" y="2419110"/>
            <a:ext cx="245260" cy="199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822427"/>
            <a:r>
              <a:rPr lang="pt-BR" sz="1295"/>
              <a:t>xxx</a:t>
            </a:r>
            <a:endParaRPr lang="pt-BR" sz="2159" dirty="0"/>
          </a:p>
        </p:txBody>
      </p:sp>
      <p:grpSp>
        <p:nvGrpSpPr>
          <p:cNvPr id="58" name="Grupo 57"/>
          <p:cNvGrpSpPr/>
          <p:nvPr/>
        </p:nvGrpSpPr>
        <p:grpSpPr>
          <a:xfrm>
            <a:off x="4147294" y="4917556"/>
            <a:ext cx="2397227" cy="601415"/>
            <a:chOff x="3690811" y="4483100"/>
            <a:chExt cx="2221039" cy="557213"/>
          </a:xfrm>
        </p:grpSpPr>
        <p:sp>
          <p:nvSpPr>
            <p:cNvPr id="634892" name="Rectangle 12"/>
            <p:cNvSpPr>
              <a:spLocks noChangeArrowheads="1"/>
            </p:cNvSpPr>
            <p:nvPr/>
          </p:nvSpPr>
          <p:spPr bwMode="auto">
            <a:xfrm>
              <a:off x="3690811" y="4483100"/>
              <a:ext cx="692150" cy="5572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893" name="Rectangle 13"/>
            <p:cNvSpPr>
              <a:spLocks noChangeArrowheads="1"/>
            </p:cNvSpPr>
            <p:nvPr/>
          </p:nvSpPr>
          <p:spPr bwMode="auto">
            <a:xfrm>
              <a:off x="5219700" y="4483100"/>
              <a:ext cx="692150" cy="5572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912" name="Rectangle 32"/>
            <p:cNvSpPr>
              <a:spLocks noChangeArrowheads="1"/>
            </p:cNvSpPr>
            <p:nvPr/>
          </p:nvSpPr>
          <p:spPr bwMode="auto">
            <a:xfrm>
              <a:off x="4455256" y="4483100"/>
              <a:ext cx="692150" cy="5572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99377"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</p:grpSp>
      <p:grpSp>
        <p:nvGrpSpPr>
          <p:cNvPr id="61" name="Grupo 60"/>
          <p:cNvGrpSpPr/>
          <p:nvPr/>
        </p:nvGrpSpPr>
        <p:grpSpPr>
          <a:xfrm>
            <a:off x="1345004" y="4917556"/>
            <a:ext cx="1580686" cy="601415"/>
            <a:chOff x="2295144" y="4483100"/>
            <a:chExt cx="1464511" cy="557213"/>
          </a:xfrm>
        </p:grpSpPr>
        <p:sp>
          <p:nvSpPr>
            <p:cNvPr id="634913" name="Rectangle 33"/>
            <p:cNvSpPr>
              <a:spLocks noChangeArrowheads="1"/>
            </p:cNvSpPr>
            <p:nvPr/>
          </p:nvSpPr>
          <p:spPr bwMode="auto">
            <a:xfrm>
              <a:off x="3067505" y="4483100"/>
              <a:ext cx="692150" cy="5572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914" name="Rectangle 34"/>
            <p:cNvSpPr>
              <a:spLocks noChangeArrowheads="1"/>
            </p:cNvSpPr>
            <p:nvPr/>
          </p:nvSpPr>
          <p:spPr bwMode="auto">
            <a:xfrm>
              <a:off x="2295144" y="4483100"/>
              <a:ext cx="692150" cy="55721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</p:grpSp>
      <p:grpSp>
        <p:nvGrpSpPr>
          <p:cNvPr id="62" name="Grupo 61"/>
          <p:cNvGrpSpPr/>
          <p:nvPr/>
        </p:nvGrpSpPr>
        <p:grpSpPr>
          <a:xfrm>
            <a:off x="6946611" y="4917555"/>
            <a:ext cx="3247947" cy="602264"/>
            <a:chOff x="6141116" y="4483099"/>
            <a:chExt cx="3009234" cy="558000"/>
          </a:xfrm>
        </p:grpSpPr>
        <p:sp>
          <p:nvSpPr>
            <p:cNvPr id="634915" name="Rectangle 35"/>
            <p:cNvSpPr>
              <a:spLocks noChangeArrowheads="1"/>
            </p:cNvSpPr>
            <p:nvPr/>
          </p:nvSpPr>
          <p:spPr bwMode="auto">
            <a:xfrm>
              <a:off x="6141116" y="4483099"/>
              <a:ext cx="692150" cy="55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916" name="Rectangle 36"/>
            <p:cNvSpPr>
              <a:spLocks noChangeArrowheads="1"/>
            </p:cNvSpPr>
            <p:nvPr/>
          </p:nvSpPr>
          <p:spPr bwMode="auto">
            <a:xfrm>
              <a:off x="6913477" y="4483099"/>
              <a:ext cx="692150" cy="55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917" name="Rectangle 37"/>
            <p:cNvSpPr>
              <a:spLocks noChangeArrowheads="1"/>
            </p:cNvSpPr>
            <p:nvPr/>
          </p:nvSpPr>
          <p:spPr bwMode="auto">
            <a:xfrm>
              <a:off x="7685838" y="4483099"/>
              <a:ext cx="692150" cy="55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  <p:sp>
          <p:nvSpPr>
            <p:cNvPr id="634918" name="Rectangle 38"/>
            <p:cNvSpPr>
              <a:spLocks noChangeArrowheads="1"/>
            </p:cNvSpPr>
            <p:nvPr/>
          </p:nvSpPr>
          <p:spPr bwMode="auto">
            <a:xfrm>
              <a:off x="8458200" y="4483099"/>
              <a:ext cx="692150" cy="55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algn="ctr" defTabSz="822427"/>
              <a:r>
                <a:rPr lang="es-ES_tradnl" sz="1079"/>
                <a:t>xxx</a:t>
              </a:r>
              <a:endParaRPr lang="es-ES_tradnl" sz="1079" dirty="0"/>
            </a:p>
          </p:txBody>
        </p:sp>
      </p:grpSp>
      <p:cxnSp>
        <p:nvCxnSpPr>
          <p:cNvPr id="634919" name="AutoShape 39"/>
          <p:cNvCxnSpPr>
            <a:cxnSpLocks noChangeShapeType="1"/>
            <a:stCxn id="634918" idx="0"/>
            <a:endCxn id="634889" idx="2"/>
          </p:cNvCxnSpPr>
          <p:nvPr/>
        </p:nvCxnSpPr>
        <p:spPr bwMode="auto">
          <a:xfrm rot="16200000" flipV="1">
            <a:off x="8829134" y="3925659"/>
            <a:ext cx="727351" cy="1256442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920" name="AutoShape 40"/>
          <p:cNvCxnSpPr>
            <a:cxnSpLocks noChangeShapeType="1"/>
            <a:stCxn id="634917" idx="0"/>
            <a:endCxn id="634889" idx="2"/>
          </p:cNvCxnSpPr>
          <p:nvPr/>
        </p:nvCxnSpPr>
        <p:spPr bwMode="auto">
          <a:xfrm rot="16200000" flipV="1">
            <a:off x="8412319" y="4342474"/>
            <a:ext cx="727351" cy="42281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921" name="AutoShape 41"/>
          <p:cNvCxnSpPr>
            <a:cxnSpLocks noChangeShapeType="1"/>
            <a:stCxn id="634916" idx="0"/>
            <a:endCxn id="634889" idx="2"/>
          </p:cNvCxnSpPr>
          <p:nvPr/>
        </p:nvCxnSpPr>
        <p:spPr bwMode="auto">
          <a:xfrm rot="5400000" flipH="1" flipV="1">
            <a:off x="7995503" y="4348471"/>
            <a:ext cx="727351" cy="410819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4923" name="AutoShape 43"/>
          <p:cNvCxnSpPr>
            <a:cxnSpLocks noChangeShapeType="1"/>
            <a:stCxn id="634897" idx="2"/>
            <a:endCxn id="634912" idx="0"/>
          </p:cNvCxnSpPr>
          <p:nvPr/>
        </p:nvCxnSpPr>
        <p:spPr bwMode="auto">
          <a:xfrm>
            <a:off x="5345907" y="4190205"/>
            <a:ext cx="0" cy="727351"/>
          </a:xfrm>
          <a:prstGeom prst="straightConnector1">
            <a:avLst/>
          </a:prstGeom>
          <a:noFill/>
          <a:ln w="9525">
            <a:solidFill>
              <a:schemeClr val="accent4"/>
            </a:solidFill>
            <a:round/>
            <a:headEnd/>
            <a:tailEnd/>
          </a:ln>
          <a:effectLst/>
        </p:spPr>
      </p:cxnSp>
      <p:cxnSp>
        <p:nvCxnSpPr>
          <p:cNvPr id="49" name="AutoShape 18"/>
          <p:cNvCxnSpPr>
            <a:cxnSpLocks noChangeShapeType="1"/>
            <a:stCxn id="634896" idx="2"/>
            <a:endCxn id="634888" idx="0"/>
          </p:cNvCxnSpPr>
          <p:nvPr/>
        </p:nvCxnSpPr>
        <p:spPr bwMode="auto">
          <a:xfrm rot="5400000">
            <a:off x="3366036" y="1608920"/>
            <a:ext cx="741059" cy="321868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52" name="AutoShape 18"/>
          <p:cNvCxnSpPr>
            <a:cxnSpLocks noChangeShapeType="1"/>
            <a:stCxn id="634896" idx="2"/>
            <a:endCxn id="634897" idx="0"/>
          </p:cNvCxnSpPr>
          <p:nvPr/>
        </p:nvCxnSpPr>
        <p:spPr bwMode="auto">
          <a:xfrm rot="16200000" flipH="1">
            <a:off x="4975377" y="3218259"/>
            <a:ext cx="741059" cy="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23692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ítulo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31831" name="Oval 23"/>
          <p:cNvSpPr>
            <a:spLocks noChangeArrowheads="1"/>
          </p:cNvSpPr>
          <p:nvPr/>
        </p:nvSpPr>
        <p:spPr bwMode="auto">
          <a:xfrm>
            <a:off x="8510144" y="2147898"/>
            <a:ext cx="1779011" cy="825048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22427"/>
            <a:r>
              <a:rPr lang="pt-BR" sz="1295" dirty="0"/>
              <a:t>Fase I:</a:t>
            </a:r>
          </a:p>
          <a:p>
            <a:pPr algn="ctr" defTabSz="82242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31832" name="Oval 24"/>
          <p:cNvSpPr>
            <a:spLocks noChangeArrowheads="1"/>
          </p:cNvSpPr>
          <p:nvPr/>
        </p:nvSpPr>
        <p:spPr bwMode="auto">
          <a:xfrm>
            <a:off x="8510143" y="4833392"/>
            <a:ext cx="1779014" cy="772278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822427"/>
            <a:r>
              <a:rPr lang="pt-BR" sz="1295" dirty="0"/>
              <a:t>Fase II:</a:t>
            </a:r>
          </a:p>
          <a:p>
            <a:pPr algn="ctr" defTabSz="822427"/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31811" name="Text Box 3"/>
          <p:cNvSpPr txBox="1">
            <a:spLocks noChangeArrowheads="1"/>
          </p:cNvSpPr>
          <p:nvPr/>
        </p:nvSpPr>
        <p:spPr bwMode="auto">
          <a:xfrm>
            <a:off x="2872081" y="1805964"/>
            <a:ext cx="2906265" cy="54939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7646" tIns="43053" rIns="87646" bIns="43053" anchor="ctr"/>
          <a:lstStyle/>
          <a:p>
            <a:pPr algn="ctr" defTabSz="738471"/>
            <a:r>
              <a:rPr lang="pt-BR" sz="1511">
                <a:solidFill>
                  <a:schemeClr val="bg1"/>
                </a:solidFill>
              </a:rPr>
              <a:t>xxxx</a:t>
            </a:r>
            <a:endParaRPr lang="pt-BR" sz="1511" dirty="0">
              <a:solidFill>
                <a:schemeClr val="bg1"/>
              </a:solidFill>
            </a:endParaRPr>
          </a:p>
        </p:txBody>
      </p:sp>
      <p:sp>
        <p:nvSpPr>
          <p:cNvPr id="631813" name="Text Box 5"/>
          <p:cNvSpPr txBox="1">
            <a:spLocks noChangeArrowheads="1"/>
          </p:cNvSpPr>
          <p:nvPr/>
        </p:nvSpPr>
        <p:spPr bwMode="auto">
          <a:xfrm>
            <a:off x="414650" y="2765484"/>
            <a:ext cx="1052875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14" name="Text Box 6"/>
          <p:cNvSpPr txBox="1">
            <a:spLocks noChangeArrowheads="1"/>
          </p:cNvSpPr>
          <p:nvPr/>
        </p:nvSpPr>
        <p:spPr bwMode="auto">
          <a:xfrm>
            <a:off x="1750262" y="2765484"/>
            <a:ext cx="1068427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15" name="Text Box 7"/>
          <p:cNvSpPr txBox="1">
            <a:spLocks noChangeArrowheads="1"/>
          </p:cNvSpPr>
          <p:nvPr/>
        </p:nvSpPr>
        <p:spPr bwMode="auto">
          <a:xfrm>
            <a:off x="3101424" y="2765484"/>
            <a:ext cx="1077757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30" name="Text Box 22"/>
          <p:cNvSpPr txBox="1">
            <a:spLocks noChangeArrowheads="1"/>
          </p:cNvSpPr>
          <p:nvPr/>
        </p:nvSpPr>
        <p:spPr bwMode="auto">
          <a:xfrm>
            <a:off x="2893829" y="4458356"/>
            <a:ext cx="2862770" cy="549395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31838" name="Text Box 30"/>
          <p:cNvSpPr txBox="1">
            <a:spLocks noChangeArrowheads="1"/>
          </p:cNvSpPr>
          <p:nvPr/>
        </p:nvSpPr>
        <p:spPr bwMode="auto">
          <a:xfrm>
            <a:off x="5822411" y="2765484"/>
            <a:ext cx="1077757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39" name="Text Box 31"/>
          <p:cNvSpPr txBox="1">
            <a:spLocks noChangeArrowheads="1"/>
          </p:cNvSpPr>
          <p:nvPr/>
        </p:nvSpPr>
        <p:spPr bwMode="auto">
          <a:xfrm>
            <a:off x="7182902" y="2765484"/>
            <a:ext cx="1077758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40" name="Text Box 32"/>
          <p:cNvSpPr txBox="1">
            <a:spLocks noChangeArrowheads="1"/>
          </p:cNvSpPr>
          <p:nvPr/>
        </p:nvSpPr>
        <p:spPr bwMode="auto">
          <a:xfrm>
            <a:off x="4461917" y="2765484"/>
            <a:ext cx="1077758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cxnSp>
        <p:nvCxnSpPr>
          <p:cNvPr id="631841" name="AutoShape 33"/>
          <p:cNvCxnSpPr>
            <a:cxnSpLocks noChangeShapeType="1"/>
            <a:stCxn id="631813" idx="0"/>
            <a:endCxn id="631811" idx="2"/>
          </p:cNvCxnSpPr>
          <p:nvPr/>
        </p:nvCxnSpPr>
        <p:spPr bwMode="auto">
          <a:xfrm rot="5400000" flipH="1" flipV="1">
            <a:off x="2428089" y="868359"/>
            <a:ext cx="410126" cy="3384126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1842" name="AutoShape 34"/>
          <p:cNvCxnSpPr>
            <a:cxnSpLocks noChangeShapeType="1"/>
            <a:stCxn id="631814" idx="0"/>
            <a:endCxn id="631811" idx="2"/>
          </p:cNvCxnSpPr>
          <p:nvPr/>
        </p:nvCxnSpPr>
        <p:spPr bwMode="auto">
          <a:xfrm rot="5400000" flipH="1" flipV="1">
            <a:off x="3099782" y="1540054"/>
            <a:ext cx="410126" cy="2040738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1843" name="AutoShape 35"/>
          <p:cNvCxnSpPr>
            <a:cxnSpLocks noChangeShapeType="1"/>
            <a:stCxn id="631815" idx="0"/>
            <a:endCxn id="631811" idx="2"/>
          </p:cNvCxnSpPr>
          <p:nvPr/>
        </p:nvCxnSpPr>
        <p:spPr bwMode="auto">
          <a:xfrm rot="5400000" flipH="1" flipV="1">
            <a:off x="3777696" y="2217967"/>
            <a:ext cx="410126" cy="684911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1844" name="AutoShape 36"/>
          <p:cNvCxnSpPr>
            <a:cxnSpLocks noChangeShapeType="1"/>
            <a:stCxn id="631830" idx="2"/>
            <a:endCxn id="631846" idx="0"/>
          </p:cNvCxnSpPr>
          <p:nvPr/>
        </p:nvCxnSpPr>
        <p:spPr bwMode="auto">
          <a:xfrm rot="16200000" flipH="1">
            <a:off x="4910865" y="4422099"/>
            <a:ext cx="423560" cy="1594863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31845" name="AutoShape 37"/>
          <p:cNvCxnSpPr>
            <a:cxnSpLocks noChangeShapeType="1"/>
            <a:stCxn id="631827" idx="0"/>
            <a:endCxn id="631830" idx="2"/>
          </p:cNvCxnSpPr>
          <p:nvPr/>
        </p:nvCxnSpPr>
        <p:spPr bwMode="auto">
          <a:xfrm rot="5400000" flipH="1" flipV="1">
            <a:off x="3316002" y="4422101"/>
            <a:ext cx="423560" cy="1594862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31827" name="Text Box 19"/>
          <p:cNvSpPr txBox="1">
            <a:spLocks noChangeArrowheads="1"/>
          </p:cNvSpPr>
          <p:nvPr/>
        </p:nvSpPr>
        <p:spPr bwMode="auto">
          <a:xfrm>
            <a:off x="1555394" y="5431311"/>
            <a:ext cx="2349914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46" name="Text Box 38"/>
          <p:cNvSpPr txBox="1">
            <a:spLocks noChangeArrowheads="1"/>
          </p:cNvSpPr>
          <p:nvPr/>
        </p:nvSpPr>
        <p:spPr bwMode="auto">
          <a:xfrm>
            <a:off x="4745119" y="5431311"/>
            <a:ext cx="2349915" cy="549395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1848" name="AutoShape 40"/>
          <p:cNvSpPr>
            <a:spLocks noChangeArrowheads="1"/>
          </p:cNvSpPr>
          <p:nvPr/>
        </p:nvSpPr>
        <p:spPr bwMode="auto">
          <a:xfrm>
            <a:off x="2801406" y="3767707"/>
            <a:ext cx="2988519" cy="237819"/>
          </a:xfrm>
          <a:prstGeom prst="flowChartMerg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cxnSp>
        <p:nvCxnSpPr>
          <p:cNvPr id="28" name="AutoShape 35"/>
          <p:cNvCxnSpPr>
            <a:cxnSpLocks noChangeShapeType="1"/>
            <a:stCxn id="631840" idx="0"/>
            <a:endCxn id="631811" idx="2"/>
          </p:cNvCxnSpPr>
          <p:nvPr/>
        </p:nvCxnSpPr>
        <p:spPr bwMode="auto">
          <a:xfrm rot="16200000" flipV="1">
            <a:off x="4457943" y="2222631"/>
            <a:ext cx="410126" cy="675582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31" name="AutoShape 35"/>
          <p:cNvCxnSpPr>
            <a:cxnSpLocks noChangeShapeType="1"/>
            <a:stCxn id="631838" idx="0"/>
            <a:endCxn id="631811" idx="2"/>
          </p:cNvCxnSpPr>
          <p:nvPr/>
        </p:nvCxnSpPr>
        <p:spPr bwMode="auto">
          <a:xfrm rot="16200000" flipV="1">
            <a:off x="5138190" y="1542384"/>
            <a:ext cx="410126" cy="2036076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34" name="AutoShape 35"/>
          <p:cNvCxnSpPr>
            <a:cxnSpLocks noChangeShapeType="1"/>
            <a:stCxn id="631839" idx="0"/>
            <a:endCxn id="631811" idx="2"/>
          </p:cNvCxnSpPr>
          <p:nvPr/>
        </p:nvCxnSpPr>
        <p:spPr bwMode="auto">
          <a:xfrm rot="16200000" flipV="1">
            <a:off x="5818436" y="862139"/>
            <a:ext cx="410126" cy="3396567"/>
          </a:xfrm>
          <a:prstGeom prst="bentConnector3">
            <a:avLst>
              <a:gd name="adj1" fmla="val 5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01192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5" name="Espaço Reservado para Texto 2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32836" name="Rectangle 4"/>
          <p:cNvSpPr>
            <a:spLocks noChangeArrowheads="1"/>
          </p:cNvSpPr>
          <p:nvPr/>
        </p:nvSpPr>
        <p:spPr bwMode="auto">
          <a:xfrm>
            <a:off x="4545735" y="3655613"/>
            <a:ext cx="1567790" cy="60655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 b="1">
                <a:solidFill>
                  <a:schemeClr val="bg1"/>
                </a:solidFill>
              </a:rPr>
              <a:t>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32837" name="Rectangle 5"/>
          <p:cNvSpPr>
            <a:spLocks noChangeArrowheads="1"/>
          </p:cNvSpPr>
          <p:nvPr/>
        </p:nvSpPr>
        <p:spPr bwMode="auto">
          <a:xfrm>
            <a:off x="2181199" y="2287439"/>
            <a:ext cx="1569503" cy="6065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2838" name="Rectangle 6"/>
          <p:cNvSpPr>
            <a:spLocks noChangeArrowheads="1"/>
          </p:cNvSpPr>
          <p:nvPr/>
        </p:nvSpPr>
        <p:spPr bwMode="auto">
          <a:xfrm>
            <a:off x="6941111" y="2287439"/>
            <a:ext cx="1569503" cy="6065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2839" name="Rectangle 7"/>
          <p:cNvSpPr>
            <a:spLocks noChangeArrowheads="1"/>
          </p:cNvSpPr>
          <p:nvPr/>
        </p:nvSpPr>
        <p:spPr bwMode="auto">
          <a:xfrm>
            <a:off x="6941111" y="5023789"/>
            <a:ext cx="1569503" cy="6065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32840" name="Rectangle 8"/>
          <p:cNvSpPr>
            <a:spLocks noChangeArrowheads="1"/>
          </p:cNvSpPr>
          <p:nvPr/>
        </p:nvSpPr>
        <p:spPr bwMode="auto">
          <a:xfrm>
            <a:off x="2181199" y="5023789"/>
            <a:ext cx="1569503" cy="606555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32841" name="Line 9"/>
          <p:cNvSpPr>
            <a:spLocks noChangeShapeType="1"/>
          </p:cNvSpPr>
          <p:nvPr/>
        </p:nvSpPr>
        <p:spPr bwMode="auto">
          <a:xfrm flipV="1">
            <a:off x="2971091" y="3022501"/>
            <a:ext cx="0" cy="1840225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2" name="Line 10"/>
          <p:cNvSpPr>
            <a:spLocks noChangeShapeType="1"/>
          </p:cNvSpPr>
          <p:nvPr/>
        </p:nvSpPr>
        <p:spPr bwMode="auto">
          <a:xfrm flipV="1">
            <a:off x="7731004" y="3022501"/>
            <a:ext cx="0" cy="1840225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3" name="Line 11"/>
          <p:cNvSpPr>
            <a:spLocks noChangeShapeType="1"/>
          </p:cNvSpPr>
          <p:nvPr/>
        </p:nvSpPr>
        <p:spPr bwMode="auto">
          <a:xfrm>
            <a:off x="4182487" y="5327066"/>
            <a:ext cx="2347401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4" name="Line 12"/>
          <p:cNvSpPr>
            <a:spLocks noChangeShapeType="1"/>
          </p:cNvSpPr>
          <p:nvPr/>
        </p:nvSpPr>
        <p:spPr bwMode="auto">
          <a:xfrm>
            <a:off x="4161926" y="2590716"/>
            <a:ext cx="2347401" cy="0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5" name="Line 13"/>
          <p:cNvSpPr>
            <a:spLocks noChangeShapeType="1"/>
          </p:cNvSpPr>
          <p:nvPr/>
        </p:nvSpPr>
        <p:spPr bwMode="auto">
          <a:xfrm flipH="1" flipV="1">
            <a:off x="3760983" y="2936829"/>
            <a:ext cx="702507" cy="669952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6" name="Line 14"/>
          <p:cNvSpPr>
            <a:spLocks noChangeShapeType="1"/>
          </p:cNvSpPr>
          <p:nvPr/>
        </p:nvSpPr>
        <p:spPr bwMode="auto">
          <a:xfrm flipV="1">
            <a:off x="6183775" y="2947109"/>
            <a:ext cx="704221" cy="671665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7" name="Line 15"/>
          <p:cNvSpPr>
            <a:spLocks noChangeShapeType="1"/>
          </p:cNvSpPr>
          <p:nvPr/>
        </p:nvSpPr>
        <p:spPr bwMode="auto">
          <a:xfrm flipH="1" flipV="1">
            <a:off x="6183775" y="4321282"/>
            <a:ext cx="704221" cy="669952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8" name="Line 16"/>
          <p:cNvSpPr>
            <a:spLocks noChangeShapeType="1"/>
          </p:cNvSpPr>
          <p:nvPr/>
        </p:nvSpPr>
        <p:spPr bwMode="auto">
          <a:xfrm flipV="1">
            <a:off x="3793539" y="4311001"/>
            <a:ext cx="702507" cy="669952"/>
          </a:xfrm>
          <a:prstGeom prst="line">
            <a:avLst/>
          </a:prstGeom>
          <a:noFill/>
          <a:ln w="9525">
            <a:solidFill>
              <a:schemeClr val="accent4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32849" name="Text Box 17"/>
          <p:cNvSpPr txBox="1">
            <a:spLocks noChangeArrowheads="1"/>
          </p:cNvSpPr>
          <p:nvPr/>
        </p:nvSpPr>
        <p:spPr bwMode="auto">
          <a:xfrm>
            <a:off x="4565760" y="4479319"/>
            <a:ext cx="1554403" cy="182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 err="1"/>
              <a:t>Procesos</a:t>
            </a:r>
            <a:r>
              <a:rPr lang="pt-BR" sz="1079" dirty="0"/>
              <a:t> críticos</a:t>
            </a:r>
          </a:p>
        </p:txBody>
      </p:sp>
      <p:sp>
        <p:nvSpPr>
          <p:cNvPr id="632851" name="Rectangle 19"/>
          <p:cNvSpPr>
            <a:spLocks noChangeArrowheads="1"/>
          </p:cNvSpPr>
          <p:nvPr/>
        </p:nvSpPr>
        <p:spPr bwMode="auto">
          <a:xfrm>
            <a:off x="8621987" y="2287439"/>
            <a:ext cx="1667169" cy="91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Objetivos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 err="1"/>
              <a:t>Planificación</a:t>
            </a:r>
            <a:r>
              <a:rPr lang="pt-BR" sz="1079" dirty="0"/>
              <a:t> y </a:t>
            </a:r>
            <a:r>
              <a:rPr lang="pt-BR" sz="1079" dirty="0" err="1"/>
              <a:t>presupuestos</a:t>
            </a:r>
            <a:endParaRPr lang="pt-BR" sz="1079" dirty="0"/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…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...</a:t>
            </a:r>
          </a:p>
        </p:txBody>
      </p:sp>
      <p:sp>
        <p:nvSpPr>
          <p:cNvPr id="632852" name="Rectangle 20"/>
          <p:cNvSpPr>
            <a:spLocks noChangeArrowheads="1"/>
          </p:cNvSpPr>
          <p:nvPr/>
        </p:nvSpPr>
        <p:spPr bwMode="auto">
          <a:xfrm>
            <a:off x="414650" y="5023789"/>
            <a:ext cx="986809" cy="548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 err="1"/>
              <a:t>Necesidades</a:t>
            </a:r>
            <a:endParaRPr lang="pt-BR" sz="1079" dirty="0"/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Perfiles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...</a:t>
            </a:r>
          </a:p>
        </p:txBody>
      </p:sp>
      <p:sp>
        <p:nvSpPr>
          <p:cNvPr id="632853" name="Rectangle 21"/>
          <p:cNvSpPr>
            <a:spLocks noChangeArrowheads="1"/>
          </p:cNvSpPr>
          <p:nvPr/>
        </p:nvSpPr>
        <p:spPr bwMode="auto">
          <a:xfrm>
            <a:off x="414650" y="2287439"/>
            <a:ext cx="996427" cy="548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 err="1"/>
              <a:t>Organigrama</a:t>
            </a:r>
            <a:endParaRPr lang="pt-BR" sz="1079" dirty="0"/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Funciones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...</a:t>
            </a:r>
          </a:p>
        </p:txBody>
      </p:sp>
      <p:sp>
        <p:nvSpPr>
          <p:cNvPr id="632854" name="Rectangle 22"/>
          <p:cNvSpPr>
            <a:spLocks noChangeArrowheads="1"/>
          </p:cNvSpPr>
          <p:nvPr/>
        </p:nvSpPr>
        <p:spPr bwMode="auto">
          <a:xfrm>
            <a:off x="8621987" y="5023788"/>
            <a:ext cx="1667169" cy="913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Objetivos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 err="1"/>
              <a:t>Planificación</a:t>
            </a:r>
            <a:r>
              <a:rPr lang="pt-BR" sz="1079" dirty="0"/>
              <a:t> y </a:t>
            </a:r>
            <a:r>
              <a:rPr lang="pt-BR" sz="1079" dirty="0" err="1"/>
              <a:t>presupuestos</a:t>
            </a:r>
            <a:endParaRPr lang="pt-BR" sz="1079" dirty="0"/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…</a:t>
            </a:r>
          </a:p>
          <a:p>
            <a:pPr marL="164485" indent="-164485" defTabSz="822427">
              <a:lnSpc>
                <a:spcPct val="110000"/>
              </a:lnSpc>
              <a:buFontTx/>
              <a:buChar char="•"/>
            </a:pPr>
            <a:r>
              <a:rPr lang="pt-BR" sz="1079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48966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Ilustrativo de temas vs. situações/cenários (matriz)</a:t>
            </a:r>
            <a:endParaRPr lang="pt-B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sp>
        <p:nvSpPr>
          <p:cNvPr id="5" name="Pentagon 4"/>
          <p:cNvSpPr/>
          <p:nvPr/>
        </p:nvSpPr>
        <p:spPr>
          <a:xfrm>
            <a:off x="397515" y="1524135"/>
            <a:ext cx="1623361" cy="1271388"/>
          </a:xfrm>
          <a:prstGeom prst="homePlate">
            <a:avLst>
              <a:gd name="adj" fmla="val 3022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 b="1">
                <a:solidFill>
                  <a:schemeClr val="bg1"/>
                </a:solidFill>
              </a:rPr>
              <a:t>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" name="Pentagon 5"/>
          <p:cNvSpPr/>
          <p:nvPr/>
        </p:nvSpPr>
        <p:spPr>
          <a:xfrm>
            <a:off x="397515" y="2866548"/>
            <a:ext cx="1623361" cy="1271388"/>
          </a:xfrm>
          <a:prstGeom prst="homePlate">
            <a:avLst>
              <a:gd name="adj" fmla="val 3022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 b="1">
                <a:solidFill>
                  <a:schemeClr val="bg1"/>
                </a:solidFill>
              </a:rPr>
              <a:t>x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397515" y="4208958"/>
            <a:ext cx="1623361" cy="1271388"/>
          </a:xfrm>
          <a:prstGeom prst="homePlate">
            <a:avLst>
              <a:gd name="adj" fmla="val 3022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 b="1">
                <a:solidFill>
                  <a:schemeClr val="bg1"/>
                </a:solidFill>
              </a:rPr>
              <a:t>x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397515" y="5555808"/>
            <a:ext cx="1623361" cy="1271388"/>
          </a:xfrm>
          <a:prstGeom prst="homePlate">
            <a:avLst>
              <a:gd name="adj" fmla="val 30220"/>
            </a:avLst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856" rIns="38856" rtlCol="0" anchor="ctr"/>
          <a:lstStyle/>
          <a:p>
            <a:pPr algn="ctr"/>
            <a:r>
              <a:rPr lang="pt-BR" sz="1295" b="1">
                <a:solidFill>
                  <a:schemeClr val="bg1"/>
                </a:solidFill>
              </a:rPr>
              <a:t>x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41287" y="1524135"/>
            <a:ext cx="376362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41287" y="2866548"/>
            <a:ext cx="376362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77966" y="1524135"/>
            <a:ext cx="228997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numCol="2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977966" y="2866548"/>
            <a:ext cx="228997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141287" y="4208958"/>
            <a:ext cx="376362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77966" y="4208958"/>
            <a:ext cx="228997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20" name="Rectangle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1287" y="5555808"/>
            <a:ext cx="376362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21" name="Rectangle 2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977966" y="5555808"/>
            <a:ext cx="2289976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25" name="TextBox 24"/>
          <p:cNvSpPr txBox="1"/>
          <p:nvPr/>
        </p:nvSpPr>
        <p:spPr>
          <a:xfrm>
            <a:off x="2141287" y="1274779"/>
            <a:ext cx="376706" cy="199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r>
              <a:rPr lang="pt-BR" sz="1295" b="1" dirty="0" err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977966" y="1274779"/>
            <a:ext cx="376706" cy="199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r>
              <a:rPr lang="pt-BR" sz="1295" b="1" dirty="0" err="1">
                <a:solidFill>
                  <a:schemeClr val="accent1"/>
                </a:solidFill>
              </a:rPr>
              <a:t>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341416" y="1524135"/>
            <a:ext cx="1947250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341416" y="2866548"/>
            <a:ext cx="1947250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341416" y="4208958"/>
            <a:ext cx="1947250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341416" y="5555808"/>
            <a:ext cx="1947250" cy="1271388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77712" tIns="38856" rIns="77712" bIns="38856" anchor="ctr"/>
          <a:lstStyle/>
          <a:p>
            <a:pPr marL="149065" indent="-149065" defTabSz="671648">
              <a:buSzPct val="100000"/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33" name="TextBox 32"/>
          <p:cNvSpPr txBox="1"/>
          <p:nvPr/>
        </p:nvSpPr>
        <p:spPr>
          <a:xfrm>
            <a:off x="8341416" y="1274779"/>
            <a:ext cx="464871" cy="1992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r>
              <a:rPr lang="pt-BR" sz="1295" b="1" dirty="0" err="1">
                <a:solidFill>
                  <a:schemeClr val="accent1"/>
                </a:solidFill>
              </a:rPr>
              <a:t>Xxxxx</a:t>
            </a:r>
            <a:endParaRPr lang="pt-BR" sz="1295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554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4" name="Espaço Reservado para Texto 2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1571" name="Text Box 3"/>
          <p:cNvSpPr txBox="1">
            <a:spLocks noChangeArrowheads="1"/>
          </p:cNvSpPr>
          <p:nvPr/>
        </p:nvSpPr>
        <p:spPr bwMode="auto">
          <a:xfrm>
            <a:off x="3289789" y="1970453"/>
            <a:ext cx="2445067" cy="63225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 b="1">
                <a:solidFill>
                  <a:schemeClr val="bg1"/>
                </a:solidFill>
              </a:rPr>
              <a:t>x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21572" name="Text Box 4"/>
          <p:cNvSpPr txBox="1">
            <a:spLocks noChangeArrowheads="1"/>
          </p:cNvSpPr>
          <p:nvPr/>
        </p:nvSpPr>
        <p:spPr bwMode="auto">
          <a:xfrm>
            <a:off x="411223" y="4052274"/>
            <a:ext cx="1644894" cy="632256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 </a:t>
            </a:r>
            <a:endParaRPr lang="pt-BR" sz="1295" dirty="0"/>
          </a:p>
        </p:txBody>
      </p:sp>
      <p:sp>
        <p:nvSpPr>
          <p:cNvPr id="621573" name="Text Box 5"/>
          <p:cNvSpPr txBox="1">
            <a:spLocks noChangeArrowheads="1"/>
          </p:cNvSpPr>
          <p:nvPr/>
        </p:nvSpPr>
        <p:spPr bwMode="auto">
          <a:xfrm>
            <a:off x="4956957" y="3101318"/>
            <a:ext cx="2254233" cy="462627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21574" name="Text Box 6"/>
          <p:cNvSpPr txBox="1">
            <a:spLocks noChangeArrowheads="1"/>
          </p:cNvSpPr>
          <p:nvPr/>
        </p:nvSpPr>
        <p:spPr bwMode="auto">
          <a:xfrm>
            <a:off x="2467341" y="4052274"/>
            <a:ext cx="1644894" cy="632256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1575" name="Text Box 7"/>
          <p:cNvSpPr txBox="1">
            <a:spLocks noChangeArrowheads="1"/>
          </p:cNvSpPr>
          <p:nvPr/>
        </p:nvSpPr>
        <p:spPr bwMode="auto">
          <a:xfrm>
            <a:off x="4523459" y="4052274"/>
            <a:ext cx="1644894" cy="632256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1576" name="Text Box 8"/>
          <p:cNvSpPr txBox="1">
            <a:spLocks noChangeArrowheads="1"/>
          </p:cNvSpPr>
          <p:nvPr/>
        </p:nvSpPr>
        <p:spPr bwMode="auto">
          <a:xfrm>
            <a:off x="6579577" y="4052274"/>
            <a:ext cx="1644894" cy="632256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1577" name="Text Box 9"/>
          <p:cNvSpPr txBox="1">
            <a:spLocks noChangeArrowheads="1"/>
          </p:cNvSpPr>
          <p:nvPr/>
        </p:nvSpPr>
        <p:spPr bwMode="auto">
          <a:xfrm>
            <a:off x="8635695" y="4052274"/>
            <a:ext cx="1644894" cy="63225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  <a:prstDash val="dash"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621579" name="AutoShape 11"/>
          <p:cNvCxnSpPr>
            <a:cxnSpLocks noChangeShapeType="1"/>
            <a:stCxn id="621572" idx="0"/>
            <a:endCxn id="621577" idx="0"/>
          </p:cNvCxnSpPr>
          <p:nvPr/>
        </p:nvCxnSpPr>
        <p:spPr bwMode="auto">
          <a:xfrm rot="5400000" flipH="1" flipV="1">
            <a:off x="5345906" y="-59962"/>
            <a:ext cx="13707" cy="8224471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1580" name="AutoShape 12"/>
          <p:cNvCxnSpPr>
            <a:cxnSpLocks noChangeShapeType="1"/>
            <a:stCxn id="621576" idx="0"/>
            <a:endCxn id="621574" idx="0"/>
          </p:cNvCxnSpPr>
          <p:nvPr/>
        </p:nvCxnSpPr>
        <p:spPr bwMode="auto">
          <a:xfrm rot="16200000" flipV="1">
            <a:off x="5345906" y="1996155"/>
            <a:ext cx="13707" cy="4112236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1581" name="AutoShape 13"/>
          <p:cNvCxnSpPr>
            <a:cxnSpLocks noChangeShapeType="1"/>
            <a:stCxn id="621573" idx="1"/>
            <a:endCxn id="621571" idx="2"/>
          </p:cNvCxnSpPr>
          <p:nvPr/>
        </p:nvCxnSpPr>
        <p:spPr bwMode="auto">
          <a:xfrm rot="10800000">
            <a:off x="4512322" y="2602712"/>
            <a:ext cx="444635" cy="729922"/>
          </a:xfrm>
          <a:prstGeom prst="bentConnector2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1582" name="AutoShape 14"/>
          <p:cNvCxnSpPr>
            <a:cxnSpLocks noChangeShapeType="1"/>
            <a:stCxn id="621575" idx="0"/>
            <a:endCxn id="621574" idx="0"/>
          </p:cNvCxnSpPr>
          <p:nvPr/>
        </p:nvCxnSpPr>
        <p:spPr bwMode="auto">
          <a:xfrm rot="16200000" flipV="1">
            <a:off x="4317847" y="3024214"/>
            <a:ext cx="13707" cy="2056118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1583" name="Text Box 15"/>
          <p:cNvSpPr txBox="1">
            <a:spLocks noChangeArrowheads="1"/>
          </p:cNvSpPr>
          <p:nvPr/>
        </p:nvSpPr>
        <p:spPr bwMode="auto">
          <a:xfrm>
            <a:off x="411223" y="4790199"/>
            <a:ext cx="1644894" cy="657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856" rIns="0" bIns="0"/>
          <a:lstStyle/>
          <a:p>
            <a:pPr defTabSz="82242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21584" name="Text Box 16"/>
          <p:cNvSpPr txBox="1">
            <a:spLocks noChangeArrowheads="1"/>
          </p:cNvSpPr>
          <p:nvPr/>
        </p:nvSpPr>
        <p:spPr bwMode="auto">
          <a:xfrm>
            <a:off x="2467341" y="4790200"/>
            <a:ext cx="1644894" cy="6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856" rIns="0" bIns="0"/>
          <a:lstStyle/>
          <a:p>
            <a:pPr defTabSz="82242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21585" name="Text Box 17"/>
          <p:cNvSpPr txBox="1">
            <a:spLocks noChangeArrowheads="1"/>
          </p:cNvSpPr>
          <p:nvPr/>
        </p:nvSpPr>
        <p:spPr bwMode="auto">
          <a:xfrm>
            <a:off x="4523459" y="4790199"/>
            <a:ext cx="1644894" cy="904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856" rIns="0" bIns="0"/>
          <a:lstStyle/>
          <a:p>
            <a:pPr defTabSz="82242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21586" name="Text Box 18"/>
          <p:cNvSpPr txBox="1">
            <a:spLocks noChangeArrowheads="1"/>
          </p:cNvSpPr>
          <p:nvPr/>
        </p:nvSpPr>
        <p:spPr bwMode="auto">
          <a:xfrm>
            <a:off x="6579577" y="4790200"/>
            <a:ext cx="1644894" cy="6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856" rIns="0" bIns="0"/>
          <a:lstStyle/>
          <a:p>
            <a:pPr defTabSz="822427"/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21587" name="Text Box 19"/>
          <p:cNvSpPr txBox="1">
            <a:spLocks noChangeArrowheads="1"/>
          </p:cNvSpPr>
          <p:nvPr/>
        </p:nvSpPr>
        <p:spPr bwMode="auto">
          <a:xfrm>
            <a:off x="8635695" y="4790200"/>
            <a:ext cx="1644894" cy="69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8856" rIns="0" bIns="0"/>
          <a:lstStyle/>
          <a:p>
            <a:pPr defTabSz="822427"/>
            <a:r>
              <a:rPr lang="pt-BR" sz="1295"/>
              <a:t>xxx</a:t>
            </a:r>
            <a:endParaRPr lang="pt-BR" sz="1295" dirty="0"/>
          </a:p>
        </p:txBody>
      </p:sp>
      <p:cxnSp>
        <p:nvCxnSpPr>
          <p:cNvPr id="28" name="AutoShape 13"/>
          <p:cNvCxnSpPr>
            <a:cxnSpLocks noChangeShapeType="1"/>
            <a:stCxn id="621575" idx="0"/>
            <a:endCxn id="621571" idx="2"/>
          </p:cNvCxnSpPr>
          <p:nvPr/>
        </p:nvCxnSpPr>
        <p:spPr bwMode="auto">
          <a:xfrm rot="16200000" flipV="1">
            <a:off x="4204334" y="2910700"/>
            <a:ext cx="1449563" cy="833584"/>
          </a:xfrm>
          <a:prstGeom prst="bentConnector3">
            <a:avLst>
              <a:gd name="adj1" fmla="val 16698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188152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ítulo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0" name="Espaço Reservado para Texto 2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4643" name="Text Box 3"/>
          <p:cNvSpPr txBox="1">
            <a:spLocks noChangeArrowheads="1"/>
          </p:cNvSpPr>
          <p:nvPr/>
        </p:nvSpPr>
        <p:spPr bwMode="auto">
          <a:xfrm>
            <a:off x="371815" y="1759113"/>
            <a:ext cx="1468411" cy="5791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 b="1">
                <a:solidFill>
                  <a:schemeClr val="bg1"/>
                </a:solidFill>
              </a:rPr>
              <a:t>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24644" name="Text Box 4"/>
          <p:cNvSpPr txBox="1">
            <a:spLocks noChangeArrowheads="1"/>
          </p:cNvSpPr>
          <p:nvPr/>
        </p:nvSpPr>
        <p:spPr bwMode="auto">
          <a:xfrm>
            <a:off x="3156088" y="3078455"/>
            <a:ext cx="1468411" cy="36496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24645" name="Text Box 5"/>
          <p:cNvSpPr txBox="1">
            <a:spLocks noChangeArrowheads="1"/>
          </p:cNvSpPr>
          <p:nvPr/>
        </p:nvSpPr>
        <p:spPr bwMode="auto">
          <a:xfrm>
            <a:off x="6481859" y="3078455"/>
            <a:ext cx="1468410" cy="36496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cxnSp>
        <p:nvCxnSpPr>
          <p:cNvPr id="624646" name="AutoShape 6"/>
          <p:cNvCxnSpPr>
            <a:cxnSpLocks noChangeShapeType="1"/>
            <a:stCxn id="624644" idx="0"/>
            <a:endCxn id="624645" idx="0"/>
          </p:cNvCxnSpPr>
          <p:nvPr/>
        </p:nvCxnSpPr>
        <p:spPr bwMode="auto">
          <a:xfrm rot="5400000" flipV="1">
            <a:off x="5553179" y="1416427"/>
            <a:ext cx="1714" cy="3325770"/>
          </a:xfrm>
          <a:prstGeom prst="bentConnector3">
            <a:avLst>
              <a:gd name="adj1" fmla="val -1440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4647" name="Text Box 7"/>
          <p:cNvSpPr txBox="1">
            <a:spLocks noChangeArrowheads="1"/>
          </p:cNvSpPr>
          <p:nvPr/>
        </p:nvSpPr>
        <p:spPr bwMode="auto">
          <a:xfrm>
            <a:off x="2892220" y="1759113"/>
            <a:ext cx="1997861" cy="57914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 b="1">
                <a:solidFill>
                  <a:schemeClr val="bg1"/>
                </a:solidFill>
              </a:rPr>
              <a:t>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24648" name="Text Box 8"/>
          <p:cNvSpPr txBox="1">
            <a:spLocks noChangeArrowheads="1"/>
          </p:cNvSpPr>
          <p:nvPr/>
        </p:nvSpPr>
        <p:spPr bwMode="auto">
          <a:xfrm>
            <a:off x="4816404" y="3078455"/>
            <a:ext cx="1466697" cy="364961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24649" name="Text Box 9"/>
          <p:cNvSpPr txBox="1">
            <a:spLocks noChangeArrowheads="1"/>
          </p:cNvSpPr>
          <p:nvPr/>
        </p:nvSpPr>
        <p:spPr bwMode="auto">
          <a:xfrm>
            <a:off x="1338135" y="5086597"/>
            <a:ext cx="1466697" cy="258729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 fontScale="92500" lnSpcReduction="10000"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4650" name="Text Box 10"/>
          <p:cNvSpPr txBox="1">
            <a:spLocks noChangeArrowheads="1"/>
          </p:cNvSpPr>
          <p:nvPr/>
        </p:nvSpPr>
        <p:spPr bwMode="auto">
          <a:xfrm>
            <a:off x="1338135" y="4687367"/>
            <a:ext cx="1468411" cy="258728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 fontScale="92500" lnSpcReduction="10000"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4651" name="Text Box 11"/>
          <p:cNvSpPr txBox="1">
            <a:spLocks noChangeArrowheads="1"/>
          </p:cNvSpPr>
          <p:nvPr/>
        </p:nvSpPr>
        <p:spPr bwMode="auto">
          <a:xfrm>
            <a:off x="1338135" y="4288138"/>
            <a:ext cx="1468411" cy="258729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 fontScale="92500" lnSpcReduction="10000"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</a:t>
            </a:r>
            <a:endParaRPr lang="pt-BR" sz="1295" dirty="0"/>
          </a:p>
        </p:txBody>
      </p:sp>
      <p:sp>
        <p:nvSpPr>
          <p:cNvPr id="624652" name="Text Box 12"/>
          <p:cNvSpPr txBox="1">
            <a:spLocks noChangeArrowheads="1"/>
          </p:cNvSpPr>
          <p:nvPr/>
        </p:nvSpPr>
        <p:spPr bwMode="auto">
          <a:xfrm>
            <a:off x="1338136" y="3489679"/>
            <a:ext cx="1468410" cy="258729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 fontScale="92500" lnSpcReduction="10000"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4653" name="Text Box 13"/>
          <p:cNvSpPr txBox="1">
            <a:spLocks noChangeArrowheads="1"/>
          </p:cNvSpPr>
          <p:nvPr/>
        </p:nvSpPr>
        <p:spPr bwMode="auto">
          <a:xfrm>
            <a:off x="1338135" y="3888908"/>
            <a:ext cx="1468411" cy="258728"/>
          </a:xfrm>
          <a:prstGeom prst="rect">
            <a:avLst/>
          </a:prstGeom>
          <a:solidFill>
            <a:schemeClr val="accent6"/>
          </a:solidFill>
          <a:ln w="12700">
            <a:noFill/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 fontScale="92500" lnSpcReduction="10000"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24654" name="Text Box 14"/>
          <p:cNvSpPr txBox="1">
            <a:spLocks noChangeArrowheads="1"/>
          </p:cNvSpPr>
          <p:nvPr/>
        </p:nvSpPr>
        <p:spPr bwMode="auto">
          <a:xfrm>
            <a:off x="3793484" y="4722394"/>
            <a:ext cx="193618" cy="265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2427"/>
            <a:r>
              <a:rPr lang="pt-BR" sz="1727" dirty="0">
                <a:sym typeface="Wingdings" pitchFamily="2" charset="2"/>
              </a:rPr>
              <a:t></a:t>
            </a:r>
            <a:endParaRPr lang="pt-BR" sz="1727" dirty="0"/>
          </a:p>
        </p:txBody>
      </p:sp>
      <p:sp>
        <p:nvSpPr>
          <p:cNvPr id="624655" name="Rectangle 15"/>
          <p:cNvSpPr>
            <a:spLocks noChangeArrowheads="1"/>
          </p:cNvSpPr>
          <p:nvPr/>
        </p:nvSpPr>
        <p:spPr bwMode="auto">
          <a:xfrm>
            <a:off x="8174434" y="3736412"/>
            <a:ext cx="2145565" cy="148040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7646" tIns="43053" rIns="87646" bIns="43053"/>
          <a:lstStyle/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</p:txBody>
      </p:sp>
      <p:cxnSp>
        <p:nvCxnSpPr>
          <p:cNvPr id="624656" name="AutoShape 16"/>
          <p:cNvCxnSpPr>
            <a:cxnSpLocks noChangeShapeType="1"/>
            <a:stCxn id="624644" idx="0"/>
            <a:endCxn id="624648" idx="0"/>
          </p:cNvCxnSpPr>
          <p:nvPr/>
        </p:nvCxnSpPr>
        <p:spPr bwMode="auto">
          <a:xfrm rot="5400000" flipV="1">
            <a:off x="4719594" y="2250011"/>
            <a:ext cx="1714" cy="1658602"/>
          </a:xfrm>
          <a:prstGeom prst="bentConnector3">
            <a:avLst>
              <a:gd name="adj1" fmla="val -14400000"/>
            </a:avLst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4657" name="AutoShape 17"/>
          <p:cNvCxnSpPr>
            <a:cxnSpLocks noChangeShapeType="1"/>
            <a:stCxn id="624644" idx="0"/>
            <a:endCxn id="624647" idx="2"/>
          </p:cNvCxnSpPr>
          <p:nvPr/>
        </p:nvCxnSpPr>
        <p:spPr bwMode="auto">
          <a:xfrm rot="16200000">
            <a:off x="3521049" y="2708354"/>
            <a:ext cx="740202" cy="0"/>
          </a:xfrm>
          <a:prstGeom prst="straightConnector1">
            <a:avLst/>
          </a:prstGeom>
          <a:noFill/>
          <a:ln w="12700">
            <a:solidFill>
              <a:schemeClr val="accent4"/>
            </a:solidFill>
            <a:round/>
            <a:headEnd/>
            <a:tailEnd/>
          </a:ln>
          <a:effectLst/>
        </p:spPr>
      </p:cxnSp>
      <p:cxnSp>
        <p:nvCxnSpPr>
          <p:cNvPr id="624658" name="AutoShape 18"/>
          <p:cNvCxnSpPr>
            <a:cxnSpLocks noChangeShapeType="1"/>
            <a:stCxn id="624652" idx="1"/>
            <a:endCxn id="624643" idx="2"/>
          </p:cNvCxnSpPr>
          <p:nvPr/>
        </p:nvCxnSpPr>
        <p:spPr bwMode="auto">
          <a:xfrm rot="10800000">
            <a:off x="1106022" y="2338254"/>
            <a:ext cx="232115" cy="1280791"/>
          </a:xfrm>
          <a:prstGeom prst="bentConnector2">
            <a:avLst/>
          </a:prstGeom>
          <a:noFill/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4659" name="AutoShape 19"/>
          <p:cNvCxnSpPr>
            <a:cxnSpLocks noChangeShapeType="1"/>
            <a:stCxn id="624649" idx="1"/>
            <a:endCxn id="624652" idx="1"/>
          </p:cNvCxnSpPr>
          <p:nvPr/>
        </p:nvCxnSpPr>
        <p:spPr bwMode="auto">
          <a:xfrm rot="10800000">
            <a:off x="1338135" y="3619043"/>
            <a:ext cx="13707" cy="1596918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4660" name="AutoShape 20"/>
          <p:cNvCxnSpPr>
            <a:cxnSpLocks noChangeShapeType="1"/>
            <a:stCxn id="624650" idx="1"/>
            <a:endCxn id="624653" idx="1"/>
          </p:cNvCxnSpPr>
          <p:nvPr/>
        </p:nvCxnSpPr>
        <p:spPr bwMode="auto">
          <a:xfrm rot="10800000">
            <a:off x="1338135" y="4018274"/>
            <a:ext cx="13707" cy="798459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624661" name="AutoShape 21"/>
          <p:cNvCxnSpPr>
            <a:cxnSpLocks noChangeShapeType="1"/>
            <a:stCxn id="624651" idx="1"/>
            <a:endCxn id="624652" idx="1"/>
          </p:cNvCxnSpPr>
          <p:nvPr/>
        </p:nvCxnSpPr>
        <p:spPr bwMode="auto">
          <a:xfrm rot="10800000">
            <a:off x="1338135" y="3619045"/>
            <a:ext cx="13707" cy="798459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4662" name="Text Box 22"/>
          <p:cNvSpPr txBox="1">
            <a:spLocks noChangeArrowheads="1"/>
          </p:cNvSpPr>
          <p:nvPr/>
        </p:nvSpPr>
        <p:spPr bwMode="auto">
          <a:xfrm>
            <a:off x="5453800" y="5041093"/>
            <a:ext cx="193617" cy="265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2427"/>
            <a:r>
              <a:rPr lang="pt-BR" sz="1727" dirty="0">
                <a:sym typeface="Wingdings" pitchFamily="2" charset="2"/>
              </a:rPr>
              <a:t></a:t>
            </a:r>
            <a:endParaRPr lang="pt-BR" sz="1727" dirty="0"/>
          </a:p>
        </p:txBody>
      </p:sp>
      <p:sp>
        <p:nvSpPr>
          <p:cNvPr id="624663" name="Text Box 23"/>
          <p:cNvSpPr txBox="1">
            <a:spLocks noChangeArrowheads="1"/>
          </p:cNvSpPr>
          <p:nvPr/>
        </p:nvSpPr>
        <p:spPr bwMode="auto">
          <a:xfrm>
            <a:off x="5453800" y="3899947"/>
            <a:ext cx="193617" cy="265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2427"/>
            <a:r>
              <a:rPr lang="pt-BR" sz="1727" dirty="0">
                <a:sym typeface="Wingdings" pitchFamily="2" charset="2"/>
              </a:rPr>
              <a:t></a:t>
            </a:r>
            <a:endParaRPr lang="pt-BR" sz="1727" dirty="0"/>
          </a:p>
        </p:txBody>
      </p:sp>
      <p:sp>
        <p:nvSpPr>
          <p:cNvPr id="624664" name="Text Box 24"/>
          <p:cNvSpPr txBox="1">
            <a:spLocks noChangeArrowheads="1"/>
          </p:cNvSpPr>
          <p:nvPr/>
        </p:nvSpPr>
        <p:spPr bwMode="auto">
          <a:xfrm>
            <a:off x="7119256" y="3606951"/>
            <a:ext cx="193617" cy="265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defTabSz="822427"/>
            <a:r>
              <a:rPr lang="pt-BR" sz="1727" dirty="0">
                <a:sym typeface="Wingdings" pitchFamily="2" charset="2"/>
              </a:rPr>
              <a:t></a:t>
            </a:r>
            <a:endParaRPr lang="pt-BR" sz="1727" dirty="0"/>
          </a:p>
        </p:txBody>
      </p:sp>
      <p:sp>
        <p:nvSpPr>
          <p:cNvPr id="624665" name="Rectangle 25"/>
          <p:cNvSpPr>
            <a:spLocks noChangeArrowheads="1"/>
          </p:cNvSpPr>
          <p:nvPr/>
        </p:nvSpPr>
        <p:spPr bwMode="auto">
          <a:xfrm>
            <a:off x="4043646" y="5545796"/>
            <a:ext cx="3080750" cy="131591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7646" tIns="43053" rIns="87646" bIns="43053"/>
          <a:lstStyle/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</a:t>
            </a:r>
            <a:endParaRPr lang="pt-BR" sz="1079" dirty="0"/>
          </a:p>
          <a:p>
            <a:pPr marL="193613" indent="-193613" defTabSz="738471">
              <a:spcBef>
                <a:spcPct val="20000"/>
              </a:spcBef>
              <a:buFontTx/>
              <a:buChar char="•"/>
            </a:pPr>
            <a:r>
              <a:rPr lang="pt-BR" sz="1079"/>
              <a:t>xxxx</a:t>
            </a:r>
            <a:endParaRPr lang="pt-BR" sz="1079" dirty="0"/>
          </a:p>
        </p:txBody>
      </p:sp>
      <p:sp>
        <p:nvSpPr>
          <p:cNvPr id="624670" name="AutoShape 30"/>
          <p:cNvSpPr>
            <a:spLocks/>
          </p:cNvSpPr>
          <p:nvPr/>
        </p:nvSpPr>
        <p:spPr bwMode="auto">
          <a:xfrm>
            <a:off x="7950269" y="3619899"/>
            <a:ext cx="154209" cy="1596918"/>
          </a:xfrm>
          <a:prstGeom prst="rightBrace">
            <a:avLst>
              <a:gd name="adj1" fmla="val 86296"/>
              <a:gd name="adj2" fmla="val 50000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  <p:sp>
        <p:nvSpPr>
          <p:cNvPr id="624671" name="AutoShape 31"/>
          <p:cNvSpPr>
            <a:spLocks/>
          </p:cNvSpPr>
          <p:nvPr/>
        </p:nvSpPr>
        <p:spPr bwMode="auto">
          <a:xfrm rot="5400000">
            <a:off x="5398114" y="2986787"/>
            <a:ext cx="154209" cy="4778760"/>
          </a:xfrm>
          <a:prstGeom prst="rightBrace">
            <a:avLst>
              <a:gd name="adj1" fmla="val 258241"/>
              <a:gd name="adj2" fmla="val 50000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366009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ítulo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3" name="Espaço Reservado para Texto 2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25667" name="Text Box 3"/>
          <p:cNvSpPr txBox="1">
            <a:spLocks noChangeArrowheads="1"/>
          </p:cNvSpPr>
          <p:nvPr/>
        </p:nvSpPr>
        <p:spPr bwMode="auto">
          <a:xfrm>
            <a:off x="3888499" y="1970453"/>
            <a:ext cx="2445067" cy="63225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822427"/>
            <a:r>
              <a:rPr lang="pt-BR" sz="1295" b="1">
                <a:solidFill>
                  <a:schemeClr val="bg1"/>
                </a:solidFill>
              </a:rPr>
              <a:t>xxxxx</a:t>
            </a:r>
            <a:endParaRPr lang="pt-BR" sz="1295" b="1" dirty="0">
              <a:solidFill>
                <a:schemeClr val="bg1"/>
              </a:solidFill>
            </a:endParaRPr>
          </a:p>
        </p:txBody>
      </p:sp>
      <p:sp>
        <p:nvSpPr>
          <p:cNvPr id="625668" name="Text Box 4"/>
          <p:cNvSpPr txBox="1">
            <a:spLocks noChangeArrowheads="1"/>
          </p:cNvSpPr>
          <p:nvPr/>
        </p:nvSpPr>
        <p:spPr bwMode="auto">
          <a:xfrm>
            <a:off x="968811" y="4263025"/>
            <a:ext cx="1315915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5669" name="Text Box 5"/>
          <p:cNvSpPr txBox="1">
            <a:spLocks noChangeArrowheads="1"/>
          </p:cNvSpPr>
          <p:nvPr/>
        </p:nvSpPr>
        <p:spPr bwMode="auto">
          <a:xfrm>
            <a:off x="5596791" y="3101318"/>
            <a:ext cx="3121872" cy="46262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>
                <a:solidFill>
                  <a:schemeClr val="bg1"/>
                </a:solidFill>
              </a:rPr>
              <a:t>x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25672" name="Text Box 8"/>
          <p:cNvSpPr txBox="1">
            <a:spLocks noChangeArrowheads="1"/>
          </p:cNvSpPr>
          <p:nvPr/>
        </p:nvSpPr>
        <p:spPr bwMode="auto">
          <a:xfrm>
            <a:off x="2668535" y="4263025"/>
            <a:ext cx="1315915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5673" name="Text Box 9"/>
          <p:cNvSpPr txBox="1">
            <a:spLocks noChangeArrowheads="1"/>
          </p:cNvSpPr>
          <p:nvPr/>
        </p:nvSpPr>
        <p:spPr bwMode="auto">
          <a:xfrm>
            <a:off x="8239624" y="4263025"/>
            <a:ext cx="1614052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625674" name="AutoShape 10"/>
          <p:cNvCxnSpPr>
            <a:cxnSpLocks noChangeShapeType="1"/>
            <a:stCxn id="625668" idx="0"/>
            <a:endCxn id="625673" idx="0"/>
          </p:cNvCxnSpPr>
          <p:nvPr/>
        </p:nvCxnSpPr>
        <p:spPr bwMode="auto">
          <a:xfrm rot="5400000" flipH="1" flipV="1">
            <a:off x="5336709" y="553085"/>
            <a:ext cx="13707" cy="7419882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sp>
        <p:nvSpPr>
          <p:cNvPr id="625675" name="Text Box 11"/>
          <p:cNvSpPr txBox="1">
            <a:spLocks noChangeArrowheads="1"/>
          </p:cNvSpPr>
          <p:nvPr/>
        </p:nvSpPr>
        <p:spPr bwMode="auto">
          <a:xfrm>
            <a:off x="4690385" y="5596074"/>
            <a:ext cx="1315915" cy="63225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5676" name="Text Box 12"/>
          <p:cNvSpPr txBox="1">
            <a:spLocks noChangeArrowheads="1"/>
          </p:cNvSpPr>
          <p:nvPr/>
        </p:nvSpPr>
        <p:spPr bwMode="auto">
          <a:xfrm>
            <a:off x="8091546" y="5596074"/>
            <a:ext cx="1309062" cy="63225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.</a:t>
            </a:r>
            <a:endParaRPr lang="pt-BR" sz="1295" dirty="0"/>
          </a:p>
        </p:txBody>
      </p:sp>
      <p:sp>
        <p:nvSpPr>
          <p:cNvPr id="625679" name="Text Box 15"/>
          <p:cNvSpPr txBox="1">
            <a:spLocks noChangeArrowheads="1"/>
          </p:cNvSpPr>
          <p:nvPr/>
        </p:nvSpPr>
        <p:spPr bwMode="auto">
          <a:xfrm>
            <a:off x="6390109" y="5596074"/>
            <a:ext cx="1315915" cy="63225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5681" name="Text Box 17"/>
          <p:cNvSpPr txBox="1">
            <a:spLocks noChangeArrowheads="1"/>
          </p:cNvSpPr>
          <p:nvPr/>
        </p:nvSpPr>
        <p:spPr bwMode="auto">
          <a:xfrm>
            <a:off x="4369974" y="4263025"/>
            <a:ext cx="1488971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25682" name="Text Box 18"/>
          <p:cNvSpPr txBox="1">
            <a:spLocks noChangeArrowheads="1"/>
          </p:cNvSpPr>
          <p:nvPr/>
        </p:nvSpPr>
        <p:spPr bwMode="auto">
          <a:xfrm>
            <a:off x="6244468" y="4263025"/>
            <a:ext cx="1614052" cy="632257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lIns="50513" tIns="43053" rIns="50513" bIns="43053" rtlCol="0" anchor="ctr">
            <a:normAutofit/>
          </a:bodyPr>
          <a:lstStyle/>
          <a:p>
            <a:pPr algn="ctr" defTabSz="738471">
              <a:spcBef>
                <a:spcPct val="20000"/>
              </a:spcBef>
              <a:defRPr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25" name="24 Forma"/>
          <p:cNvCxnSpPr>
            <a:stCxn id="625669" idx="1"/>
            <a:endCxn id="625667" idx="2"/>
          </p:cNvCxnSpPr>
          <p:nvPr/>
        </p:nvCxnSpPr>
        <p:spPr>
          <a:xfrm rot="10800000">
            <a:off x="5111032" y="2602712"/>
            <a:ext cx="485758" cy="729922"/>
          </a:xfrm>
          <a:prstGeom prst="bentConnector2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25 Forma"/>
          <p:cNvCxnSpPr>
            <a:stCxn id="625682" idx="2"/>
            <a:endCxn id="625675" idx="0"/>
          </p:cNvCxnSpPr>
          <p:nvPr/>
        </p:nvCxnSpPr>
        <p:spPr>
          <a:xfrm rot="5400000">
            <a:off x="5849523" y="4394101"/>
            <a:ext cx="700793" cy="1703152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5 Forma"/>
          <p:cNvCxnSpPr>
            <a:stCxn id="625682" idx="2"/>
            <a:endCxn id="625679" idx="0"/>
          </p:cNvCxnSpPr>
          <p:nvPr/>
        </p:nvCxnSpPr>
        <p:spPr>
          <a:xfrm rot="5400000">
            <a:off x="6699385" y="5243963"/>
            <a:ext cx="700793" cy="342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25 Forma"/>
          <p:cNvCxnSpPr>
            <a:stCxn id="625682" idx="2"/>
            <a:endCxn id="625676" idx="0"/>
          </p:cNvCxnSpPr>
          <p:nvPr/>
        </p:nvCxnSpPr>
        <p:spPr>
          <a:xfrm rot="16200000" flipH="1">
            <a:off x="7548390" y="4398386"/>
            <a:ext cx="700793" cy="169458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AutoShape 10"/>
          <p:cNvCxnSpPr>
            <a:cxnSpLocks noChangeShapeType="1"/>
            <a:stCxn id="625672" idx="0"/>
            <a:endCxn id="625682" idx="0"/>
          </p:cNvCxnSpPr>
          <p:nvPr/>
        </p:nvCxnSpPr>
        <p:spPr bwMode="auto">
          <a:xfrm rot="5400000" flipH="1" flipV="1">
            <a:off x="5188994" y="2400524"/>
            <a:ext cx="13707" cy="3725001"/>
          </a:xfrm>
          <a:prstGeom prst="bentConnector3">
            <a:avLst>
              <a:gd name="adj1" fmla="val 1800000"/>
            </a:avLst>
          </a:prstGeom>
          <a:solidFill>
            <a:schemeClr val="accent6"/>
          </a:solidFill>
          <a:ln w="12700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39" name="38 Conector recto"/>
          <p:cNvCxnSpPr>
            <a:stCxn id="625681" idx="0"/>
            <a:endCxn id="625667" idx="2"/>
          </p:cNvCxnSpPr>
          <p:nvPr/>
        </p:nvCxnSpPr>
        <p:spPr>
          <a:xfrm flipH="1" flipV="1">
            <a:off x="5111033" y="2602710"/>
            <a:ext cx="3427" cy="166031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5281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ítulo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7" name="Espaço Reservado para Texto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18500" name="Text Box 4"/>
          <p:cNvSpPr txBox="1">
            <a:spLocks noChangeArrowheads="1"/>
          </p:cNvSpPr>
          <p:nvPr/>
        </p:nvSpPr>
        <p:spPr bwMode="auto">
          <a:xfrm>
            <a:off x="3402018" y="1858532"/>
            <a:ext cx="3887777" cy="77961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</a:t>
            </a:r>
            <a:endParaRPr lang="pt-BR" sz="1295" dirty="0"/>
          </a:p>
        </p:txBody>
      </p:sp>
      <p:sp>
        <p:nvSpPr>
          <p:cNvPr id="618501" name="Text Box 5"/>
          <p:cNvSpPr txBox="1">
            <a:spLocks noChangeArrowheads="1"/>
          </p:cNvSpPr>
          <p:nvPr/>
        </p:nvSpPr>
        <p:spPr bwMode="auto">
          <a:xfrm>
            <a:off x="3402018" y="1485005"/>
            <a:ext cx="3887777" cy="37352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8503" name="Text Box 7"/>
          <p:cNvSpPr txBox="1">
            <a:spLocks noChangeArrowheads="1"/>
          </p:cNvSpPr>
          <p:nvPr/>
        </p:nvSpPr>
        <p:spPr bwMode="auto">
          <a:xfrm>
            <a:off x="3402018" y="3384798"/>
            <a:ext cx="3887777" cy="779611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xxxxx</a:t>
            </a:r>
            <a:endParaRPr lang="pt-BR" sz="1295" dirty="0"/>
          </a:p>
        </p:txBody>
      </p:sp>
      <p:sp>
        <p:nvSpPr>
          <p:cNvPr id="618504" name="Text Box 8"/>
          <p:cNvSpPr txBox="1">
            <a:spLocks noChangeArrowheads="1"/>
          </p:cNvSpPr>
          <p:nvPr/>
        </p:nvSpPr>
        <p:spPr bwMode="auto">
          <a:xfrm>
            <a:off x="3402018" y="3011270"/>
            <a:ext cx="3887777" cy="37352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8506" name="Text Box 10"/>
          <p:cNvSpPr txBox="1">
            <a:spLocks noChangeArrowheads="1"/>
          </p:cNvSpPr>
          <p:nvPr/>
        </p:nvSpPr>
        <p:spPr bwMode="auto">
          <a:xfrm>
            <a:off x="5698016" y="5131598"/>
            <a:ext cx="3951173" cy="14449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613" tIns="53807" rIns="107613" bIns="53807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x xxx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xxxxxxxxxxxxxxxxx</a:t>
            </a:r>
            <a:endParaRPr lang="pt-BR" sz="1295" dirty="0"/>
          </a:p>
        </p:txBody>
      </p:sp>
      <p:sp>
        <p:nvSpPr>
          <p:cNvPr id="618507" name="Text Box 11"/>
          <p:cNvSpPr txBox="1">
            <a:spLocks noChangeArrowheads="1"/>
          </p:cNvSpPr>
          <p:nvPr/>
        </p:nvSpPr>
        <p:spPr bwMode="auto">
          <a:xfrm>
            <a:off x="5698016" y="4726817"/>
            <a:ext cx="3949459" cy="406083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613" tIns="53807" rIns="107613" bIns="53807" anchor="ctr" anchorCtr="1"/>
          <a:lstStyle/>
          <a:p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18509" name="Text Box 13"/>
          <p:cNvSpPr txBox="1">
            <a:spLocks noChangeArrowheads="1"/>
          </p:cNvSpPr>
          <p:nvPr/>
        </p:nvSpPr>
        <p:spPr bwMode="auto">
          <a:xfrm>
            <a:off x="1044336" y="4726817"/>
            <a:ext cx="4043698" cy="406083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613" tIns="53807" rIns="107613" bIns="53807" anchor="ctr" anchorCtr="1"/>
          <a:lstStyle/>
          <a:p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8510" name="Text Box 14"/>
          <p:cNvSpPr txBox="1">
            <a:spLocks noChangeArrowheads="1"/>
          </p:cNvSpPr>
          <p:nvPr/>
        </p:nvSpPr>
        <p:spPr bwMode="auto">
          <a:xfrm>
            <a:off x="1042624" y="5131598"/>
            <a:ext cx="4045411" cy="14449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07613" tIns="53807" rIns="107613" bIns="53807"/>
          <a:lstStyle/>
          <a:p>
            <a:pPr marL="210747" indent="-210747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xxxxxxxxxxxxxxxxxxxxxxxxx</a:t>
            </a:r>
            <a:endParaRPr lang="pt-BR" sz="1295" dirty="0"/>
          </a:p>
        </p:txBody>
      </p:sp>
      <p:cxnSp>
        <p:nvCxnSpPr>
          <p:cNvPr id="618511" name="AutoShape 15"/>
          <p:cNvCxnSpPr>
            <a:cxnSpLocks noChangeShapeType="1"/>
            <a:stCxn id="618503" idx="2"/>
            <a:endCxn id="618507" idx="0"/>
          </p:cNvCxnSpPr>
          <p:nvPr/>
        </p:nvCxnSpPr>
        <p:spPr bwMode="auto">
          <a:xfrm rot="16200000" flipH="1">
            <a:off x="6228123" y="3282192"/>
            <a:ext cx="562408" cy="232684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18" name="AutoShape 15"/>
          <p:cNvCxnSpPr>
            <a:cxnSpLocks noChangeShapeType="1"/>
            <a:stCxn id="618509" idx="0"/>
            <a:endCxn id="618503" idx="2"/>
          </p:cNvCxnSpPr>
          <p:nvPr/>
        </p:nvCxnSpPr>
        <p:spPr bwMode="auto">
          <a:xfrm rot="5400000" flipH="1" flipV="1">
            <a:off x="3924842" y="3305754"/>
            <a:ext cx="562408" cy="2279721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22" name="21 Conector recto"/>
          <p:cNvCxnSpPr>
            <a:stCxn id="618500" idx="2"/>
            <a:endCxn id="618504" idx="0"/>
          </p:cNvCxnSpPr>
          <p:nvPr/>
        </p:nvCxnSpPr>
        <p:spPr>
          <a:xfrm>
            <a:off x="5345906" y="2638144"/>
            <a:ext cx="0" cy="373127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6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ítulo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7" name="Espaço Reservado para Texto 2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19523" name="Text Box 3"/>
          <p:cNvSpPr txBox="1">
            <a:spLocks noChangeArrowheads="1"/>
          </p:cNvSpPr>
          <p:nvPr/>
        </p:nvSpPr>
        <p:spPr bwMode="auto">
          <a:xfrm>
            <a:off x="6108384" y="4557038"/>
            <a:ext cx="3651322" cy="10250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107613" tIns="53807" rIns="107613" bIns="53807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519157" lvl="1" indent="-102803"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19524" name="Text Box 4"/>
          <p:cNvSpPr txBox="1">
            <a:spLocks noChangeArrowheads="1"/>
          </p:cNvSpPr>
          <p:nvPr/>
        </p:nvSpPr>
        <p:spPr bwMode="auto">
          <a:xfrm>
            <a:off x="6108384" y="4208972"/>
            <a:ext cx="3651322" cy="34806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107613" tIns="53807" rIns="107613" bIns="53807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9525" name="Text Box 5"/>
          <p:cNvSpPr txBox="1">
            <a:spLocks noChangeArrowheads="1"/>
          </p:cNvSpPr>
          <p:nvPr/>
        </p:nvSpPr>
        <p:spPr bwMode="auto">
          <a:xfrm>
            <a:off x="1807671" y="4208972"/>
            <a:ext cx="3736994" cy="34806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107613" tIns="53807" rIns="107613" bIns="53807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9526" name="Text Box 6"/>
          <p:cNvSpPr txBox="1">
            <a:spLocks noChangeArrowheads="1"/>
          </p:cNvSpPr>
          <p:nvPr/>
        </p:nvSpPr>
        <p:spPr bwMode="auto">
          <a:xfrm>
            <a:off x="1805957" y="4557039"/>
            <a:ext cx="3738708" cy="10250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107613" tIns="53807" rIns="107613" bIns="53807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  <a:p>
            <a:pPr marL="436915" lvl="1" indent="-102803">
              <a:buFont typeface="Arial" pitchFamily="34" charset="0"/>
              <a:buChar char="•"/>
            </a:pPr>
            <a:r>
              <a:rPr lang="pt-BR" sz="1295"/>
              <a:t>xxxxxx</a:t>
            </a:r>
            <a:endParaRPr lang="pt-BR" sz="1295" dirty="0"/>
          </a:p>
          <a:p>
            <a:pPr marL="436915" lvl="1" indent="-102803">
              <a:buFont typeface="Arial" pitchFamily="34" charset="0"/>
              <a:buChar char="•"/>
            </a:pPr>
            <a:r>
              <a:rPr lang="pt-BR" sz="1295"/>
              <a:t>xxxx </a:t>
            </a:r>
            <a:endParaRPr lang="pt-BR" sz="1295" dirty="0"/>
          </a:p>
          <a:p>
            <a:pPr marL="436915" lvl="1" indent="-10280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19528" name="Text Box 8"/>
          <p:cNvSpPr txBox="1">
            <a:spLocks noChangeArrowheads="1"/>
          </p:cNvSpPr>
          <p:nvPr/>
        </p:nvSpPr>
        <p:spPr bwMode="auto">
          <a:xfrm>
            <a:off x="3769549" y="6305743"/>
            <a:ext cx="3887777" cy="582901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9529" name="Text Box 9"/>
          <p:cNvSpPr txBox="1">
            <a:spLocks noChangeArrowheads="1"/>
          </p:cNvSpPr>
          <p:nvPr/>
        </p:nvSpPr>
        <p:spPr bwMode="auto">
          <a:xfrm>
            <a:off x="3771263" y="6033722"/>
            <a:ext cx="3886063" cy="272021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/>
              <a:t>xxx</a:t>
            </a:r>
            <a:endParaRPr lang="pt-BR" sz="1295" dirty="0"/>
          </a:p>
        </p:txBody>
      </p:sp>
      <p:sp>
        <p:nvSpPr>
          <p:cNvPr id="619530" name="Text Box 10"/>
          <p:cNvSpPr txBox="1">
            <a:spLocks noChangeArrowheads="1"/>
          </p:cNvSpPr>
          <p:nvPr/>
        </p:nvSpPr>
        <p:spPr bwMode="auto">
          <a:xfrm>
            <a:off x="371816" y="3264095"/>
            <a:ext cx="2965950" cy="515742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xx</a:t>
            </a:r>
            <a:endParaRPr lang="pt-BR" sz="1295" dirty="0"/>
          </a:p>
        </p:txBody>
      </p:sp>
      <p:sp>
        <p:nvSpPr>
          <p:cNvPr id="619531" name="Text Box 11"/>
          <p:cNvSpPr txBox="1">
            <a:spLocks noChangeArrowheads="1"/>
          </p:cNvSpPr>
          <p:nvPr/>
        </p:nvSpPr>
        <p:spPr bwMode="auto">
          <a:xfrm>
            <a:off x="375243" y="3017361"/>
            <a:ext cx="2964236" cy="24673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19532" name="Text Box 12"/>
          <p:cNvSpPr txBox="1">
            <a:spLocks noChangeArrowheads="1"/>
          </p:cNvSpPr>
          <p:nvPr/>
        </p:nvSpPr>
        <p:spPr bwMode="auto">
          <a:xfrm>
            <a:off x="4102384" y="2680591"/>
            <a:ext cx="3565223" cy="62368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sp>
        <p:nvSpPr>
          <p:cNvPr id="619533" name="Text Box 13"/>
          <p:cNvSpPr txBox="1">
            <a:spLocks noChangeArrowheads="1"/>
          </p:cNvSpPr>
          <p:nvPr/>
        </p:nvSpPr>
        <p:spPr bwMode="auto">
          <a:xfrm>
            <a:off x="4102384" y="2382455"/>
            <a:ext cx="3565223" cy="29813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9534" name="Text Box 14"/>
          <p:cNvSpPr txBox="1">
            <a:spLocks noChangeArrowheads="1"/>
          </p:cNvSpPr>
          <p:nvPr/>
        </p:nvSpPr>
        <p:spPr bwMode="auto">
          <a:xfrm>
            <a:off x="4102384" y="1229796"/>
            <a:ext cx="3572077" cy="2861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ctr" anchorCtr="1"/>
          <a:lstStyle/>
          <a:p>
            <a:r>
              <a:rPr lang="pt-BR" sz="1295">
                <a:solidFill>
                  <a:schemeClr val="bg1"/>
                </a:solidFill>
              </a:rPr>
              <a:t>xxxx</a:t>
            </a:r>
            <a:endParaRPr lang="pt-BR" sz="1295" dirty="0">
              <a:solidFill>
                <a:schemeClr val="bg1"/>
              </a:solidFill>
            </a:endParaRPr>
          </a:p>
        </p:txBody>
      </p:sp>
      <p:sp>
        <p:nvSpPr>
          <p:cNvPr id="619535" name="Text Box 15"/>
          <p:cNvSpPr txBox="1">
            <a:spLocks noChangeArrowheads="1"/>
          </p:cNvSpPr>
          <p:nvPr/>
        </p:nvSpPr>
        <p:spPr bwMode="auto">
          <a:xfrm>
            <a:off x="4102384" y="1515939"/>
            <a:ext cx="3572077" cy="5979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8677" tIns="49338" rIns="98677" bIns="49338" anchor="t" anchorCtr="0">
            <a:noAutofit/>
          </a:bodyPr>
          <a:lstStyle/>
          <a:p>
            <a:pPr marL="193613" indent="-193613">
              <a:buFont typeface="Arial" pitchFamily="34" charset="0"/>
              <a:buChar char="•"/>
            </a:pPr>
            <a:r>
              <a:rPr lang="pt-BR" sz="1295"/>
              <a:t>xxxx</a:t>
            </a:r>
            <a:endParaRPr lang="pt-BR" sz="1295" dirty="0"/>
          </a:p>
        </p:txBody>
      </p:sp>
      <p:cxnSp>
        <p:nvCxnSpPr>
          <p:cNvPr id="619537" name="AutoShape 17"/>
          <p:cNvCxnSpPr>
            <a:cxnSpLocks noChangeShapeType="1"/>
            <a:stCxn id="619529" idx="0"/>
            <a:endCxn id="619523" idx="2"/>
          </p:cNvCxnSpPr>
          <p:nvPr/>
        </p:nvCxnSpPr>
        <p:spPr bwMode="auto">
          <a:xfrm rot="5400000" flipH="1" flipV="1">
            <a:off x="6598371" y="4698049"/>
            <a:ext cx="451597" cy="221975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  <p:cxnSp>
        <p:nvCxnSpPr>
          <p:cNvPr id="25" name="24 Forma"/>
          <p:cNvCxnSpPr>
            <a:stCxn id="619532" idx="2"/>
            <a:endCxn id="619530" idx="3"/>
          </p:cNvCxnSpPr>
          <p:nvPr/>
        </p:nvCxnSpPr>
        <p:spPr>
          <a:xfrm rot="5400000">
            <a:off x="4502539" y="2139509"/>
            <a:ext cx="217686" cy="2547230"/>
          </a:xfrm>
          <a:prstGeom prst="bentConnector2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25 Forma"/>
          <p:cNvCxnSpPr>
            <a:stCxn id="619524" idx="0"/>
            <a:endCxn id="619532" idx="2"/>
          </p:cNvCxnSpPr>
          <p:nvPr/>
        </p:nvCxnSpPr>
        <p:spPr>
          <a:xfrm rot="16200000" flipV="1">
            <a:off x="6457174" y="2732102"/>
            <a:ext cx="904692" cy="2049049"/>
          </a:xfrm>
          <a:prstGeom prst="bentConnector3">
            <a:avLst>
              <a:gd name="adj1" fmla="val 50000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5 Forma"/>
          <p:cNvCxnSpPr>
            <a:stCxn id="619525" idx="0"/>
            <a:endCxn id="619532" idx="2"/>
          </p:cNvCxnSpPr>
          <p:nvPr/>
        </p:nvCxnSpPr>
        <p:spPr>
          <a:xfrm rot="5400000" flipH="1" flipV="1">
            <a:off x="4328236" y="2652213"/>
            <a:ext cx="904692" cy="2208827"/>
          </a:xfrm>
          <a:prstGeom prst="bentConnector3">
            <a:avLst>
              <a:gd name="adj1" fmla="val 50000"/>
            </a:avLst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recto"/>
          <p:cNvCxnSpPr>
            <a:stCxn id="619535" idx="2"/>
            <a:endCxn id="619533" idx="0"/>
          </p:cNvCxnSpPr>
          <p:nvPr/>
        </p:nvCxnSpPr>
        <p:spPr>
          <a:xfrm flipH="1">
            <a:off x="5884996" y="2113928"/>
            <a:ext cx="3427" cy="268527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AutoShape 17"/>
          <p:cNvCxnSpPr>
            <a:cxnSpLocks noChangeShapeType="1"/>
            <a:stCxn id="619529" idx="0"/>
            <a:endCxn id="619526" idx="2"/>
          </p:cNvCxnSpPr>
          <p:nvPr/>
        </p:nvCxnSpPr>
        <p:spPr bwMode="auto">
          <a:xfrm rot="16200000" flipV="1">
            <a:off x="4469006" y="4788433"/>
            <a:ext cx="451596" cy="203898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4"/>
            </a:solidFill>
            <a:miter lim="800000"/>
            <a:headEnd/>
            <a:tailEnd/>
          </a:ln>
          <a:effectLst/>
        </p:spPr>
      </p:cxnSp>
    </p:spTree>
    <p:extLst>
      <p:ext uri="{BB962C8B-B14F-4D97-AF65-F5344CB8AC3E}">
        <p14:creationId xmlns:p14="http://schemas.microsoft.com/office/powerpoint/2010/main" val="290263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ítulo 2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err="1" smtClean="0"/>
              <a:t>Ejemplo</a:t>
            </a:r>
            <a:r>
              <a:rPr lang="pt-BR" dirty="0" smtClean="0"/>
              <a:t> de slide</a:t>
            </a:r>
            <a:endParaRPr lang="pt-BR" dirty="0"/>
          </a:p>
        </p:txBody>
      </p:sp>
      <p:sp>
        <p:nvSpPr>
          <p:cNvPr id="4" name="3 Rectángulo"/>
          <p:cNvSpPr>
            <a:spLocks noChangeArrowheads="1"/>
          </p:cNvSpPr>
          <p:nvPr/>
        </p:nvSpPr>
        <p:spPr bwMode="auto">
          <a:xfrm>
            <a:off x="4832652" y="2759151"/>
            <a:ext cx="2611108" cy="52302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 xxxxx xxxxx 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 xxxxx xxxxx xxxxx</a:t>
            </a:r>
            <a:endParaRPr lang="pt-BR" sz="1133" dirty="0"/>
          </a:p>
        </p:txBody>
      </p:sp>
      <p:sp>
        <p:nvSpPr>
          <p:cNvPr id="5" name="36 Rectángulo"/>
          <p:cNvSpPr>
            <a:spLocks noChangeArrowheads="1"/>
          </p:cNvSpPr>
          <p:nvPr/>
        </p:nvSpPr>
        <p:spPr bwMode="auto">
          <a:xfrm>
            <a:off x="2357655" y="2411051"/>
            <a:ext cx="1685446" cy="999038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lIns="38856" tIns="0" rIns="38856" bIns="0" anchor="ctr"/>
          <a:lstStyle/>
          <a:p>
            <a:pPr algn="ctr"/>
            <a:r>
              <a:rPr lang="pt-BR" sz="1295">
                <a:cs typeface="Arial" pitchFamily="34" charset="0"/>
              </a:rPr>
              <a:t>Xxxxxx xxxxx xxxxxx xxxxx xxxxxx</a:t>
            </a:r>
            <a:endParaRPr lang="pt-BR" sz="1295" i="1" dirty="0">
              <a:cs typeface="Arial" pitchFamily="34" charset="0"/>
            </a:endParaRPr>
          </a:p>
        </p:txBody>
      </p:sp>
      <p:sp>
        <p:nvSpPr>
          <p:cNvPr id="6" name="Oval 7"/>
          <p:cNvSpPr>
            <a:spLocks noChangeArrowheads="1"/>
          </p:cNvSpPr>
          <p:nvPr/>
        </p:nvSpPr>
        <p:spPr bwMode="auto">
          <a:xfrm>
            <a:off x="414650" y="3454064"/>
            <a:ext cx="1632875" cy="1393019"/>
          </a:xfrm>
          <a:prstGeom prst="ellipse">
            <a:avLst/>
          </a:prstGeom>
          <a:solidFill>
            <a:schemeClr val="accent2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/>
            <a:r>
              <a:rPr lang="pt-BR" sz="1511" dirty="0" err="1">
                <a:solidFill>
                  <a:srgbClr val="FFFFFF"/>
                </a:solidFill>
                <a:cs typeface="Arial" pitchFamily="34" charset="0"/>
              </a:rPr>
              <a:t>Comunicación</a:t>
            </a:r>
            <a:r>
              <a:rPr lang="pt-BR" sz="1511" dirty="0">
                <a:solidFill>
                  <a:srgbClr val="FFFFFF"/>
                </a:solidFill>
                <a:cs typeface="Arial" pitchFamily="34" charset="0"/>
              </a:rPr>
              <a:t> </a:t>
            </a:r>
            <a:br>
              <a:rPr lang="pt-BR" sz="1511" dirty="0">
                <a:solidFill>
                  <a:srgbClr val="FFFFFF"/>
                </a:solidFill>
                <a:cs typeface="Arial" pitchFamily="34" charset="0"/>
              </a:rPr>
            </a:br>
            <a:r>
              <a:rPr lang="pt-BR" sz="1511" dirty="0" err="1">
                <a:solidFill>
                  <a:srgbClr val="FFFFFF"/>
                </a:solidFill>
                <a:cs typeface="Arial" pitchFamily="34" charset="0"/>
              </a:rPr>
              <a:t>del</a:t>
            </a:r>
            <a:r>
              <a:rPr lang="pt-BR" sz="1511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pt-BR" sz="1511" dirty="0" err="1">
                <a:solidFill>
                  <a:srgbClr val="FFFFFF"/>
                </a:solidFill>
                <a:cs typeface="Arial" pitchFamily="34" charset="0"/>
              </a:rPr>
              <a:t>proyecto</a:t>
            </a:r>
            <a:endParaRPr lang="pt-BR" sz="151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36 Rectángulo"/>
          <p:cNvSpPr>
            <a:spLocks noChangeArrowheads="1"/>
          </p:cNvSpPr>
          <p:nvPr/>
        </p:nvSpPr>
        <p:spPr bwMode="auto">
          <a:xfrm>
            <a:off x="2357655" y="4904801"/>
            <a:ext cx="1685446" cy="99904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 w="9525" algn="ctr">
            <a:noFill/>
            <a:round/>
            <a:headEnd/>
            <a:tailEnd/>
          </a:ln>
          <a:effectLst/>
        </p:spPr>
        <p:txBody>
          <a:bodyPr lIns="38856" tIns="0" rIns="38856" bIns="0" anchor="ctr"/>
          <a:lstStyle/>
          <a:p>
            <a:pPr algn="ctr"/>
            <a:r>
              <a:rPr lang="pt-BR" sz="1295">
                <a:cs typeface="Arial" pitchFamily="34" charset="0"/>
              </a:rPr>
              <a:t>Xxxxxx xxxxx xxxxxx xxxxx</a:t>
            </a:r>
            <a:endParaRPr lang="pt-BR" sz="1295" i="1" dirty="0">
              <a:cs typeface="Arial" pitchFamily="34" charset="0"/>
            </a:endParaRPr>
          </a:p>
        </p:txBody>
      </p:sp>
      <p:sp>
        <p:nvSpPr>
          <p:cNvPr id="8" name="36 Rectángulo"/>
          <p:cNvSpPr>
            <a:spLocks noChangeArrowheads="1"/>
          </p:cNvSpPr>
          <p:nvPr/>
        </p:nvSpPr>
        <p:spPr bwMode="auto">
          <a:xfrm>
            <a:off x="4801865" y="5140665"/>
            <a:ext cx="2611108" cy="69737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</a:t>
            </a:r>
            <a:endParaRPr lang="pt-BR" sz="1133" dirty="0"/>
          </a:p>
        </p:txBody>
      </p:sp>
      <p:sp>
        <p:nvSpPr>
          <p:cNvPr id="9" name="36 Rectángulo"/>
          <p:cNvSpPr>
            <a:spLocks noChangeArrowheads="1"/>
          </p:cNvSpPr>
          <p:nvPr/>
        </p:nvSpPr>
        <p:spPr bwMode="auto">
          <a:xfrm>
            <a:off x="7677511" y="2759152"/>
            <a:ext cx="2611108" cy="34868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xxxxxx</a:t>
            </a:r>
            <a:endParaRPr lang="pt-BR" sz="1133" dirty="0"/>
          </a:p>
        </p:txBody>
      </p:sp>
      <p:sp>
        <p:nvSpPr>
          <p:cNvPr id="10" name="36 Rectángulo"/>
          <p:cNvSpPr>
            <a:spLocks noChangeArrowheads="1"/>
          </p:cNvSpPr>
          <p:nvPr/>
        </p:nvSpPr>
        <p:spPr bwMode="auto">
          <a:xfrm>
            <a:off x="7677510" y="5140665"/>
            <a:ext cx="2611108" cy="69737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x</a:t>
            </a:r>
            <a:endParaRPr lang="pt-BR" sz="1133" dirty="0"/>
          </a:p>
          <a:p>
            <a:pPr marL="188473" indent="-188473" defTabSz="738471">
              <a:buFont typeface="Arial" pitchFamily="34" charset="0"/>
              <a:buChar char="•"/>
            </a:pPr>
            <a:r>
              <a:rPr lang="pt-BR" sz="1133"/>
              <a:t>xxxxxxxxxxxxxxxxxxxx</a:t>
            </a:r>
            <a:endParaRPr lang="pt-BR" sz="1133" dirty="0"/>
          </a:p>
        </p:txBody>
      </p:sp>
      <p:sp>
        <p:nvSpPr>
          <p:cNvPr id="11" name="AutoShape 28"/>
          <p:cNvSpPr>
            <a:spLocks noChangeArrowheads="1"/>
          </p:cNvSpPr>
          <p:nvPr/>
        </p:nvSpPr>
        <p:spPr bwMode="auto">
          <a:xfrm>
            <a:off x="4307013" y="2483069"/>
            <a:ext cx="261727" cy="855002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endParaRPr lang="pt-BR" sz="1079" dirty="0">
              <a:solidFill>
                <a:srgbClr val="0000A0"/>
              </a:solidFill>
              <a:cs typeface="Arial" pitchFamily="34" charset="0"/>
            </a:endParaRPr>
          </a:p>
        </p:txBody>
      </p:sp>
      <p:sp>
        <p:nvSpPr>
          <p:cNvPr id="12" name="AutoShape 28"/>
          <p:cNvSpPr>
            <a:spLocks noChangeArrowheads="1"/>
          </p:cNvSpPr>
          <p:nvPr/>
        </p:nvSpPr>
        <p:spPr bwMode="auto">
          <a:xfrm>
            <a:off x="4307013" y="4976820"/>
            <a:ext cx="261727" cy="855003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endParaRPr lang="pt-BR" sz="1079" dirty="0">
              <a:solidFill>
                <a:srgbClr val="0000A0"/>
              </a:solidFill>
              <a:cs typeface="Arial" pitchFamily="34" charset="0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7677510" y="2023680"/>
            <a:ext cx="2611108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 err="1">
                <a:solidFill>
                  <a:schemeClr val="accent2"/>
                </a:solidFill>
              </a:rPr>
              <a:t>Detalles</a:t>
            </a:r>
            <a:r>
              <a:rPr lang="pt-BR" sz="1295" b="1" dirty="0">
                <a:solidFill>
                  <a:schemeClr val="accent2"/>
                </a:solidFill>
              </a:rPr>
              <a:t> de </a:t>
            </a:r>
            <a:r>
              <a:rPr lang="pt-BR" sz="1295" b="1" dirty="0" err="1">
                <a:solidFill>
                  <a:schemeClr val="accent2"/>
                </a:solidFill>
              </a:rPr>
              <a:t>la</a:t>
            </a:r>
            <a:r>
              <a:rPr lang="pt-BR" sz="1295" b="1" dirty="0">
                <a:solidFill>
                  <a:schemeClr val="accent2"/>
                </a:solidFill>
              </a:rPr>
              <a:t> </a:t>
            </a:r>
            <a:r>
              <a:rPr lang="pt-BR" sz="1295" b="1" dirty="0" err="1">
                <a:solidFill>
                  <a:schemeClr val="accent2"/>
                </a:solidFill>
              </a:rPr>
              <a:t>actividad</a:t>
            </a:r>
            <a:endParaRPr lang="pt-BR" sz="1295" b="1" dirty="0">
              <a:solidFill>
                <a:schemeClr val="accent2"/>
              </a:solidFill>
            </a:endParaRPr>
          </a:p>
        </p:txBody>
      </p:sp>
      <p:sp>
        <p:nvSpPr>
          <p:cNvPr id="14" name="Freeform 16"/>
          <p:cNvSpPr>
            <a:spLocks/>
          </p:cNvSpPr>
          <p:nvPr/>
        </p:nvSpPr>
        <p:spPr bwMode="auto">
          <a:xfrm rot="5400000" flipH="1">
            <a:off x="1109214" y="2531688"/>
            <a:ext cx="923540" cy="918827"/>
          </a:xfrm>
          <a:custGeom>
            <a:avLst/>
            <a:gdLst/>
            <a:ahLst/>
            <a:cxnLst>
              <a:cxn ang="0">
                <a:pos x="599" y="207"/>
              </a:cxn>
              <a:cxn ang="0">
                <a:pos x="599" y="275"/>
              </a:cxn>
              <a:cxn ang="0">
                <a:pos x="584" y="363"/>
              </a:cxn>
              <a:cxn ang="0">
                <a:pos x="564" y="449"/>
              </a:cxn>
              <a:cxn ang="0">
                <a:pos x="535" y="531"/>
              </a:cxn>
              <a:cxn ang="0">
                <a:pos x="500" y="609"/>
              </a:cxn>
              <a:cxn ang="0">
                <a:pos x="461" y="684"/>
              </a:cxn>
              <a:cxn ang="0">
                <a:pos x="412" y="752"/>
              </a:cxn>
              <a:cxn ang="0">
                <a:pos x="361" y="812"/>
              </a:cxn>
              <a:cxn ang="0">
                <a:pos x="304" y="864"/>
              </a:cxn>
              <a:cxn ang="0">
                <a:pos x="242" y="907"/>
              </a:cxn>
              <a:cxn ang="0">
                <a:pos x="178" y="943"/>
              </a:cxn>
              <a:cxn ang="0">
                <a:pos x="109" y="967"/>
              </a:cxn>
              <a:cxn ang="0">
                <a:pos x="0" y="989"/>
              </a:cxn>
              <a:cxn ang="0">
                <a:pos x="28" y="989"/>
              </a:cxn>
              <a:cxn ang="0">
                <a:pos x="172" y="971"/>
              </a:cxn>
              <a:cxn ang="0">
                <a:pos x="265" y="948"/>
              </a:cxn>
              <a:cxn ang="0">
                <a:pos x="356" y="918"/>
              </a:cxn>
              <a:cxn ang="0">
                <a:pos x="443" y="880"/>
              </a:cxn>
              <a:cxn ang="0">
                <a:pos x="522" y="837"/>
              </a:cxn>
              <a:cxn ang="0">
                <a:pos x="599" y="784"/>
              </a:cxn>
              <a:cxn ang="0">
                <a:pos x="669" y="728"/>
              </a:cxn>
              <a:cxn ang="0">
                <a:pos x="732" y="666"/>
              </a:cxn>
              <a:cxn ang="0">
                <a:pos x="784" y="598"/>
              </a:cxn>
              <a:cxn ang="0">
                <a:pos x="832" y="521"/>
              </a:cxn>
              <a:cxn ang="0">
                <a:pos x="870" y="446"/>
              </a:cxn>
              <a:cxn ang="0">
                <a:pos x="896" y="366"/>
              </a:cxn>
              <a:cxn ang="0">
                <a:pos x="914" y="289"/>
              </a:cxn>
              <a:cxn ang="0">
                <a:pos x="925" y="207"/>
              </a:cxn>
              <a:cxn ang="0">
                <a:pos x="1077" y="204"/>
              </a:cxn>
              <a:cxn ang="0">
                <a:pos x="760" y="0"/>
              </a:cxn>
              <a:cxn ang="0">
                <a:pos x="443" y="204"/>
              </a:cxn>
              <a:cxn ang="0">
                <a:pos x="599" y="207"/>
              </a:cxn>
            </a:cxnLst>
            <a:rect l="0" t="0" r="r" b="b"/>
            <a:pathLst>
              <a:path w="1077" h="989">
                <a:moveTo>
                  <a:pt x="599" y="207"/>
                </a:moveTo>
                <a:lnTo>
                  <a:pt x="599" y="275"/>
                </a:lnTo>
                <a:lnTo>
                  <a:pt x="584" y="363"/>
                </a:lnTo>
                <a:lnTo>
                  <a:pt x="564" y="449"/>
                </a:lnTo>
                <a:lnTo>
                  <a:pt x="535" y="531"/>
                </a:lnTo>
                <a:lnTo>
                  <a:pt x="500" y="609"/>
                </a:lnTo>
                <a:lnTo>
                  <a:pt x="461" y="684"/>
                </a:lnTo>
                <a:lnTo>
                  <a:pt x="412" y="752"/>
                </a:lnTo>
                <a:lnTo>
                  <a:pt x="361" y="812"/>
                </a:lnTo>
                <a:lnTo>
                  <a:pt x="304" y="864"/>
                </a:lnTo>
                <a:lnTo>
                  <a:pt x="242" y="907"/>
                </a:lnTo>
                <a:lnTo>
                  <a:pt x="178" y="943"/>
                </a:lnTo>
                <a:lnTo>
                  <a:pt x="109" y="967"/>
                </a:lnTo>
                <a:lnTo>
                  <a:pt x="0" y="989"/>
                </a:lnTo>
                <a:lnTo>
                  <a:pt x="28" y="989"/>
                </a:lnTo>
                <a:lnTo>
                  <a:pt x="172" y="971"/>
                </a:lnTo>
                <a:lnTo>
                  <a:pt x="265" y="948"/>
                </a:lnTo>
                <a:lnTo>
                  <a:pt x="356" y="918"/>
                </a:lnTo>
                <a:lnTo>
                  <a:pt x="443" y="880"/>
                </a:lnTo>
                <a:lnTo>
                  <a:pt x="522" y="837"/>
                </a:lnTo>
                <a:lnTo>
                  <a:pt x="599" y="784"/>
                </a:lnTo>
                <a:lnTo>
                  <a:pt x="669" y="728"/>
                </a:lnTo>
                <a:lnTo>
                  <a:pt x="732" y="666"/>
                </a:lnTo>
                <a:lnTo>
                  <a:pt x="784" y="598"/>
                </a:lnTo>
                <a:lnTo>
                  <a:pt x="832" y="521"/>
                </a:lnTo>
                <a:lnTo>
                  <a:pt x="870" y="446"/>
                </a:lnTo>
                <a:lnTo>
                  <a:pt x="896" y="366"/>
                </a:lnTo>
                <a:lnTo>
                  <a:pt x="914" y="289"/>
                </a:lnTo>
                <a:lnTo>
                  <a:pt x="925" y="207"/>
                </a:lnTo>
                <a:lnTo>
                  <a:pt x="1077" y="204"/>
                </a:lnTo>
                <a:lnTo>
                  <a:pt x="760" y="0"/>
                </a:lnTo>
                <a:lnTo>
                  <a:pt x="443" y="204"/>
                </a:lnTo>
                <a:lnTo>
                  <a:pt x="599" y="207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15" name="Freeform 17"/>
          <p:cNvSpPr>
            <a:spLocks/>
          </p:cNvSpPr>
          <p:nvPr/>
        </p:nvSpPr>
        <p:spPr bwMode="auto">
          <a:xfrm rot="16200000" flipH="1" flipV="1">
            <a:off x="1109214" y="4843779"/>
            <a:ext cx="923540" cy="918827"/>
          </a:xfrm>
          <a:custGeom>
            <a:avLst/>
            <a:gdLst/>
            <a:ahLst/>
            <a:cxnLst>
              <a:cxn ang="0">
                <a:pos x="599" y="207"/>
              </a:cxn>
              <a:cxn ang="0">
                <a:pos x="599" y="275"/>
              </a:cxn>
              <a:cxn ang="0">
                <a:pos x="584" y="363"/>
              </a:cxn>
              <a:cxn ang="0">
                <a:pos x="564" y="449"/>
              </a:cxn>
              <a:cxn ang="0">
                <a:pos x="535" y="531"/>
              </a:cxn>
              <a:cxn ang="0">
                <a:pos x="500" y="609"/>
              </a:cxn>
              <a:cxn ang="0">
                <a:pos x="461" y="684"/>
              </a:cxn>
              <a:cxn ang="0">
                <a:pos x="412" y="752"/>
              </a:cxn>
              <a:cxn ang="0">
                <a:pos x="361" y="812"/>
              </a:cxn>
              <a:cxn ang="0">
                <a:pos x="304" y="864"/>
              </a:cxn>
              <a:cxn ang="0">
                <a:pos x="242" y="907"/>
              </a:cxn>
              <a:cxn ang="0">
                <a:pos x="178" y="943"/>
              </a:cxn>
              <a:cxn ang="0">
                <a:pos x="109" y="967"/>
              </a:cxn>
              <a:cxn ang="0">
                <a:pos x="0" y="989"/>
              </a:cxn>
              <a:cxn ang="0">
                <a:pos x="28" y="989"/>
              </a:cxn>
              <a:cxn ang="0">
                <a:pos x="172" y="971"/>
              </a:cxn>
              <a:cxn ang="0">
                <a:pos x="265" y="948"/>
              </a:cxn>
              <a:cxn ang="0">
                <a:pos x="356" y="918"/>
              </a:cxn>
              <a:cxn ang="0">
                <a:pos x="443" y="880"/>
              </a:cxn>
              <a:cxn ang="0">
                <a:pos x="522" y="837"/>
              </a:cxn>
              <a:cxn ang="0">
                <a:pos x="599" y="784"/>
              </a:cxn>
              <a:cxn ang="0">
                <a:pos x="669" y="728"/>
              </a:cxn>
              <a:cxn ang="0">
                <a:pos x="732" y="666"/>
              </a:cxn>
              <a:cxn ang="0">
                <a:pos x="784" y="598"/>
              </a:cxn>
              <a:cxn ang="0">
                <a:pos x="832" y="521"/>
              </a:cxn>
              <a:cxn ang="0">
                <a:pos x="870" y="446"/>
              </a:cxn>
              <a:cxn ang="0">
                <a:pos x="896" y="366"/>
              </a:cxn>
              <a:cxn ang="0">
                <a:pos x="914" y="289"/>
              </a:cxn>
              <a:cxn ang="0">
                <a:pos x="925" y="207"/>
              </a:cxn>
              <a:cxn ang="0">
                <a:pos x="1077" y="204"/>
              </a:cxn>
              <a:cxn ang="0">
                <a:pos x="760" y="0"/>
              </a:cxn>
              <a:cxn ang="0">
                <a:pos x="443" y="204"/>
              </a:cxn>
              <a:cxn ang="0">
                <a:pos x="599" y="207"/>
              </a:cxn>
            </a:cxnLst>
            <a:rect l="0" t="0" r="r" b="b"/>
            <a:pathLst>
              <a:path w="1077" h="989">
                <a:moveTo>
                  <a:pt x="599" y="207"/>
                </a:moveTo>
                <a:lnTo>
                  <a:pt x="599" y="275"/>
                </a:lnTo>
                <a:lnTo>
                  <a:pt x="584" y="363"/>
                </a:lnTo>
                <a:lnTo>
                  <a:pt x="564" y="449"/>
                </a:lnTo>
                <a:lnTo>
                  <a:pt x="535" y="531"/>
                </a:lnTo>
                <a:lnTo>
                  <a:pt x="500" y="609"/>
                </a:lnTo>
                <a:lnTo>
                  <a:pt x="461" y="684"/>
                </a:lnTo>
                <a:lnTo>
                  <a:pt x="412" y="752"/>
                </a:lnTo>
                <a:lnTo>
                  <a:pt x="361" y="812"/>
                </a:lnTo>
                <a:lnTo>
                  <a:pt x="304" y="864"/>
                </a:lnTo>
                <a:lnTo>
                  <a:pt x="242" y="907"/>
                </a:lnTo>
                <a:lnTo>
                  <a:pt x="178" y="943"/>
                </a:lnTo>
                <a:lnTo>
                  <a:pt x="109" y="967"/>
                </a:lnTo>
                <a:lnTo>
                  <a:pt x="0" y="989"/>
                </a:lnTo>
                <a:lnTo>
                  <a:pt x="28" y="989"/>
                </a:lnTo>
                <a:lnTo>
                  <a:pt x="172" y="971"/>
                </a:lnTo>
                <a:lnTo>
                  <a:pt x="265" y="948"/>
                </a:lnTo>
                <a:lnTo>
                  <a:pt x="356" y="918"/>
                </a:lnTo>
                <a:lnTo>
                  <a:pt x="443" y="880"/>
                </a:lnTo>
                <a:lnTo>
                  <a:pt x="522" y="837"/>
                </a:lnTo>
                <a:lnTo>
                  <a:pt x="599" y="784"/>
                </a:lnTo>
                <a:lnTo>
                  <a:pt x="669" y="728"/>
                </a:lnTo>
                <a:lnTo>
                  <a:pt x="732" y="666"/>
                </a:lnTo>
                <a:lnTo>
                  <a:pt x="784" y="598"/>
                </a:lnTo>
                <a:lnTo>
                  <a:pt x="832" y="521"/>
                </a:lnTo>
                <a:lnTo>
                  <a:pt x="870" y="446"/>
                </a:lnTo>
                <a:lnTo>
                  <a:pt x="896" y="366"/>
                </a:lnTo>
                <a:lnTo>
                  <a:pt x="914" y="289"/>
                </a:lnTo>
                <a:lnTo>
                  <a:pt x="925" y="207"/>
                </a:lnTo>
                <a:lnTo>
                  <a:pt x="1077" y="204"/>
                </a:lnTo>
                <a:lnTo>
                  <a:pt x="760" y="0"/>
                </a:lnTo>
                <a:lnTo>
                  <a:pt x="443" y="204"/>
                </a:lnTo>
                <a:lnTo>
                  <a:pt x="599" y="207"/>
                </a:lnTo>
                <a:close/>
              </a:path>
            </a:pathLst>
          </a:custGeom>
          <a:solidFill>
            <a:schemeClr val="accent6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pt-BR" sz="2159" dirty="0">
              <a:solidFill>
                <a:srgbClr val="0000A0"/>
              </a:solidFill>
            </a:endParaRPr>
          </a:p>
        </p:txBody>
      </p:sp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4832651" y="2023680"/>
            <a:ext cx="2611108" cy="19928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295" b="1" dirty="0">
                <a:solidFill>
                  <a:schemeClr val="accent2"/>
                </a:solidFill>
              </a:rPr>
              <a:t>Objetivo</a:t>
            </a:r>
          </a:p>
        </p:txBody>
      </p:sp>
      <p:sp>
        <p:nvSpPr>
          <p:cNvPr id="23" name="22 Rectángulo"/>
          <p:cNvSpPr/>
          <p:nvPr/>
        </p:nvSpPr>
        <p:spPr>
          <a:xfrm>
            <a:off x="-1" y="6454505"/>
            <a:ext cx="10691813" cy="5306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7115" rIns="777115" rtlCol="0" anchor="ctr"/>
          <a:lstStyle/>
          <a:p>
            <a:pPr algn="ctr"/>
            <a:r>
              <a:rPr lang="pt-BR" sz="1727" dirty="0" err="1">
                <a:solidFill>
                  <a:schemeClr val="bg1"/>
                </a:solidFill>
              </a:rPr>
              <a:t>Kicker</a:t>
            </a:r>
            <a:r>
              <a:rPr lang="pt-BR" sz="1727" dirty="0">
                <a:solidFill>
                  <a:schemeClr val="bg1"/>
                </a:solidFill>
              </a:rPr>
              <a:t> </a:t>
            </a:r>
            <a:r>
              <a:rPr lang="pt-BR" sz="1727" dirty="0" err="1">
                <a:solidFill>
                  <a:schemeClr val="bg1"/>
                </a:solidFill>
              </a:rPr>
              <a:t>en</a:t>
            </a:r>
            <a:r>
              <a:rPr lang="pt-BR" sz="1727" dirty="0">
                <a:solidFill>
                  <a:schemeClr val="bg1"/>
                </a:solidFill>
              </a:rPr>
              <a:t> Arial 16 </a:t>
            </a:r>
            <a:r>
              <a:rPr lang="pt-BR" sz="1727" dirty="0" err="1">
                <a:solidFill>
                  <a:schemeClr val="bg1"/>
                </a:solidFill>
              </a:rPr>
              <a:t>sin</a:t>
            </a:r>
            <a:r>
              <a:rPr lang="pt-BR" sz="1727" dirty="0">
                <a:solidFill>
                  <a:schemeClr val="bg1"/>
                </a:solidFill>
              </a:rPr>
              <a:t> negrita</a:t>
            </a:r>
          </a:p>
        </p:txBody>
      </p:sp>
      <p:grpSp>
        <p:nvGrpSpPr>
          <p:cNvPr id="17" name="26 Grupo"/>
          <p:cNvGrpSpPr/>
          <p:nvPr/>
        </p:nvGrpSpPr>
        <p:grpSpPr>
          <a:xfrm>
            <a:off x="414650" y="1536680"/>
            <a:ext cx="9862512" cy="300153"/>
            <a:chOff x="560512" y="1350707"/>
            <a:chExt cx="8856984" cy="278093"/>
          </a:xfrm>
        </p:grpSpPr>
        <p:sp>
          <p:nvSpPr>
            <p:cNvPr id="20" name="8 Marcador de texto"/>
            <p:cNvSpPr txBox="1">
              <a:spLocks/>
            </p:cNvSpPr>
            <p:nvPr/>
          </p:nvSpPr>
          <p:spPr>
            <a:xfrm>
              <a:off x="569513" y="1350707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es-ES" sz="1511" b="1">
                  <a:solidFill>
                    <a:schemeClr val="accent1"/>
                  </a:solidFill>
                </a:rPr>
                <a:t>Xxxxx xxxxxxxxxxxx xxxxxxxxxxxxx</a:t>
              </a:r>
              <a:endParaRPr lang="es-ES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1" name="20 Conector recto"/>
            <p:cNvCxnSpPr/>
            <p:nvPr/>
          </p:nvCxnSpPr>
          <p:spPr>
            <a:xfrm>
              <a:off x="560512" y="1628800"/>
              <a:ext cx="8856984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8 Marcador de texto"/>
          <p:cNvSpPr txBox="1">
            <a:spLocks/>
          </p:cNvSpPr>
          <p:nvPr/>
        </p:nvSpPr>
        <p:spPr>
          <a:xfrm>
            <a:off x="4832652" y="2374619"/>
            <a:ext cx="2611108" cy="36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187" b="1" dirty="0"/>
              <a:t>Título de 3</a:t>
            </a:r>
            <a:r>
              <a:rPr lang="pt-BR" sz="1187" b="1" baseline="30000" dirty="0"/>
              <a:t>er</a:t>
            </a:r>
            <a:r>
              <a:rPr lang="pt-BR" sz="1187" b="1" dirty="0"/>
              <a:t> </a:t>
            </a:r>
            <a:r>
              <a:rPr lang="pt-BR" sz="1187" b="1" dirty="0" err="1"/>
              <a:t>nivel</a:t>
            </a:r>
            <a:r>
              <a:rPr lang="pt-BR" sz="1187" b="1" dirty="0"/>
              <a:t> negro </a:t>
            </a:r>
            <a:r>
              <a:rPr lang="pt-BR" sz="1187" b="1" dirty="0" err="1"/>
              <a:t>con</a:t>
            </a:r>
            <a:r>
              <a:rPr lang="pt-BR" sz="1187" b="1" dirty="0"/>
              <a:t> negrita, </a:t>
            </a:r>
            <a:r>
              <a:rPr lang="pt-BR" sz="1187" b="1" dirty="0" err="1"/>
              <a:t>alineado</a:t>
            </a:r>
            <a:r>
              <a:rPr lang="pt-BR" sz="1187" b="1" dirty="0"/>
              <a:t> a </a:t>
            </a:r>
            <a:r>
              <a:rPr lang="pt-BR" sz="1187" b="1" dirty="0" err="1"/>
              <a:t>la</a:t>
            </a:r>
            <a:r>
              <a:rPr lang="pt-BR" sz="1187" b="1" dirty="0"/>
              <a:t> </a:t>
            </a:r>
            <a:r>
              <a:rPr lang="pt-BR" sz="1187" b="1" dirty="0" err="1"/>
              <a:t>izquierda</a:t>
            </a:r>
            <a:endParaRPr lang="pt-BR" sz="1187" b="1" dirty="0"/>
          </a:p>
        </p:txBody>
      </p:sp>
      <p:sp>
        <p:nvSpPr>
          <p:cNvPr id="24" name="8 Marcador de texto"/>
          <p:cNvSpPr txBox="1">
            <a:spLocks/>
          </p:cNvSpPr>
          <p:nvPr/>
        </p:nvSpPr>
        <p:spPr>
          <a:xfrm>
            <a:off x="7677511" y="2374619"/>
            <a:ext cx="2611108" cy="36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187" b="1" dirty="0"/>
              <a:t>Título de 3</a:t>
            </a:r>
            <a:r>
              <a:rPr lang="pt-BR" sz="1187" b="1" baseline="30000" dirty="0"/>
              <a:t>er</a:t>
            </a:r>
            <a:r>
              <a:rPr lang="pt-BR" sz="1187" b="1" dirty="0"/>
              <a:t> </a:t>
            </a:r>
            <a:r>
              <a:rPr lang="pt-BR" sz="1187" b="1" dirty="0" err="1"/>
              <a:t>nivel</a:t>
            </a:r>
            <a:r>
              <a:rPr lang="pt-BR" sz="1187" b="1" dirty="0"/>
              <a:t> negro </a:t>
            </a:r>
            <a:r>
              <a:rPr lang="pt-BR" sz="1187" b="1" dirty="0" err="1"/>
              <a:t>con</a:t>
            </a:r>
            <a:r>
              <a:rPr lang="pt-BR" sz="1187" b="1" dirty="0"/>
              <a:t> negrita, </a:t>
            </a:r>
            <a:r>
              <a:rPr lang="pt-BR" sz="1187" b="1" dirty="0" err="1"/>
              <a:t>alineado</a:t>
            </a:r>
            <a:r>
              <a:rPr lang="pt-BR" sz="1187" b="1" dirty="0"/>
              <a:t> a </a:t>
            </a:r>
            <a:r>
              <a:rPr lang="pt-BR" sz="1187" b="1" dirty="0" err="1"/>
              <a:t>la</a:t>
            </a:r>
            <a:r>
              <a:rPr lang="pt-BR" sz="1187" b="1" dirty="0"/>
              <a:t> </a:t>
            </a:r>
            <a:r>
              <a:rPr lang="pt-BR" sz="1187" b="1" dirty="0" err="1"/>
              <a:t>izquierda</a:t>
            </a:r>
            <a:endParaRPr lang="pt-BR" sz="1187" b="1" dirty="0"/>
          </a:p>
        </p:txBody>
      </p:sp>
      <p:sp>
        <p:nvSpPr>
          <p:cNvPr id="25" name="8 Marcador de texto"/>
          <p:cNvSpPr txBox="1">
            <a:spLocks/>
          </p:cNvSpPr>
          <p:nvPr/>
        </p:nvSpPr>
        <p:spPr>
          <a:xfrm>
            <a:off x="4832652" y="4783944"/>
            <a:ext cx="2611108" cy="36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187" b="1" dirty="0"/>
              <a:t>Título de 3</a:t>
            </a:r>
            <a:r>
              <a:rPr lang="pt-BR" sz="1187" b="1" baseline="30000" dirty="0"/>
              <a:t>er</a:t>
            </a:r>
            <a:r>
              <a:rPr lang="pt-BR" sz="1187" b="1" dirty="0"/>
              <a:t> </a:t>
            </a:r>
            <a:r>
              <a:rPr lang="pt-BR" sz="1187" b="1" dirty="0" err="1"/>
              <a:t>nivel</a:t>
            </a:r>
            <a:r>
              <a:rPr lang="pt-BR" sz="1187" b="1" dirty="0"/>
              <a:t> negro </a:t>
            </a:r>
            <a:r>
              <a:rPr lang="pt-BR" sz="1187" b="1" dirty="0" err="1"/>
              <a:t>con</a:t>
            </a:r>
            <a:r>
              <a:rPr lang="pt-BR" sz="1187" b="1" dirty="0"/>
              <a:t> negrita, </a:t>
            </a:r>
            <a:r>
              <a:rPr lang="pt-BR" sz="1187" b="1" dirty="0" err="1"/>
              <a:t>alineado</a:t>
            </a:r>
            <a:r>
              <a:rPr lang="pt-BR" sz="1187" b="1" dirty="0"/>
              <a:t> a </a:t>
            </a:r>
            <a:r>
              <a:rPr lang="pt-BR" sz="1187" b="1" dirty="0" err="1"/>
              <a:t>la</a:t>
            </a:r>
            <a:r>
              <a:rPr lang="pt-BR" sz="1187" b="1" dirty="0"/>
              <a:t> </a:t>
            </a:r>
            <a:r>
              <a:rPr lang="pt-BR" sz="1187" b="1" dirty="0" err="1"/>
              <a:t>izquierda</a:t>
            </a:r>
            <a:endParaRPr lang="pt-BR" sz="1187" b="1" dirty="0"/>
          </a:p>
        </p:txBody>
      </p:sp>
      <p:sp>
        <p:nvSpPr>
          <p:cNvPr id="26" name="8 Marcador de texto"/>
          <p:cNvSpPr txBox="1">
            <a:spLocks/>
          </p:cNvSpPr>
          <p:nvPr/>
        </p:nvSpPr>
        <p:spPr>
          <a:xfrm>
            <a:off x="7677511" y="4783944"/>
            <a:ext cx="2611108" cy="365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pt-BR" sz="1187" b="1" dirty="0"/>
              <a:t>Título de 3</a:t>
            </a:r>
            <a:r>
              <a:rPr lang="pt-BR" sz="1187" b="1" baseline="30000" dirty="0"/>
              <a:t>er</a:t>
            </a:r>
            <a:r>
              <a:rPr lang="pt-BR" sz="1187" b="1" dirty="0"/>
              <a:t> </a:t>
            </a:r>
            <a:r>
              <a:rPr lang="pt-BR" sz="1187" b="1" dirty="0" err="1"/>
              <a:t>nivel</a:t>
            </a:r>
            <a:r>
              <a:rPr lang="pt-BR" sz="1187" b="1" dirty="0"/>
              <a:t> negro </a:t>
            </a:r>
            <a:r>
              <a:rPr lang="pt-BR" sz="1187" b="1" dirty="0" err="1"/>
              <a:t>con</a:t>
            </a:r>
            <a:r>
              <a:rPr lang="pt-BR" sz="1187" b="1" dirty="0"/>
              <a:t> negrita, </a:t>
            </a:r>
            <a:r>
              <a:rPr lang="pt-BR" sz="1187" b="1" dirty="0" err="1"/>
              <a:t>alineado</a:t>
            </a:r>
            <a:r>
              <a:rPr lang="pt-BR" sz="1187" b="1" dirty="0"/>
              <a:t> a </a:t>
            </a:r>
            <a:r>
              <a:rPr lang="pt-BR" sz="1187" b="1" dirty="0" err="1"/>
              <a:t>la</a:t>
            </a:r>
            <a:r>
              <a:rPr lang="pt-BR" sz="1187" b="1" dirty="0"/>
              <a:t> </a:t>
            </a:r>
            <a:r>
              <a:rPr lang="pt-BR" sz="1187" b="1" dirty="0" err="1"/>
              <a:t>izquierda</a:t>
            </a:r>
            <a:endParaRPr lang="pt-BR" sz="1187" b="1" dirty="0"/>
          </a:p>
        </p:txBody>
      </p:sp>
    </p:spTree>
    <p:extLst>
      <p:ext uri="{BB962C8B-B14F-4D97-AF65-F5344CB8AC3E}">
        <p14:creationId xmlns:p14="http://schemas.microsoft.com/office/powerpoint/2010/main" val="349974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t-BR" dirty="0" err="1" smtClean="0"/>
              <a:t>En</a:t>
            </a:r>
            <a:r>
              <a:rPr lang="pt-BR" dirty="0" smtClean="0"/>
              <a:t> formas, </a:t>
            </a:r>
            <a:r>
              <a:rPr lang="pt-BR" dirty="0" err="1" smtClean="0"/>
              <a:t>el</a:t>
            </a:r>
            <a:r>
              <a:rPr lang="pt-BR" dirty="0" smtClean="0"/>
              <a:t> color de contraste </a:t>
            </a:r>
            <a:r>
              <a:rPr lang="pt-BR" dirty="0" err="1" smtClean="0"/>
              <a:t>sirve</a:t>
            </a:r>
            <a:r>
              <a:rPr lang="pt-BR" dirty="0" smtClean="0"/>
              <a:t> para remarcar partes importantes, entre </a:t>
            </a:r>
            <a:r>
              <a:rPr lang="pt-BR" dirty="0" err="1" smtClean="0"/>
              <a:t>otros</a:t>
            </a:r>
            <a:r>
              <a:rPr lang="pt-BR" dirty="0" smtClean="0"/>
              <a:t> </a:t>
            </a:r>
            <a:r>
              <a:rPr lang="pt-BR" dirty="0" err="1" smtClean="0"/>
              <a:t>en</a:t>
            </a:r>
            <a:r>
              <a:rPr lang="pt-BR" dirty="0" smtClean="0"/>
              <a:t> una mosca</a:t>
            </a:r>
            <a:endParaRPr lang="pt-BR" dirty="0"/>
          </a:p>
        </p:txBody>
      </p:sp>
      <p:sp>
        <p:nvSpPr>
          <p:cNvPr id="39" name="Espaço Reservado para Texto 3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" name="7 Diagrama"/>
          <p:cNvGraphicFramePr/>
          <p:nvPr/>
        </p:nvGraphicFramePr>
        <p:xfrm>
          <a:off x="6833780" y="1782057"/>
          <a:ext cx="2475855" cy="2375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Freeform 2"/>
          <p:cNvSpPr>
            <a:spLocks/>
          </p:cNvSpPr>
          <p:nvPr/>
        </p:nvSpPr>
        <p:spPr bwMode="auto">
          <a:xfrm>
            <a:off x="6946215" y="5083058"/>
            <a:ext cx="907690" cy="859316"/>
          </a:xfrm>
          <a:custGeom>
            <a:avLst/>
            <a:gdLst>
              <a:gd name="T0" fmla="*/ 0 w 837"/>
              <a:gd name="T1" fmla="*/ 2147483647 h 842"/>
              <a:gd name="T2" fmla="*/ 2147483647 w 837"/>
              <a:gd name="T3" fmla="*/ 2147483647 h 842"/>
              <a:gd name="T4" fmla="*/ 2147483647 w 837"/>
              <a:gd name="T5" fmla="*/ 2147483647 h 842"/>
              <a:gd name="T6" fmla="*/ 2147483647 w 837"/>
              <a:gd name="T7" fmla="*/ 0 h 842"/>
              <a:gd name="T8" fmla="*/ 2147483647 w 837"/>
              <a:gd name="T9" fmla="*/ 2147483647 h 842"/>
              <a:gd name="T10" fmla="*/ 2147483647 w 837"/>
              <a:gd name="T11" fmla="*/ 2147483647 h 842"/>
              <a:gd name="T12" fmla="*/ 2147483647 w 837"/>
              <a:gd name="T13" fmla="*/ 2147483647 h 842"/>
              <a:gd name="T14" fmla="*/ 2147483647 w 837"/>
              <a:gd name="T15" fmla="*/ 2147483647 h 842"/>
              <a:gd name="T16" fmla="*/ 2147483647 w 837"/>
              <a:gd name="T17" fmla="*/ 2147483647 h 842"/>
              <a:gd name="T18" fmla="*/ 2147483647 w 837"/>
              <a:gd name="T19" fmla="*/ 2147483647 h 842"/>
              <a:gd name="T20" fmla="*/ 2147483647 w 837"/>
              <a:gd name="T21" fmla="*/ 2147483647 h 842"/>
              <a:gd name="T22" fmla="*/ 2147483647 w 837"/>
              <a:gd name="T23" fmla="*/ 2147483647 h 842"/>
              <a:gd name="T24" fmla="*/ 2147483647 w 837"/>
              <a:gd name="T25" fmla="*/ 2147483647 h 842"/>
              <a:gd name="T26" fmla="*/ 2147483647 w 837"/>
              <a:gd name="T27" fmla="*/ 2147483647 h 842"/>
              <a:gd name="T28" fmla="*/ 2147483647 w 837"/>
              <a:gd name="T29" fmla="*/ 2147483647 h 842"/>
              <a:gd name="T30" fmla="*/ 2147483647 w 837"/>
              <a:gd name="T31" fmla="*/ 2147483647 h 842"/>
              <a:gd name="T32" fmla="*/ 2147483647 w 837"/>
              <a:gd name="T33" fmla="*/ 2147483647 h 842"/>
              <a:gd name="T34" fmla="*/ 2147483647 w 837"/>
              <a:gd name="T35" fmla="*/ 2147483647 h 842"/>
              <a:gd name="T36" fmla="*/ 0 w 837"/>
              <a:gd name="T37" fmla="*/ 2147483647 h 842"/>
              <a:gd name="T38" fmla="*/ 0 w 837"/>
              <a:gd name="T39" fmla="*/ 2147483647 h 842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37"/>
              <a:gd name="T61" fmla="*/ 0 h 842"/>
              <a:gd name="T62" fmla="*/ 837 w 837"/>
              <a:gd name="T63" fmla="*/ 842 h 842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37" h="842">
                <a:moveTo>
                  <a:pt x="0" y="151"/>
                </a:moveTo>
                <a:cubicBezTo>
                  <a:pt x="77" y="151"/>
                  <a:pt x="164" y="151"/>
                  <a:pt x="278" y="151"/>
                </a:cubicBezTo>
                <a:cubicBezTo>
                  <a:pt x="330" y="129"/>
                  <a:pt x="264" y="129"/>
                  <a:pt x="260" y="73"/>
                </a:cubicBezTo>
                <a:cubicBezTo>
                  <a:pt x="256" y="17"/>
                  <a:pt x="285" y="0"/>
                  <a:pt x="337" y="0"/>
                </a:cubicBezTo>
                <a:cubicBezTo>
                  <a:pt x="389" y="0"/>
                  <a:pt x="426" y="2"/>
                  <a:pt x="424" y="61"/>
                </a:cubicBezTo>
                <a:cubicBezTo>
                  <a:pt x="422" y="120"/>
                  <a:pt x="370" y="115"/>
                  <a:pt x="400" y="151"/>
                </a:cubicBezTo>
                <a:cubicBezTo>
                  <a:pt x="440" y="151"/>
                  <a:pt x="597" y="153"/>
                  <a:pt x="687" y="151"/>
                </a:cubicBezTo>
                <a:cubicBezTo>
                  <a:pt x="687" y="151"/>
                  <a:pt x="685" y="387"/>
                  <a:pt x="685" y="436"/>
                </a:cubicBezTo>
                <a:cubicBezTo>
                  <a:pt x="717" y="471"/>
                  <a:pt x="726" y="413"/>
                  <a:pt x="770" y="410"/>
                </a:cubicBezTo>
                <a:cubicBezTo>
                  <a:pt x="814" y="407"/>
                  <a:pt x="837" y="446"/>
                  <a:pt x="837" y="497"/>
                </a:cubicBezTo>
                <a:cubicBezTo>
                  <a:pt x="837" y="548"/>
                  <a:pt x="815" y="579"/>
                  <a:pt x="772" y="579"/>
                </a:cubicBezTo>
                <a:cubicBezTo>
                  <a:pt x="729" y="579"/>
                  <a:pt x="727" y="526"/>
                  <a:pt x="685" y="548"/>
                </a:cubicBezTo>
                <a:cubicBezTo>
                  <a:pt x="685" y="689"/>
                  <a:pt x="685" y="783"/>
                  <a:pt x="685" y="842"/>
                </a:cubicBezTo>
                <a:cubicBezTo>
                  <a:pt x="619" y="842"/>
                  <a:pt x="439" y="842"/>
                  <a:pt x="397" y="842"/>
                </a:cubicBezTo>
                <a:cubicBezTo>
                  <a:pt x="359" y="804"/>
                  <a:pt x="422" y="795"/>
                  <a:pt x="422" y="760"/>
                </a:cubicBezTo>
                <a:cubicBezTo>
                  <a:pt x="422" y="725"/>
                  <a:pt x="405" y="689"/>
                  <a:pt x="343" y="690"/>
                </a:cubicBezTo>
                <a:cubicBezTo>
                  <a:pt x="281" y="691"/>
                  <a:pt x="269" y="718"/>
                  <a:pt x="267" y="752"/>
                </a:cubicBezTo>
                <a:cubicBezTo>
                  <a:pt x="265" y="786"/>
                  <a:pt x="341" y="816"/>
                  <a:pt x="286" y="840"/>
                </a:cubicBezTo>
                <a:cubicBezTo>
                  <a:pt x="142" y="840"/>
                  <a:pt x="14" y="839"/>
                  <a:pt x="0" y="840"/>
                </a:cubicBezTo>
                <a:cubicBezTo>
                  <a:pt x="1" y="726"/>
                  <a:pt x="1" y="287"/>
                  <a:pt x="0" y="151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1" name="Freeform 36"/>
          <p:cNvSpPr>
            <a:spLocks/>
          </p:cNvSpPr>
          <p:nvPr/>
        </p:nvSpPr>
        <p:spPr bwMode="auto">
          <a:xfrm>
            <a:off x="7688703" y="5247228"/>
            <a:ext cx="746199" cy="843058"/>
          </a:xfrm>
          <a:custGeom>
            <a:avLst/>
            <a:gdLst>
              <a:gd name="T0" fmla="*/ 2147483647 w 689"/>
              <a:gd name="T1" fmla="*/ 0 h 840"/>
              <a:gd name="T2" fmla="*/ 2147483647 w 689"/>
              <a:gd name="T3" fmla="*/ 2147483647 h 840"/>
              <a:gd name="T4" fmla="*/ 2147483647 w 689"/>
              <a:gd name="T5" fmla="*/ 2147483647 h 840"/>
              <a:gd name="T6" fmla="*/ 2147483647 w 689"/>
              <a:gd name="T7" fmla="*/ 2147483647 h 840"/>
              <a:gd name="T8" fmla="*/ 2147483647 w 689"/>
              <a:gd name="T9" fmla="*/ 2147483647 h 840"/>
              <a:gd name="T10" fmla="*/ 2147483647 w 689"/>
              <a:gd name="T11" fmla="*/ 2147483647 h 840"/>
              <a:gd name="T12" fmla="*/ 2147483647 w 689"/>
              <a:gd name="T13" fmla="*/ 2147483647 h 840"/>
              <a:gd name="T14" fmla="*/ 2147483647 w 689"/>
              <a:gd name="T15" fmla="*/ 2147483647 h 840"/>
              <a:gd name="T16" fmla="*/ 2147483647 w 689"/>
              <a:gd name="T17" fmla="*/ 2147483647 h 840"/>
              <a:gd name="T18" fmla="*/ 2147483647 w 689"/>
              <a:gd name="T19" fmla="*/ 2147483647 h 840"/>
              <a:gd name="T20" fmla="*/ 2147483647 w 689"/>
              <a:gd name="T21" fmla="*/ 2147483647 h 840"/>
              <a:gd name="T22" fmla="*/ 2147483647 w 689"/>
              <a:gd name="T23" fmla="*/ 2147483647 h 840"/>
              <a:gd name="T24" fmla="*/ 2147483647 w 689"/>
              <a:gd name="T25" fmla="*/ 2147483647 h 840"/>
              <a:gd name="T26" fmla="*/ 2147483647 w 689"/>
              <a:gd name="T27" fmla="*/ 2147483647 h 840"/>
              <a:gd name="T28" fmla="*/ 2147483647 w 689"/>
              <a:gd name="T29" fmla="*/ 2147483647 h 840"/>
              <a:gd name="T30" fmla="*/ 2147483647 w 689"/>
              <a:gd name="T31" fmla="*/ 0 h 840"/>
              <a:gd name="T32" fmla="*/ 2147483647 w 689"/>
              <a:gd name="T33" fmla="*/ 2147483647 h 840"/>
              <a:gd name="T34" fmla="*/ 2147483647 w 689"/>
              <a:gd name="T35" fmla="*/ 2147483647 h 840"/>
              <a:gd name="T36" fmla="*/ 2147483647 w 689"/>
              <a:gd name="T37" fmla="*/ 2147483647 h 840"/>
              <a:gd name="T38" fmla="*/ 2147483647 w 689"/>
              <a:gd name="T39" fmla="*/ 2147483647 h 840"/>
              <a:gd name="T40" fmla="*/ 2147483647 w 689"/>
              <a:gd name="T41" fmla="*/ 2147483647 h 840"/>
              <a:gd name="T42" fmla="*/ 2147483647 w 689"/>
              <a:gd name="T43" fmla="*/ 2147483647 h 840"/>
              <a:gd name="T44" fmla="*/ 2147483647 w 689"/>
              <a:gd name="T45" fmla="*/ 2147483647 h 840"/>
              <a:gd name="T46" fmla="*/ 2147483647 w 689"/>
              <a:gd name="T47" fmla="*/ 2147483647 h 840"/>
              <a:gd name="T48" fmla="*/ 2147483647 w 689"/>
              <a:gd name="T49" fmla="*/ 2147483647 h 840"/>
              <a:gd name="T50" fmla="*/ 2147483647 w 689"/>
              <a:gd name="T51" fmla="*/ 2147483647 h 840"/>
              <a:gd name="T52" fmla="*/ 2147483647 w 689"/>
              <a:gd name="T53" fmla="*/ 2147483647 h 840"/>
              <a:gd name="T54" fmla="*/ 2147483647 w 689"/>
              <a:gd name="T55" fmla="*/ 2147483647 h 840"/>
              <a:gd name="T56" fmla="*/ 2147483647 w 689"/>
              <a:gd name="T57" fmla="*/ 2147483647 h 840"/>
              <a:gd name="T58" fmla="*/ 2147483647 w 689"/>
              <a:gd name="T59" fmla="*/ 2147483647 h 840"/>
              <a:gd name="T60" fmla="*/ 2147483647 w 689"/>
              <a:gd name="T61" fmla="*/ 2147483647 h 840"/>
              <a:gd name="T62" fmla="*/ 2147483647 w 689"/>
              <a:gd name="T63" fmla="*/ 2147483647 h 840"/>
              <a:gd name="T64" fmla="*/ 2147483647 w 689"/>
              <a:gd name="T65" fmla="*/ 2147483647 h 840"/>
              <a:gd name="T66" fmla="*/ 2147483647 w 689"/>
              <a:gd name="T67" fmla="*/ 2147483647 h 840"/>
              <a:gd name="T68" fmla="*/ 2147483647 w 689"/>
              <a:gd name="T69" fmla="*/ 2147483647 h 840"/>
              <a:gd name="T70" fmla="*/ 2147483647 w 689"/>
              <a:gd name="T71" fmla="*/ 2147483647 h 840"/>
              <a:gd name="T72" fmla="*/ 2147483647 w 689"/>
              <a:gd name="T73" fmla="*/ 2147483647 h 840"/>
              <a:gd name="T74" fmla="*/ 2147483647 w 689"/>
              <a:gd name="T75" fmla="*/ 2147483647 h 840"/>
              <a:gd name="T76" fmla="*/ 2147483647 w 689"/>
              <a:gd name="T77" fmla="*/ 2147483647 h 840"/>
              <a:gd name="T78" fmla="*/ 2147483647 w 689"/>
              <a:gd name="T79" fmla="*/ 2147483647 h 840"/>
              <a:gd name="T80" fmla="*/ 2147483647 w 689"/>
              <a:gd name="T81" fmla="*/ 2147483647 h 840"/>
              <a:gd name="T82" fmla="*/ 2147483647 w 689"/>
              <a:gd name="T83" fmla="*/ 2147483647 h 840"/>
              <a:gd name="T84" fmla="*/ 2147483647 w 689"/>
              <a:gd name="T85" fmla="*/ 2147483647 h 840"/>
              <a:gd name="T86" fmla="*/ 2147483647 w 689"/>
              <a:gd name="T87" fmla="*/ 2147483647 h 840"/>
              <a:gd name="T88" fmla="*/ 2147483647 w 689"/>
              <a:gd name="T89" fmla="*/ 2147483647 h 840"/>
              <a:gd name="T90" fmla="*/ 0 w 689"/>
              <a:gd name="T91" fmla="*/ 2147483647 h 840"/>
              <a:gd name="T92" fmla="*/ 2147483647 w 689"/>
              <a:gd name="T93" fmla="*/ 2147483647 h 840"/>
              <a:gd name="T94" fmla="*/ 2147483647 w 689"/>
              <a:gd name="T95" fmla="*/ 2147483647 h 840"/>
              <a:gd name="T96" fmla="*/ 2147483647 w 689"/>
              <a:gd name="T97" fmla="*/ 2147483647 h 840"/>
              <a:gd name="T98" fmla="*/ 2147483647 w 689"/>
              <a:gd name="T99" fmla="*/ 2147483647 h 840"/>
              <a:gd name="T100" fmla="*/ 2147483647 w 689"/>
              <a:gd name="T101" fmla="*/ 2147483647 h 840"/>
              <a:gd name="T102" fmla="*/ 2147483647 w 689"/>
              <a:gd name="T103" fmla="*/ 2147483647 h 840"/>
              <a:gd name="T104" fmla="*/ 2147483647 w 689"/>
              <a:gd name="T105" fmla="*/ 2147483647 h 840"/>
              <a:gd name="T106" fmla="*/ 2147483647 w 689"/>
              <a:gd name="T107" fmla="*/ 2147483647 h 840"/>
              <a:gd name="T108" fmla="*/ 2147483647 w 689"/>
              <a:gd name="T109" fmla="*/ 2147483647 h 840"/>
              <a:gd name="T110" fmla="*/ 2147483647 w 689"/>
              <a:gd name="T111" fmla="*/ 2147483647 h 840"/>
              <a:gd name="T112" fmla="*/ 2147483647 w 689"/>
              <a:gd name="T113" fmla="*/ 2147483647 h 840"/>
              <a:gd name="T114" fmla="*/ 2147483647 w 689"/>
              <a:gd name="T115" fmla="*/ 2147483647 h 840"/>
              <a:gd name="T116" fmla="*/ 2147483647 w 689"/>
              <a:gd name="T117" fmla="*/ 2147483647 h 840"/>
              <a:gd name="T118" fmla="*/ 2147483647 w 689"/>
              <a:gd name="T119" fmla="*/ 2147483647 h 840"/>
              <a:gd name="T120" fmla="*/ 0 w 689"/>
              <a:gd name="T121" fmla="*/ 2147483647 h 8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89"/>
              <a:gd name="T184" fmla="*/ 0 h 840"/>
              <a:gd name="T185" fmla="*/ 689 w 689"/>
              <a:gd name="T186" fmla="*/ 840 h 84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89" h="840">
                <a:moveTo>
                  <a:pt x="0" y="0"/>
                </a:moveTo>
                <a:lnTo>
                  <a:pt x="293" y="0"/>
                </a:lnTo>
                <a:lnTo>
                  <a:pt x="299" y="10"/>
                </a:lnTo>
                <a:lnTo>
                  <a:pt x="297" y="21"/>
                </a:lnTo>
                <a:lnTo>
                  <a:pt x="293" y="34"/>
                </a:lnTo>
                <a:lnTo>
                  <a:pt x="285" y="46"/>
                </a:lnTo>
                <a:lnTo>
                  <a:pt x="267" y="60"/>
                </a:lnTo>
                <a:lnTo>
                  <a:pt x="266" y="73"/>
                </a:lnTo>
                <a:lnTo>
                  <a:pt x="263" y="93"/>
                </a:lnTo>
                <a:lnTo>
                  <a:pt x="264" y="105"/>
                </a:lnTo>
                <a:lnTo>
                  <a:pt x="267" y="115"/>
                </a:lnTo>
                <a:lnTo>
                  <a:pt x="276" y="132"/>
                </a:lnTo>
                <a:lnTo>
                  <a:pt x="291" y="141"/>
                </a:lnTo>
                <a:lnTo>
                  <a:pt x="306" y="147"/>
                </a:lnTo>
                <a:lnTo>
                  <a:pt x="330" y="153"/>
                </a:lnTo>
                <a:lnTo>
                  <a:pt x="347" y="151"/>
                </a:lnTo>
                <a:lnTo>
                  <a:pt x="366" y="154"/>
                </a:lnTo>
                <a:lnTo>
                  <a:pt x="384" y="147"/>
                </a:lnTo>
                <a:lnTo>
                  <a:pt x="398" y="139"/>
                </a:lnTo>
                <a:lnTo>
                  <a:pt x="417" y="130"/>
                </a:lnTo>
                <a:lnTo>
                  <a:pt x="422" y="120"/>
                </a:lnTo>
                <a:lnTo>
                  <a:pt x="426" y="111"/>
                </a:lnTo>
                <a:lnTo>
                  <a:pt x="431" y="99"/>
                </a:lnTo>
                <a:lnTo>
                  <a:pt x="432" y="84"/>
                </a:lnTo>
                <a:lnTo>
                  <a:pt x="426" y="69"/>
                </a:lnTo>
                <a:lnTo>
                  <a:pt x="417" y="55"/>
                </a:lnTo>
                <a:lnTo>
                  <a:pt x="404" y="42"/>
                </a:lnTo>
                <a:lnTo>
                  <a:pt x="399" y="33"/>
                </a:lnTo>
                <a:lnTo>
                  <a:pt x="393" y="24"/>
                </a:lnTo>
                <a:lnTo>
                  <a:pt x="393" y="12"/>
                </a:lnTo>
                <a:lnTo>
                  <a:pt x="399" y="3"/>
                </a:lnTo>
                <a:lnTo>
                  <a:pt x="411" y="0"/>
                </a:lnTo>
                <a:lnTo>
                  <a:pt x="689" y="0"/>
                </a:lnTo>
                <a:lnTo>
                  <a:pt x="689" y="292"/>
                </a:lnTo>
                <a:lnTo>
                  <a:pt x="680" y="298"/>
                </a:lnTo>
                <a:lnTo>
                  <a:pt x="665" y="297"/>
                </a:lnTo>
                <a:lnTo>
                  <a:pt x="651" y="292"/>
                </a:lnTo>
                <a:lnTo>
                  <a:pt x="636" y="274"/>
                </a:lnTo>
                <a:lnTo>
                  <a:pt x="621" y="268"/>
                </a:lnTo>
                <a:lnTo>
                  <a:pt x="608" y="264"/>
                </a:lnTo>
                <a:lnTo>
                  <a:pt x="597" y="264"/>
                </a:lnTo>
                <a:lnTo>
                  <a:pt x="584" y="265"/>
                </a:lnTo>
                <a:lnTo>
                  <a:pt x="563" y="276"/>
                </a:lnTo>
                <a:lnTo>
                  <a:pt x="549" y="288"/>
                </a:lnTo>
                <a:lnTo>
                  <a:pt x="542" y="306"/>
                </a:lnTo>
                <a:lnTo>
                  <a:pt x="539" y="324"/>
                </a:lnTo>
                <a:lnTo>
                  <a:pt x="539" y="346"/>
                </a:lnTo>
                <a:lnTo>
                  <a:pt x="539" y="360"/>
                </a:lnTo>
                <a:lnTo>
                  <a:pt x="540" y="372"/>
                </a:lnTo>
                <a:lnTo>
                  <a:pt x="543" y="384"/>
                </a:lnTo>
                <a:lnTo>
                  <a:pt x="554" y="406"/>
                </a:lnTo>
                <a:lnTo>
                  <a:pt x="567" y="423"/>
                </a:lnTo>
                <a:lnTo>
                  <a:pt x="588" y="430"/>
                </a:lnTo>
                <a:lnTo>
                  <a:pt x="606" y="430"/>
                </a:lnTo>
                <a:lnTo>
                  <a:pt x="627" y="426"/>
                </a:lnTo>
                <a:lnTo>
                  <a:pt x="635" y="418"/>
                </a:lnTo>
                <a:lnTo>
                  <a:pt x="648" y="406"/>
                </a:lnTo>
                <a:lnTo>
                  <a:pt x="663" y="399"/>
                </a:lnTo>
                <a:lnTo>
                  <a:pt x="678" y="397"/>
                </a:lnTo>
                <a:lnTo>
                  <a:pt x="689" y="406"/>
                </a:lnTo>
                <a:lnTo>
                  <a:pt x="689" y="688"/>
                </a:lnTo>
                <a:lnTo>
                  <a:pt x="407" y="688"/>
                </a:lnTo>
                <a:lnTo>
                  <a:pt x="398" y="694"/>
                </a:lnTo>
                <a:lnTo>
                  <a:pt x="392" y="714"/>
                </a:lnTo>
                <a:lnTo>
                  <a:pt x="398" y="729"/>
                </a:lnTo>
                <a:lnTo>
                  <a:pt x="411" y="741"/>
                </a:lnTo>
                <a:lnTo>
                  <a:pt x="417" y="750"/>
                </a:lnTo>
                <a:lnTo>
                  <a:pt x="425" y="759"/>
                </a:lnTo>
                <a:lnTo>
                  <a:pt x="431" y="778"/>
                </a:lnTo>
                <a:lnTo>
                  <a:pt x="428" y="793"/>
                </a:lnTo>
                <a:lnTo>
                  <a:pt x="417" y="817"/>
                </a:lnTo>
                <a:lnTo>
                  <a:pt x="408" y="825"/>
                </a:lnTo>
                <a:lnTo>
                  <a:pt x="393" y="832"/>
                </a:lnTo>
                <a:lnTo>
                  <a:pt x="381" y="835"/>
                </a:lnTo>
                <a:lnTo>
                  <a:pt x="365" y="838"/>
                </a:lnTo>
                <a:lnTo>
                  <a:pt x="345" y="840"/>
                </a:lnTo>
                <a:lnTo>
                  <a:pt x="333" y="838"/>
                </a:lnTo>
                <a:lnTo>
                  <a:pt x="314" y="835"/>
                </a:lnTo>
                <a:lnTo>
                  <a:pt x="297" y="831"/>
                </a:lnTo>
                <a:lnTo>
                  <a:pt x="288" y="822"/>
                </a:lnTo>
                <a:lnTo>
                  <a:pt x="276" y="813"/>
                </a:lnTo>
                <a:lnTo>
                  <a:pt x="272" y="799"/>
                </a:lnTo>
                <a:lnTo>
                  <a:pt x="264" y="787"/>
                </a:lnTo>
                <a:lnTo>
                  <a:pt x="267" y="768"/>
                </a:lnTo>
                <a:lnTo>
                  <a:pt x="272" y="750"/>
                </a:lnTo>
                <a:lnTo>
                  <a:pt x="278" y="742"/>
                </a:lnTo>
                <a:lnTo>
                  <a:pt x="291" y="735"/>
                </a:lnTo>
                <a:lnTo>
                  <a:pt x="296" y="726"/>
                </a:lnTo>
                <a:lnTo>
                  <a:pt x="300" y="717"/>
                </a:lnTo>
                <a:lnTo>
                  <a:pt x="302" y="702"/>
                </a:lnTo>
                <a:lnTo>
                  <a:pt x="290" y="688"/>
                </a:lnTo>
                <a:lnTo>
                  <a:pt x="0" y="688"/>
                </a:lnTo>
                <a:lnTo>
                  <a:pt x="0" y="403"/>
                </a:lnTo>
                <a:lnTo>
                  <a:pt x="9" y="391"/>
                </a:lnTo>
                <a:lnTo>
                  <a:pt x="23" y="393"/>
                </a:lnTo>
                <a:lnTo>
                  <a:pt x="35" y="400"/>
                </a:lnTo>
                <a:lnTo>
                  <a:pt x="48" y="411"/>
                </a:lnTo>
                <a:lnTo>
                  <a:pt x="63" y="424"/>
                </a:lnTo>
                <a:lnTo>
                  <a:pt x="77" y="426"/>
                </a:lnTo>
                <a:lnTo>
                  <a:pt x="90" y="429"/>
                </a:lnTo>
                <a:lnTo>
                  <a:pt x="102" y="427"/>
                </a:lnTo>
                <a:lnTo>
                  <a:pt x="111" y="423"/>
                </a:lnTo>
                <a:lnTo>
                  <a:pt x="123" y="417"/>
                </a:lnTo>
                <a:lnTo>
                  <a:pt x="131" y="409"/>
                </a:lnTo>
                <a:lnTo>
                  <a:pt x="143" y="399"/>
                </a:lnTo>
                <a:lnTo>
                  <a:pt x="149" y="375"/>
                </a:lnTo>
                <a:lnTo>
                  <a:pt x="152" y="355"/>
                </a:lnTo>
                <a:lnTo>
                  <a:pt x="150" y="334"/>
                </a:lnTo>
                <a:lnTo>
                  <a:pt x="147" y="321"/>
                </a:lnTo>
                <a:lnTo>
                  <a:pt x="144" y="303"/>
                </a:lnTo>
                <a:lnTo>
                  <a:pt x="134" y="289"/>
                </a:lnTo>
                <a:lnTo>
                  <a:pt x="128" y="280"/>
                </a:lnTo>
                <a:lnTo>
                  <a:pt x="120" y="270"/>
                </a:lnTo>
                <a:lnTo>
                  <a:pt x="98" y="259"/>
                </a:lnTo>
                <a:lnTo>
                  <a:pt x="83" y="261"/>
                </a:lnTo>
                <a:lnTo>
                  <a:pt x="69" y="264"/>
                </a:lnTo>
                <a:lnTo>
                  <a:pt x="57" y="271"/>
                </a:lnTo>
                <a:lnTo>
                  <a:pt x="48" y="277"/>
                </a:lnTo>
                <a:lnTo>
                  <a:pt x="39" y="283"/>
                </a:lnTo>
                <a:lnTo>
                  <a:pt x="27" y="292"/>
                </a:lnTo>
                <a:lnTo>
                  <a:pt x="12" y="297"/>
                </a:lnTo>
                <a:lnTo>
                  <a:pt x="0" y="28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2" name="Freeform 37"/>
          <p:cNvSpPr>
            <a:spLocks/>
          </p:cNvSpPr>
          <p:nvPr/>
        </p:nvSpPr>
        <p:spPr bwMode="auto">
          <a:xfrm>
            <a:off x="7688702" y="4557040"/>
            <a:ext cx="911402" cy="842721"/>
          </a:xfrm>
          <a:custGeom>
            <a:avLst/>
            <a:gdLst>
              <a:gd name="T0" fmla="*/ 2147483647 w 840"/>
              <a:gd name="T1" fmla="*/ 0 h 840"/>
              <a:gd name="T2" fmla="*/ 2147483647 w 840"/>
              <a:gd name="T3" fmla="*/ 2147483647 h 840"/>
              <a:gd name="T4" fmla="*/ 2147483647 w 840"/>
              <a:gd name="T5" fmla="*/ 2147483647 h 840"/>
              <a:gd name="T6" fmla="*/ 2147483647 w 840"/>
              <a:gd name="T7" fmla="*/ 2147483647 h 840"/>
              <a:gd name="T8" fmla="*/ 2147483647 w 840"/>
              <a:gd name="T9" fmla="*/ 2147483647 h 840"/>
              <a:gd name="T10" fmla="*/ 2147483647 w 840"/>
              <a:gd name="T11" fmla="*/ 2147483647 h 840"/>
              <a:gd name="T12" fmla="*/ 2147483647 w 840"/>
              <a:gd name="T13" fmla="*/ 2147483647 h 840"/>
              <a:gd name="T14" fmla="*/ 2147483647 w 840"/>
              <a:gd name="T15" fmla="*/ 2147483647 h 840"/>
              <a:gd name="T16" fmla="*/ 2147483647 w 840"/>
              <a:gd name="T17" fmla="*/ 2147483647 h 840"/>
              <a:gd name="T18" fmla="*/ 2147483647 w 840"/>
              <a:gd name="T19" fmla="*/ 2147483647 h 840"/>
              <a:gd name="T20" fmla="*/ 2147483647 w 840"/>
              <a:gd name="T21" fmla="*/ 2147483647 h 840"/>
              <a:gd name="T22" fmla="*/ 2147483647 w 840"/>
              <a:gd name="T23" fmla="*/ 2147483647 h 840"/>
              <a:gd name="T24" fmla="*/ 0 w 840"/>
              <a:gd name="T25" fmla="*/ 2147483647 h 840"/>
              <a:gd name="T26" fmla="*/ 0 w 840"/>
              <a:gd name="T27" fmla="*/ 2147483647 h 840"/>
              <a:gd name="T28" fmla="*/ 2147483647 w 840"/>
              <a:gd name="T29" fmla="*/ 2147483647 h 840"/>
              <a:gd name="T30" fmla="*/ 2147483647 w 840"/>
              <a:gd name="T31" fmla="*/ 2147483647 h 840"/>
              <a:gd name="T32" fmla="*/ 2147483647 w 840"/>
              <a:gd name="T33" fmla="*/ 2147483647 h 840"/>
              <a:gd name="T34" fmla="*/ 2147483647 w 840"/>
              <a:gd name="T35" fmla="*/ 2147483647 h 840"/>
              <a:gd name="T36" fmla="*/ 2147483647 w 840"/>
              <a:gd name="T37" fmla="*/ 2147483647 h 840"/>
              <a:gd name="T38" fmla="*/ 2147483647 w 840"/>
              <a:gd name="T39" fmla="*/ 0 h 84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40"/>
              <a:gd name="T61" fmla="*/ 0 h 840"/>
              <a:gd name="T62" fmla="*/ 840 w 840"/>
              <a:gd name="T63" fmla="*/ 840 h 84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40" h="840">
                <a:moveTo>
                  <a:pt x="690" y="0"/>
                </a:moveTo>
                <a:cubicBezTo>
                  <a:pt x="690" y="77"/>
                  <a:pt x="690" y="172"/>
                  <a:pt x="690" y="286"/>
                </a:cubicBezTo>
                <a:cubicBezTo>
                  <a:pt x="712" y="338"/>
                  <a:pt x="712" y="276"/>
                  <a:pt x="768" y="272"/>
                </a:cubicBezTo>
                <a:cubicBezTo>
                  <a:pt x="824" y="268"/>
                  <a:pt x="840" y="290"/>
                  <a:pt x="840" y="342"/>
                </a:cubicBezTo>
                <a:cubicBezTo>
                  <a:pt x="840" y="394"/>
                  <a:pt x="832" y="422"/>
                  <a:pt x="774" y="424"/>
                </a:cubicBezTo>
                <a:cubicBezTo>
                  <a:pt x="716" y="426"/>
                  <a:pt x="726" y="364"/>
                  <a:pt x="690" y="394"/>
                </a:cubicBezTo>
                <a:cubicBezTo>
                  <a:pt x="690" y="434"/>
                  <a:pt x="688" y="598"/>
                  <a:pt x="690" y="688"/>
                </a:cubicBezTo>
                <a:cubicBezTo>
                  <a:pt x="690" y="688"/>
                  <a:pt x="455" y="688"/>
                  <a:pt x="406" y="688"/>
                </a:cubicBezTo>
                <a:cubicBezTo>
                  <a:pt x="371" y="720"/>
                  <a:pt x="429" y="729"/>
                  <a:pt x="432" y="773"/>
                </a:cubicBezTo>
                <a:cubicBezTo>
                  <a:pt x="435" y="817"/>
                  <a:pt x="396" y="840"/>
                  <a:pt x="345" y="840"/>
                </a:cubicBezTo>
                <a:cubicBezTo>
                  <a:pt x="294" y="840"/>
                  <a:pt x="263" y="818"/>
                  <a:pt x="263" y="775"/>
                </a:cubicBezTo>
                <a:cubicBezTo>
                  <a:pt x="263" y="732"/>
                  <a:pt x="316" y="730"/>
                  <a:pt x="294" y="688"/>
                </a:cubicBezTo>
                <a:cubicBezTo>
                  <a:pt x="153" y="688"/>
                  <a:pt x="59" y="688"/>
                  <a:pt x="0" y="688"/>
                </a:cubicBezTo>
                <a:cubicBezTo>
                  <a:pt x="0" y="622"/>
                  <a:pt x="0" y="442"/>
                  <a:pt x="0" y="400"/>
                </a:cubicBezTo>
                <a:cubicBezTo>
                  <a:pt x="38" y="362"/>
                  <a:pt x="47" y="425"/>
                  <a:pt x="82" y="425"/>
                </a:cubicBezTo>
                <a:cubicBezTo>
                  <a:pt x="117" y="425"/>
                  <a:pt x="153" y="408"/>
                  <a:pt x="152" y="346"/>
                </a:cubicBezTo>
                <a:cubicBezTo>
                  <a:pt x="151" y="284"/>
                  <a:pt x="124" y="272"/>
                  <a:pt x="90" y="270"/>
                </a:cubicBezTo>
                <a:cubicBezTo>
                  <a:pt x="56" y="268"/>
                  <a:pt x="26" y="344"/>
                  <a:pt x="2" y="289"/>
                </a:cubicBezTo>
                <a:cubicBezTo>
                  <a:pt x="2" y="145"/>
                  <a:pt x="2" y="1"/>
                  <a:pt x="2" y="1"/>
                </a:cubicBezTo>
                <a:cubicBezTo>
                  <a:pt x="116" y="2"/>
                  <a:pt x="554" y="1"/>
                  <a:pt x="690" y="0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3" name="Freeform 38"/>
          <p:cNvSpPr>
            <a:spLocks/>
          </p:cNvSpPr>
          <p:nvPr/>
        </p:nvSpPr>
        <p:spPr bwMode="auto">
          <a:xfrm>
            <a:off x="6944359" y="4557039"/>
            <a:ext cx="909547" cy="690190"/>
          </a:xfrm>
          <a:custGeom>
            <a:avLst/>
            <a:gdLst>
              <a:gd name="T0" fmla="*/ 0 w 838"/>
              <a:gd name="T1" fmla="*/ 0 h 692"/>
              <a:gd name="T2" fmla="*/ 2147483647 w 838"/>
              <a:gd name="T3" fmla="*/ 0 h 692"/>
              <a:gd name="T4" fmla="*/ 2147483647 w 838"/>
              <a:gd name="T5" fmla="*/ 2147483647 h 692"/>
              <a:gd name="T6" fmla="*/ 2147483647 w 838"/>
              <a:gd name="T7" fmla="*/ 2147483647 h 692"/>
              <a:gd name="T8" fmla="*/ 2147483647 w 838"/>
              <a:gd name="T9" fmla="*/ 2147483647 h 692"/>
              <a:gd name="T10" fmla="*/ 2147483647 w 838"/>
              <a:gd name="T11" fmla="*/ 2147483647 h 692"/>
              <a:gd name="T12" fmla="*/ 2147483647 w 838"/>
              <a:gd name="T13" fmla="*/ 2147483647 h 692"/>
              <a:gd name="T14" fmla="*/ 2147483647 w 838"/>
              <a:gd name="T15" fmla="*/ 2147483647 h 692"/>
              <a:gd name="T16" fmla="*/ 2147483647 w 838"/>
              <a:gd name="T17" fmla="*/ 2147483647 h 692"/>
              <a:gd name="T18" fmla="*/ 2147483647 w 838"/>
              <a:gd name="T19" fmla="*/ 2147483647 h 692"/>
              <a:gd name="T20" fmla="*/ 2147483647 w 838"/>
              <a:gd name="T21" fmla="*/ 2147483647 h 692"/>
              <a:gd name="T22" fmla="*/ 2147483647 w 838"/>
              <a:gd name="T23" fmla="*/ 2147483647 h 692"/>
              <a:gd name="T24" fmla="*/ 2147483647 w 838"/>
              <a:gd name="T25" fmla="*/ 2147483647 h 692"/>
              <a:gd name="T26" fmla="*/ 0 w 838"/>
              <a:gd name="T27" fmla="*/ 2147483647 h 692"/>
              <a:gd name="T28" fmla="*/ 0 w 838"/>
              <a:gd name="T29" fmla="*/ 0 h 69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38"/>
              <a:gd name="T46" fmla="*/ 0 h 692"/>
              <a:gd name="T47" fmla="*/ 838 w 838"/>
              <a:gd name="T48" fmla="*/ 692 h 69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38" h="692">
                <a:moveTo>
                  <a:pt x="0" y="0"/>
                </a:moveTo>
                <a:lnTo>
                  <a:pt x="689" y="0"/>
                </a:lnTo>
                <a:cubicBezTo>
                  <a:pt x="689" y="0"/>
                  <a:pt x="690" y="248"/>
                  <a:pt x="689" y="294"/>
                </a:cubicBezTo>
                <a:cubicBezTo>
                  <a:pt x="718" y="340"/>
                  <a:pt x="724" y="277"/>
                  <a:pt x="771" y="271"/>
                </a:cubicBezTo>
                <a:cubicBezTo>
                  <a:pt x="818" y="265"/>
                  <a:pt x="838" y="302"/>
                  <a:pt x="838" y="353"/>
                </a:cubicBezTo>
                <a:cubicBezTo>
                  <a:pt x="838" y="404"/>
                  <a:pt x="823" y="431"/>
                  <a:pt x="778" y="433"/>
                </a:cubicBezTo>
                <a:cubicBezTo>
                  <a:pt x="733" y="435"/>
                  <a:pt x="715" y="370"/>
                  <a:pt x="689" y="405"/>
                </a:cubicBezTo>
                <a:cubicBezTo>
                  <a:pt x="689" y="547"/>
                  <a:pt x="689" y="690"/>
                  <a:pt x="689" y="690"/>
                </a:cubicBezTo>
                <a:cubicBezTo>
                  <a:pt x="689" y="690"/>
                  <a:pt x="438" y="692"/>
                  <a:pt x="397" y="690"/>
                </a:cubicBezTo>
                <a:cubicBezTo>
                  <a:pt x="367" y="651"/>
                  <a:pt x="426" y="640"/>
                  <a:pt x="426" y="605"/>
                </a:cubicBezTo>
                <a:cubicBezTo>
                  <a:pt x="426" y="570"/>
                  <a:pt x="408" y="539"/>
                  <a:pt x="346" y="540"/>
                </a:cubicBezTo>
                <a:cubicBezTo>
                  <a:pt x="284" y="541"/>
                  <a:pt x="261" y="567"/>
                  <a:pt x="261" y="606"/>
                </a:cubicBezTo>
                <a:cubicBezTo>
                  <a:pt x="261" y="645"/>
                  <a:pt x="322" y="648"/>
                  <a:pt x="289" y="690"/>
                </a:cubicBezTo>
                <a:cubicBezTo>
                  <a:pt x="145" y="690"/>
                  <a:pt x="0" y="690"/>
                  <a:pt x="0" y="69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4" name="Freeform 39"/>
          <p:cNvSpPr>
            <a:spLocks/>
          </p:cNvSpPr>
          <p:nvPr/>
        </p:nvSpPr>
        <p:spPr bwMode="auto">
          <a:xfrm>
            <a:off x="6944359" y="5790127"/>
            <a:ext cx="744343" cy="842413"/>
          </a:xfrm>
          <a:custGeom>
            <a:avLst/>
            <a:gdLst>
              <a:gd name="T0" fmla="*/ 0 w 694"/>
              <a:gd name="T1" fmla="*/ 2147483647 h 839"/>
              <a:gd name="T2" fmla="*/ 0 w 694"/>
              <a:gd name="T3" fmla="*/ 2147483647 h 839"/>
              <a:gd name="T4" fmla="*/ 2147483647 w 694"/>
              <a:gd name="T5" fmla="*/ 2147483647 h 839"/>
              <a:gd name="T6" fmla="*/ 2147483647 w 694"/>
              <a:gd name="T7" fmla="*/ 2147483647 h 839"/>
              <a:gd name="T8" fmla="*/ 2147483647 w 694"/>
              <a:gd name="T9" fmla="*/ 0 h 839"/>
              <a:gd name="T10" fmla="*/ 2147483647 w 694"/>
              <a:gd name="T11" fmla="*/ 2147483647 h 839"/>
              <a:gd name="T12" fmla="*/ 2147483647 w 694"/>
              <a:gd name="T13" fmla="*/ 2147483647 h 839"/>
              <a:gd name="T14" fmla="*/ 2147483647 w 694"/>
              <a:gd name="T15" fmla="*/ 2147483647 h 839"/>
              <a:gd name="T16" fmla="*/ 2147483647 w 694"/>
              <a:gd name="T17" fmla="*/ 2147483647 h 839"/>
              <a:gd name="T18" fmla="*/ 2147483647 w 694"/>
              <a:gd name="T19" fmla="*/ 2147483647 h 839"/>
              <a:gd name="T20" fmla="*/ 2147483647 w 694"/>
              <a:gd name="T21" fmla="*/ 2147483647 h 839"/>
              <a:gd name="T22" fmla="*/ 2147483647 w 694"/>
              <a:gd name="T23" fmla="*/ 2147483647 h 839"/>
              <a:gd name="T24" fmla="*/ 2147483647 w 694"/>
              <a:gd name="T25" fmla="*/ 2147483647 h 839"/>
              <a:gd name="T26" fmla="*/ 2147483647 w 694"/>
              <a:gd name="T27" fmla="*/ 2147483647 h 839"/>
              <a:gd name="T28" fmla="*/ 0 w 694"/>
              <a:gd name="T29" fmla="*/ 2147483647 h 8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94"/>
              <a:gd name="T46" fmla="*/ 0 h 839"/>
              <a:gd name="T47" fmla="*/ 694 w 694"/>
              <a:gd name="T48" fmla="*/ 839 h 83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94" h="839">
                <a:moveTo>
                  <a:pt x="0" y="839"/>
                </a:moveTo>
                <a:cubicBezTo>
                  <a:pt x="0" y="839"/>
                  <a:pt x="1" y="282"/>
                  <a:pt x="0" y="152"/>
                </a:cubicBezTo>
                <a:cubicBezTo>
                  <a:pt x="0" y="152"/>
                  <a:pt x="237" y="152"/>
                  <a:pt x="286" y="152"/>
                </a:cubicBezTo>
                <a:cubicBezTo>
                  <a:pt x="321" y="120"/>
                  <a:pt x="264" y="111"/>
                  <a:pt x="261" y="69"/>
                </a:cubicBezTo>
                <a:cubicBezTo>
                  <a:pt x="258" y="27"/>
                  <a:pt x="296" y="0"/>
                  <a:pt x="347" y="0"/>
                </a:cubicBezTo>
                <a:cubicBezTo>
                  <a:pt x="398" y="0"/>
                  <a:pt x="429" y="22"/>
                  <a:pt x="429" y="65"/>
                </a:cubicBezTo>
                <a:cubicBezTo>
                  <a:pt x="429" y="108"/>
                  <a:pt x="376" y="110"/>
                  <a:pt x="398" y="152"/>
                </a:cubicBezTo>
                <a:cubicBezTo>
                  <a:pt x="541" y="152"/>
                  <a:pt x="635" y="153"/>
                  <a:pt x="694" y="153"/>
                </a:cubicBezTo>
                <a:cubicBezTo>
                  <a:pt x="691" y="221"/>
                  <a:pt x="694" y="403"/>
                  <a:pt x="692" y="443"/>
                </a:cubicBezTo>
                <a:cubicBezTo>
                  <a:pt x="653" y="473"/>
                  <a:pt x="642" y="415"/>
                  <a:pt x="607" y="415"/>
                </a:cubicBezTo>
                <a:cubicBezTo>
                  <a:pt x="572" y="415"/>
                  <a:pt x="541" y="432"/>
                  <a:pt x="542" y="494"/>
                </a:cubicBezTo>
                <a:cubicBezTo>
                  <a:pt x="543" y="556"/>
                  <a:pt x="569" y="579"/>
                  <a:pt x="608" y="579"/>
                </a:cubicBezTo>
                <a:cubicBezTo>
                  <a:pt x="647" y="579"/>
                  <a:pt x="650" y="518"/>
                  <a:pt x="692" y="551"/>
                </a:cubicBezTo>
                <a:cubicBezTo>
                  <a:pt x="692" y="695"/>
                  <a:pt x="692" y="839"/>
                  <a:pt x="692" y="839"/>
                </a:cubicBezTo>
                <a:lnTo>
                  <a:pt x="0" y="839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5" name="Freeform 40"/>
          <p:cNvSpPr>
            <a:spLocks/>
          </p:cNvSpPr>
          <p:nvPr/>
        </p:nvSpPr>
        <p:spPr bwMode="auto">
          <a:xfrm>
            <a:off x="7527210" y="5942375"/>
            <a:ext cx="909547" cy="690166"/>
          </a:xfrm>
          <a:custGeom>
            <a:avLst/>
            <a:gdLst>
              <a:gd name="T0" fmla="*/ 2147483647 w 839"/>
              <a:gd name="T1" fmla="*/ 2147483647 h 689"/>
              <a:gd name="T2" fmla="*/ 2147483647 w 839"/>
              <a:gd name="T3" fmla="*/ 2147483647 h 689"/>
              <a:gd name="T4" fmla="*/ 2147483647 w 839"/>
              <a:gd name="T5" fmla="*/ 2147483647 h 689"/>
              <a:gd name="T6" fmla="*/ 2147483647 w 839"/>
              <a:gd name="T7" fmla="*/ 2147483647 h 689"/>
              <a:gd name="T8" fmla="*/ 0 w 839"/>
              <a:gd name="T9" fmla="*/ 2147483647 h 689"/>
              <a:gd name="T10" fmla="*/ 2147483647 w 839"/>
              <a:gd name="T11" fmla="*/ 2147483647 h 689"/>
              <a:gd name="T12" fmla="*/ 2147483647 w 839"/>
              <a:gd name="T13" fmla="*/ 2147483647 h 689"/>
              <a:gd name="T14" fmla="*/ 2147483647 w 839"/>
              <a:gd name="T15" fmla="*/ 2147483647 h 689"/>
              <a:gd name="T16" fmla="*/ 2147483647 w 839"/>
              <a:gd name="T17" fmla="*/ 2147483647 h 689"/>
              <a:gd name="T18" fmla="*/ 2147483647 w 839"/>
              <a:gd name="T19" fmla="*/ 2147483647 h 689"/>
              <a:gd name="T20" fmla="*/ 2147483647 w 839"/>
              <a:gd name="T21" fmla="*/ 2147483647 h 689"/>
              <a:gd name="T22" fmla="*/ 2147483647 w 839"/>
              <a:gd name="T23" fmla="*/ 2147483647 h 689"/>
              <a:gd name="T24" fmla="*/ 2147483647 w 839"/>
              <a:gd name="T25" fmla="*/ 0 h 689"/>
              <a:gd name="T26" fmla="*/ 2147483647 w 839"/>
              <a:gd name="T27" fmla="*/ 2147483647 h 689"/>
              <a:gd name="T28" fmla="*/ 2147483647 w 839"/>
              <a:gd name="T29" fmla="*/ 2147483647 h 689"/>
              <a:gd name="T30" fmla="*/ 2147483647 w 839"/>
              <a:gd name="T31" fmla="*/ 2147483647 h 689"/>
              <a:gd name="T32" fmla="*/ 2147483647 w 839"/>
              <a:gd name="T33" fmla="*/ 2147483647 h 689"/>
              <a:gd name="T34" fmla="*/ 2147483647 w 839"/>
              <a:gd name="T35" fmla="*/ 2147483647 h 689"/>
              <a:gd name="T36" fmla="*/ 2147483647 w 839"/>
              <a:gd name="T37" fmla="*/ 2147483647 h 689"/>
              <a:gd name="T38" fmla="*/ 2147483647 w 839"/>
              <a:gd name="T39" fmla="*/ 2147483647 h 68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39"/>
              <a:gd name="T61" fmla="*/ 0 h 689"/>
              <a:gd name="T62" fmla="*/ 839 w 839"/>
              <a:gd name="T63" fmla="*/ 689 h 68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39" h="689">
                <a:moveTo>
                  <a:pt x="839" y="689"/>
                </a:moveTo>
                <a:cubicBezTo>
                  <a:pt x="711" y="689"/>
                  <a:pt x="280" y="686"/>
                  <a:pt x="150" y="687"/>
                </a:cubicBezTo>
                <a:cubicBezTo>
                  <a:pt x="150" y="687"/>
                  <a:pt x="152" y="454"/>
                  <a:pt x="152" y="405"/>
                </a:cubicBezTo>
                <a:cubicBezTo>
                  <a:pt x="120" y="370"/>
                  <a:pt x="111" y="428"/>
                  <a:pt x="67" y="431"/>
                </a:cubicBezTo>
                <a:cubicBezTo>
                  <a:pt x="23" y="434"/>
                  <a:pt x="0" y="395"/>
                  <a:pt x="0" y="344"/>
                </a:cubicBezTo>
                <a:cubicBezTo>
                  <a:pt x="0" y="293"/>
                  <a:pt x="22" y="262"/>
                  <a:pt x="65" y="262"/>
                </a:cubicBezTo>
                <a:cubicBezTo>
                  <a:pt x="108" y="262"/>
                  <a:pt x="110" y="315"/>
                  <a:pt x="152" y="293"/>
                </a:cubicBezTo>
                <a:cubicBezTo>
                  <a:pt x="152" y="152"/>
                  <a:pt x="151" y="62"/>
                  <a:pt x="151" y="3"/>
                </a:cubicBezTo>
                <a:cubicBezTo>
                  <a:pt x="215" y="1"/>
                  <a:pt x="400" y="2"/>
                  <a:pt x="442" y="2"/>
                </a:cubicBezTo>
                <a:cubicBezTo>
                  <a:pt x="480" y="40"/>
                  <a:pt x="415" y="46"/>
                  <a:pt x="415" y="81"/>
                </a:cubicBezTo>
                <a:cubicBezTo>
                  <a:pt x="415" y="116"/>
                  <a:pt x="432" y="152"/>
                  <a:pt x="494" y="151"/>
                </a:cubicBezTo>
                <a:cubicBezTo>
                  <a:pt x="556" y="150"/>
                  <a:pt x="579" y="124"/>
                  <a:pt x="579" y="85"/>
                </a:cubicBezTo>
                <a:cubicBezTo>
                  <a:pt x="579" y="46"/>
                  <a:pt x="523" y="42"/>
                  <a:pt x="556" y="0"/>
                </a:cubicBezTo>
                <a:cubicBezTo>
                  <a:pt x="700" y="0"/>
                  <a:pt x="839" y="2"/>
                  <a:pt x="839" y="2"/>
                </a:cubicBezTo>
                <a:cubicBezTo>
                  <a:pt x="837" y="80"/>
                  <a:pt x="839" y="161"/>
                  <a:pt x="839" y="293"/>
                </a:cubicBezTo>
                <a:cubicBezTo>
                  <a:pt x="809" y="333"/>
                  <a:pt x="811" y="263"/>
                  <a:pt x="765" y="263"/>
                </a:cubicBezTo>
                <a:cubicBezTo>
                  <a:pt x="719" y="263"/>
                  <a:pt x="689" y="291"/>
                  <a:pt x="687" y="351"/>
                </a:cubicBezTo>
                <a:cubicBezTo>
                  <a:pt x="685" y="411"/>
                  <a:pt x="725" y="435"/>
                  <a:pt x="763" y="433"/>
                </a:cubicBezTo>
                <a:cubicBezTo>
                  <a:pt x="801" y="431"/>
                  <a:pt x="807" y="369"/>
                  <a:pt x="839" y="401"/>
                </a:cubicBezTo>
                <a:cubicBezTo>
                  <a:pt x="839" y="445"/>
                  <a:pt x="839" y="636"/>
                  <a:pt x="839" y="689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6" name="Freeform 41"/>
          <p:cNvSpPr>
            <a:spLocks/>
          </p:cNvSpPr>
          <p:nvPr/>
        </p:nvSpPr>
        <p:spPr bwMode="auto">
          <a:xfrm>
            <a:off x="8269697" y="5940877"/>
            <a:ext cx="913260" cy="691664"/>
          </a:xfrm>
          <a:custGeom>
            <a:avLst/>
            <a:gdLst>
              <a:gd name="T0" fmla="*/ 2147483647 w 842"/>
              <a:gd name="T1" fmla="*/ 2147483647 h 690"/>
              <a:gd name="T2" fmla="*/ 2147483647 w 842"/>
              <a:gd name="T3" fmla="*/ 2147483647 h 690"/>
              <a:gd name="T4" fmla="*/ 2147483647 w 842"/>
              <a:gd name="T5" fmla="*/ 2147483647 h 690"/>
              <a:gd name="T6" fmla="*/ 2147483647 w 842"/>
              <a:gd name="T7" fmla="*/ 2147483647 h 690"/>
              <a:gd name="T8" fmla="*/ 2147483647 w 842"/>
              <a:gd name="T9" fmla="*/ 2147483647 h 690"/>
              <a:gd name="T10" fmla="*/ 2147483647 w 842"/>
              <a:gd name="T11" fmla="*/ 2147483647 h 690"/>
              <a:gd name="T12" fmla="*/ 2147483647 w 842"/>
              <a:gd name="T13" fmla="*/ 2147483647 h 690"/>
              <a:gd name="T14" fmla="*/ 2147483647 w 842"/>
              <a:gd name="T15" fmla="*/ 2147483647 h 690"/>
              <a:gd name="T16" fmla="*/ 2147483647 w 842"/>
              <a:gd name="T17" fmla="*/ 2147483647 h 690"/>
              <a:gd name="T18" fmla="*/ 2147483647 w 842"/>
              <a:gd name="T19" fmla="*/ 2147483647 h 690"/>
              <a:gd name="T20" fmla="*/ 2147483647 w 842"/>
              <a:gd name="T21" fmla="*/ 2147483647 h 690"/>
              <a:gd name="T22" fmla="*/ 2147483647 w 842"/>
              <a:gd name="T23" fmla="*/ 2147483647 h 690"/>
              <a:gd name="T24" fmla="*/ 2147483647 w 842"/>
              <a:gd name="T25" fmla="*/ 2147483647 h 690"/>
              <a:gd name="T26" fmla="*/ 2147483647 w 842"/>
              <a:gd name="T27" fmla="*/ 2147483647 h 690"/>
              <a:gd name="T28" fmla="*/ 2147483647 w 842"/>
              <a:gd name="T29" fmla="*/ 2147483647 h 69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842"/>
              <a:gd name="T46" fmla="*/ 0 h 690"/>
              <a:gd name="T47" fmla="*/ 842 w 842"/>
              <a:gd name="T48" fmla="*/ 690 h 69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842" h="690">
                <a:moveTo>
                  <a:pt x="842" y="690"/>
                </a:moveTo>
                <a:cubicBezTo>
                  <a:pt x="714" y="690"/>
                  <a:pt x="285" y="689"/>
                  <a:pt x="155" y="690"/>
                </a:cubicBezTo>
                <a:cubicBezTo>
                  <a:pt x="155" y="690"/>
                  <a:pt x="155" y="455"/>
                  <a:pt x="155" y="406"/>
                </a:cubicBezTo>
                <a:cubicBezTo>
                  <a:pt x="120" y="376"/>
                  <a:pt x="126" y="436"/>
                  <a:pt x="70" y="434"/>
                </a:cubicBezTo>
                <a:cubicBezTo>
                  <a:pt x="14" y="432"/>
                  <a:pt x="0" y="394"/>
                  <a:pt x="3" y="345"/>
                </a:cubicBezTo>
                <a:cubicBezTo>
                  <a:pt x="6" y="296"/>
                  <a:pt x="12" y="268"/>
                  <a:pt x="68" y="263"/>
                </a:cubicBezTo>
                <a:cubicBezTo>
                  <a:pt x="124" y="258"/>
                  <a:pt x="122" y="326"/>
                  <a:pt x="155" y="294"/>
                </a:cubicBezTo>
                <a:cubicBezTo>
                  <a:pt x="155" y="153"/>
                  <a:pt x="154" y="61"/>
                  <a:pt x="154" y="2"/>
                </a:cubicBezTo>
                <a:cubicBezTo>
                  <a:pt x="218" y="0"/>
                  <a:pt x="402" y="2"/>
                  <a:pt x="444" y="2"/>
                </a:cubicBezTo>
                <a:cubicBezTo>
                  <a:pt x="482" y="40"/>
                  <a:pt x="418" y="47"/>
                  <a:pt x="418" y="82"/>
                </a:cubicBezTo>
                <a:cubicBezTo>
                  <a:pt x="418" y="117"/>
                  <a:pt x="435" y="153"/>
                  <a:pt x="497" y="152"/>
                </a:cubicBezTo>
                <a:cubicBezTo>
                  <a:pt x="559" y="151"/>
                  <a:pt x="582" y="125"/>
                  <a:pt x="582" y="86"/>
                </a:cubicBezTo>
                <a:cubicBezTo>
                  <a:pt x="582" y="47"/>
                  <a:pt x="521" y="44"/>
                  <a:pt x="554" y="2"/>
                </a:cubicBezTo>
                <a:cubicBezTo>
                  <a:pt x="698" y="2"/>
                  <a:pt x="842" y="2"/>
                  <a:pt x="842" y="2"/>
                </a:cubicBezTo>
                <a:cubicBezTo>
                  <a:pt x="840" y="130"/>
                  <a:pt x="842" y="548"/>
                  <a:pt x="842" y="690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7" name="Freeform 42"/>
          <p:cNvSpPr>
            <a:spLocks/>
          </p:cNvSpPr>
          <p:nvPr/>
        </p:nvSpPr>
        <p:spPr bwMode="auto">
          <a:xfrm>
            <a:off x="8436757" y="4557040"/>
            <a:ext cx="746199" cy="842721"/>
          </a:xfrm>
          <a:custGeom>
            <a:avLst/>
            <a:gdLst>
              <a:gd name="T0" fmla="*/ 2147483647 w 688"/>
              <a:gd name="T1" fmla="*/ 2147483647 h 840"/>
              <a:gd name="T2" fmla="*/ 2147483647 w 688"/>
              <a:gd name="T3" fmla="*/ 2147483647 h 840"/>
              <a:gd name="T4" fmla="*/ 2147483647 w 688"/>
              <a:gd name="T5" fmla="*/ 2147483647 h 840"/>
              <a:gd name="T6" fmla="*/ 2147483647 w 688"/>
              <a:gd name="T7" fmla="*/ 2147483647 h 840"/>
              <a:gd name="T8" fmla="*/ 2147483647 w 688"/>
              <a:gd name="T9" fmla="*/ 2147483647 h 840"/>
              <a:gd name="T10" fmla="*/ 2147483647 w 688"/>
              <a:gd name="T11" fmla="*/ 2147483647 h 840"/>
              <a:gd name="T12" fmla="*/ 2147483647 w 688"/>
              <a:gd name="T13" fmla="*/ 2147483647 h 840"/>
              <a:gd name="T14" fmla="*/ 0 w 688"/>
              <a:gd name="T15" fmla="*/ 2147483647 h 840"/>
              <a:gd name="T16" fmla="*/ 0 w 688"/>
              <a:gd name="T17" fmla="*/ 2147483647 h 840"/>
              <a:gd name="T18" fmla="*/ 2147483647 w 688"/>
              <a:gd name="T19" fmla="*/ 2147483647 h 840"/>
              <a:gd name="T20" fmla="*/ 2147483647 w 688"/>
              <a:gd name="T21" fmla="*/ 2147483647 h 840"/>
              <a:gd name="T22" fmla="*/ 2147483647 w 688"/>
              <a:gd name="T23" fmla="*/ 2147483647 h 840"/>
              <a:gd name="T24" fmla="*/ 0 w 688"/>
              <a:gd name="T25" fmla="*/ 2147483647 h 840"/>
              <a:gd name="T26" fmla="*/ 0 w 688"/>
              <a:gd name="T27" fmla="*/ 2147483647 h 840"/>
              <a:gd name="T28" fmla="*/ 2147483647 w 688"/>
              <a:gd name="T29" fmla="*/ 2147483647 h 84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88"/>
              <a:gd name="T46" fmla="*/ 0 h 840"/>
              <a:gd name="T47" fmla="*/ 688 w 688"/>
              <a:gd name="T48" fmla="*/ 840 h 84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88" h="840">
                <a:moveTo>
                  <a:pt x="688" y="1"/>
                </a:moveTo>
                <a:cubicBezTo>
                  <a:pt x="688" y="129"/>
                  <a:pt x="687" y="558"/>
                  <a:pt x="688" y="688"/>
                </a:cubicBezTo>
                <a:cubicBezTo>
                  <a:pt x="688" y="688"/>
                  <a:pt x="453" y="688"/>
                  <a:pt x="404" y="688"/>
                </a:cubicBezTo>
                <a:cubicBezTo>
                  <a:pt x="369" y="720"/>
                  <a:pt x="427" y="729"/>
                  <a:pt x="430" y="773"/>
                </a:cubicBezTo>
                <a:cubicBezTo>
                  <a:pt x="433" y="817"/>
                  <a:pt x="394" y="840"/>
                  <a:pt x="343" y="840"/>
                </a:cubicBezTo>
                <a:cubicBezTo>
                  <a:pt x="292" y="840"/>
                  <a:pt x="261" y="818"/>
                  <a:pt x="261" y="775"/>
                </a:cubicBezTo>
                <a:cubicBezTo>
                  <a:pt x="261" y="732"/>
                  <a:pt x="316" y="728"/>
                  <a:pt x="294" y="686"/>
                </a:cubicBezTo>
                <a:cubicBezTo>
                  <a:pt x="153" y="686"/>
                  <a:pt x="59" y="686"/>
                  <a:pt x="0" y="686"/>
                </a:cubicBezTo>
                <a:cubicBezTo>
                  <a:pt x="0" y="620"/>
                  <a:pt x="0" y="438"/>
                  <a:pt x="0" y="396"/>
                </a:cubicBezTo>
                <a:cubicBezTo>
                  <a:pt x="30" y="356"/>
                  <a:pt x="47" y="424"/>
                  <a:pt x="82" y="424"/>
                </a:cubicBezTo>
                <a:cubicBezTo>
                  <a:pt x="117" y="424"/>
                  <a:pt x="150" y="396"/>
                  <a:pt x="150" y="346"/>
                </a:cubicBezTo>
                <a:cubicBezTo>
                  <a:pt x="150" y="296"/>
                  <a:pt x="126" y="272"/>
                  <a:pt x="86" y="272"/>
                </a:cubicBezTo>
                <a:cubicBezTo>
                  <a:pt x="46" y="272"/>
                  <a:pt x="14" y="348"/>
                  <a:pt x="0" y="278"/>
                </a:cubicBezTo>
                <a:cubicBezTo>
                  <a:pt x="0" y="134"/>
                  <a:pt x="0" y="1"/>
                  <a:pt x="0" y="1"/>
                </a:cubicBezTo>
                <a:cubicBezTo>
                  <a:pt x="114" y="2"/>
                  <a:pt x="550" y="0"/>
                  <a:pt x="688" y="1"/>
                </a:cubicBezTo>
                <a:close/>
              </a:path>
            </a:pathLst>
          </a:cu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sp>
        <p:nvSpPr>
          <p:cNvPr id="18" name="Freeform 43"/>
          <p:cNvSpPr>
            <a:spLocks/>
          </p:cNvSpPr>
          <p:nvPr/>
        </p:nvSpPr>
        <p:spPr bwMode="auto">
          <a:xfrm rot="10800000">
            <a:off x="8271554" y="5247565"/>
            <a:ext cx="911402" cy="842721"/>
          </a:xfrm>
          <a:custGeom>
            <a:avLst/>
            <a:gdLst>
              <a:gd name="T0" fmla="*/ 0 w 840"/>
              <a:gd name="T1" fmla="*/ 2147483647 h 840"/>
              <a:gd name="T2" fmla="*/ 2147483647 w 840"/>
              <a:gd name="T3" fmla="*/ 2147483647 h 840"/>
              <a:gd name="T4" fmla="*/ 2147483647 w 840"/>
              <a:gd name="T5" fmla="*/ 2147483647 h 840"/>
              <a:gd name="T6" fmla="*/ 2147483647 w 840"/>
              <a:gd name="T7" fmla="*/ 0 h 840"/>
              <a:gd name="T8" fmla="*/ 2147483647 w 840"/>
              <a:gd name="T9" fmla="*/ 2147483647 h 840"/>
              <a:gd name="T10" fmla="*/ 2147483647 w 840"/>
              <a:gd name="T11" fmla="*/ 2147483647 h 840"/>
              <a:gd name="T12" fmla="*/ 2147483647 w 840"/>
              <a:gd name="T13" fmla="*/ 2147483647 h 840"/>
              <a:gd name="T14" fmla="*/ 2147483647 w 840"/>
              <a:gd name="T15" fmla="*/ 2147483647 h 840"/>
              <a:gd name="T16" fmla="*/ 2147483647 w 840"/>
              <a:gd name="T17" fmla="*/ 2147483647 h 840"/>
              <a:gd name="T18" fmla="*/ 2147483647 w 840"/>
              <a:gd name="T19" fmla="*/ 2147483647 h 840"/>
              <a:gd name="T20" fmla="*/ 2147483647 w 840"/>
              <a:gd name="T21" fmla="*/ 2147483647 h 840"/>
              <a:gd name="T22" fmla="*/ 2147483647 w 840"/>
              <a:gd name="T23" fmla="*/ 2147483647 h 840"/>
              <a:gd name="T24" fmla="*/ 2147483647 w 840"/>
              <a:gd name="T25" fmla="*/ 2147483647 h 840"/>
              <a:gd name="T26" fmla="*/ 2147483647 w 840"/>
              <a:gd name="T27" fmla="*/ 2147483647 h 840"/>
              <a:gd name="T28" fmla="*/ 2147483647 w 840"/>
              <a:gd name="T29" fmla="*/ 2147483647 h 840"/>
              <a:gd name="T30" fmla="*/ 2147483647 w 840"/>
              <a:gd name="T31" fmla="*/ 2147483647 h 840"/>
              <a:gd name="T32" fmla="*/ 2147483647 w 840"/>
              <a:gd name="T33" fmla="*/ 2147483647 h 840"/>
              <a:gd name="T34" fmla="*/ 2147483647 w 840"/>
              <a:gd name="T35" fmla="*/ 2147483647 h 840"/>
              <a:gd name="T36" fmla="*/ 2147483647 w 840"/>
              <a:gd name="T37" fmla="*/ 2147483647 h 840"/>
              <a:gd name="T38" fmla="*/ 0 w 840"/>
              <a:gd name="T39" fmla="*/ 2147483647 h 840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40"/>
              <a:gd name="T61" fmla="*/ 0 h 840"/>
              <a:gd name="T62" fmla="*/ 840 w 840"/>
              <a:gd name="T63" fmla="*/ 840 h 840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40" h="840">
                <a:moveTo>
                  <a:pt x="0" y="150"/>
                </a:moveTo>
                <a:cubicBezTo>
                  <a:pt x="77" y="150"/>
                  <a:pt x="167" y="149"/>
                  <a:pt x="281" y="149"/>
                </a:cubicBezTo>
                <a:cubicBezTo>
                  <a:pt x="333" y="127"/>
                  <a:pt x="267" y="127"/>
                  <a:pt x="263" y="71"/>
                </a:cubicBezTo>
                <a:cubicBezTo>
                  <a:pt x="259" y="15"/>
                  <a:pt x="290" y="0"/>
                  <a:pt x="342" y="0"/>
                </a:cubicBezTo>
                <a:cubicBezTo>
                  <a:pt x="394" y="0"/>
                  <a:pt x="423" y="5"/>
                  <a:pt x="425" y="63"/>
                </a:cubicBezTo>
                <a:cubicBezTo>
                  <a:pt x="427" y="121"/>
                  <a:pt x="371" y="115"/>
                  <a:pt x="401" y="151"/>
                </a:cubicBezTo>
                <a:cubicBezTo>
                  <a:pt x="441" y="151"/>
                  <a:pt x="598" y="152"/>
                  <a:pt x="688" y="150"/>
                </a:cubicBezTo>
                <a:cubicBezTo>
                  <a:pt x="688" y="150"/>
                  <a:pt x="688" y="385"/>
                  <a:pt x="688" y="434"/>
                </a:cubicBezTo>
                <a:cubicBezTo>
                  <a:pt x="720" y="469"/>
                  <a:pt x="729" y="411"/>
                  <a:pt x="773" y="408"/>
                </a:cubicBezTo>
                <a:cubicBezTo>
                  <a:pt x="817" y="405"/>
                  <a:pt x="840" y="444"/>
                  <a:pt x="840" y="495"/>
                </a:cubicBezTo>
                <a:cubicBezTo>
                  <a:pt x="840" y="546"/>
                  <a:pt x="818" y="577"/>
                  <a:pt x="775" y="577"/>
                </a:cubicBezTo>
                <a:cubicBezTo>
                  <a:pt x="732" y="577"/>
                  <a:pt x="730" y="524"/>
                  <a:pt x="688" y="546"/>
                </a:cubicBezTo>
                <a:cubicBezTo>
                  <a:pt x="688" y="687"/>
                  <a:pt x="688" y="781"/>
                  <a:pt x="688" y="840"/>
                </a:cubicBezTo>
                <a:cubicBezTo>
                  <a:pt x="622" y="840"/>
                  <a:pt x="442" y="840"/>
                  <a:pt x="400" y="840"/>
                </a:cubicBezTo>
                <a:cubicBezTo>
                  <a:pt x="362" y="802"/>
                  <a:pt x="425" y="793"/>
                  <a:pt x="425" y="758"/>
                </a:cubicBezTo>
                <a:cubicBezTo>
                  <a:pt x="425" y="723"/>
                  <a:pt x="408" y="687"/>
                  <a:pt x="346" y="688"/>
                </a:cubicBezTo>
                <a:cubicBezTo>
                  <a:pt x="284" y="689"/>
                  <a:pt x="272" y="716"/>
                  <a:pt x="270" y="750"/>
                </a:cubicBezTo>
                <a:cubicBezTo>
                  <a:pt x="268" y="784"/>
                  <a:pt x="344" y="814"/>
                  <a:pt x="289" y="838"/>
                </a:cubicBezTo>
                <a:cubicBezTo>
                  <a:pt x="145" y="838"/>
                  <a:pt x="1" y="838"/>
                  <a:pt x="1" y="838"/>
                </a:cubicBezTo>
                <a:cubicBezTo>
                  <a:pt x="2" y="724"/>
                  <a:pt x="1" y="286"/>
                  <a:pt x="0" y="150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>
            <a:noAutofit/>
          </a:bodyPr>
          <a:lstStyle/>
          <a:p>
            <a:endParaRPr lang="pt-BR" sz="2159" dirty="0"/>
          </a:p>
        </p:txBody>
      </p:sp>
      <p:grpSp>
        <p:nvGrpSpPr>
          <p:cNvPr id="4" name="19 Grupo"/>
          <p:cNvGrpSpPr/>
          <p:nvPr/>
        </p:nvGrpSpPr>
        <p:grpSpPr>
          <a:xfrm>
            <a:off x="9912570" y="805016"/>
            <a:ext cx="513537" cy="472434"/>
            <a:chOff x="5083624" y="1668287"/>
            <a:chExt cx="2037953" cy="1874838"/>
          </a:xfrm>
        </p:grpSpPr>
        <p:sp>
          <p:nvSpPr>
            <p:cNvPr id="21" name="Freeform 8"/>
            <p:cNvSpPr>
              <a:spLocks noChangeAspect="1"/>
            </p:cNvSpPr>
            <p:nvPr/>
          </p:nvSpPr>
          <p:spPr bwMode="auto">
            <a:xfrm>
              <a:off x="6120658" y="1668287"/>
              <a:ext cx="1000919" cy="1062038"/>
            </a:xfrm>
            <a:custGeom>
              <a:avLst/>
              <a:gdLst>
                <a:gd name="T0" fmla="*/ 2147483647 w 1260"/>
                <a:gd name="T1" fmla="*/ 2147483647 h 1451"/>
                <a:gd name="T2" fmla="*/ 2147483647 w 1260"/>
                <a:gd name="T3" fmla="*/ 2147483647 h 1451"/>
                <a:gd name="T4" fmla="*/ 2147483647 w 1260"/>
                <a:gd name="T5" fmla="*/ 2147483647 h 1451"/>
                <a:gd name="T6" fmla="*/ 2147483647 w 1260"/>
                <a:gd name="T7" fmla="*/ 2147483647 h 1451"/>
                <a:gd name="T8" fmla="*/ 2147483647 w 1260"/>
                <a:gd name="T9" fmla="*/ 2147483647 h 1451"/>
                <a:gd name="T10" fmla="*/ 2147483647 w 1260"/>
                <a:gd name="T11" fmla="*/ 2147483647 h 1451"/>
                <a:gd name="T12" fmla="*/ 2147483647 w 1260"/>
                <a:gd name="T13" fmla="*/ 2147483647 h 1451"/>
                <a:gd name="T14" fmla="*/ 2147483647 w 1260"/>
                <a:gd name="T15" fmla="*/ 2147483647 h 1451"/>
                <a:gd name="T16" fmla="*/ 2147483647 w 1260"/>
                <a:gd name="T17" fmla="*/ 2147483647 h 1451"/>
                <a:gd name="T18" fmla="*/ 2147483647 w 1260"/>
                <a:gd name="T19" fmla="*/ 2147483647 h 1451"/>
                <a:gd name="T20" fmla="*/ 2147483647 w 1260"/>
                <a:gd name="T21" fmla="*/ 2147483647 h 1451"/>
                <a:gd name="T22" fmla="*/ 2147483647 w 1260"/>
                <a:gd name="T23" fmla="*/ 2147483647 h 1451"/>
                <a:gd name="T24" fmla="*/ 2147483647 w 1260"/>
                <a:gd name="T25" fmla="*/ 2147483647 h 1451"/>
                <a:gd name="T26" fmla="*/ 2147483647 w 1260"/>
                <a:gd name="T27" fmla="*/ 2147483647 h 1451"/>
                <a:gd name="T28" fmla="*/ 2147483647 w 1260"/>
                <a:gd name="T29" fmla="*/ 2147483647 h 1451"/>
                <a:gd name="T30" fmla="*/ 2147483647 w 1260"/>
                <a:gd name="T31" fmla="*/ 2147483647 h 1451"/>
                <a:gd name="T32" fmla="*/ 2147483647 w 1260"/>
                <a:gd name="T33" fmla="*/ 2147483647 h 1451"/>
                <a:gd name="T34" fmla="*/ 2147483647 w 1260"/>
                <a:gd name="T35" fmla="*/ 2147483647 h 1451"/>
                <a:gd name="T36" fmla="*/ 2147483647 w 1260"/>
                <a:gd name="T37" fmla="*/ 2147483647 h 1451"/>
                <a:gd name="T38" fmla="*/ 2147483647 w 1260"/>
                <a:gd name="T39" fmla="*/ 2147483647 h 1451"/>
                <a:gd name="T40" fmla="*/ 2147483647 w 1260"/>
                <a:gd name="T41" fmla="*/ 2147483647 h 1451"/>
                <a:gd name="T42" fmla="*/ 2147483647 w 1260"/>
                <a:gd name="T43" fmla="*/ 2147483647 h 1451"/>
                <a:gd name="T44" fmla="*/ 2147483647 w 1260"/>
                <a:gd name="T45" fmla="*/ 2147483647 h 1451"/>
                <a:gd name="T46" fmla="*/ 2147483647 w 1260"/>
                <a:gd name="T47" fmla="*/ 2147483647 h 1451"/>
                <a:gd name="T48" fmla="*/ 2147483647 w 1260"/>
                <a:gd name="T49" fmla="*/ 2147483647 h 1451"/>
                <a:gd name="T50" fmla="*/ 2147483647 w 1260"/>
                <a:gd name="T51" fmla="*/ 2147483647 h 1451"/>
                <a:gd name="T52" fmla="*/ 2147483647 w 1260"/>
                <a:gd name="T53" fmla="*/ 2147483647 h 1451"/>
                <a:gd name="T54" fmla="*/ 2147483647 w 1260"/>
                <a:gd name="T55" fmla="*/ 2147483647 h 1451"/>
                <a:gd name="T56" fmla="*/ 2147483647 w 1260"/>
                <a:gd name="T57" fmla="*/ 2147483647 h 1451"/>
                <a:gd name="T58" fmla="*/ 2147483647 w 1260"/>
                <a:gd name="T59" fmla="*/ 2147483647 h 1451"/>
                <a:gd name="T60" fmla="*/ 2147483647 w 1260"/>
                <a:gd name="T61" fmla="*/ 2147483647 h 1451"/>
                <a:gd name="T62" fmla="*/ 2147483647 w 1260"/>
                <a:gd name="T63" fmla="*/ 2147483647 h 1451"/>
                <a:gd name="T64" fmla="*/ 2147483647 w 1260"/>
                <a:gd name="T65" fmla="*/ 2147483647 h 1451"/>
                <a:gd name="T66" fmla="*/ 2147483647 w 1260"/>
                <a:gd name="T67" fmla="*/ 2147483647 h 1451"/>
                <a:gd name="T68" fmla="*/ 2147483647 w 1260"/>
                <a:gd name="T69" fmla="*/ 2147483647 h 1451"/>
                <a:gd name="T70" fmla="*/ 2147483647 w 1260"/>
                <a:gd name="T71" fmla="*/ 2147483647 h 1451"/>
                <a:gd name="T72" fmla="*/ 2147483647 w 1260"/>
                <a:gd name="T73" fmla="*/ 2147483647 h 1451"/>
                <a:gd name="T74" fmla="*/ 2147483647 w 1260"/>
                <a:gd name="T75" fmla="*/ 2147483647 h 1451"/>
                <a:gd name="T76" fmla="*/ 2147483647 w 1260"/>
                <a:gd name="T77" fmla="*/ 2147483647 h 1451"/>
                <a:gd name="T78" fmla="*/ 2147483647 w 1260"/>
                <a:gd name="T79" fmla="*/ 2147483647 h 1451"/>
                <a:gd name="T80" fmla="*/ 2147483647 w 1260"/>
                <a:gd name="T81" fmla="*/ 2147483647 h 1451"/>
                <a:gd name="T82" fmla="*/ 2147483647 w 1260"/>
                <a:gd name="T83" fmla="*/ 2147483647 h 1451"/>
                <a:gd name="T84" fmla="*/ 2147483647 w 1260"/>
                <a:gd name="T85" fmla="*/ 2147483647 h 1451"/>
                <a:gd name="T86" fmla="*/ 2147483647 w 1260"/>
                <a:gd name="T87" fmla="*/ 2147483647 h 1451"/>
                <a:gd name="T88" fmla="*/ 2147483647 w 1260"/>
                <a:gd name="T89" fmla="*/ 2147483647 h 1451"/>
                <a:gd name="T90" fmla="*/ 2147483647 w 1260"/>
                <a:gd name="T91" fmla="*/ 2147483647 h 1451"/>
                <a:gd name="T92" fmla="*/ 2147483647 w 1260"/>
                <a:gd name="T93" fmla="*/ 2147483647 h 1451"/>
                <a:gd name="T94" fmla="*/ 2147483647 w 1260"/>
                <a:gd name="T95" fmla="*/ 2147483647 h 1451"/>
                <a:gd name="T96" fmla="*/ 2147483647 w 1260"/>
                <a:gd name="T97" fmla="*/ 2147483647 h 1451"/>
                <a:gd name="T98" fmla="*/ 2147483647 w 1260"/>
                <a:gd name="T99" fmla="*/ 2147483647 h 1451"/>
                <a:gd name="T100" fmla="*/ 2147483647 w 1260"/>
                <a:gd name="T101" fmla="*/ 2147483647 h 1451"/>
                <a:gd name="T102" fmla="*/ 2147483647 w 1260"/>
                <a:gd name="T103" fmla="*/ 2147483647 h 1451"/>
                <a:gd name="T104" fmla="*/ 2147483647 w 1260"/>
                <a:gd name="T105" fmla="*/ 2147483647 h 1451"/>
                <a:gd name="T106" fmla="*/ 2147483647 w 1260"/>
                <a:gd name="T107" fmla="*/ 2147483647 h 1451"/>
                <a:gd name="T108" fmla="*/ 2147483647 w 1260"/>
                <a:gd name="T109" fmla="*/ 2147483647 h 1451"/>
                <a:gd name="T110" fmla="*/ 2147483647 w 1260"/>
                <a:gd name="T111" fmla="*/ 2147483647 h 1451"/>
                <a:gd name="T112" fmla="*/ 2147483647 w 1260"/>
                <a:gd name="T113" fmla="*/ 2147483647 h 1451"/>
                <a:gd name="T114" fmla="*/ 2147483647 w 1260"/>
                <a:gd name="T115" fmla="*/ 2147483647 h 1451"/>
                <a:gd name="T116" fmla="*/ 0 w 1260"/>
                <a:gd name="T117" fmla="*/ 2147483647 h 1451"/>
                <a:gd name="T118" fmla="*/ 2147483647 w 1260"/>
                <a:gd name="T119" fmla="*/ 0 h 145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60"/>
                <a:gd name="T181" fmla="*/ 0 h 1451"/>
                <a:gd name="T182" fmla="*/ 1260 w 1260"/>
                <a:gd name="T183" fmla="*/ 1451 h 145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60" h="1451">
                  <a:moveTo>
                    <a:pt x="3" y="0"/>
                  </a:moveTo>
                  <a:lnTo>
                    <a:pt x="35" y="1"/>
                  </a:lnTo>
                  <a:lnTo>
                    <a:pt x="68" y="3"/>
                  </a:lnTo>
                  <a:lnTo>
                    <a:pt x="100" y="6"/>
                  </a:lnTo>
                  <a:lnTo>
                    <a:pt x="131" y="9"/>
                  </a:lnTo>
                  <a:lnTo>
                    <a:pt x="162" y="13"/>
                  </a:lnTo>
                  <a:lnTo>
                    <a:pt x="193" y="18"/>
                  </a:lnTo>
                  <a:lnTo>
                    <a:pt x="225" y="23"/>
                  </a:lnTo>
                  <a:lnTo>
                    <a:pt x="255" y="30"/>
                  </a:lnTo>
                  <a:lnTo>
                    <a:pt x="285" y="37"/>
                  </a:lnTo>
                  <a:lnTo>
                    <a:pt x="315" y="44"/>
                  </a:lnTo>
                  <a:lnTo>
                    <a:pt x="345" y="53"/>
                  </a:lnTo>
                  <a:lnTo>
                    <a:pt x="374" y="62"/>
                  </a:lnTo>
                  <a:lnTo>
                    <a:pt x="404" y="72"/>
                  </a:lnTo>
                  <a:lnTo>
                    <a:pt x="433" y="83"/>
                  </a:lnTo>
                  <a:lnTo>
                    <a:pt x="461" y="94"/>
                  </a:lnTo>
                  <a:lnTo>
                    <a:pt x="489" y="106"/>
                  </a:lnTo>
                  <a:lnTo>
                    <a:pt x="517" y="119"/>
                  </a:lnTo>
                  <a:lnTo>
                    <a:pt x="545" y="132"/>
                  </a:lnTo>
                  <a:lnTo>
                    <a:pt x="572" y="145"/>
                  </a:lnTo>
                  <a:lnTo>
                    <a:pt x="599" y="160"/>
                  </a:lnTo>
                  <a:lnTo>
                    <a:pt x="625" y="175"/>
                  </a:lnTo>
                  <a:lnTo>
                    <a:pt x="651" y="190"/>
                  </a:lnTo>
                  <a:lnTo>
                    <a:pt x="676" y="206"/>
                  </a:lnTo>
                  <a:lnTo>
                    <a:pt x="702" y="223"/>
                  </a:lnTo>
                  <a:lnTo>
                    <a:pt x="726" y="240"/>
                  </a:lnTo>
                  <a:lnTo>
                    <a:pt x="751" y="259"/>
                  </a:lnTo>
                  <a:lnTo>
                    <a:pt x="774" y="277"/>
                  </a:lnTo>
                  <a:lnTo>
                    <a:pt x="798" y="296"/>
                  </a:lnTo>
                  <a:lnTo>
                    <a:pt x="820" y="316"/>
                  </a:lnTo>
                  <a:lnTo>
                    <a:pt x="843" y="336"/>
                  </a:lnTo>
                  <a:lnTo>
                    <a:pt x="866" y="356"/>
                  </a:lnTo>
                  <a:lnTo>
                    <a:pt x="887" y="377"/>
                  </a:lnTo>
                  <a:lnTo>
                    <a:pt x="908" y="398"/>
                  </a:lnTo>
                  <a:lnTo>
                    <a:pt x="928" y="421"/>
                  </a:lnTo>
                  <a:lnTo>
                    <a:pt x="948" y="444"/>
                  </a:lnTo>
                  <a:lnTo>
                    <a:pt x="967" y="467"/>
                  </a:lnTo>
                  <a:lnTo>
                    <a:pt x="986" y="490"/>
                  </a:lnTo>
                  <a:lnTo>
                    <a:pt x="1004" y="514"/>
                  </a:lnTo>
                  <a:lnTo>
                    <a:pt x="1023" y="538"/>
                  </a:lnTo>
                  <a:lnTo>
                    <a:pt x="1040" y="564"/>
                  </a:lnTo>
                  <a:lnTo>
                    <a:pt x="1057" y="589"/>
                  </a:lnTo>
                  <a:lnTo>
                    <a:pt x="1073" y="614"/>
                  </a:lnTo>
                  <a:lnTo>
                    <a:pt x="1088" y="640"/>
                  </a:lnTo>
                  <a:lnTo>
                    <a:pt x="1103" y="666"/>
                  </a:lnTo>
                  <a:lnTo>
                    <a:pt x="1117" y="693"/>
                  </a:lnTo>
                  <a:lnTo>
                    <a:pt x="1131" y="720"/>
                  </a:lnTo>
                  <a:lnTo>
                    <a:pt x="1144" y="748"/>
                  </a:lnTo>
                  <a:lnTo>
                    <a:pt x="1156" y="776"/>
                  </a:lnTo>
                  <a:lnTo>
                    <a:pt x="1168" y="804"/>
                  </a:lnTo>
                  <a:lnTo>
                    <a:pt x="1180" y="833"/>
                  </a:lnTo>
                  <a:lnTo>
                    <a:pt x="1190" y="861"/>
                  </a:lnTo>
                  <a:lnTo>
                    <a:pt x="1200" y="891"/>
                  </a:lnTo>
                  <a:lnTo>
                    <a:pt x="1209" y="921"/>
                  </a:lnTo>
                  <a:lnTo>
                    <a:pt x="1217" y="950"/>
                  </a:lnTo>
                  <a:lnTo>
                    <a:pt x="1224" y="980"/>
                  </a:lnTo>
                  <a:lnTo>
                    <a:pt x="1231" y="1010"/>
                  </a:lnTo>
                  <a:lnTo>
                    <a:pt x="1237" y="1042"/>
                  </a:lnTo>
                  <a:lnTo>
                    <a:pt x="1243" y="1073"/>
                  </a:lnTo>
                  <a:lnTo>
                    <a:pt x="1248" y="1104"/>
                  </a:lnTo>
                  <a:lnTo>
                    <a:pt x="1252" y="1135"/>
                  </a:lnTo>
                  <a:lnTo>
                    <a:pt x="1255" y="1166"/>
                  </a:lnTo>
                  <a:lnTo>
                    <a:pt x="1257" y="1198"/>
                  </a:lnTo>
                  <a:lnTo>
                    <a:pt x="1259" y="1231"/>
                  </a:lnTo>
                  <a:lnTo>
                    <a:pt x="1260" y="1263"/>
                  </a:lnTo>
                  <a:lnTo>
                    <a:pt x="921" y="1451"/>
                  </a:lnTo>
                  <a:lnTo>
                    <a:pt x="622" y="1246"/>
                  </a:lnTo>
                  <a:lnTo>
                    <a:pt x="622" y="1231"/>
                  </a:lnTo>
                  <a:lnTo>
                    <a:pt x="620" y="1215"/>
                  </a:lnTo>
                  <a:lnTo>
                    <a:pt x="616" y="1184"/>
                  </a:lnTo>
                  <a:lnTo>
                    <a:pt x="611" y="1154"/>
                  </a:lnTo>
                  <a:lnTo>
                    <a:pt x="608" y="1139"/>
                  </a:lnTo>
                  <a:lnTo>
                    <a:pt x="605" y="1125"/>
                  </a:lnTo>
                  <a:lnTo>
                    <a:pt x="597" y="1096"/>
                  </a:lnTo>
                  <a:lnTo>
                    <a:pt x="593" y="1082"/>
                  </a:lnTo>
                  <a:lnTo>
                    <a:pt x="588" y="1067"/>
                  </a:lnTo>
                  <a:lnTo>
                    <a:pt x="577" y="1039"/>
                  </a:lnTo>
                  <a:lnTo>
                    <a:pt x="572" y="1025"/>
                  </a:lnTo>
                  <a:lnTo>
                    <a:pt x="566" y="1012"/>
                  </a:lnTo>
                  <a:lnTo>
                    <a:pt x="559" y="998"/>
                  </a:lnTo>
                  <a:lnTo>
                    <a:pt x="553" y="985"/>
                  </a:lnTo>
                  <a:lnTo>
                    <a:pt x="539" y="959"/>
                  </a:lnTo>
                  <a:lnTo>
                    <a:pt x="530" y="947"/>
                  </a:lnTo>
                  <a:lnTo>
                    <a:pt x="523" y="934"/>
                  </a:lnTo>
                  <a:lnTo>
                    <a:pt x="506" y="910"/>
                  </a:lnTo>
                  <a:lnTo>
                    <a:pt x="498" y="898"/>
                  </a:lnTo>
                  <a:lnTo>
                    <a:pt x="489" y="887"/>
                  </a:lnTo>
                  <a:lnTo>
                    <a:pt x="480" y="874"/>
                  </a:lnTo>
                  <a:lnTo>
                    <a:pt x="471" y="863"/>
                  </a:lnTo>
                  <a:lnTo>
                    <a:pt x="461" y="852"/>
                  </a:lnTo>
                  <a:lnTo>
                    <a:pt x="451" y="841"/>
                  </a:lnTo>
                  <a:lnTo>
                    <a:pt x="431" y="821"/>
                  </a:lnTo>
                  <a:lnTo>
                    <a:pt x="410" y="801"/>
                  </a:lnTo>
                  <a:lnTo>
                    <a:pt x="399" y="791"/>
                  </a:lnTo>
                  <a:lnTo>
                    <a:pt x="388" y="782"/>
                  </a:lnTo>
                  <a:lnTo>
                    <a:pt x="375" y="773"/>
                  </a:lnTo>
                  <a:lnTo>
                    <a:pt x="364" y="764"/>
                  </a:lnTo>
                  <a:lnTo>
                    <a:pt x="352" y="755"/>
                  </a:lnTo>
                  <a:lnTo>
                    <a:pt x="340" y="747"/>
                  </a:lnTo>
                  <a:lnTo>
                    <a:pt x="328" y="739"/>
                  </a:lnTo>
                  <a:lnTo>
                    <a:pt x="315" y="731"/>
                  </a:lnTo>
                  <a:lnTo>
                    <a:pt x="290" y="716"/>
                  </a:lnTo>
                  <a:lnTo>
                    <a:pt x="277" y="709"/>
                  </a:lnTo>
                  <a:lnTo>
                    <a:pt x="264" y="702"/>
                  </a:lnTo>
                  <a:lnTo>
                    <a:pt x="237" y="690"/>
                  </a:lnTo>
                  <a:lnTo>
                    <a:pt x="223" y="684"/>
                  </a:lnTo>
                  <a:lnTo>
                    <a:pt x="209" y="678"/>
                  </a:lnTo>
                  <a:lnTo>
                    <a:pt x="181" y="669"/>
                  </a:lnTo>
                  <a:lnTo>
                    <a:pt x="152" y="660"/>
                  </a:lnTo>
                  <a:lnTo>
                    <a:pt x="137" y="656"/>
                  </a:lnTo>
                  <a:lnTo>
                    <a:pt x="123" y="653"/>
                  </a:lnTo>
                  <a:lnTo>
                    <a:pt x="108" y="649"/>
                  </a:lnTo>
                  <a:lnTo>
                    <a:pt x="93" y="647"/>
                  </a:lnTo>
                  <a:lnTo>
                    <a:pt x="63" y="642"/>
                  </a:lnTo>
                  <a:lnTo>
                    <a:pt x="47" y="640"/>
                  </a:lnTo>
                  <a:lnTo>
                    <a:pt x="31" y="639"/>
                  </a:lnTo>
                  <a:lnTo>
                    <a:pt x="16" y="638"/>
                  </a:lnTo>
                  <a:lnTo>
                    <a:pt x="0" y="637"/>
                  </a:lnTo>
                  <a:lnTo>
                    <a:pt x="197" y="34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22" name="Freeform 9"/>
            <p:cNvSpPr>
              <a:spLocks noChangeAspect="1"/>
            </p:cNvSpPr>
            <p:nvPr/>
          </p:nvSpPr>
          <p:spPr bwMode="auto">
            <a:xfrm>
              <a:off x="5083624" y="1668288"/>
              <a:ext cx="1138502" cy="969963"/>
            </a:xfrm>
            <a:custGeom>
              <a:avLst/>
              <a:gdLst>
                <a:gd name="T0" fmla="*/ 2147483647 w 1431"/>
                <a:gd name="T1" fmla="*/ 2147483647 h 1325"/>
                <a:gd name="T2" fmla="*/ 2147483647 w 1431"/>
                <a:gd name="T3" fmla="*/ 2147483647 h 1325"/>
                <a:gd name="T4" fmla="*/ 2147483647 w 1431"/>
                <a:gd name="T5" fmla="*/ 2147483647 h 1325"/>
                <a:gd name="T6" fmla="*/ 2147483647 w 1431"/>
                <a:gd name="T7" fmla="*/ 2147483647 h 1325"/>
                <a:gd name="T8" fmla="*/ 2147483647 w 1431"/>
                <a:gd name="T9" fmla="*/ 2147483647 h 1325"/>
                <a:gd name="T10" fmla="*/ 2147483647 w 1431"/>
                <a:gd name="T11" fmla="*/ 2147483647 h 1325"/>
                <a:gd name="T12" fmla="*/ 2147483647 w 1431"/>
                <a:gd name="T13" fmla="*/ 2147483647 h 1325"/>
                <a:gd name="T14" fmla="*/ 2147483647 w 1431"/>
                <a:gd name="T15" fmla="*/ 2147483647 h 1325"/>
                <a:gd name="T16" fmla="*/ 2147483647 w 1431"/>
                <a:gd name="T17" fmla="*/ 2147483647 h 1325"/>
                <a:gd name="T18" fmla="*/ 2147483647 w 1431"/>
                <a:gd name="T19" fmla="*/ 2147483647 h 1325"/>
                <a:gd name="T20" fmla="*/ 2147483647 w 1431"/>
                <a:gd name="T21" fmla="*/ 2147483647 h 1325"/>
                <a:gd name="T22" fmla="*/ 2147483647 w 1431"/>
                <a:gd name="T23" fmla="*/ 2147483647 h 1325"/>
                <a:gd name="T24" fmla="*/ 2147483647 w 1431"/>
                <a:gd name="T25" fmla="*/ 2147483647 h 1325"/>
                <a:gd name="T26" fmla="*/ 2147483647 w 1431"/>
                <a:gd name="T27" fmla="*/ 2147483647 h 1325"/>
                <a:gd name="T28" fmla="*/ 2147483647 w 1431"/>
                <a:gd name="T29" fmla="*/ 2147483647 h 1325"/>
                <a:gd name="T30" fmla="*/ 2147483647 w 1431"/>
                <a:gd name="T31" fmla="*/ 2147483647 h 1325"/>
                <a:gd name="T32" fmla="*/ 2147483647 w 1431"/>
                <a:gd name="T33" fmla="*/ 2147483647 h 1325"/>
                <a:gd name="T34" fmla="*/ 2147483647 w 1431"/>
                <a:gd name="T35" fmla="*/ 2147483647 h 1325"/>
                <a:gd name="T36" fmla="*/ 2147483647 w 1431"/>
                <a:gd name="T37" fmla="*/ 2147483647 h 1325"/>
                <a:gd name="T38" fmla="*/ 2147483647 w 1431"/>
                <a:gd name="T39" fmla="*/ 2147483647 h 1325"/>
                <a:gd name="T40" fmla="*/ 2147483647 w 1431"/>
                <a:gd name="T41" fmla="*/ 2147483647 h 1325"/>
                <a:gd name="T42" fmla="*/ 2147483647 w 1431"/>
                <a:gd name="T43" fmla="*/ 2147483647 h 1325"/>
                <a:gd name="T44" fmla="*/ 2147483647 w 1431"/>
                <a:gd name="T45" fmla="*/ 2147483647 h 1325"/>
                <a:gd name="T46" fmla="*/ 2147483647 w 1431"/>
                <a:gd name="T47" fmla="*/ 2147483647 h 1325"/>
                <a:gd name="T48" fmla="*/ 2147483647 w 1431"/>
                <a:gd name="T49" fmla="*/ 2147483647 h 1325"/>
                <a:gd name="T50" fmla="*/ 2147483647 w 1431"/>
                <a:gd name="T51" fmla="*/ 2147483647 h 1325"/>
                <a:gd name="T52" fmla="*/ 2147483647 w 1431"/>
                <a:gd name="T53" fmla="*/ 2147483647 h 1325"/>
                <a:gd name="T54" fmla="*/ 2147483647 w 1431"/>
                <a:gd name="T55" fmla="*/ 2147483647 h 1325"/>
                <a:gd name="T56" fmla="*/ 2147483647 w 1431"/>
                <a:gd name="T57" fmla="*/ 2147483647 h 1325"/>
                <a:gd name="T58" fmla="*/ 2147483647 w 1431"/>
                <a:gd name="T59" fmla="*/ 2147483647 h 1325"/>
                <a:gd name="T60" fmla="*/ 2147483647 w 1431"/>
                <a:gd name="T61" fmla="*/ 2147483647 h 1325"/>
                <a:gd name="T62" fmla="*/ 2147483647 w 1431"/>
                <a:gd name="T63" fmla="*/ 2147483647 h 1325"/>
                <a:gd name="T64" fmla="*/ 2147483647 w 1431"/>
                <a:gd name="T65" fmla="*/ 2147483647 h 1325"/>
                <a:gd name="T66" fmla="*/ 2147483647 w 1431"/>
                <a:gd name="T67" fmla="*/ 2147483647 h 1325"/>
                <a:gd name="T68" fmla="*/ 2147483647 w 1431"/>
                <a:gd name="T69" fmla="*/ 2147483647 h 1325"/>
                <a:gd name="T70" fmla="*/ 2147483647 w 1431"/>
                <a:gd name="T71" fmla="*/ 2147483647 h 1325"/>
                <a:gd name="T72" fmla="*/ 2147483647 w 1431"/>
                <a:gd name="T73" fmla="*/ 2147483647 h 1325"/>
                <a:gd name="T74" fmla="*/ 2147483647 w 1431"/>
                <a:gd name="T75" fmla="*/ 2147483647 h 1325"/>
                <a:gd name="T76" fmla="*/ 2147483647 w 1431"/>
                <a:gd name="T77" fmla="*/ 2147483647 h 1325"/>
                <a:gd name="T78" fmla="*/ 2147483647 w 1431"/>
                <a:gd name="T79" fmla="*/ 2147483647 h 1325"/>
                <a:gd name="T80" fmla="*/ 2147483647 w 1431"/>
                <a:gd name="T81" fmla="*/ 2147483647 h 1325"/>
                <a:gd name="T82" fmla="*/ 2147483647 w 1431"/>
                <a:gd name="T83" fmla="*/ 2147483647 h 1325"/>
                <a:gd name="T84" fmla="*/ 2147483647 w 1431"/>
                <a:gd name="T85" fmla="*/ 2147483647 h 1325"/>
                <a:gd name="T86" fmla="*/ 2147483647 w 1431"/>
                <a:gd name="T87" fmla="*/ 2147483647 h 1325"/>
                <a:gd name="T88" fmla="*/ 2147483647 w 1431"/>
                <a:gd name="T89" fmla="*/ 2147483647 h 1325"/>
                <a:gd name="T90" fmla="*/ 2147483647 w 1431"/>
                <a:gd name="T91" fmla="*/ 2147483647 h 1325"/>
                <a:gd name="T92" fmla="*/ 2147483647 w 1431"/>
                <a:gd name="T93" fmla="*/ 2147483647 h 1325"/>
                <a:gd name="T94" fmla="*/ 2147483647 w 1431"/>
                <a:gd name="T95" fmla="*/ 2147483647 h 1325"/>
                <a:gd name="T96" fmla="*/ 2147483647 w 1431"/>
                <a:gd name="T97" fmla="*/ 2147483647 h 1325"/>
                <a:gd name="T98" fmla="*/ 2147483647 w 1431"/>
                <a:gd name="T99" fmla="*/ 2147483647 h 1325"/>
                <a:gd name="T100" fmla="*/ 2147483647 w 1431"/>
                <a:gd name="T101" fmla="*/ 2147483647 h 1325"/>
                <a:gd name="T102" fmla="*/ 2147483647 w 1431"/>
                <a:gd name="T103" fmla="*/ 2147483647 h 1325"/>
                <a:gd name="T104" fmla="*/ 2147483647 w 1431"/>
                <a:gd name="T105" fmla="*/ 2147483647 h 1325"/>
                <a:gd name="T106" fmla="*/ 2147483647 w 1431"/>
                <a:gd name="T107" fmla="*/ 2147483647 h 1325"/>
                <a:gd name="T108" fmla="*/ 2147483647 w 1431"/>
                <a:gd name="T109" fmla="*/ 2147483647 h 1325"/>
                <a:gd name="T110" fmla="*/ 2147483647 w 1431"/>
                <a:gd name="T111" fmla="*/ 2147483647 h 1325"/>
                <a:gd name="T112" fmla="*/ 2147483647 w 1431"/>
                <a:gd name="T113" fmla="*/ 2147483647 h 1325"/>
                <a:gd name="T114" fmla="*/ 2147483647 w 1431"/>
                <a:gd name="T115" fmla="*/ 2147483647 h 1325"/>
                <a:gd name="T116" fmla="*/ 2147483647 w 1431"/>
                <a:gd name="T117" fmla="*/ 2147483647 h 1325"/>
                <a:gd name="T118" fmla="*/ 2147483647 w 1431"/>
                <a:gd name="T119" fmla="*/ 2147483647 h 1325"/>
                <a:gd name="T120" fmla="*/ 2147483647 w 1431"/>
                <a:gd name="T121" fmla="*/ 2147483647 h 1325"/>
                <a:gd name="T122" fmla="*/ 2147483647 w 1431"/>
                <a:gd name="T123" fmla="*/ 2147483647 h 13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31"/>
                <a:gd name="T187" fmla="*/ 0 h 1325"/>
                <a:gd name="T188" fmla="*/ 1431 w 1431"/>
                <a:gd name="T189" fmla="*/ 1325 h 13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31" h="1325">
                  <a:moveTo>
                    <a:pt x="638" y="1324"/>
                  </a:moveTo>
                  <a:lnTo>
                    <a:pt x="637" y="1302"/>
                  </a:lnTo>
                  <a:lnTo>
                    <a:pt x="637" y="1280"/>
                  </a:lnTo>
                  <a:lnTo>
                    <a:pt x="637" y="1248"/>
                  </a:lnTo>
                  <a:lnTo>
                    <a:pt x="638" y="1232"/>
                  </a:lnTo>
                  <a:lnTo>
                    <a:pt x="640" y="1217"/>
                  </a:lnTo>
                  <a:lnTo>
                    <a:pt x="644" y="1185"/>
                  </a:lnTo>
                  <a:lnTo>
                    <a:pt x="646" y="1170"/>
                  </a:lnTo>
                  <a:lnTo>
                    <a:pt x="649" y="1154"/>
                  </a:lnTo>
                  <a:lnTo>
                    <a:pt x="655" y="1125"/>
                  </a:lnTo>
                  <a:lnTo>
                    <a:pt x="659" y="1110"/>
                  </a:lnTo>
                  <a:lnTo>
                    <a:pt x="663" y="1095"/>
                  </a:lnTo>
                  <a:lnTo>
                    <a:pt x="673" y="1067"/>
                  </a:lnTo>
                  <a:lnTo>
                    <a:pt x="678" y="1052"/>
                  </a:lnTo>
                  <a:lnTo>
                    <a:pt x="683" y="1038"/>
                  </a:lnTo>
                  <a:lnTo>
                    <a:pt x="689" y="1024"/>
                  </a:lnTo>
                  <a:lnTo>
                    <a:pt x="695" y="1010"/>
                  </a:lnTo>
                  <a:lnTo>
                    <a:pt x="708" y="983"/>
                  </a:lnTo>
                  <a:lnTo>
                    <a:pt x="715" y="970"/>
                  </a:lnTo>
                  <a:lnTo>
                    <a:pt x="724" y="957"/>
                  </a:lnTo>
                  <a:lnTo>
                    <a:pt x="731" y="944"/>
                  </a:lnTo>
                  <a:lnTo>
                    <a:pt x="739" y="932"/>
                  </a:lnTo>
                  <a:lnTo>
                    <a:pt x="747" y="920"/>
                  </a:lnTo>
                  <a:lnTo>
                    <a:pt x="756" y="907"/>
                  </a:lnTo>
                  <a:lnTo>
                    <a:pt x="764" y="895"/>
                  </a:lnTo>
                  <a:lnTo>
                    <a:pt x="773" y="884"/>
                  </a:lnTo>
                  <a:lnTo>
                    <a:pt x="783" y="871"/>
                  </a:lnTo>
                  <a:lnTo>
                    <a:pt x="792" y="860"/>
                  </a:lnTo>
                  <a:lnTo>
                    <a:pt x="812" y="838"/>
                  </a:lnTo>
                  <a:lnTo>
                    <a:pt x="822" y="827"/>
                  </a:lnTo>
                  <a:lnTo>
                    <a:pt x="832" y="817"/>
                  </a:lnTo>
                  <a:lnTo>
                    <a:pt x="843" y="807"/>
                  </a:lnTo>
                  <a:lnTo>
                    <a:pt x="854" y="797"/>
                  </a:lnTo>
                  <a:lnTo>
                    <a:pt x="877" y="778"/>
                  </a:lnTo>
                  <a:lnTo>
                    <a:pt x="889" y="769"/>
                  </a:lnTo>
                  <a:lnTo>
                    <a:pt x="901" y="760"/>
                  </a:lnTo>
                  <a:lnTo>
                    <a:pt x="925" y="743"/>
                  </a:lnTo>
                  <a:lnTo>
                    <a:pt x="938" y="735"/>
                  </a:lnTo>
                  <a:lnTo>
                    <a:pt x="951" y="727"/>
                  </a:lnTo>
                  <a:lnTo>
                    <a:pt x="976" y="711"/>
                  </a:lnTo>
                  <a:lnTo>
                    <a:pt x="990" y="705"/>
                  </a:lnTo>
                  <a:lnTo>
                    <a:pt x="1003" y="698"/>
                  </a:lnTo>
                  <a:lnTo>
                    <a:pt x="1017" y="692"/>
                  </a:lnTo>
                  <a:lnTo>
                    <a:pt x="1030" y="686"/>
                  </a:lnTo>
                  <a:lnTo>
                    <a:pt x="1045" y="680"/>
                  </a:lnTo>
                  <a:lnTo>
                    <a:pt x="1059" y="675"/>
                  </a:lnTo>
                  <a:lnTo>
                    <a:pt x="1088" y="665"/>
                  </a:lnTo>
                  <a:lnTo>
                    <a:pt x="1117" y="657"/>
                  </a:lnTo>
                  <a:lnTo>
                    <a:pt x="1132" y="653"/>
                  </a:lnTo>
                  <a:lnTo>
                    <a:pt x="1147" y="649"/>
                  </a:lnTo>
                  <a:lnTo>
                    <a:pt x="1177" y="644"/>
                  </a:lnTo>
                  <a:lnTo>
                    <a:pt x="1192" y="642"/>
                  </a:lnTo>
                  <a:lnTo>
                    <a:pt x="1209" y="640"/>
                  </a:lnTo>
                  <a:lnTo>
                    <a:pt x="1224" y="638"/>
                  </a:lnTo>
                  <a:lnTo>
                    <a:pt x="1240" y="637"/>
                  </a:lnTo>
                  <a:lnTo>
                    <a:pt x="1431" y="334"/>
                  </a:lnTo>
                  <a:lnTo>
                    <a:pt x="1239" y="0"/>
                  </a:lnTo>
                  <a:lnTo>
                    <a:pt x="1207" y="1"/>
                  </a:lnTo>
                  <a:lnTo>
                    <a:pt x="1174" y="3"/>
                  </a:lnTo>
                  <a:lnTo>
                    <a:pt x="1142" y="6"/>
                  </a:lnTo>
                  <a:lnTo>
                    <a:pt x="1111" y="10"/>
                  </a:lnTo>
                  <a:lnTo>
                    <a:pt x="1080" y="15"/>
                  </a:lnTo>
                  <a:lnTo>
                    <a:pt x="1049" y="20"/>
                  </a:lnTo>
                  <a:lnTo>
                    <a:pt x="1018" y="26"/>
                  </a:lnTo>
                  <a:lnTo>
                    <a:pt x="987" y="32"/>
                  </a:lnTo>
                  <a:lnTo>
                    <a:pt x="957" y="40"/>
                  </a:lnTo>
                  <a:lnTo>
                    <a:pt x="928" y="48"/>
                  </a:lnTo>
                  <a:lnTo>
                    <a:pt x="898" y="57"/>
                  </a:lnTo>
                  <a:lnTo>
                    <a:pt x="868" y="66"/>
                  </a:lnTo>
                  <a:lnTo>
                    <a:pt x="839" y="76"/>
                  </a:lnTo>
                  <a:lnTo>
                    <a:pt x="811" y="88"/>
                  </a:lnTo>
                  <a:lnTo>
                    <a:pt x="783" y="100"/>
                  </a:lnTo>
                  <a:lnTo>
                    <a:pt x="755" y="112"/>
                  </a:lnTo>
                  <a:lnTo>
                    <a:pt x="728" y="125"/>
                  </a:lnTo>
                  <a:lnTo>
                    <a:pt x="699" y="138"/>
                  </a:lnTo>
                  <a:lnTo>
                    <a:pt x="673" y="152"/>
                  </a:lnTo>
                  <a:lnTo>
                    <a:pt x="646" y="167"/>
                  </a:lnTo>
                  <a:lnTo>
                    <a:pt x="620" y="182"/>
                  </a:lnTo>
                  <a:lnTo>
                    <a:pt x="595" y="198"/>
                  </a:lnTo>
                  <a:lnTo>
                    <a:pt x="570" y="214"/>
                  </a:lnTo>
                  <a:lnTo>
                    <a:pt x="544" y="231"/>
                  </a:lnTo>
                  <a:lnTo>
                    <a:pt x="520" y="250"/>
                  </a:lnTo>
                  <a:lnTo>
                    <a:pt x="496" y="268"/>
                  </a:lnTo>
                  <a:lnTo>
                    <a:pt x="472" y="287"/>
                  </a:lnTo>
                  <a:lnTo>
                    <a:pt x="449" y="306"/>
                  </a:lnTo>
                  <a:lnTo>
                    <a:pt x="427" y="325"/>
                  </a:lnTo>
                  <a:lnTo>
                    <a:pt x="405" y="346"/>
                  </a:lnTo>
                  <a:lnTo>
                    <a:pt x="382" y="366"/>
                  </a:lnTo>
                  <a:lnTo>
                    <a:pt x="361" y="388"/>
                  </a:lnTo>
                  <a:lnTo>
                    <a:pt x="341" y="410"/>
                  </a:lnTo>
                  <a:lnTo>
                    <a:pt x="320" y="433"/>
                  </a:lnTo>
                  <a:lnTo>
                    <a:pt x="301" y="455"/>
                  </a:lnTo>
                  <a:lnTo>
                    <a:pt x="282" y="478"/>
                  </a:lnTo>
                  <a:lnTo>
                    <a:pt x="263" y="502"/>
                  </a:lnTo>
                  <a:lnTo>
                    <a:pt x="245" y="526"/>
                  </a:lnTo>
                  <a:lnTo>
                    <a:pt x="227" y="550"/>
                  </a:lnTo>
                  <a:lnTo>
                    <a:pt x="210" y="576"/>
                  </a:lnTo>
                  <a:lnTo>
                    <a:pt x="194" y="602"/>
                  </a:lnTo>
                  <a:lnTo>
                    <a:pt x="178" y="627"/>
                  </a:lnTo>
                  <a:lnTo>
                    <a:pt x="163" y="653"/>
                  </a:lnTo>
                  <a:lnTo>
                    <a:pt x="149" y="680"/>
                  </a:lnTo>
                  <a:lnTo>
                    <a:pt x="135" y="707"/>
                  </a:lnTo>
                  <a:lnTo>
                    <a:pt x="122" y="735"/>
                  </a:lnTo>
                  <a:lnTo>
                    <a:pt x="109" y="762"/>
                  </a:lnTo>
                  <a:lnTo>
                    <a:pt x="97" y="790"/>
                  </a:lnTo>
                  <a:lnTo>
                    <a:pt x="86" y="819"/>
                  </a:lnTo>
                  <a:lnTo>
                    <a:pt x="74" y="847"/>
                  </a:lnTo>
                  <a:lnTo>
                    <a:pt x="64" y="876"/>
                  </a:lnTo>
                  <a:lnTo>
                    <a:pt x="55" y="906"/>
                  </a:lnTo>
                  <a:lnTo>
                    <a:pt x="47" y="936"/>
                  </a:lnTo>
                  <a:lnTo>
                    <a:pt x="39" y="966"/>
                  </a:lnTo>
                  <a:lnTo>
                    <a:pt x="31" y="996"/>
                  </a:lnTo>
                  <a:lnTo>
                    <a:pt x="25" y="1026"/>
                  </a:lnTo>
                  <a:lnTo>
                    <a:pt x="19" y="1058"/>
                  </a:lnTo>
                  <a:lnTo>
                    <a:pt x="14" y="1089"/>
                  </a:lnTo>
                  <a:lnTo>
                    <a:pt x="10" y="1120"/>
                  </a:lnTo>
                  <a:lnTo>
                    <a:pt x="6" y="1151"/>
                  </a:lnTo>
                  <a:lnTo>
                    <a:pt x="4" y="1183"/>
                  </a:lnTo>
                  <a:lnTo>
                    <a:pt x="2" y="1215"/>
                  </a:lnTo>
                  <a:lnTo>
                    <a:pt x="1" y="1247"/>
                  </a:lnTo>
                  <a:lnTo>
                    <a:pt x="0" y="1280"/>
                  </a:lnTo>
                  <a:lnTo>
                    <a:pt x="1" y="1302"/>
                  </a:lnTo>
                  <a:lnTo>
                    <a:pt x="2" y="1325"/>
                  </a:lnTo>
                  <a:lnTo>
                    <a:pt x="335" y="1129"/>
                  </a:lnTo>
                  <a:lnTo>
                    <a:pt x="638" y="1324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23" name="Freeform 10"/>
            <p:cNvSpPr>
              <a:spLocks noChangeAspect="1"/>
            </p:cNvSpPr>
            <p:nvPr/>
          </p:nvSpPr>
          <p:spPr bwMode="auto">
            <a:xfrm>
              <a:off x="5088783" y="2544587"/>
              <a:ext cx="1030156" cy="998538"/>
            </a:xfrm>
            <a:custGeom>
              <a:avLst/>
              <a:gdLst>
                <a:gd name="T0" fmla="*/ 2147483647 w 1295"/>
                <a:gd name="T1" fmla="*/ 2147483647 h 1364"/>
                <a:gd name="T2" fmla="*/ 2147483647 w 1295"/>
                <a:gd name="T3" fmla="*/ 2147483647 h 1364"/>
                <a:gd name="T4" fmla="*/ 2147483647 w 1295"/>
                <a:gd name="T5" fmla="*/ 2147483647 h 1364"/>
                <a:gd name="T6" fmla="*/ 2147483647 w 1295"/>
                <a:gd name="T7" fmla="*/ 2147483647 h 1364"/>
                <a:gd name="T8" fmla="*/ 2147483647 w 1295"/>
                <a:gd name="T9" fmla="*/ 2147483647 h 1364"/>
                <a:gd name="T10" fmla="*/ 2147483647 w 1295"/>
                <a:gd name="T11" fmla="*/ 2147483647 h 1364"/>
                <a:gd name="T12" fmla="*/ 2147483647 w 1295"/>
                <a:gd name="T13" fmla="*/ 2147483647 h 1364"/>
                <a:gd name="T14" fmla="*/ 2147483647 w 1295"/>
                <a:gd name="T15" fmla="*/ 2147483647 h 1364"/>
                <a:gd name="T16" fmla="*/ 2147483647 w 1295"/>
                <a:gd name="T17" fmla="*/ 2147483647 h 1364"/>
                <a:gd name="T18" fmla="*/ 2147483647 w 1295"/>
                <a:gd name="T19" fmla="*/ 2147483647 h 1364"/>
                <a:gd name="T20" fmla="*/ 2147483647 w 1295"/>
                <a:gd name="T21" fmla="*/ 2147483647 h 1364"/>
                <a:gd name="T22" fmla="*/ 2147483647 w 1295"/>
                <a:gd name="T23" fmla="*/ 2147483647 h 1364"/>
                <a:gd name="T24" fmla="*/ 2147483647 w 1295"/>
                <a:gd name="T25" fmla="*/ 2147483647 h 1364"/>
                <a:gd name="T26" fmla="*/ 2147483647 w 1295"/>
                <a:gd name="T27" fmla="*/ 2147483647 h 1364"/>
                <a:gd name="T28" fmla="*/ 2147483647 w 1295"/>
                <a:gd name="T29" fmla="*/ 2147483647 h 1364"/>
                <a:gd name="T30" fmla="*/ 2147483647 w 1295"/>
                <a:gd name="T31" fmla="*/ 2147483647 h 1364"/>
                <a:gd name="T32" fmla="*/ 2147483647 w 1295"/>
                <a:gd name="T33" fmla="*/ 2147483647 h 1364"/>
                <a:gd name="T34" fmla="*/ 2147483647 w 1295"/>
                <a:gd name="T35" fmla="*/ 2147483647 h 1364"/>
                <a:gd name="T36" fmla="*/ 2147483647 w 1295"/>
                <a:gd name="T37" fmla="*/ 2147483647 h 1364"/>
                <a:gd name="T38" fmla="*/ 2147483647 w 1295"/>
                <a:gd name="T39" fmla="*/ 2147483647 h 1364"/>
                <a:gd name="T40" fmla="*/ 2147483647 w 1295"/>
                <a:gd name="T41" fmla="*/ 2147483647 h 1364"/>
                <a:gd name="T42" fmla="*/ 2147483647 w 1295"/>
                <a:gd name="T43" fmla="*/ 2147483647 h 1364"/>
                <a:gd name="T44" fmla="*/ 2147483647 w 1295"/>
                <a:gd name="T45" fmla="*/ 0 h 1364"/>
                <a:gd name="T46" fmla="*/ 2147483647 w 1295"/>
                <a:gd name="T47" fmla="*/ 2147483647 h 1364"/>
                <a:gd name="T48" fmla="*/ 2147483647 w 1295"/>
                <a:gd name="T49" fmla="*/ 2147483647 h 1364"/>
                <a:gd name="T50" fmla="*/ 2147483647 w 1295"/>
                <a:gd name="T51" fmla="*/ 2147483647 h 1364"/>
                <a:gd name="T52" fmla="*/ 2147483647 w 1295"/>
                <a:gd name="T53" fmla="*/ 2147483647 h 1364"/>
                <a:gd name="T54" fmla="*/ 2147483647 w 1295"/>
                <a:gd name="T55" fmla="*/ 2147483647 h 1364"/>
                <a:gd name="T56" fmla="*/ 2147483647 w 1295"/>
                <a:gd name="T57" fmla="*/ 2147483647 h 1364"/>
                <a:gd name="T58" fmla="*/ 2147483647 w 1295"/>
                <a:gd name="T59" fmla="*/ 2147483647 h 1364"/>
                <a:gd name="T60" fmla="*/ 2147483647 w 1295"/>
                <a:gd name="T61" fmla="*/ 2147483647 h 1364"/>
                <a:gd name="T62" fmla="*/ 2147483647 w 1295"/>
                <a:gd name="T63" fmla="*/ 2147483647 h 1364"/>
                <a:gd name="T64" fmla="*/ 2147483647 w 1295"/>
                <a:gd name="T65" fmla="*/ 2147483647 h 1364"/>
                <a:gd name="T66" fmla="*/ 2147483647 w 1295"/>
                <a:gd name="T67" fmla="*/ 2147483647 h 1364"/>
                <a:gd name="T68" fmla="*/ 2147483647 w 1295"/>
                <a:gd name="T69" fmla="*/ 2147483647 h 1364"/>
                <a:gd name="T70" fmla="*/ 2147483647 w 1295"/>
                <a:gd name="T71" fmla="*/ 2147483647 h 1364"/>
                <a:gd name="T72" fmla="*/ 2147483647 w 1295"/>
                <a:gd name="T73" fmla="*/ 2147483647 h 1364"/>
                <a:gd name="T74" fmla="*/ 2147483647 w 1295"/>
                <a:gd name="T75" fmla="*/ 2147483647 h 1364"/>
                <a:gd name="T76" fmla="*/ 2147483647 w 1295"/>
                <a:gd name="T77" fmla="*/ 2147483647 h 1364"/>
                <a:gd name="T78" fmla="*/ 2147483647 w 1295"/>
                <a:gd name="T79" fmla="*/ 2147483647 h 1364"/>
                <a:gd name="T80" fmla="*/ 2147483647 w 1295"/>
                <a:gd name="T81" fmla="*/ 2147483647 h 1364"/>
                <a:gd name="T82" fmla="*/ 2147483647 w 1295"/>
                <a:gd name="T83" fmla="*/ 2147483647 h 1364"/>
                <a:gd name="T84" fmla="*/ 2147483647 w 1295"/>
                <a:gd name="T85" fmla="*/ 2147483647 h 1364"/>
                <a:gd name="T86" fmla="*/ 2147483647 w 1295"/>
                <a:gd name="T87" fmla="*/ 2147483647 h 1364"/>
                <a:gd name="T88" fmla="*/ 2147483647 w 1295"/>
                <a:gd name="T89" fmla="*/ 2147483647 h 1364"/>
                <a:gd name="T90" fmla="*/ 2147483647 w 1295"/>
                <a:gd name="T91" fmla="*/ 2147483647 h 1364"/>
                <a:gd name="T92" fmla="*/ 2147483647 w 1295"/>
                <a:gd name="T93" fmla="*/ 2147483647 h 1364"/>
                <a:gd name="T94" fmla="*/ 2147483647 w 1295"/>
                <a:gd name="T95" fmla="*/ 2147483647 h 1364"/>
                <a:gd name="T96" fmla="*/ 2147483647 w 1295"/>
                <a:gd name="T97" fmla="*/ 2147483647 h 1364"/>
                <a:gd name="T98" fmla="*/ 2147483647 w 1295"/>
                <a:gd name="T99" fmla="*/ 2147483647 h 1364"/>
                <a:gd name="T100" fmla="*/ 2147483647 w 1295"/>
                <a:gd name="T101" fmla="*/ 2147483647 h 1364"/>
                <a:gd name="T102" fmla="*/ 2147483647 w 1295"/>
                <a:gd name="T103" fmla="*/ 2147483647 h 1364"/>
                <a:gd name="T104" fmla="*/ 2147483647 w 1295"/>
                <a:gd name="T105" fmla="*/ 2147483647 h 1364"/>
                <a:gd name="T106" fmla="*/ 2147483647 w 1295"/>
                <a:gd name="T107" fmla="*/ 2147483647 h 1364"/>
                <a:gd name="T108" fmla="*/ 2147483647 w 1295"/>
                <a:gd name="T109" fmla="*/ 2147483647 h 1364"/>
                <a:gd name="T110" fmla="*/ 2147483647 w 1295"/>
                <a:gd name="T111" fmla="*/ 2147483647 h 1364"/>
                <a:gd name="T112" fmla="*/ 2147483647 w 1295"/>
                <a:gd name="T113" fmla="*/ 2147483647 h 13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95"/>
                <a:gd name="T172" fmla="*/ 0 h 1364"/>
                <a:gd name="T173" fmla="*/ 1295 w 1295"/>
                <a:gd name="T174" fmla="*/ 1364 h 13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95" h="1364">
                  <a:moveTo>
                    <a:pt x="1295" y="1362"/>
                  </a:moveTo>
                  <a:lnTo>
                    <a:pt x="1096" y="1023"/>
                  </a:lnTo>
                  <a:lnTo>
                    <a:pt x="1295" y="727"/>
                  </a:lnTo>
                  <a:lnTo>
                    <a:pt x="1276" y="728"/>
                  </a:lnTo>
                  <a:lnTo>
                    <a:pt x="1246" y="727"/>
                  </a:lnTo>
                  <a:lnTo>
                    <a:pt x="1232" y="726"/>
                  </a:lnTo>
                  <a:lnTo>
                    <a:pt x="1217" y="725"/>
                  </a:lnTo>
                  <a:lnTo>
                    <a:pt x="1187" y="722"/>
                  </a:lnTo>
                  <a:lnTo>
                    <a:pt x="1159" y="717"/>
                  </a:lnTo>
                  <a:lnTo>
                    <a:pt x="1131" y="711"/>
                  </a:lnTo>
                  <a:lnTo>
                    <a:pt x="1117" y="708"/>
                  </a:lnTo>
                  <a:lnTo>
                    <a:pt x="1103" y="704"/>
                  </a:lnTo>
                  <a:lnTo>
                    <a:pt x="1076" y="696"/>
                  </a:lnTo>
                  <a:lnTo>
                    <a:pt x="1050" y="687"/>
                  </a:lnTo>
                  <a:lnTo>
                    <a:pt x="1037" y="682"/>
                  </a:lnTo>
                  <a:lnTo>
                    <a:pt x="1023" y="677"/>
                  </a:lnTo>
                  <a:lnTo>
                    <a:pt x="998" y="665"/>
                  </a:lnTo>
                  <a:lnTo>
                    <a:pt x="973" y="653"/>
                  </a:lnTo>
                  <a:lnTo>
                    <a:pt x="961" y="646"/>
                  </a:lnTo>
                  <a:lnTo>
                    <a:pt x="949" y="638"/>
                  </a:lnTo>
                  <a:lnTo>
                    <a:pt x="925" y="623"/>
                  </a:lnTo>
                  <a:lnTo>
                    <a:pt x="902" y="608"/>
                  </a:lnTo>
                  <a:lnTo>
                    <a:pt x="891" y="600"/>
                  </a:lnTo>
                  <a:lnTo>
                    <a:pt x="880" y="591"/>
                  </a:lnTo>
                  <a:lnTo>
                    <a:pt x="858" y="574"/>
                  </a:lnTo>
                  <a:lnTo>
                    <a:pt x="837" y="556"/>
                  </a:lnTo>
                  <a:lnTo>
                    <a:pt x="818" y="537"/>
                  </a:lnTo>
                  <a:lnTo>
                    <a:pt x="799" y="517"/>
                  </a:lnTo>
                  <a:lnTo>
                    <a:pt x="790" y="506"/>
                  </a:lnTo>
                  <a:lnTo>
                    <a:pt x="781" y="496"/>
                  </a:lnTo>
                  <a:lnTo>
                    <a:pt x="764" y="473"/>
                  </a:lnTo>
                  <a:lnTo>
                    <a:pt x="747" y="451"/>
                  </a:lnTo>
                  <a:lnTo>
                    <a:pt x="732" y="428"/>
                  </a:lnTo>
                  <a:lnTo>
                    <a:pt x="725" y="417"/>
                  </a:lnTo>
                  <a:lnTo>
                    <a:pt x="718" y="405"/>
                  </a:lnTo>
                  <a:lnTo>
                    <a:pt x="703" y="380"/>
                  </a:lnTo>
                  <a:lnTo>
                    <a:pt x="691" y="355"/>
                  </a:lnTo>
                  <a:lnTo>
                    <a:pt x="680" y="330"/>
                  </a:lnTo>
                  <a:lnTo>
                    <a:pt x="675" y="316"/>
                  </a:lnTo>
                  <a:lnTo>
                    <a:pt x="670" y="303"/>
                  </a:lnTo>
                  <a:lnTo>
                    <a:pt x="661" y="276"/>
                  </a:lnTo>
                  <a:lnTo>
                    <a:pt x="657" y="263"/>
                  </a:lnTo>
                  <a:lnTo>
                    <a:pt x="653" y="249"/>
                  </a:lnTo>
                  <a:lnTo>
                    <a:pt x="646" y="221"/>
                  </a:lnTo>
                  <a:lnTo>
                    <a:pt x="641" y="193"/>
                  </a:lnTo>
                  <a:lnTo>
                    <a:pt x="322" y="0"/>
                  </a:lnTo>
                  <a:lnTo>
                    <a:pt x="0" y="191"/>
                  </a:lnTo>
                  <a:lnTo>
                    <a:pt x="2" y="222"/>
                  </a:lnTo>
                  <a:lnTo>
                    <a:pt x="6" y="252"/>
                  </a:lnTo>
                  <a:lnTo>
                    <a:pt x="10" y="282"/>
                  </a:lnTo>
                  <a:lnTo>
                    <a:pt x="15" y="312"/>
                  </a:lnTo>
                  <a:lnTo>
                    <a:pt x="21" y="343"/>
                  </a:lnTo>
                  <a:lnTo>
                    <a:pt x="27" y="372"/>
                  </a:lnTo>
                  <a:lnTo>
                    <a:pt x="35" y="401"/>
                  </a:lnTo>
                  <a:lnTo>
                    <a:pt x="42" y="430"/>
                  </a:lnTo>
                  <a:lnTo>
                    <a:pt x="51" y="458"/>
                  </a:lnTo>
                  <a:lnTo>
                    <a:pt x="60" y="488"/>
                  </a:lnTo>
                  <a:lnTo>
                    <a:pt x="69" y="516"/>
                  </a:lnTo>
                  <a:lnTo>
                    <a:pt x="81" y="543"/>
                  </a:lnTo>
                  <a:lnTo>
                    <a:pt x="91" y="571"/>
                  </a:lnTo>
                  <a:lnTo>
                    <a:pt x="103" y="598"/>
                  </a:lnTo>
                  <a:lnTo>
                    <a:pt x="115" y="624"/>
                  </a:lnTo>
                  <a:lnTo>
                    <a:pt x="128" y="652"/>
                  </a:lnTo>
                  <a:lnTo>
                    <a:pt x="141" y="678"/>
                  </a:lnTo>
                  <a:lnTo>
                    <a:pt x="155" y="704"/>
                  </a:lnTo>
                  <a:lnTo>
                    <a:pt x="169" y="729"/>
                  </a:lnTo>
                  <a:lnTo>
                    <a:pt x="184" y="754"/>
                  </a:lnTo>
                  <a:lnTo>
                    <a:pt x="200" y="779"/>
                  </a:lnTo>
                  <a:lnTo>
                    <a:pt x="216" y="803"/>
                  </a:lnTo>
                  <a:lnTo>
                    <a:pt x="233" y="828"/>
                  </a:lnTo>
                  <a:lnTo>
                    <a:pt x="251" y="851"/>
                  </a:lnTo>
                  <a:lnTo>
                    <a:pt x="268" y="874"/>
                  </a:lnTo>
                  <a:lnTo>
                    <a:pt x="287" y="897"/>
                  </a:lnTo>
                  <a:lnTo>
                    <a:pt x="305" y="919"/>
                  </a:lnTo>
                  <a:lnTo>
                    <a:pt x="324" y="941"/>
                  </a:lnTo>
                  <a:lnTo>
                    <a:pt x="344" y="962"/>
                  </a:lnTo>
                  <a:lnTo>
                    <a:pt x="364" y="984"/>
                  </a:lnTo>
                  <a:lnTo>
                    <a:pt x="385" y="1004"/>
                  </a:lnTo>
                  <a:lnTo>
                    <a:pt x="407" y="1024"/>
                  </a:lnTo>
                  <a:lnTo>
                    <a:pt x="428" y="1043"/>
                  </a:lnTo>
                  <a:lnTo>
                    <a:pt x="450" y="1062"/>
                  </a:lnTo>
                  <a:lnTo>
                    <a:pt x="473" y="1081"/>
                  </a:lnTo>
                  <a:lnTo>
                    <a:pt x="495" y="1099"/>
                  </a:lnTo>
                  <a:lnTo>
                    <a:pt x="519" y="1116"/>
                  </a:lnTo>
                  <a:lnTo>
                    <a:pt x="542" y="1134"/>
                  </a:lnTo>
                  <a:lnTo>
                    <a:pt x="567" y="1151"/>
                  </a:lnTo>
                  <a:lnTo>
                    <a:pt x="592" y="1166"/>
                  </a:lnTo>
                  <a:lnTo>
                    <a:pt x="616" y="1182"/>
                  </a:lnTo>
                  <a:lnTo>
                    <a:pt x="642" y="1196"/>
                  </a:lnTo>
                  <a:lnTo>
                    <a:pt x="667" y="1211"/>
                  </a:lnTo>
                  <a:lnTo>
                    <a:pt x="693" y="1224"/>
                  </a:lnTo>
                  <a:lnTo>
                    <a:pt x="720" y="1237"/>
                  </a:lnTo>
                  <a:lnTo>
                    <a:pt x="747" y="1250"/>
                  </a:lnTo>
                  <a:lnTo>
                    <a:pt x="774" y="1262"/>
                  </a:lnTo>
                  <a:lnTo>
                    <a:pt x="801" y="1273"/>
                  </a:lnTo>
                  <a:lnTo>
                    <a:pt x="828" y="1283"/>
                  </a:lnTo>
                  <a:lnTo>
                    <a:pt x="856" y="1294"/>
                  </a:lnTo>
                  <a:lnTo>
                    <a:pt x="885" y="1304"/>
                  </a:lnTo>
                  <a:lnTo>
                    <a:pt x="914" y="1312"/>
                  </a:lnTo>
                  <a:lnTo>
                    <a:pt x="942" y="1321"/>
                  </a:lnTo>
                  <a:lnTo>
                    <a:pt x="971" y="1328"/>
                  </a:lnTo>
                  <a:lnTo>
                    <a:pt x="1001" y="1335"/>
                  </a:lnTo>
                  <a:lnTo>
                    <a:pt x="1030" y="1341"/>
                  </a:lnTo>
                  <a:lnTo>
                    <a:pt x="1061" y="1346"/>
                  </a:lnTo>
                  <a:lnTo>
                    <a:pt x="1091" y="1351"/>
                  </a:lnTo>
                  <a:lnTo>
                    <a:pt x="1121" y="1355"/>
                  </a:lnTo>
                  <a:lnTo>
                    <a:pt x="1151" y="1358"/>
                  </a:lnTo>
                  <a:lnTo>
                    <a:pt x="1182" y="1361"/>
                  </a:lnTo>
                  <a:lnTo>
                    <a:pt x="1214" y="1363"/>
                  </a:lnTo>
                  <a:lnTo>
                    <a:pt x="1245" y="1364"/>
                  </a:lnTo>
                  <a:lnTo>
                    <a:pt x="1276" y="1364"/>
                  </a:lnTo>
                  <a:lnTo>
                    <a:pt x="1281" y="1364"/>
                  </a:lnTo>
                  <a:lnTo>
                    <a:pt x="1285" y="1363"/>
                  </a:lnTo>
                  <a:lnTo>
                    <a:pt x="1290" y="1362"/>
                  </a:lnTo>
                  <a:lnTo>
                    <a:pt x="1295" y="1362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24" name="Freeform 11"/>
            <p:cNvSpPr>
              <a:spLocks noChangeAspect="1"/>
            </p:cNvSpPr>
            <p:nvPr/>
          </p:nvSpPr>
          <p:spPr bwMode="auto">
            <a:xfrm>
              <a:off x="6019190" y="2638251"/>
              <a:ext cx="1100667" cy="903287"/>
            </a:xfrm>
            <a:custGeom>
              <a:avLst/>
              <a:gdLst>
                <a:gd name="T0" fmla="*/ 0 w 1385"/>
                <a:gd name="T1" fmla="*/ 2147483647 h 1233"/>
                <a:gd name="T2" fmla="*/ 2147483647 w 1385"/>
                <a:gd name="T3" fmla="*/ 2147483647 h 1233"/>
                <a:gd name="T4" fmla="*/ 2147483647 w 1385"/>
                <a:gd name="T5" fmla="*/ 2147483647 h 1233"/>
                <a:gd name="T6" fmla="*/ 2147483647 w 1385"/>
                <a:gd name="T7" fmla="*/ 2147483647 h 1233"/>
                <a:gd name="T8" fmla="*/ 2147483647 w 1385"/>
                <a:gd name="T9" fmla="*/ 2147483647 h 1233"/>
                <a:gd name="T10" fmla="*/ 2147483647 w 1385"/>
                <a:gd name="T11" fmla="*/ 2147483647 h 1233"/>
                <a:gd name="T12" fmla="*/ 2147483647 w 1385"/>
                <a:gd name="T13" fmla="*/ 2147483647 h 1233"/>
                <a:gd name="T14" fmla="*/ 2147483647 w 1385"/>
                <a:gd name="T15" fmla="*/ 2147483647 h 1233"/>
                <a:gd name="T16" fmla="*/ 2147483647 w 1385"/>
                <a:gd name="T17" fmla="*/ 2147483647 h 1233"/>
                <a:gd name="T18" fmla="*/ 2147483647 w 1385"/>
                <a:gd name="T19" fmla="*/ 2147483647 h 1233"/>
                <a:gd name="T20" fmla="*/ 2147483647 w 1385"/>
                <a:gd name="T21" fmla="*/ 2147483647 h 1233"/>
                <a:gd name="T22" fmla="*/ 2147483647 w 1385"/>
                <a:gd name="T23" fmla="*/ 2147483647 h 1233"/>
                <a:gd name="T24" fmla="*/ 2147483647 w 1385"/>
                <a:gd name="T25" fmla="*/ 2147483647 h 1233"/>
                <a:gd name="T26" fmla="*/ 2147483647 w 1385"/>
                <a:gd name="T27" fmla="*/ 2147483647 h 1233"/>
                <a:gd name="T28" fmla="*/ 2147483647 w 1385"/>
                <a:gd name="T29" fmla="*/ 2147483647 h 1233"/>
                <a:gd name="T30" fmla="*/ 2147483647 w 1385"/>
                <a:gd name="T31" fmla="*/ 2147483647 h 1233"/>
                <a:gd name="T32" fmla="*/ 2147483647 w 1385"/>
                <a:gd name="T33" fmla="*/ 2147483647 h 1233"/>
                <a:gd name="T34" fmla="*/ 2147483647 w 1385"/>
                <a:gd name="T35" fmla="*/ 2147483647 h 1233"/>
                <a:gd name="T36" fmla="*/ 2147483647 w 1385"/>
                <a:gd name="T37" fmla="*/ 2147483647 h 1233"/>
                <a:gd name="T38" fmla="*/ 2147483647 w 1385"/>
                <a:gd name="T39" fmla="*/ 2147483647 h 1233"/>
                <a:gd name="T40" fmla="*/ 2147483647 w 1385"/>
                <a:gd name="T41" fmla="*/ 2147483647 h 1233"/>
                <a:gd name="T42" fmla="*/ 2147483647 w 1385"/>
                <a:gd name="T43" fmla="*/ 0 h 1233"/>
                <a:gd name="T44" fmla="*/ 2147483647 w 1385"/>
                <a:gd name="T45" fmla="*/ 2147483647 h 1233"/>
                <a:gd name="T46" fmla="*/ 2147483647 w 1385"/>
                <a:gd name="T47" fmla="*/ 2147483647 h 1233"/>
                <a:gd name="T48" fmla="*/ 2147483647 w 1385"/>
                <a:gd name="T49" fmla="*/ 2147483647 h 1233"/>
                <a:gd name="T50" fmla="*/ 2147483647 w 1385"/>
                <a:gd name="T51" fmla="*/ 2147483647 h 1233"/>
                <a:gd name="T52" fmla="*/ 2147483647 w 1385"/>
                <a:gd name="T53" fmla="*/ 2147483647 h 1233"/>
                <a:gd name="T54" fmla="*/ 2147483647 w 1385"/>
                <a:gd name="T55" fmla="*/ 2147483647 h 1233"/>
                <a:gd name="T56" fmla="*/ 2147483647 w 1385"/>
                <a:gd name="T57" fmla="*/ 2147483647 h 1233"/>
                <a:gd name="T58" fmla="*/ 2147483647 w 1385"/>
                <a:gd name="T59" fmla="*/ 2147483647 h 1233"/>
                <a:gd name="T60" fmla="*/ 2147483647 w 1385"/>
                <a:gd name="T61" fmla="*/ 2147483647 h 1233"/>
                <a:gd name="T62" fmla="*/ 2147483647 w 1385"/>
                <a:gd name="T63" fmla="*/ 2147483647 h 1233"/>
                <a:gd name="T64" fmla="*/ 2147483647 w 1385"/>
                <a:gd name="T65" fmla="*/ 2147483647 h 1233"/>
                <a:gd name="T66" fmla="*/ 2147483647 w 1385"/>
                <a:gd name="T67" fmla="*/ 2147483647 h 1233"/>
                <a:gd name="T68" fmla="*/ 2147483647 w 1385"/>
                <a:gd name="T69" fmla="*/ 2147483647 h 1233"/>
                <a:gd name="T70" fmla="*/ 2147483647 w 1385"/>
                <a:gd name="T71" fmla="*/ 2147483647 h 1233"/>
                <a:gd name="T72" fmla="*/ 2147483647 w 1385"/>
                <a:gd name="T73" fmla="*/ 2147483647 h 1233"/>
                <a:gd name="T74" fmla="*/ 2147483647 w 1385"/>
                <a:gd name="T75" fmla="*/ 2147483647 h 1233"/>
                <a:gd name="T76" fmla="*/ 2147483647 w 1385"/>
                <a:gd name="T77" fmla="*/ 2147483647 h 1233"/>
                <a:gd name="T78" fmla="*/ 2147483647 w 1385"/>
                <a:gd name="T79" fmla="*/ 2147483647 h 1233"/>
                <a:gd name="T80" fmla="*/ 2147483647 w 1385"/>
                <a:gd name="T81" fmla="*/ 2147483647 h 1233"/>
                <a:gd name="T82" fmla="*/ 2147483647 w 1385"/>
                <a:gd name="T83" fmla="*/ 2147483647 h 1233"/>
                <a:gd name="T84" fmla="*/ 2147483647 w 1385"/>
                <a:gd name="T85" fmla="*/ 2147483647 h 1233"/>
                <a:gd name="T86" fmla="*/ 2147483647 w 1385"/>
                <a:gd name="T87" fmla="*/ 2147483647 h 1233"/>
                <a:gd name="T88" fmla="*/ 2147483647 w 1385"/>
                <a:gd name="T89" fmla="*/ 2147483647 h 1233"/>
                <a:gd name="T90" fmla="*/ 2147483647 w 1385"/>
                <a:gd name="T91" fmla="*/ 2147483647 h 1233"/>
                <a:gd name="T92" fmla="*/ 2147483647 w 1385"/>
                <a:gd name="T93" fmla="*/ 2147483647 h 1233"/>
                <a:gd name="T94" fmla="*/ 2147483647 w 1385"/>
                <a:gd name="T95" fmla="*/ 2147483647 h 1233"/>
                <a:gd name="T96" fmla="*/ 2147483647 w 1385"/>
                <a:gd name="T97" fmla="*/ 2147483647 h 1233"/>
                <a:gd name="T98" fmla="*/ 2147483647 w 1385"/>
                <a:gd name="T99" fmla="*/ 2147483647 h 1233"/>
                <a:gd name="T100" fmla="*/ 2147483647 w 1385"/>
                <a:gd name="T101" fmla="*/ 2147483647 h 1233"/>
                <a:gd name="T102" fmla="*/ 2147483647 w 1385"/>
                <a:gd name="T103" fmla="*/ 2147483647 h 1233"/>
                <a:gd name="T104" fmla="*/ 2147483647 w 1385"/>
                <a:gd name="T105" fmla="*/ 2147483647 h 1233"/>
                <a:gd name="T106" fmla="*/ 2147483647 w 1385"/>
                <a:gd name="T107" fmla="*/ 2147483647 h 1233"/>
                <a:gd name="T108" fmla="*/ 2147483647 w 1385"/>
                <a:gd name="T109" fmla="*/ 2147483647 h 12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85"/>
                <a:gd name="T166" fmla="*/ 0 h 1233"/>
                <a:gd name="T167" fmla="*/ 1385 w 1385"/>
                <a:gd name="T168" fmla="*/ 1233 h 12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85" h="1233">
                  <a:moveTo>
                    <a:pt x="191" y="1233"/>
                  </a:moveTo>
                  <a:lnTo>
                    <a:pt x="0" y="903"/>
                  </a:lnTo>
                  <a:lnTo>
                    <a:pt x="194" y="592"/>
                  </a:lnTo>
                  <a:lnTo>
                    <a:pt x="221" y="588"/>
                  </a:lnTo>
                  <a:lnTo>
                    <a:pt x="248" y="582"/>
                  </a:lnTo>
                  <a:lnTo>
                    <a:pt x="262" y="579"/>
                  </a:lnTo>
                  <a:lnTo>
                    <a:pt x="275" y="575"/>
                  </a:lnTo>
                  <a:lnTo>
                    <a:pt x="302" y="567"/>
                  </a:lnTo>
                  <a:lnTo>
                    <a:pt x="327" y="558"/>
                  </a:lnTo>
                  <a:lnTo>
                    <a:pt x="354" y="548"/>
                  </a:lnTo>
                  <a:lnTo>
                    <a:pt x="379" y="537"/>
                  </a:lnTo>
                  <a:lnTo>
                    <a:pt x="391" y="531"/>
                  </a:lnTo>
                  <a:lnTo>
                    <a:pt x="403" y="525"/>
                  </a:lnTo>
                  <a:lnTo>
                    <a:pt x="427" y="511"/>
                  </a:lnTo>
                  <a:lnTo>
                    <a:pt x="450" y="497"/>
                  </a:lnTo>
                  <a:lnTo>
                    <a:pt x="472" y="482"/>
                  </a:lnTo>
                  <a:lnTo>
                    <a:pt x="494" y="467"/>
                  </a:lnTo>
                  <a:lnTo>
                    <a:pt x="506" y="458"/>
                  </a:lnTo>
                  <a:lnTo>
                    <a:pt x="516" y="450"/>
                  </a:lnTo>
                  <a:lnTo>
                    <a:pt x="526" y="441"/>
                  </a:lnTo>
                  <a:lnTo>
                    <a:pt x="536" y="432"/>
                  </a:lnTo>
                  <a:lnTo>
                    <a:pt x="546" y="423"/>
                  </a:lnTo>
                  <a:lnTo>
                    <a:pt x="556" y="414"/>
                  </a:lnTo>
                  <a:lnTo>
                    <a:pt x="565" y="405"/>
                  </a:lnTo>
                  <a:lnTo>
                    <a:pt x="575" y="395"/>
                  </a:lnTo>
                  <a:lnTo>
                    <a:pt x="584" y="385"/>
                  </a:lnTo>
                  <a:lnTo>
                    <a:pt x="593" y="375"/>
                  </a:lnTo>
                  <a:lnTo>
                    <a:pt x="610" y="353"/>
                  </a:lnTo>
                  <a:lnTo>
                    <a:pt x="626" y="332"/>
                  </a:lnTo>
                  <a:lnTo>
                    <a:pt x="642" y="310"/>
                  </a:lnTo>
                  <a:lnTo>
                    <a:pt x="656" y="287"/>
                  </a:lnTo>
                  <a:lnTo>
                    <a:pt x="671" y="264"/>
                  </a:lnTo>
                  <a:lnTo>
                    <a:pt x="683" y="240"/>
                  </a:lnTo>
                  <a:lnTo>
                    <a:pt x="689" y="228"/>
                  </a:lnTo>
                  <a:lnTo>
                    <a:pt x="695" y="215"/>
                  </a:lnTo>
                  <a:lnTo>
                    <a:pt x="705" y="189"/>
                  </a:lnTo>
                  <a:lnTo>
                    <a:pt x="715" y="164"/>
                  </a:lnTo>
                  <a:lnTo>
                    <a:pt x="723" y="138"/>
                  </a:lnTo>
                  <a:lnTo>
                    <a:pt x="731" y="111"/>
                  </a:lnTo>
                  <a:lnTo>
                    <a:pt x="737" y="84"/>
                  </a:lnTo>
                  <a:lnTo>
                    <a:pt x="742" y="57"/>
                  </a:lnTo>
                  <a:lnTo>
                    <a:pt x="746" y="28"/>
                  </a:lnTo>
                  <a:lnTo>
                    <a:pt x="747" y="14"/>
                  </a:lnTo>
                  <a:lnTo>
                    <a:pt x="748" y="0"/>
                  </a:lnTo>
                  <a:lnTo>
                    <a:pt x="1032" y="202"/>
                  </a:lnTo>
                  <a:lnTo>
                    <a:pt x="1385" y="4"/>
                  </a:lnTo>
                  <a:lnTo>
                    <a:pt x="1384" y="36"/>
                  </a:lnTo>
                  <a:lnTo>
                    <a:pt x="1382" y="66"/>
                  </a:lnTo>
                  <a:lnTo>
                    <a:pt x="1379" y="96"/>
                  </a:lnTo>
                  <a:lnTo>
                    <a:pt x="1375" y="126"/>
                  </a:lnTo>
                  <a:lnTo>
                    <a:pt x="1371" y="156"/>
                  </a:lnTo>
                  <a:lnTo>
                    <a:pt x="1366" y="185"/>
                  </a:lnTo>
                  <a:lnTo>
                    <a:pt x="1360" y="216"/>
                  </a:lnTo>
                  <a:lnTo>
                    <a:pt x="1354" y="245"/>
                  </a:lnTo>
                  <a:lnTo>
                    <a:pt x="1347" y="273"/>
                  </a:lnTo>
                  <a:lnTo>
                    <a:pt x="1339" y="302"/>
                  </a:lnTo>
                  <a:lnTo>
                    <a:pt x="1331" y="330"/>
                  </a:lnTo>
                  <a:lnTo>
                    <a:pt x="1322" y="359"/>
                  </a:lnTo>
                  <a:lnTo>
                    <a:pt x="1313" y="387"/>
                  </a:lnTo>
                  <a:lnTo>
                    <a:pt x="1301" y="414"/>
                  </a:lnTo>
                  <a:lnTo>
                    <a:pt x="1291" y="441"/>
                  </a:lnTo>
                  <a:lnTo>
                    <a:pt x="1279" y="468"/>
                  </a:lnTo>
                  <a:lnTo>
                    <a:pt x="1268" y="494"/>
                  </a:lnTo>
                  <a:lnTo>
                    <a:pt x="1255" y="522"/>
                  </a:lnTo>
                  <a:lnTo>
                    <a:pt x="1242" y="547"/>
                  </a:lnTo>
                  <a:lnTo>
                    <a:pt x="1228" y="573"/>
                  </a:lnTo>
                  <a:lnTo>
                    <a:pt x="1214" y="598"/>
                  </a:lnTo>
                  <a:lnTo>
                    <a:pt x="1200" y="623"/>
                  </a:lnTo>
                  <a:lnTo>
                    <a:pt x="1184" y="647"/>
                  </a:lnTo>
                  <a:lnTo>
                    <a:pt x="1169" y="671"/>
                  </a:lnTo>
                  <a:lnTo>
                    <a:pt x="1152" y="696"/>
                  </a:lnTo>
                  <a:lnTo>
                    <a:pt x="1135" y="719"/>
                  </a:lnTo>
                  <a:lnTo>
                    <a:pt x="1117" y="742"/>
                  </a:lnTo>
                  <a:lnTo>
                    <a:pt x="1099" y="764"/>
                  </a:lnTo>
                  <a:lnTo>
                    <a:pt x="1081" y="786"/>
                  </a:lnTo>
                  <a:lnTo>
                    <a:pt x="1062" y="808"/>
                  </a:lnTo>
                  <a:lnTo>
                    <a:pt x="1043" y="829"/>
                  </a:lnTo>
                  <a:lnTo>
                    <a:pt x="1023" y="851"/>
                  </a:lnTo>
                  <a:lnTo>
                    <a:pt x="1003" y="871"/>
                  </a:lnTo>
                  <a:lnTo>
                    <a:pt x="982" y="891"/>
                  </a:lnTo>
                  <a:lnTo>
                    <a:pt x="961" y="910"/>
                  </a:lnTo>
                  <a:lnTo>
                    <a:pt x="939" y="929"/>
                  </a:lnTo>
                  <a:lnTo>
                    <a:pt x="917" y="947"/>
                  </a:lnTo>
                  <a:lnTo>
                    <a:pt x="895" y="965"/>
                  </a:lnTo>
                  <a:lnTo>
                    <a:pt x="872" y="982"/>
                  </a:lnTo>
                  <a:lnTo>
                    <a:pt x="849" y="1000"/>
                  </a:lnTo>
                  <a:lnTo>
                    <a:pt x="826" y="1017"/>
                  </a:lnTo>
                  <a:lnTo>
                    <a:pt x="801" y="1032"/>
                  </a:lnTo>
                  <a:lnTo>
                    <a:pt x="776" y="1048"/>
                  </a:lnTo>
                  <a:lnTo>
                    <a:pt x="752" y="1063"/>
                  </a:lnTo>
                  <a:lnTo>
                    <a:pt x="727" y="1077"/>
                  </a:lnTo>
                  <a:lnTo>
                    <a:pt x="701" y="1090"/>
                  </a:lnTo>
                  <a:lnTo>
                    <a:pt x="676" y="1104"/>
                  </a:lnTo>
                  <a:lnTo>
                    <a:pt x="649" y="1116"/>
                  </a:lnTo>
                  <a:lnTo>
                    <a:pt x="622" y="1128"/>
                  </a:lnTo>
                  <a:lnTo>
                    <a:pt x="595" y="1139"/>
                  </a:lnTo>
                  <a:lnTo>
                    <a:pt x="568" y="1150"/>
                  </a:lnTo>
                  <a:lnTo>
                    <a:pt x="541" y="1161"/>
                  </a:lnTo>
                  <a:lnTo>
                    <a:pt x="514" y="1171"/>
                  </a:lnTo>
                  <a:lnTo>
                    <a:pt x="485" y="1180"/>
                  </a:lnTo>
                  <a:lnTo>
                    <a:pt x="456" y="1188"/>
                  </a:lnTo>
                  <a:lnTo>
                    <a:pt x="428" y="1196"/>
                  </a:lnTo>
                  <a:lnTo>
                    <a:pt x="399" y="1203"/>
                  </a:lnTo>
                  <a:lnTo>
                    <a:pt x="370" y="1209"/>
                  </a:lnTo>
                  <a:lnTo>
                    <a:pt x="340" y="1215"/>
                  </a:lnTo>
                  <a:lnTo>
                    <a:pt x="311" y="1220"/>
                  </a:lnTo>
                  <a:lnTo>
                    <a:pt x="281" y="1224"/>
                  </a:lnTo>
                  <a:lnTo>
                    <a:pt x="251" y="1228"/>
                  </a:lnTo>
                  <a:lnTo>
                    <a:pt x="221" y="1231"/>
                  </a:lnTo>
                  <a:lnTo>
                    <a:pt x="191" y="1233"/>
                  </a:lnTo>
                  <a:close/>
                </a:path>
              </a:pathLst>
            </a:custGeom>
            <a:solidFill>
              <a:schemeClr val="accent6"/>
            </a:solidFill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endParaRPr lang="es-ES" sz="2159"/>
            </a:p>
          </p:txBody>
        </p:sp>
      </p:grpSp>
      <p:sp>
        <p:nvSpPr>
          <p:cNvPr id="25" name="24 Llamada rectangular redondeada"/>
          <p:cNvSpPr/>
          <p:nvPr/>
        </p:nvSpPr>
        <p:spPr>
          <a:xfrm>
            <a:off x="8765112" y="1603672"/>
            <a:ext cx="1398963" cy="621761"/>
          </a:xfrm>
          <a:prstGeom prst="wedgeRoundRectCallout">
            <a:avLst>
              <a:gd name="adj1" fmla="val 37548"/>
              <a:gd name="adj2" fmla="val -91857"/>
              <a:gd name="adj3" fmla="val 16667"/>
            </a:avLst>
          </a:prstGeom>
          <a:solidFill>
            <a:schemeClr val="bg1"/>
          </a:solidFill>
          <a:ln w="95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79" dirty="0">
                <a:solidFill>
                  <a:schemeClr val="tx1"/>
                </a:solidFill>
              </a:rPr>
              <a:t>Mosca gris </a:t>
            </a:r>
            <a:r>
              <a:rPr lang="pt-BR" sz="1079" dirty="0" err="1">
                <a:solidFill>
                  <a:schemeClr val="tx1"/>
                </a:solidFill>
              </a:rPr>
              <a:t>con</a:t>
            </a:r>
            <a:r>
              <a:rPr lang="pt-BR" sz="1079" dirty="0">
                <a:solidFill>
                  <a:schemeClr val="tx1"/>
                </a:solidFill>
              </a:rPr>
              <a:t> parte </a:t>
            </a:r>
            <a:r>
              <a:rPr lang="pt-BR" sz="1079" dirty="0" err="1">
                <a:solidFill>
                  <a:schemeClr val="tx1"/>
                </a:solidFill>
              </a:rPr>
              <a:t>resaltada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en</a:t>
            </a:r>
            <a:r>
              <a:rPr lang="pt-BR" sz="1079" dirty="0">
                <a:solidFill>
                  <a:schemeClr val="tx1"/>
                </a:solidFill>
              </a:rPr>
              <a:t> </a:t>
            </a:r>
            <a:r>
              <a:rPr lang="pt-BR" sz="1079" dirty="0" err="1">
                <a:solidFill>
                  <a:schemeClr val="tx1"/>
                </a:solidFill>
              </a:rPr>
              <a:t>el</a:t>
            </a:r>
            <a:r>
              <a:rPr lang="pt-BR" sz="1079" dirty="0">
                <a:solidFill>
                  <a:schemeClr val="tx1"/>
                </a:solidFill>
              </a:rPr>
              <a:t> color contraste</a:t>
            </a:r>
          </a:p>
        </p:txBody>
      </p:sp>
      <p:grpSp>
        <p:nvGrpSpPr>
          <p:cNvPr id="5" name="37 Grupo"/>
          <p:cNvGrpSpPr/>
          <p:nvPr/>
        </p:nvGrpSpPr>
        <p:grpSpPr>
          <a:xfrm>
            <a:off x="559438" y="1884189"/>
            <a:ext cx="5498218" cy="2128809"/>
            <a:chOff x="317485" y="1448780"/>
            <a:chExt cx="5553168" cy="2150085"/>
          </a:xfrm>
          <a:effectLst/>
        </p:grpSpPr>
        <p:sp>
          <p:nvSpPr>
            <p:cNvPr id="26" name="AutoShape 4"/>
            <p:cNvSpPr>
              <a:spLocks noChangeArrowheads="1"/>
            </p:cNvSpPr>
            <p:nvPr/>
          </p:nvSpPr>
          <p:spPr bwMode="gray">
            <a:xfrm>
              <a:off x="443419" y="3017840"/>
              <a:ext cx="2399683" cy="581025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s-ES" sz="1187">
                  <a:solidFill>
                    <a:schemeClr val="bg1"/>
                  </a:solidFill>
                </a:rPr>
                <a:t>El color contraste resalta y da vida a la página</a:t>
              </a:r>
            </a:p>
          </p:txBody>
        </p:sp>
        <p:sp>
          <p:nvSpPr>
            <p:cNvPr id="27" name="AutoShape 5"/>
            <p:cNvSpPr>
              <a:spLocks noChangeArrowheads="1"/>
            </p:cNvSpPr>
            <p:nvPr/>
          </p:nvSpPr>
          <p:spPr bwMode="gray">
            <a:xfrm>
              <a:off x="443419" y="2303465"/>
              <a:ext cx="2399683" cy="581025"/>
            </a:xfrm>
            <a:prstGeom prst="rect">
              <a:avLst/>
            </a:prstGeom>
            <a:solidFill>
              <a:schemeClr val="accent4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r>
                <a:rPr lang="es-ES" sz="1187">
                  <a:solidFill>
                    <a:schemeClr val="bg1"/>
                  </a:solidFill>
                </a:rPr>
                <a:t>Pueden tener sombra</a:t>
              </a:r>
            </a:p>
          </p:txBody>
        </p:sp>
        <p:sp>
          <p:nvSpPr>
            <p:cNvPr id="28" name="AutoShape 6"/>
            <p:cNvSpPr>
              <a:spLocks noChangeArrowheads="1"/>
            </p:cNvSpPr>
            <p:nvPr/>
          </p:nvSpPr>
          <p:spPr bwMode="gray">
            <a:xfrm>
              <a:off x="443419" y="1589090"/>
              <a:ext cx="2399683" cy="581025"/>
            </a:xfrm>
            <a:prstGeom prst="rect">
              <a:avLst/>
            </a:prstGeom>
            <a:solidFill>
              <a:schemeClr val="accent5"/>
            </a:solidFill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es-ES" sz="1187">
                  <a:solidFill>
                    <a:srgbClr val="FFFFFF"/>
                  </a:solidFill>
                </a:rPr>
                <a:t>Si tienen relleno, las formas no tienen contorno</a:t>
              </a:r>
            </a:p>
          </p:txBody>
        </p:sp>
        <p:sp>
          <p:nvSpPr>
            <p:cNvPr id="29" name="AutoShape 16"/>
            <p:cNvSpPr>
              <a:spLocks noChangeArrowheads="1"/>
            </p:cNvSpPr>
            <p:nvPr/>
          </p:nvSpPr>
          <p:spPr bwMode="gray">
            <a:xfrm rot="5400000">
              <a:off x="4214075" y="1904186"/>
              <a:ext cx="533400" cy="2779756"/>
            </a:xfrm>
            <a:prstGeom prst="homePlate">
              <a:avLst>
                <a:gd name="adj" fmla="val 25000"/>
              </a:avLst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r>
                <a:rPr lang="es-ES" sz="1187">
                  <a:solidFill>
                    <a:schemeClr val="bg1"/>
                  </a:solidFill>
                </a:rPr>
                <a:t>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17"/>
            <p:cNvSpPr>
              <a:spLocks noChangeArrowheads="1"/>
            </p:cNvSpPr>
            <p:nvPr/>
          </p:nvSpPr>
          <p:spPr bwMode="gray">
            <a:xfrm rot="5400000">
              <a:off x="4214075" y="1180285"/>
              <a:ext cx="533400" cy="2779756"/>
            </a:xfrm>
            <a:prstGeom prst="homePlate">
              <a:avLst>
                <a:gd name="adj" fmla="val 25000"/>
              </a:avLst>
            </a:prstGeom>
            <a:solidFill>
              <a:schemeClr val="accent4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rot="10800000" vert="eaVert" wrap="none" anchor="ctr"/>
            <a:lstStyle/>
            <a:p>
              <a:pPr algn="ctr"/>
              <a:r>
                <a:rPr lang="es-ES" sz="1187">
                  <a:solidFill>
                    <a:schemeClr val="bg1"/>
                  </a:solidFill>
                </a:rPr>
                <a:t>XXX</a:t>
              </a:r>
              <a:endParaRPr lang="es-ES" sz="1187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18"/>
            <p:cNvSpPr>
              <a:spLocks noChangeArrowheads="1"/>
            </p:cNvSpPr>
            <p:nvPr/>
          </p:nvSpPr>
          <p:spPr bwMode="gray">
            <a:xfrm rot="5400000">
              <a:off x="4214075" y="465911"/>
              <a:ext cx="533400" cy="2779756"/>
            </a:xfrm>
            <a:prstGeom prst="homePlate">
              <a:avLst>
                <a:gd name="adj" fmla="val 25000"/>
              </a:avLst>
            </a:prstGeom>
            <a:solidFill>
              <a:schemeClr val="accent5"/>
            </a:solidFill>
            <a:ln w="9525" algn="ctr">
              <a:noFill/>
              <a:miter lim="800000"/>
              <a:headEnd/>
              <a:tailEnd/>
            </a:ln>
          </p:spPr>
          <p:txBody>
            <a:bodyPr rot="10800000" vert="eaVert" wrap="none" anchor="ctr"/>
            <a:lstStyle/>
            <a:p>
              <a:pPr algn="ctr"/>
              <a:r>
                <a:rPr lang="es-ES" sz="1187">
                  <a:solidFill>
                    <a:srgbClr val="FFFFFF"/>
                  </a:solidFill>
                </a:rPr>
                <a:t>XXX</a:t>
              </a:r>
              <a:endParaRPr lang="es-ES" sz="1187" dirty="0">
                <a:solidFill>
                  <a:srgbClr val="FFFFFF"/>
                </a:solidFill>
              </a:endParaRPr>
            </a:p>
          </p:txBody>
        </p:sp>
        <p:sp>
          <p:nvSpPr>
            <p:cNvPr id="32" name="Oval 63"/>
            <p:cNvSpPr/>
            <p:nvPr/>
          </p:nvSpPr>
          <p:spPr>
            <a:xfrm>
              <a:off x="2972780" y="1448780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5"/>
                  </a:solidFill>
                </a:rPr>
                <a:t>1</a:t>
              </a:r>
            </a:p>
          </p:txBody>
        </p:sp>
        <p:sp>
          <p:nvSpPr>
            <p:cNvPr id="33" name="Oval 64"/>
            <p:cNvSpPr/>
            <p:nvPr/>
          </p:nvSpPr>
          <p:spPr>
            <a:xfrm>
              <a:off x="317485" y="1448780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5"/>
                  </a:solidFill>
                </a:rPr>
                <a:t>1</a:t>
              </a:r>
            </a:p>
          </p:txBody>
        </p:sp>
        <p:sp>
          <p:nvSpPr>
            <p:cNvPr id="34" name="Oval 65"/>
            <p:cNvSpPr/>
            <p:nvPr/>
          </p:nvSpPr>
          <p:spPr>
            <a:xfrm>
              <a:off x="2972780" y="2168860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5" name="Oval 66"/>
            <p:cNvSpPr/>
            <p:nvPr/>
          </p:nvSpPr>
          <p:spPr>
            <a:xfrm>
              <a:off x="317485" y="2168860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6" name="Oval 67"/>
            <p:cNvSpPr/>
            <p:nvPr/>
          </p:nvSpPr>
          <p:spPr>
            <a:xfrm>
              <a:off x="2972780" y="2933945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1"/>
                  </a:solidFill>
                </a:rPr>
                <a:t>3</a:t>
              </a:r>
            </a:p>
          </p:txBody>
        </p:sp>
        <p:sp>
          <p:nvSpPr>
            <p:cNvPr id="37" name="Oval 68"/>
            <p:cNvSpPr/>
            <p:nvPr/>
          </p:nvSpPr>
          <p:spPr>
            <a:xfrm>
              <a:off x="317485" y="2933945"/>
              <a:ext cx="315035" cy="31503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727" b="1">
                  <a:solidFill>
                    <a:schemeClr val="accent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9223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553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altLang="zh-CN" dirty="0" err="1" smtClean="0"/>
              <a:t>Edificio</a:t>
            </a:r>
            <a:r>
              <a:rPr lang="pt-BR" altLang="zh-CN" dirty="0" smtClean="0"/>
              <a:t> pilares</a:t>
            </a:r>
            <a:endParaRPr lang="pt-BR" altLang="zh-CN" dirty="0"/>
          </a:p>
        </p:txBody>
      </p:sp>
      <p:sp>
        <p:nvSpPr>
          <p:cNvPr id="11" name="10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/>
          </a:p>
        </p:txBody>
      </p:sp>
      <p:sp>
        <p:nvSpPr>
          <p:cNvPr id="1004557" name="AutoShape 13"/>
          <p:cNvSpPr>
            <a:spLocks noChangeArrowheads="1"/>
          </p:cNvSpPr>
          <p:nvPr/>
        </p:nvSpPr>
        <p:spPr bwMode="auto">
          <a:xfrm>
            <a:off x="1094883" y="1266234"/>
            <a:ext cx="8538029" cy="1192548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algn="ctr" defTabSz="1055447"/>
            <a:r>
              <a:rPr lang="pt-BR" altLang="zh-CN" sz="1727">
                <a:ea typeface="宋体" pitchFamily="2" charset="-122"/>
              </a:rPr>
              <a:t>Texto</a:t>
            </a:r>
            <a:endParaRPr lang="pt-BR" altLang="zh-CN" sz="1727" dirty="0">
              <a:ea typeface="宋体" pitchFamily="2" charset="-122"/>
            </a:endParaRP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1293641" y="5635037"/>
            <a:ext cx="8140512" cy="932107"/>
            <a:chOff x="683" y="3191"/>
            <a:chExt cx="4298" cy="579"/>
          </a:xfrm>
          <a:solidFill>
            <a:schemeClr val="accent6"/>
          </a:solidFill>
        </p:grpSpPr>
        <p:sp>
          <p:nvSpPr>
            <p:cNvPr id="1004559" name="Rectangle 15"/>
            <p:cNvSpPr>
              <a:spLocks noChangeArrowheads="1"/>
            </p:cNvSpPr>
            <p:nvPr/>
          </p:nvSpPr>
          <p:spPr bwMode="auto">
            <a:xfrm>
              <a:off x="749" y="3191"/>
              <a:ext cx="4168" cy="291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s-ES" sz="1511"/>
                <a:t>Texto</a:t>
              </a:r>
              <a:endParaRPr lang="es-ES" sz="1511" dirty="0"/>
            </a:p>
          </p:txBody>
        </p:sp>
        <p:sp>
          <p:nvSpPr>
            <p:cNvPr id="1004560" name="Rectangle 16"/>
            <p:cNvSpPr>
              <a:spLocks noChangeArrowheads="1"/>
            </p:cNvSpPr>
            <p:nvPr/>
          </p:nvSpPr>
          <p:spPr bwMode="auto">
            <a:xfrm>
              <a:off x="683" y="3479"/>
              <a:ext cx="4298" cy="291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s-ES" sz="1511"/>
                <a:t>Texto</a:t>
              </a:r>
              <a:endParaRPr lang="es-ES" sz="1511" dirty="0"/>
            </a:p>
          </p:txBody>
        </p:sp>
      </p:grpSp>
      <p:sp>
        <p:nvSpPr>
          <p:cNvPr id="1004556" name="Rectangle 12"/>
          <p:cNvSpPr>
            <a:spLocks noChangeArrowheads="1"/>
          </p:cNvSpPr>
          <p:nvPr/>
        </p:nvSpPr>
        <p:spPr bwMode="auto">
          <a:xfrm>
            <a:off x="1857360" y="2458782"/>
            <a:ext cx="7014789" cy="466053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pt-BR" sz="1511"/>
              <a:t>Texto</a:t>
            </a:r>
            <a:endParaRPr lang="pt-BR" sz="1511" dirty="0"/>
          </a:p>
        </p:txBody>
      </p:sp>
      <p:sp>
        <p:nvSpPr>
          <p:cNvPr id="27" name="12 Marcador de texto"/>
          <p:cNvSpPr txBox="1">
            <a:spLocks/>
          </p:cNvSpPr>
          <p:nvPr/>
        </p:nvSpPr>
        <p:spPr>
          <a:xfrm>
            <a:off x="4430934" y="2924836"/>
            <a:ext cx="1829945" cy="271064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05493" tIns="52747" rIns="105493" bIns="52747" rtlCol="0" anchor="ctr">
            <a:normAutofit/>
          </a:bodyPr>
          <a:lstStyle/>
          <a:p>
            <a:pPr algn="ctr" defTabSz="1055447">
              <a:spcBef>
                <a:spcPct val="20000"/>
              </a:spcBef>
              <a:defRPr/>
            </a:pPr>
            <a:r>
              <a:rPr lang="pt-BR" altLang="zh-CN" sz="1295">
                <a:ea typeface="宋体" pitchFamily="2" charset="-122"/>
              </a:rPr>
              <a:t>Texto </a:t>
            </a:r>
            <a:endParaRPr lang="pt-BR" altLang="zh-CN" sz="1295" dirty="0">
              <a:ea typeface="宋体" pitchFamily="2" charset="-122"/>
            </a:endParaRPr>
          </a:p>
        </p:txBody>
      </p:sp>
      <p:sp>
        <p:nvSpPr>
          <p:cNvPr id="28" name="12 Marcador de texto"/>
          <p:cNvSpPr txBox="1">
            <a:spLocks/>
          </p:cNvSpPr>
          <p:nvPr/>
        </p:nvSpPr>
        <p:spPr>
          <a:xfrm>
            <a:off x="2159379" y="2924836"/>
            <a:ext cx="1829945" cy="271064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05493" tIns="52747" rIns="105493" bIns="52747" rtlCol="0" anchor="ctr">
            <a:normAutofit/>
          </a:bodyPr>
          <a:lstStyle/>
          <a:p>
            <a:pPr algn="ctr" defTabSz="1055447">
              <a:spcBef>
                <a:spcPct val="20000"/>
              </a:spcBef>
              <a:defRPr/>
            </a:pPr>
            <a:r>
              <a:rPr lang="pt-BR" altLang="zh-CN" sz="1295">
                <a:ea typeface="宋体" pitchFamily="2" charset="-122"/>
              </a:rPr>
              <a:t>Texto </a:t>
            </a:r>
            <a:endParaRPr lang="pt-BR" altLang="zh-CN" sz="1295" dirty="0">
              <a:ea typeface="宋体" pitchFamily="2" charset="-122"/>
            </a:endParaRPr>
          </a:p>
        </p:txBody>
      </p:sp>
      <p:sp>
        <p:nvSpPr>
          <p:cNvPr id="29" name="11 Marcador de texto"/>
          <p:cNvSpPr txBox="1">
            <a:spLocks/>
          </p:cNvSpPr>
          <p:nvPr/>
        </p:nvSpPr>
        <p:spPr>
          <a:xfrm>
            <a:off x="6744869" y="2924836"/>
            <a:ext cx="1829945" cy="271064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05493" tIns="52747" rIns="105493" bIns="52747" rtlCol="0" anchor="ctr">
            <a:normAutofit/>
          </a:bodyPr>
          <a:lstStyle/>
          <a:p>
            <a:pPr algn="ctr" defTabSz="1055447">
              <a:spcBef>
                <a:spcPct val="20000"/>
              </a:spcBef>
              <a:defRPr/>
            </a:pPr>
            <a:r>
              <a:rPr lang="pt-BR" altLang="zh-CN" sz="1295">
                <a:ea typeface="宋体" pitchFamily="2" charset="-122"/>
              </a:rPr>
              <a:t>Texto</a:t>
            </a:r>
            <a:endParaRPr lang="pt-BR" altLang="zh-CN" sz="1295" dirty="0"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4615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06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altLang="zh-CN" dirty="0" smtClean="0">
                <a:ea typeface="宋体" pitchFamily="2" charset="-122"/>
              </a:rPr>
              <a:t>Báscula</a:t>
            </a:r>
            <a:endParaRPr lang="pt-BR" altLang="zh-CN" dirty="0">
              <a:ea typeface="宋体" pitchFamily="2" charset="-122"/>
            </a:endParaRPr>
          </a:p>
        </p:txBody>
      </p:sp>
      <p:sp>
        <p:nvSpPr>
          <p:cNvPr id="32" name="31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 smtClean="0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1542088" y="4811347"/>
            <a:ext cx="7580221" cy="2128285"/>
            <a:chOff x="1451" y="2372"/>
            <a:chExt cx="3789" cy="1409"/>
          </a:xfrm>
          <a:solidFill>
            <a:schemeClr val="accent1"/>
          </a:solidFill>
        </p:grpSpPr>
        <p:sp>
          <p:nvSpPr>
            <p:cNvPr id="1010694" name="Line 6"/>
            <p:cNvSpPr>
              <a:spLocks noChangeShapeType="1"/>
            </p:cNvSpPr>
            <p:nvPr/>
          </p:nvSpPr>
          <p:spPr bwMode="auto">
            <a:xfrm>
              <a:off x="2903" y="3676"/>
              <a:ext cx="1088" cy="0"/>
            </a:xfrm>
            <a:prstGeom prst="line">
              <a:avLst/>
            </a:prstGeom>
            <a:grp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010695" name="AutoShape 7"/>
            <p:cNvSpPr>
              <a:spLocks noChangeArrowheads="1"/>
            </p:cNvSpPr>
            <p:nvPr/>
          </p:nvSpPr>
          <p:spPr bwMode="auto">
            <a:xfrm rot="20460000">
              <a:off x="3387" y="3046"/>
              <a:ext cx="1352" cy="74"/>
            </a:xfrm>
            <a:prstGeom prst="roundRect">
              <a:avLst>
                <a:gd name="adj" fmla="val 40903"/>
              </a:avLst>
            </a:prstGeom>
            <a:grp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010696" name="AutoShape 8"/>
            <p:cNvSpPr>
              <a:spLocks noChangeArrowheads="1"/>
            </p:cNvSpPr>
            <p:nvPr/>
          </p:nvSpPr>
          <p:spPr bwMode="auto">
            <a:xfrm>
              <a:off x="2124" y="3267"/>
              <a:ext cx="1343" cy="74"/>
            </a:xfrm>
            <a:prstGeom prst="roundRect">
              <a:avLst>
                <a:gd name="adj" fmla="val 40903"/>
              </a:avLst>
            </a:prstGeom>
            <a:grpFill/>
            <a:ln w="9525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010697" name="Freeform 9"/>
            <p:cNvSpPr>
              <a:spLocks/>
            </p:cNvSpPr>
            <p:nvPr/>
          </p:nvSpPr>
          <p:spPr bwMode="auto">
            <a:xfrm>
              <a:off x="1992" y="2999"/>
              <a:ext cx="203" cy="337"/>
            </a:xfrm>
            <a:custGeom>
              <a:avLst/>
              <a:gdLst/>
              <a:ahLst/>
              <a:cxnLst>
                <a:cxn ang="0">
                  <a:pos x="70" y="16"/>
                </a:cxn>
                <a:cxn ang="0">
                  <a:pos x="189" y="271"/>
                </a:cxn>
                <a:cxn ang="0">
                  <a:pos x="201" y="294"/>
                </a:cxn>
                <a:cxn ang="0">
                  <a:pos x="202" y="306"/>
                </a:cxn>
                <a:cxn ang="0">
                  <a:pos x="194" y="322"/>
                </a:cxn>
                <a:cxn ang="0">
                  <a:pos x="175" y="336"/>
                </a:cxn>
                <a:cxn ang="0">
                  <a:pos x="157" y="336"/>
                </a:cxn>
                <a:cxn ang="0">
                  <a:pos x="141" y="331"/>
                </a:cxn>
                <a:cxn ang="0">
                  <a:pos x="132" y="322"/>
                </a:cxn>
                <a:cxn ang="0">
                  <a:pos x="124" y="314"/>
                </a:cxn>
                <a:cxn ang="0">
                  <a:pos x="0" y="39"/>
                </a:cxn>
                <a:cxn ang="0">
                  <a:pos x="0" y="24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23" y="0"/>
                </a:cxn>
                <a:cxn ang="0">
                  <a:pos x="39" y="0"/>
                </a:cxn>
                <a:cxn ang="0">
                  <a:pos x="47" y="0"/>
                </a:cxn>
                <a:cxn ang="0">
                  <a:pos x="62" y="8"/>
                </a:cxn>
                <a:cxn ang="0">
                  <a:pos x="70" y="16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698" name="Freeform 10"/>
            <p:cNvSpPr>
              <a:spLocks/>
            </p:cNvSpPr>
            <p:nvPr/>
          </p:nvSpPr>
          <p:spPr bwMode="auto">
            <a:xfrm>
              <a:off x="4626" y="2528"/>
              <a:ext cx="78" cy="366"/>
            </a:xfrm>
            <a:custGeom>
              <a:avLst/>
              <a:gdLst/>
              <a:ahLst/>
              <a:cxnLst>
                <a:cxn ang="0">
                  <a:pos x="0" y="316"/>
                </a:cxn>
                <a:cxn ang="0">
                  <a:pos x="0" y="47"/>
                </a:cxn>
                <a:cxn ang="0">
                  <a:pos x="9" y="24"/>
                </a:cxn>
                <a:cxn ang="0">
                  <a:pos x="17" y="8"/>
                </a:cxn>
                <a:cxn ang="0">
                  <a:pos x="24" y="0"/>
                </a:cxn>
                <a:cxn ang="0">
                  <a:pos x="39" y="0"/>
                </a:cxn>
                <a:cxn ang="0">
                  <a:pos x="61" y="8"/>
                </a:cxn>
                <a:cxn ang="0">
                  <a:pos x="69" y="16"/>
                </a:cxn>
                <a:cxn ang="0">
                  <a:pos x="76" y="24"/>
                </a:cxn>
                <a:cxn ang="0">
                  <a:pos x="76" y="39"/>
                </a:cxn>
                <a:cxn ang="0">
                  <a:pos x="77" y="316"/>
                </a:cxn>
                <a:cxn ang="0">
                  <a:pos x="77" y="344"/>
                </a:cxn>
                <a:cxn ang="0">
                  <a:pos x="71" y="356"/>
                </a:cxn>
                <a:cxn ang="0">
                  <a:pos x="60" y="362"/>
                </a:cxn>
                <a:cxn ang="0">
                  <a:pos x="50" y="365"/>
                </a:cxn>
                <a:cxn ang="0">
                  <a:pos x="35" y="365"/>
                </a:cxn>
                <a:cxn ang="0">
                  <a:pos x="24" y="364"/>
                </a:cxn>
                <a:cxn ang="0">
                  <a:pos x="15" y="361"/>
                </a:cxn>
                <a:cxn ang="0">
                  <a:pos x="9" y="356"/>
                </a:cxn>
                <a:cxn ang="0">
                  <a:pos x="2" y="343"/>
                </a:cxn>
                <a:cxn ang="0">
                  <a:pos x="0" y="316"/>
                </a:cxn>
              </a:cxnLst>
              <a:rect l="0" t="0" r="r" b="b"/>
              <a:pathLst>
                <a:path w="78" h="366">
                  <a:moveTo>
                    <a:pt x="0" y="316"/>
                  </a:moveTo>
                  <a:lnTo>
                    <a:pt x="0" y="47"/>
                  </a:lnTo>
                  <a:lnTo>
                    <a:pt x="9" y="24"/>
                  </a:lnTo>
                  <a:lnTo>
                    <a:pt x="17" y="8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61" y="8"/>
                  </a:lnTo>
                  <a:lnTo>
                    <a:pt x="69" y="16"/>
                  </a:lnTo>
                  <a:lnTo>
                    <a:pt x="76" y="24"/>
                  </a:lnTo>
                  <a:lnTo>
                    <a:pt x="76" y="39"/>
                  </a:lnTo>
                  <a:lnTo>
                    <a:pt x="77" y="316"/>
                  </a:lnTo>
                  <a:lnTo>
                    <a:pt x="77" y="344"/>
                  </a:lnTo>
                  <a:lnTo>
                    <a:pt x="71" y="356"/>
                  </a:lnTo>
                  <a:lnTo>
                    <a:pt x="60" y="362"/>
                  </a:lnTo>
                  <a:lnTo>
                    <a:pt x="50" y="365"/>
                  </a:lnTo>
                  <a:lnTo>
                    <a:pt x="35" y="365"/>
                  </a:lnTo>
                  <a:lnTo>
                    <a:pt x="24" y="364"/>
                  </a:lnTo>
                  <a:lnTo>
                    <a:pt x="15" y="361"/>
                  </a:lnTo>
                  <a:lnTo>
                    <a:pt x="9" y="356"/>
                  </a:lnTo>
                  <a:lnTo>
                    <a:pt x="2" y="343"/>
                  </a:lnTo>
                  <a:lnTo>
                    <a:pt x="0" y="316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699" name="Freeform 11"/>
            <p:cNvSpPr>
              <a:spLocks/>
            </p:cNvSpPr>
            <p:nvPr/>
          </p:nvSpPr>
          <p:spPr bwMode="auto">
            <a:xfrm>
              <a:off x="3162" y="3438"/>
              <a:ext cx="876" cy="337"/>
            </a:xfrm>
            <a:custGeom>
              <a:avLst/>
              <a:gdLst/>
              <a:ahLst/>
              <a:cxnLst>
                <a:cxn ang="0">
                  <a:pos x="0" y="336"/>
                </a:cxn>
                <a:cxn ang="0">
                  <a:pos x="875" y="336"/>
                </a:cxn>
                <a:cxn ang="0">
                  <a:pos x="875" y="223"/>
                </a:cxn>
                <a:cxn ang="0">
                  <a:pos x="827" y="224"/>
                </a:cxn>
                <a:cxn ang="0">
                  <a:pos x="788" y="176"/>
                </a:cxn>
                <a:cxn ang="0">
                  <a:pos x="773" y="136"/>
                </a:cxn>
                <a:cxn ang="0">
                  <a:pos x="591" y="103"/>
                </a:cxn>
                <a:cxn ang="0">
                  <a:pos x="504" y="0"/>
                </a:cxn>
                <a:cxn ang="0">
                  <a:pos x="336" y="0"/>
                </a:cxn>
                <a:cxn ang="0">
                  <a:pos x="260" y="4"/>
                </a:cxn>
              </a:cxnLst>
              <a:rect l="0" t="0" r="r" b="b"/>
              <a:pathLst>
                <a:path w="876" h="337">
                  <a:moveTo>
                    <a:pt x="0" y="336"/>
                  </a:moveTo>
                  <a:lnTo>
                    <a:pt x="875" y="336"/>
                  </a:lnTo>
                  <a:lnTo>
                    <a:pt x="875" y="223"/>
                  </a:lnTo>
                  <a:lnTo>
                    <a:pt x="827" y="224"/>
                  </a:lnTo>
                  <a:lnTo>
                    <a:pt x="788" y="176"/>
                  </a:lnTo>
                  <a:lnTo>
                    <a:pt x="773" y="136"/>
                  </a:lnTo>
                  <a:lnTo>
                    <a:pt x="591" y="103"/>
                  </a:lnTo>
                  <a:lnTo>
                    <a:pt x="504" y="0"/>
                  </a:lnTo>
                  <a:lnTo>
                    <a:pt x="336" y="0"/>
                  </a:lnTo>
                  <a:lnTo>
                    <a:pt x="260" y="4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0" name="Freeform 12"/>
            <p:cNvSpPr>
              <a:spLocks/>
            </p:cNvSpPr>
            <p:nvPr/>
          </p:nvSpPr>
          <p:spPr bwMode="auto">
            <a:xfrm>
              <a:off x="2866" y="3260"/>
              <a:ext cx="873" cy="521"/>
            </a:xfrm>
            <a:custGeom>
              <a:avLst/>
              <a:gdLst/>
              <a:ahLst/>
              <a:cxnLst>
                <a:cxn ang="0">
                  <a:pos x="872" y="520"/>
                </a:cxn>
                <a:cxn ang="0">
                  <a:pos x="0" y="520"/>
                </a:cxn>
                <a:cxn ang="0">
                  <a:pos x="0" y="406"/>
                </a:cxn>
                <a:cxn ang="0">
                  <a:pos x="47" y="406"/>
                </a:cxn>
                <a:cxn ang="0">
                  <a:pos x="86" y="362"/>
                </a:cxn>
                <a:cxn ang="0">
                  <a:pos x="104" y="316"/>
                </a:cxn>
                <a:cxn ang="0">
                  <a:pos x="274" y="291"/>
                </a:cxn>
                <a:cxn ang="0">
                  <a:pos x="370" y="186"/>
                </a:cxn>
                <a:cxn ang="0">
                  <a:pos x="530" y="186"/>
                </a:cxn>
                <a:cxn ang="0">
                  <a:pos x="530" y="84"/>
                </a:cxn>
                <a:cxn ang="0">
                  <a:pos x="544" y="67"/>
                </a:cxn>
                <a:cxn ang="0">
                  <a:pos x="544" y="22"/>
                </a:cxn>
                <a:cxn ang="0">
                  <a:pos x="578" y="0"/>
                </a:cxn>
                <a:cxn ang="0">
                  <a:pos x="613" y="18"/>
                </a:cxn>
                <a:cxn ang="0">
                  <a:pos x="613" y="69"/>
                </a:cxn>
                <a:cxn ang="0">
                  <a:pos x="629" y="84"/>
                </a:cxn>
                <a:cxn ang="0">
                  <a:pos x="629" y="183"/>
                </a:cxn>
                <a:cxn ang="0">
                  <a:pos x="638" y="185"/>
                </a:cxn>
              </a:cxnLst>
              <a:rect l="0" t="0" r="r" b="b"/>
              <a:pathLst>
                <a:path w="873" h="521">
                  <a:moveTo>
                    <a:pt x="872" y="520"/>
                  </a:moveTo>
                  <a:lnTo>
                    <a:pt x="0" y="520"/>
                  </a:lnTo>
                  <a:lnTo>
                    <a:pt x="0" y="406"/>
                  </a:lnTo>
                  <a:lnTo>
                    <a:pt x="47" y="406"/>
                  </a:lnTo>
                  <a:lnTo>
                    <a:pt x="86" y="362"/>
                  </a:lnTo>
                  <a:lnTo>
                    <a:pt x="104" y="316"/>
                  </a:lnTo>
                  <a:lnTo>
                    <a:pt x="274" y="291"/>
                  </a:lnTo>
                  <a:lnTo>
                    <a:pt x="370" y="186"/>
                  </a:lnTo>
                  <a:lnTo>
                    <a:pt x="530" y="186"/>
                  </a:lnTo>
                  <a:lnTo>
                    <a:pt x="530" y="84"/>
                  </a:lnTo>
                  <a:lnTo>
                    <a:pt x="544" y="67"/>
                  </a:lnTo>
                  <a:lnTo>
                    <a:pt x="544" y="22"/>
                  </a:lnTo>
                  <a:lnTo>
                    <a:pt x="578" y="0"/>
                  </a:lnTo>
                  <a:lnTo>
                    <a:pt x="613" y="18"/>
                  </a:lnTo>
                  <a:lnTo>
                    <a:pt x="613" y="69"/>
                  </a:lnTo>
                  <a:lnTo>
                    <a:pt x="629" y="84"/>
                  </a:lnTo>
                  <a:lnTo>
                    <a:pt x="629" y="183"/>
                  </a:lnTo>
                  <a:lnTo>
                    <a:pt x="638" y="185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1" name="Freeform 13"/>
            <p:cNvSpPr>
              <a:spLocks/>
            </p:cNvSpPr>
            <p:nvPr/>
          </p:nvSpPr>
          <p:spPr bwMode="auto">
            <a:xfrm>
              <a:off x="1454" y="2841"/>
              <a:ext cx="867" cy="211"/>
            </a:xfrm>
            <a:custGeom>
              <a:avLst/>
              <a:gdLst/>
              <a:ahLst/>
              <a:cxnLst>
                <a:cxn ang="0">
                  <a:pos x="659" y="0"/>
                </a:cxn>
                <a:cxn ang="0">
                  <a:pos x="405" y="0"/>
                </a:cxn>
                <a:cxn ang="0">
                  <a:pos x="215" y="0"/>
                </a:cxn>
                <a:cxn ang="0">
                  <a:pos x="79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39"/>
                </a:cxn>
                <a:cxn ang="0">
                  <a:pos x="16" y="47"/>
                </a:cxn>
                <a:cxn ang="0">
                  <a:pos x="40" y="47"/>
                </a:cxn>
                <a:cxn ang="0">
                  <a:pos x="56" y="54"/>
                </a:cxn>
                <a:cxn ang="0">
                  <a:pos x="79" y="70"/>
                </a:cxn>
                <a:cxn ang="0">
                  <a:pos x="103" y="86"/>
                </a:cxn>
                <a:cxn ang="0">
                  <a:pos x="119" y="93"/>
                </a:cxn>
                <a:cxn ang="0">
                  <a:pos x="143" y="93"/>
                </a:cxn>
                <a:cxn ang="0">
                  <a:pos x="167" y="93"/>
                </a:cxn>
                <a:cxn ang="0">
                  <a:pos x="199" y="93"/>
                </a:cxn>
                <a:cxn ang="0">
                  <a:pos x="230" y="93"/>
                </a:cxn>
                <a:cxn ang="0">
                  <a:pos x="262" y="93"/>
                </a:cxn>
                <a:cxn ang="0">
                  <a:pos x="286" y="101"/>
                </a:cxn>
                <a:cxn ang="0">
                  <a:pos x="302" y="109"/>
                </a:cxn>
                <a:cxn ang="0">
                  <a:pos x="326" y="109"/>
                </a:cxn>
                <a:cxn ang="0">
                  <a:pos x="334" y="124"/>
                </a:cxn>
                <a:cxn ang="0">
                  <a:pos x="358" y="132"/>
                </a:cxn>
                <a:cxn ang="0">
                  <a:pos x="373" y="140"/>
                </a:cxn>
                <a:cxn ang="0">
                  <a:pos x="397" y="140"/>
                </a:cxn>
                <a:cxn ang="0">
                  <a:pos x="421" y="140"/>
                </a:cxn>
                <a:cxn ang="0">
                  <a:pos x="453" y="140"/>
                </a:cxn>
                <a:cxn ang="0">
                  <a:pos x="477" y="140"/>
                </a:cxn>
                <a:cxn ang="0">
                  <a:pos x="501" y="140"/>
                </a:cxn>
                <a:cxn ang="0">
                  <a:pos x="524" y="140"/>
                </a:cxn>
                <a:cxn ang="0">
                  <a:pos x="524" y="163"/>
                </a:cxn>
                <a:cxn ang="0">
                  <a:pos x="524" y="187"/>
                </a:cxn>
                <a:cxn ang="0">
                  <a:pos x="540" y="202"/>
                </a:cxn>
                <a:cxn ang="0">
                  <a:pos x="556" y="210"/>
                </a:cxn>
                <a:cxn ang="0">
                  <a:pos x="580" y="210"/>
                </a:cxn>
                <a:cxn ang="0">
                  <a:pos x="604" y="202"/>
                </a:cxn>
                <a:cxn ang="0">
                  <a:pos x="620" y="187"/>
                </a:cxn>
                <a:cxn ang="0">
                  <a:pos x="620" y="163"/>
                </a:cxn>
                <a:cxn ang="0">
                  <a:pos x="620" y="140"/>
                </a:cxn>
                <a:cxn ang="0">
                  <a:pos x="644" y="140"/>
                </a:cxn>
                <a:cxn ang="0">
                  <a:pos x="667" y="140"/>
                </a:cxn>
                <a:cxn ang="0">
                  <a:pos x="691" y="140"/>
                </a:cxn>
                <a:cxn ang="0">
                  <a:pos x="866" y="0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2" name="Freeform 14"/>
            <p:cNvSpPr>
              <a:spLocks/>
            </p:cNvSpPr>
            <p:nvPr/>
          </p:nvSpPr>
          <p:spPr bwMode="auto">
            <a:xfrm>
              <a:off x="1451" y="2841"/>
              <a:ext cx="627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8"/>
                </a:cxn>
                <a:cxn ang="0">
                  <a:pos x="40" y="48"/>
                </a:cxn>
                <a:cxn ang="0">
                  <a:pos x="112" y="96"/>
                </a:cxn>
                <a:cxn ang="0">
                  <a:pos x="248" y="96"/>
                </a:cxn>
                <a:cxn ang="0">
                  <a:pos x="359" y="144"/>
                </a:cxn>
                <a:cxn ang="0">
                  <a:pos x="530" y="144"/>
                </a:cxn>
                <a:cxn ang="0">
                  <a:pos x="528" y="200"/>
                </a:cxn>
                <a:cxn ang="0">
                  <a:pos x="554" y="216"/>
                </a:cxn>
                <a:cxn ang="0">
                  <a:pos x="598" y="216"/>
                </a:cxn>
                <a:cxn ang="0">
                  <a:pos x="626" y="203"/>
                </a:cxn>
                <a:cxn ang="0">
                  <a:pos x="626" y="144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3" name="Freeform 15"/>
            <p:cNvSpPr>
              <a:spLocks/>
            </p:cNvSpPr>
            <p:nvPr/>
          </p:nvSpPr>
          <p:spPr bwMode="auto">
            <a:xfrm>
              <a:off x="1735" y="2841"/>
              <a:ext cx="867" cy="214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94" y="0"/>
                </a:cxn>
                <a:cxn ang="0">
                  <a:pos x="461" y="0"/>
                </a:cxn>
                <a:cxn ang="0">
                  <a:pos x="596" y="0"/>
                </a:cxn>
                <a:cxn ang="0">
                  <a:pos x="707" y="0"/>
                </a:cxn>
                <a:cxn ang="0">
                  <a:pos x="787" y="0"/>
                </a:cxn>
                <a:cxn ang="0">
                  <a:pos x="842" y="0"/>
                </a:cxn>
                <a:cxn ang="0">
                  <a:pos x="866" y="0"/>
                </a:cxn>
                <a:cxn ang="0">
                  <a:pos x="866" y="16"/>
                </a:cxn>
                <a:cxn ang="0">
                  <a:pos x="866" y="32"/>
                </a:cxn>
                <a:cxn ang="0">
                  <a:pos x="866" y="47"/>
                </a:cxn>
                <a:cxn ang="0">
                  <a:pos x="850" y="47"/>
                </a:cxn>
                <a:cxn ang="0">
                  <a:pos x="834" y="47"/>
                </a:cxn>
                <a:cxn ang="0">
                  <a:pos x="818" y="47"/>
                </a:cxn>
                <a:cxn ang="0">
                  <a:pos x="810" y="55"/>
                </a:cxn>
                <a:cxn ang="0">
                  <a:pos x="794" y="63"/>
                </a:cxn>
                <a:cxn ang="0">
                  <a:pos x="779" y="79"/>
                </a:cxn>
                <a:cxn ang="0">
                  <a:pos x="763" y="87"/>
                </a:cxn>
                <a:cxn ang="0">
                  <a:pos x="755" y="95"/>
                </a:cxn>
                <a:cxn ang="0">
                  <a:pos x="739" y="95"/>
                </a:cxn>
                <a:cxn ang="0">
                  <a:pos x="723" y="95"/>
                </a:cxn>
                <a:cxn ang="0">
                  <a:pos x="707" y="95"/>
                </a:cxn>
                <a:cxn ang="0">
                  <a:pos x="691" y="95"/>
                </a:cxn>
                <a:cxn ang="0">
                  <a:pos x="667" y="95"/>
                </a:cxn>
                <a:cxn ang="0">
                  <a:pos x="644" y="95"/>
                </a:cxn>
                <a:cxn ang="0">
                  <a:pos x="628" y="95"/>
                </a:cxn>
                <a:cxn ang="0">
                  <a:pos x="508" y="142"/>
                </a:cxn>
                <a:cxn ang="0">
                  <a:pos x="493" y="142"/>
                </a:cxn>
                <a:cxn ang="0">
                  <a:pos x="477" y="142"/>
                </a:cxn>
                <a:cxn ang="0">
                  <a:pos x="461" y="142"/>
                </a:cxn>
                <a:cxn ang="0">
                  <a:pos x="445" y="142"/>
                </a:cxn>
                <a:cxn ang="0">
                  <a:pos x="421" y="142"/>
                </a:cxn>
                <a:cxn ang="0">
                  <a:pos x="405" y="142"/>
                </a:cxn>
                <a:cxn ang="0">
                  <a:pos x="389" y="142"/>
                </a:cxn>
                <a:cxn ang="0">
                  <a:pos x="373" y="142"/>
                </a:cxn>
                <a:cxn ang="0">
                  <a:pos x="358" y="142"/>
                </a:cxn>
                <a:cxn ang="0">
                  <a:pos x="342" y="142"/>
                </a:cxn>
                <a:cxn ang="0">
                  <a:pos x="342" y="158"/>
                </a:cxn>
                <a:cxn ang="0">
                  <a:pos x="342" y="174"/>
                </a:cxn>
                <a:cxn ang="0">
                  <a:pos x="342" y="189"/>
                </a:cxn>
                <a:cxn ang="0">
                  <a:pos x="334" y="205"/>
                </a:cxn>
                <a:cxn ang="0">
                  <a:pos x="326" y="213"/>
                </a:cxn>
                <a:cxn ang="0">
                  <a:pos x="310" y="213"/>
                </a:cxn>
                <a:cxn ang="0">
                  <a:pos x="294" y="213"/>
                </a:cxn>
                <a:cxn ang="0">
                  <a:pos x="278" y="213"/>
                </a:cxn>
                <a:cxn ang="0">
                  <a:pos x="262" y="205"/>
                </a:cxn>
                <a:cxn ang="0">
                  <a:pos x="254" y="189"/>
                </a:cxn>
                <a:cxn ang="0">
                  <a:pos x="246" y="181"/>
                </a:cxn>
                <a:cxn ang="0">
                  <a:pos x="246" y="120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4" name="Freeform 16"/>
            <p:cNvSpPr>
              <a:spLocks/>
            </p:cNvSpPr>
            <p:nvPr/>
          </p:nvSpPr>
          <p:spPr bwMode="auto">
            <a:xfrm>
              <a:off x="1980" y="2840"/>
              <a:ext cx="626" cy="221"/>
            </a:xfrm>
            <a:custGeom>
              <a:avLst/>
              <a:gdLst/>
              <a:ahLst/>
              <a:cxnLst>
                <a:cxn ang="0">
                  <a:pos x="625" y="0"/>
                </a:cxn>
                <a:cxn ang="0">
                  <a:pos x="625" y="49"/>
                </a:cxn>
                <a:cxn ang="0">
                  <a:pos x="585" y="49"/>
                </a:cxn>
                <a:cxn ang="0">
                  <a:pos x="513" y="98"/>
                </a:cxn>
                <a:cxn ang="0">
                  <a:pos x="377" y="98"/>
                </a:cxn>
                <a:cxn ang="0">
                  <a:pos x="264" y="147"/>
                </a:cxn>
                <a:cxn ang="0">
                  <a:pos x="96" y="147"/>
                </a:cxn>
                <a:cxn ang="0">
                  <a:pos x="96" y="204"/>
                </a:cxn>
                <a:cxn ang="0">
                  <a:pos x="70" y="220"/>
                </a:cxn>
                <a:cxn ang="0">
                  <a:pos x="26" y="220"/>
                </a:cxn>
                <a:cxn ang="0">
                  <a:pos x="0" y="199"/>
                </a:cxn>
                <a:cxn ang="0">
                  <a:pos x="0" y="147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5" name="Freeform 17"/>
            <p:cNvSpPr>
              <a:spLocks/>
            </p:cNvSpPr>
            <p:nvPr/>
          </p:nvSpPr>
          <p:spPr bwMode="auto">
            <a:xfrm>
              <a:off x="4088" y="2373"/>
              <a:ext cx="867" cy="211"/>
            </a:xfrm>
            <a:custGeom>
              <a:avLst/>
              <a:gdLst/>
              <a:ahLst/>
              <a:cxnLst>
                <a:cxn ang="0">
                  <a:pos x="659" y="0"/>
                </a:cxn>
                <a:cxn ang="0">
                  <a:pos x="405" y="0"/>
                </a:cxn>
                <a:cxn ang="0">
                  <a:pos x="215" y="0"/>
                </a:cxn>
                <a:cxn ang="0">
                  <a:pos x="79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39"/>
                </a:cxn>
                <a:cxn ang="0">
                  <a:pos x="16" y="47"/>
                </a:cxn>
                <a:cxn ang="0">
                  <a:pos x="40" y="47"/>
                </a:cxn>
                <a:cxn ang="0">
                  <a:pos x="56" y="54"/>
                </a:cxn>
                <a:cxn ang="0">
                  <a:pos x="79" y="70"/>
                </a:cxn>
                <a:cxn ang="0">
                  <a:pos x="103" y="86"/>
                </a:cxn>
                <a:cxn ang="0">
                  <a:pos x="119" y="93"/>
                </a:cxn>
                <a:cxn ang="0">
                  <a:pos x="143" y="93"/>
                </a:cxn>
                <a:cxn ang="0">
                  <a:pos x="167" y="93"/>
                </a:cxn>
                <a:cxn ang="0">
                  <a:pos x="199" y="93"/>
                </a:cxn>
                <a:cxn ang="0">
                  <a:pos x="230" y="93"/>
                </a:cxn>
                <a:cxn ang="0">
                  <a:pos x="262" y="93"/>
                </a:cxn>
                <a:cxn ang="0">
                  <a:pos x="286" y="101"/>
                </a:cxn>
                <a:cxn ang="0">
                  <a:pos x="302" y="109"/>
                </a:cxn>
                <a:cxn ang="0">
                  <a:pos x="326" y="109"/>
                </a:cxn>
                <a:cxn ang="0">
                  <a:pos x="334" y="124"/>
                </a:cxn>
                <a:cxn ang="0">
                  <a:pos x="358" y="132"/>
                </a:cxn>
                <a:cxn ang="0">
                  <a:pos x="373" y="140"/>
                </a:cxn>
                <a:cxn ang="0">
                  <a:pos x="397" y="140"/>
                </a:cxn>
                <a:cxn ang="0">
                  <a:pos x="421" y="140"/>
                </a:cxn>
                <a:cxn ang="0">
                  <a:pos x="453" y="140"/>
                </a:cxn>
                <a:cxn ang="0">
                  <a:pos x="477" y="140"/>
                </a:cxn>
                <a:cxn ang="0">
                  <a:pos x="501" y="140"/>
                </a:cxn>
                <a:cxn ang="0">
                  <a:pos x="524" y="140"/>
                </a:cxn>
                <a:cxn ang="0">
                  <a:pos x="524" y="163"/>
                </a:cxn>
                <a:cxn ang="0">
                  <a:pos x="524" y="187"/>
                </a:cxn>
                <a:cxn ang="0">
                  <a:pos x="540" y="202"/>
                </a:cxn>
                <a:cxn ang="0">
                  <a:pos x="556" y="210"/>
                </a:cxn>
                <a:cxn ang="0">
                  <a:pos x="580" y="210"/>
                </a:cxn>
                <a:cxn ang="0">
                  <a:pos x="604" y="202"/>
                </a:cxn>
                <a:cxn ang="0">
                  <a:pos x="620" y="187"/>
                </a:cxn>
                <a:cxn ang="0">
                  <a:pos x="620" y="163"/>
                </a:cxn>
                <a:cxn ang="0">
                  <a:pos x="620" y="140"/>
                </a:cxn>
                <a:cxn ang="0">
                  <a:pos x="644" y="140"/>
                </a:cxn>
                <a:cxn ang="0">
                  <a:pos x="667" y="140"/>
                </a:cxn>
                <a:cxn ang="0">
                  <a:pos x="691" y="140"/>
                </a:cxn>
                <a:cxn ang="0">
                  <a:pos x="866" y="0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6" name="Freeform 18"/>
            <p:cNvSpPr>
              <a:spLocks/>
            </p:cNvSpPr>
            <p:nvPr/>
          </p:nvSpPr>
          <p:spPr bwMode="auto">
            <a:xfrm>
              <a:off x="4085" y="2373"/>
              <a:ext cx="627" cy="21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8"/>
                </a:cxn>
                <a:cxn ang="0">
                  <a:pos x="40" y="48"/>
                </a:cxn>
                <a:cxn ang="0">
                  <a:pos x="112" y="96"/>
                </a:cxn>
                <a:cxn ang="0">
                  <a:pos x="248" y="96"/>
                </a:cxn>
                <a:cxn ang="0">
                  <a:pos x="359" y="144"/>
                </a:cxn>
                <a:cxn ang="0">
                  <a:pos x="530" y="144"/>
                </a:cxn>
                <a:cxn ang="0">
                  <a:pos x="528" y="200"/>
                </a:cxn>
                <a:cxn ang="0">
                  <a:pos x="554" y="216"/>
                </a:cxn>
                <a:cxn ang="0">
                  <a:pos x="598" y="216"/>
                </a:cxn>
                <a:cxn ang="0">
                  <a:pos x="626" y="203"/>
                </a:cxn>
                <a:cxn ang="0">
                  <a:pos x="626" y="144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7" name="Freeform 19"/>
            <p:cNvSpPr>
              <a:spLocks/>
            </p:cNvSpPr>
            <p:nvPr/>
          </p:nvSpPr>
          <p:spPr bwMode="auto">
            <a:xfrm>
              <a:off x="4369" y="2373"/>
              <a:ext cx="867" cy="214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94" y="0"/>
                </a:cxn>
                <a:cxn ang="0">
                  <a:pos x="461" y="0"/>
                </a:cxn>
                <a:cxn ang="0">
                  <a:pos x="596" y="0"/>
                </a:cxn>
                <a:cxn ang="0">
                  <a:pos x="707" y="0"/>
                </a:cxn>
                <a:cxn ang="0">
                  <a:pos x="787" y="0"/>
                </a:cxn>
                <a:cxn ang="0">
                  <a:pos x="842" y="0"/>
                </a:cxn>
                <a:cxn ang="0">
                  <a:pos x="866" y="0"/>
                </a:cxn>
                <a:cxn ang="0">
                  <a:pos x="866" y="16"/>
                </a:cxn>
                <a:cxn ang="0">
                  <a:pos x="866" y="32"/>
                </a:cxn>
                <a:cxn ang="0">
                  <a:pos x="866" y="47"/>
                </a:cxn>
                <a:cxn ang="0">
                  <a:pos x="850" y="47"/>
                </a:cxn>
                <a:cxn ang="0">
                  <a:pos x="834" y="47"/>
                </a:cxn>
                <a:cxn ang="0">
                  <a:pos x="818" y="47"/>
                </a:cxn>
                <a:cxn ang="0">
                  <a:pos x="810" y="55"/>
                </a:cxn>
                <a:cxn ang="0">
                  <a:pos x="794" y="63"/>
                </a:cxn>
                <a:cxn ang="0">
                  <a:pos x="779" y="79"/>
                </a:cxn>
                <a:cxn ang="0">
                  <a:pos x="763" y="87"/>
                </a:cxn>
                <a:cxn ang="0">
                  <a:pos x="755" y="95"/>
                </a:cxn>
                <a:cxn ang="0">
                  <a:pos x="739" y="95"/>
                </a:cxn>
                <a:cxn ang="0">
                  <a:pos x="723" y="95"/>
                </a:cxn>
                <a:cxn ang="0">
                  <a:pos x="707" y="95"/>
                </a:cxn>
                <a:cxn ang="0">
                  <a:pos x="691" y="95"/>
                </a:cxn>
                <a:cxn ang="0">
                  <a:pos x="667" y="95"/>
                </a:cxn>
                <a:cxn ang="0">
                  <a:pos x="644" y="95"/>
                </a:cxn>
                <a:cxn ang="0">
                  <a:pos x="628" y="95"/>
                </a:cxn>
                <a:cxn ang="0">
                  <a:pos x="508" y="142"/>
                </a:cxn>
                <a:cxn ang="0">
                  <a:pos x="493" y="142"/>
                </a:cxn>
                <a:cxn ang="0">
                  <a:pos x="477" y="142"/>
                </a:cxn>
                <a:cxn ang="0">
                  <a:pos x="461" y="142"/>
                </a:cxn>
                <a:cxn ang="0">
                  <a:pos x="445" y="142"/>
                </a:cxn>
                <a:cxn ang="0">
                  <a:pos x="421" y="142"/>
                </a:cxn>
                <a:cxn ang="0">
                  <a:pos x="405" y="142"/>
                </a:cxn>
                <a:cxn ang="0">
                  <a:pos x="389" y="142"/>
                </a:cxn>
                <a:cxn ang="0">
                  <a:pos x="373" y="142"/>
                </a:cxn>
                <a:cxn ang="0">
                  <a:pos x="358" y="142"/>
                </a:cxn>
                <a:cxn ang="0">
                  <a:pos x="342" y="142"/>
                </a:cxn>
                <a:cxn ang="0">
                  <a:pos x="342" y="158"/>
                </a:cxn>
                <a:cxn ang="0">
                  <a:pos x="342" y="174"/>
                </a:cxn>
                <a:cxn ang="0">
                  <a:pos x="342" y="189"/>
                </a:cxn>
                <a:cxn ang="0">
                  <a:pos x="334" y="205"/>
                </a:cxn>
                <a:cxn ang="0">
                  <a:pos x="326" y="213"/>
                </a:cxn>
                <a:cxn ang="0">
                  <a:pos x="310" y="213"/>
                </a:cxn>
                <a:cxn ang="0">
                  <a:pos x="294" y="213"/>
                </a:cxn>
                <a:cxn ang="0">
                  <a:pos x="278" y="213"/>
                </a:cxn>
                <a:cxn ang="0">
                  <a:pos x="262" y="205"/>
                </a:cxn>
                <a:cxn ang="0">
                  <a:pos x="254" y="189"/>
                </a:cxn>
                <a:cxn ang="0">
                  <a:pos x="246" y="181"/>
                </a:cxn>
                <a:cxn ang="0">
                  <a:pos x="246" y="120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010708" name="Freeform 20"/>
            <p:cNvSpPr>
              <a:spLocks/>
            </p:cNvSpPr>
            <p:nvPr/>
          </p:nvSpPr>
          <p:spPr bwMode="auto">
            <a:xfrm>
              <a:off x="4614" y="2372"/>
              <a:ext cx="626" cy="221"/>
            </a:xfrm>
            <a:custGeom>
              <a:avLst/>
              <a:gdLst/>
              <a:ahLst/>
              <a:cxnLst>
                <a:cxn ang="0">
                  <a:pos x="625" y="0"/>
                </a:cxn>
                <a:cxn ang="0">
                  <a:pos x="625" y="49"/>
                </a:cxn>
                <a:cxn ang="0">
                  <a:pos x="585" y="49"/>
                </a:cxn>
                <a:cxn ang="0">
                  <a:pos x="513" y="98"/>
                </a:cxn>
                <a:cxn ang="0">
                  <a:pos x="377" y="98"/>
                </a:cxn>
                <a:cxn ang="0">
                  <a:pos x="264" y="147"/>
                </a:cxn>
                <a:cxn ang="0">
                  <a:pos x="96" y="147"/>
                </a:cxn>
                <a:cxn ang="0">
                  <a:pos x="96" y="204"/>
                </a:cxn>
                <a:cxn ang="0">
                  <a:pos x="70" y="220"/>
                </a:cxn>
                <a:cxn ang="0">
                  <a:pos x="26" y="220"/>
                </a:cxn>
                <a:cxn ang="0">
                  <a:pos x="0" y="199"/>
                </a:cxn>
                <a:cxn ang="0">
                  <a:pos x="0" y="147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grpFill/>
            <a:ln w="9525" cap="rnd" cmpd="sng">
              <a:solidFill>
                <a:schemeClr val="bg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s-ES" sz="2159"/>
            </a:p>
          </p:txBody>
        </p:sp>
      </p:grpSp>
      <p:sp>
        <p:nvSpPr>
          <p:cNvPr id="30" name="12 Marcador de texto"/>
          <p:cNvSpPr txBox="1">
            <a:spLocks/>
          </p:cNvSpPr>
          <p:nvPr/>
        </p:nvSpPr>
        <p:spPr>
          <a:xfrm>
            <a:off x="1537618" y="2536315"/>
            <a:ext cx="2331605" cy="28660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05493" tIns="52747" rIns="105493" bIns="52747" rtlCol="0" anchor="ctr">
            <a:normAutofit/>
          </a:bodyPr>
          <a:lstStyle/>
          <a:p>
            <a:pPr algn="ctr" defTabSz="1055447">
              <a:spcBef>
                <a:spcPct val="20000"/>
              </a:spcBef>
              <a:defRPr/>
            </a:pPr>
            <a:r>
              <a:rPr lang="pt-BR" altLang="zh-CN" sz="1295">
                <a:ea typeface="宋体" pitchFamily="2" charset="-122"/>
              </a:rPr>
              <a:t>Texto </a:t>
            </a:r>
            <a:endParaRPr lang="pt-BR" altLang="zh-CN" sz="1295" dirty="0">
              <a:ea typeface="宋体" pitchFamily="2" charset="-122"/>
            </a:endParaRPr>
          </a:p>
        </p:txBody>
      </p:sp>
      <p:sp>
        <p:nvSpPr>
          <p:cNvPr id="31" name="12 Marcador de texto"/>
          <p:cNvSpPr txBox="1">
            <a:spLocks/>
          </p:cNvSpPr>
          <p:nvPr/>
        </p:nvSpPr>
        <p:spPr>
          <a:xfrm>
            <a:off x="6801135" y="1914553"/>
            <a:ext cx="2331605" cy="2866089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105493" tIns="52747" rIns="105493" bIns="52747" rtlCol="0" anchor="ctr">
            <a:normAutofit/>
          </a:bodyPr>
          <a:lstStyle/>
          <a:p>
            <a:pPr algn="ctr" defTabSz="1055447">
              <a:spcBef>
                <a:spcPct val="20000"/>
              </a:spcBef>
              <a:defRPr/>
            </a:pPr>
            <a:r>
              <a:rPr lang="pt-BR" altLang="zh-CN" sz="1295">
                <a:ea typeface="宋体" pitchFamily="2" charset="-122"/>
              </a:rPr>
              <a:t>Texto </a:t>
            </a:r>
            <a:endParaRPr lang="pt-BR" altLang="zh-CN" sz="1295" dirty="0"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706701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6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err="1" smtClean="0"/>
              <a:t>Pestañas</a:t>
            </a:r>
            <a:endParaRPr lang="pt-BR" dirty="0"/>
          </a:p>
        </p:txBody>
      </p:sp>
      <p:sp>
        <p:nvSpPr>
          <p:cNvPr id="19" name="18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 smtClean="0"/>
          </a:p>
        </p:txBody>
      </p:sp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681946" y="1586645"/>
            <a:ext cx="9257671" cy="327266"/>
            <a:chOff x="484" y="880"/>
            <a:chExt cx="5418" cy="191"/>
          </a:xfrm>
        </p:grpSpPr>
        <p:sp>
          <p:nvSpPr>
            <p:cNvPr id="625686" name="AutoShape 22"/>
            <p:cNvSpPr>
              <a:spLocks noChangeArrowheads="1"/>
            </p:cNvSpPr>
            <p:nvPr/>
          </p:nvSpPr>
          <p:spPr bwMode="auto">
            <a:xfrm flipV="1">
              <a:off x="5116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85" name="AutoShape 21"/>
            <p:cNvSpPr>
              <a:spLocks noChangeArrowheads="1"/>
            </p:cNvSpPr>
            <p:nvPr/>
          </p:nvSpPr>
          <p:spPr bwMode="auto">
            <a:xfrm flipV="1">
              <a:off x="4455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84" name="AutoShape 20"/>
            <p:cNvSpPr>
              <a:spLocks noChangeArrowheads="1"/>
            </p:cNvSpPr>
            <p:nvPr/>
          </p:nvSpPr>
          <p:spPr bwMode="auto">
            <a:xfrm flipV="1">
              <a:off x="3793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83" name="AutoShape 19"/>
            <p:cNvSpPr>
              <a:spLocks noChangeArrowheads="1"/>
            </p:cNvSpPr>
            <p:nvPr/>
          </p:nvSpPr>
          <p:spPr bwMode="auto">
            <a:xfrm flipV="1">
              <a:off x="3131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67" name="AutoShape 3"/>
            <p:cNvSpPr>
              <a:spLocks noChangeArrowheads="1"/>
            </p:cNvSpPr>
            <p:nvPr/>
          </p:nvSpPr>
          <p:spPr bwMode="auto">
            <a:xfrm flipV="1">
              <a:off x="2470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68" name="AutoShape 4"/>
            <p:cNvSpPr>
              <a:spLocks noChangeArrowheads="1"/>
            </p:cNvSpPr>
            <p:nvPr/>
          </p:nvSpPr>
          <p:spPr bwMode="auto">
            <a:xfrm flipV="1">
              <a:off x="1808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69" name="AutoShape 5"/>
            <p:cNvSpPr>
              <a:spLocks noChangeArrowheads="1"/>
            </p:cNvSpPr>
            <p:nvPr/>
          </p:nvSpPr>
          <p:spPr bwMode="auto">
            <a:xfrm flipV="1">
              <a:off x="1146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70" name="AutoShape 6"/>
            <p:cNvSpPr>
              <a:spLocks noChangeArrowheads="1"/>
            </p:cNvSpPr>
            <p:nvPr/>
          </p:nvSpPr>
          <p:spPr bwMode="auto">
            <a:xfrm flipV="1">
              <a:off x="484" y="880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defTabSz="822427"/>
              <a:r>
                <a:rPr lang="es-ES" sz="1187" b="1" i="1"/>
                <a:t>xxx</a:t>
              </a:r>
              <a:endParaRPr lang="es-ES" sz="1187" b="1" i="1" dirty="0"/>
            </a:p>
          </p:txBody>
        </p:sp>
      </p:grpSp>
      <p:sp>
        <p:nvSpPr>
          <p:cNvPr id="625671" name="Rectangle 7"/>
          <p:cNvSpPr>
            <a:spLocks noChangeArrowheads="1"/>
          </p:cNvSpPr>
          <p:nvPr/>
        </p:nvSpPr>
        <p:spPr bwMode="auto">
          <a:xfrm>
            <a:off x="681946" y="1913911"/>
            <a:ext cx="9257671" cy="4826736"/>
          </a:xfrm>
          <a:prstGeom prst="rect">
            <a:avLst/>
          </a:prstGeom>
          <a:solidFill>
            <a:schemeClr val="bg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28224" tIns="43053" rIns="128224" bIns="43053" anchor="ctr"/>
          <a:lstStyle/>
          <a:p>
            <a:pPr marL="310124" indent="-310124" defTabSz="738471">
              <a:lnSpc>
                <a:spcPct val="95000"/>
              </a:lnSpc>
              <a:spcBef>
                <a:spcPct val="5000"/>
              </a:spcBef>
              <a:buFont typeface="Wingdings" pitchFamily="2" charset="2"/>
              <a:buChar char="Ø"/>
            </a:pPr>
            <a:endParaRPr lang="pt-BR" sz="1727" dirty="0">
              <a:solidFill>
                <a:srgbClr val="000099"/>
              </a:solidFill>
            </a:endParaRPr>
          </a:p>
        </p:txBody>
      </p:sp>
      <p:grpSp>
        <p:nvGrpSpPr>
          <p:cNvPr id="3" name="Group 27"/>
          <p:cNvGrpSpPr>
            <a:grpSpLocks/>
          </p:cNvGrpSpPr>
          <p:nvPr/>
        </p:nvGrpSpPr>
        <p:grpSpPr bwMode="auto">
          <a:xfrm rot="5400000">
            <a:off x="7693308" y="4160220"/>
            <a:ext cx="4819882" cy="327265"/>
            <a:chOff x="484" y="2387"/>
            <a:chExt cx="2772" cy="191"/>
          </a:xfrm>
        </p:grpSpPr>
        <p:sp>
          <p:nvSpPr>
            <p:cNvPr id="625687" name="AutoShape 23"/>
            <p:cNvSpPr>
              <a:spLocks noChangeArrowheads="1"/>
            </p:cNvSpPr>
            <p:nvPr/>
          </p:nvSpPr>
          <p:spPr bwMode="auto">
            <a:xfrm flipV="1">
              <a:off x="2470" y="2387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88" name="AutoShape 24"/>
            <p:cNvSpPr>
              <a:spLocks noChangeArrowheads="1"/>
            </p:cNvSpPr>
            <p:nvPr/>
          </p:nvSpPr>
          <p:spPr bwMode="auto">
            <a:xfrm flipV="1">
              <a:off x="1808" y="2387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89" name="AutoShape 25"/>
            <p:cNvSpPr>
              <a:spLocks noChangeArrowheads="1"/>
            </p:cNvSpPr>
            <p:nvPr/>
          </p:nvSpPr>
          <p:spPr bwMode="auto">
            <a:xfrm flipV="1">
              <a:off x="1145" y="2387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defTabSz="822427"/>
              <a:r>
                <a:rPr lang="es-ES" sz="971"/>
                <a:t>xxx</a:t>
              </a:r>
              <a:endParaRPr lang="es-ES" sz="971" dirty="0"/>
            </a:p>
          </p:txBody>
        </p:sp>
        <p:sp>
          <p:nvSpPr>
            <p:cNvPr id="625690" name="AutoShape 26"/>
            <p:cNvSpPr>
              <a:spLocks noChangeArrowheads="1"/>
            </p:cNvSpPr>
            <p:nvPr/>
          </p:nvSpPr>
          <p:spPr bwMode="auto">
            <a:xfrm flipV="1">
              <a:off x="484" y="2387"/>
              <a:ext cx="786" cy="191"/>
            </a:xfrm>
            <a:custGeom>
              <a:avLst/>
              <a:gdLst>
                <a:gd name="G0" fmla="+- 3112 0 0"/>
                <a:gd name="G1" fmla="+- 21600 0 3112"/>
                <a:gd name="G2" fmla="*/ 3112 1 2"/>
                <a:gd name="G3" fmla="+- 21600 0 G2"/>
                <a:gd name="G4" fmla="+/ 3112 21600 2"/>
                <a:gd name="G5" fmla="+/ G1 0 2"/>
                <a:gd name="G6" fmla="*/ 21600 21600 3112"/>
                <a:gd name="G7" fmla="*/ G6 1 2"/>
                <a:gd name="G8" fmla="+- 21600 0 G7"/>
                <a:gd name="G9" fmla="*/ 21600 1 2"/>
                <a:gd name="G10" fmla="+- 3112 0 G9"/>
                <a:gd name="G11" fmla="?: G10 G8 0"/>
                <a:gd name="G12" fmla="?: G10 G7 21600"/>
                <a:gd name="T0" fmla="*/ 20044 w 21600"/>
                <a:gd name="T1" fmla="*/ 10800 h 21600"/>
                <a:gd name="T2" fmla="*/ 10800 w 21600"/>
                <a:gd name="T3" fmla="*/ 21600 h 21600"/>
                <a:gd name="T4" fmla="*/ 1556 w 21600"/>
                <a:gd name="T5" fmla="*/ 10800 h 21600"/>
                <a:gd name="T6" fmla="*/ 10800 w 21600"/>
                <a:gd name="T7" fmla="*/ 0 h 21600"/>
                <a:gd name="T8" fmla="*/ 3356 w 21600"/>
                <a:gd name="T9" fmla="*/ 3356 h 21600"/>
                <a:gd name="T10" fmla="*/ 18244 w 21600"/>
                <a:gd name="T11" fmla="*/ 18244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112" y="21600"/>
                  </a:lnTo>
                  <a:lnTo>
                    <a:pt x="184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bg2"/>
            </a:solidFill>
            <a:ln w="12700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rot="10800000" wrap="none" lIns="0" tIns="0" rIns="0" bIns="0" anchor="ctr"/>
            <a:lstStyle/>
            <a:p>
              <a:pPr defTabSz="822427"/>
              <a:r>
                <a:rPr lang="es-ES" sz="1187" b="1" i="1"/>
                <a:t>xxx</a:t>
              </a:r>
              <a:endParaRPr lang="es-ES" sz="1187" b="1" i="1" dirty="0"/>
            </a:p>
          </p:txBody>
        </p:sp>
      </p:grpSp>
    </p:spTree>
    <p:extLst>
      <p:ext uri="{BB962C8B-B14F-4D97-AF65-F5344CB8AC3E}">
        <p14:creationId xmlns:p14="http://schemas.microsoft.com/office/powerpoint/2010/main" val="779724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to 3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287648"/>
              </p:ext>
            </p:extLst>
          </p:nvPr>
        </p:nvGraphicFramePr>
        <p:xfrm>
          <a:off x="0" y="78825"/>
          <a:ext cx="185622" cy="1713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78825"/>
                        <a:ext cx="185622" cy="1713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27024" y="349128"/>
            <a:ext cx="6948000" cy="615553"/>
          </a:xfrm>
        </p:spPr>
        <p:txBody>
          <a:bodyPr/>
          <a:lstStyle/>
          <a:p>
            <a:r>
              <a:rPr lang="pt-BR" dirty="0" smtClean="0"/>
              <a:t>Slide de agrupamento de temas e </a:t>
            </a:r>
            <a:r>
              <a:rPr lang="pt-BR" dirty="0" err="1" smtClean="0"/>
              <a:t>sub-temas</a:t>
            </a:r>
            <a:r>
              <a:rPr lang="pt-BR" dirty="0" smtClean="0"/>
              <a:t>, com descrição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err="1" smtClean="0"/>
              <a:t>Capítulo</a:t>
            </a:r>
            <a:r>
              <a:rPr lang="en-US" dirty="0" smtClean="0"/>
              <a:t> 1: Slides </a:t>
            </a:r>
            <a:r>
              <a:rPr lang="en-US" dirty="0" err="1" smtClean="0"/>
              <a:t>conceituais</a:t>
            </a:r>
            <a:r>
              <a:rPr lang="pt-BR" dirty="0" smtClean="0"/>
              <a:t> | </a:t>
            </a:r>
            <a:r>
              <a:rPr lang="pt-BR" i="1" dirty="0" err="1" smtClean="0"/>
              <a:t>Templates</a:t>
            </a:r>
            <a:r>
              <a:rPr lang="pt-BR" dirty="0" smtClean="0"/>
              <a:t> mais frequentes</a:t>
            </a:r>
            <a:endParaRPr lang="pt-BR" dirty="0"/>
          </a:p>
        </p:txBody>
      </p:sp>
      <p:sp>
        <p:nvSpPr>
          <p:cNvPr id="23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25258" y="2430952"/>
            <a:ext cx="7657045" cy="607489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8856" tIns="0" rIns="38856" bIns="0" anchor="ctr"/>
          <a:lstStyle/>
          <a:p>
            <a:pPr marL="149065" indent="-149065" defTabSz="671648">
              <a:buSzPct val="85000"/>
              <a:buFont typeface="Arial" pitchFamily="34" charset="0"/>
              <a:buChar char="•"/>
            </a:pPr>
            <a:r>
              <a:rPr lang="pt-BR" sz="1187"/>
              <a:t>xxx</a:t>
            </a:r>
            <a:endParaRPr lang="pt-BR" sz="1187" dirty="0"/>
          </a:p>
        </p:txBody>
      </p:sp>
      <p:sp>
        <p:nvSpPr>
          <p:cNvPr id="107" name="Rectangle 10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25258" y="3090672"/>
            <a:ext cx="7657045" cy="1101074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8856" tIns="0" rIns="38856" bIns="0" anchor="ctr"/>
          <a:lstStyle/>
          <a:p>
            <a:pPr marL="149065" indent="-149065" defTabSz="671648">
              <a:buSzPct val="85000"/>
              <a:buFont typeface="Arial" pitchFamily="34" charset="0"/>
              <a:buChar char="•"/>
            </a:pPr>
            <a:r>
              <a:rPr lang="pt-BR" sz="1187"/>
              <a:t>xxxx</a:t>
            </a:r>
            <a:endParaRPr lang="pt-BR" sz="1187" dirty="0"/>
          </a:p>
        </p:txBody>
      </p:sp>
      <p:sp>
        <p:nvSpPr>
          <p:cNvPr id="34" name="Rectangle 2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625258" y="1713439"/>
            <a:ext cx="7657045" cy="665284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8856" tIns="0" rIns="38856" bIns="0" anchor="ctr"/>
          <a:lstStyle/>
          <a:p>
            <a:pPr marL="149065" indent="-149065" defTabSz="671648">
              <a:buSzPct val="85000"/>
              <a:buFont typeface="Arial" pitchFamily="34" charset="0"/>
              <a:buChar char="•"/>
            </a:pPr>
            <a:r>
              <a:rPr lang="pt-BR" sz="1187"/>
              <a:t>xxxx</a:t>
            </a:r>
            <a:endParaRPr lang="pt-BR" sz="1187" dirty="0"/>
          </a:p>
        </p:txBody>
      </p:sp>
      <p:sp>
        <p:nvSpPr>
          <p:cNvPr id="48" name="Rectangle 10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625250" y="4243976"/>
            <a:ext cx="7656589" cy="1139042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8856" tIns="0" rIns="38856" bIns="0" anchor="ctr"/>
          <a:lstStyle/>
          <a:p>
            <a:pPr marL="149065" indent="-149065" defTabSz="671648">
              <a:buSzPct val="85000"/>
              <a:buFont typeface="Arial" pitchFamily="34" charset="0"/>
              <a:buChar char="•"/>
            </a:pPr>
            <a:r>
              <a:rPr lang="pt-BR" sz="1187"/>
              <a:t>xxxx</a:t>
            </a:r>
            <a:endParaRPr lang="pt-BR" sz="1187" dirty="0"/>
          </a:p>
        </p:txBody>
      </p:sp>
      <p:sp>
        <p:nvSpPr>
          <p:cNvPr id="59" name="Retângulo 58"/>
          <p:cNvSpPr/>
          <p:nvPr>
            <p:custDataLst>
              <p:tags r:id="rId9"/>
            </p:custDataLst>
          </p:nvPr>
        </p:nvSpPr>
        <p:spPr bwMode="auto">
          <a:xfrm>
            <a:off x="399230" y="1713440"/>
            <a:ext cx="883787" cy="66469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20000"/>
            </a:pPr>
            <a:r>
              <a:rPr lang="pt-BR" sz="1295" b="1" dirty="0">
                <a:solidFill>
                  <a:schemeClr val="bg1"/>
                </a:solidFill>
              </a:rPr>
              <a:t>Grupo 1</a:t>
            </a:r>
          </a:p>
        </p:txBody>
      </p:sp>
      <p:sp>
        <p:nvSpPr>
          <p:cNvPr id="60" name="Retângulo 59"/>
          <p:cNvSpPr/>
          <p:nvPr>
            <p:custDataLst>
              <p:tags r:id="rId10"/>
            </p:custDataLst>
          </p:nvPr>
        </p:nvSpPr>
        <p:spPr bwMode="auto">
          <a:xfrm>
            <a:off x="399230" y="2435482"/>
            <a:ext cx="883787" cy="175626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20000"/>
            </a:pPr>
            <a:r>
              <a:rPr lang="pt-BR" sz="1295" b="1" dirty="0">
                <a:solidFill>
                  <a:schemeClr val="bg1"/>
                </a:solidFill>
              </a:rPr>
              <a:t>Grupo 2</a:t>
            </a:r>
          </a:p>
        </p:txBody>
      </p:sp>
      <p:sp>
        <p:nvSpPr>
          <p:cNvPr id="92" name="Retângulo 91"/>
          <p:cNvSpPr/>
          <p:nvPr>
            <p:custDataLst>
              <p:tags r:id="rId11"/>
            </p:custDataLst>
          </p:nvPr>
        </p:nvSpPr>
        <p:spPr bwMode="auto">
          <a:xfrm>
            <a:off x="399230" y="4243976"/>
            <a:ext cx="883787" cy="248218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20000"/>
            </a:pPr>
            <a:r>
              <a:rPr lang="pt-BR" sz="1295" b="1" dirty="0">
                <a:solidFill>
                  <a:schemeClr val="bg1"/>
                </a:solidFill>
              </a:rPr>
              <a:t>Grupo 3</a:t>
            </a:r>
          </a:p>
        </p:txBody>
      </p:sp>
      <p:sp>
        <p:nvSpPr>
          <p:cNvPr id="19" name="AutoShape 1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45070" y="2430952"/>
            <a:ext cx="1218135" cy="607489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buClr>
                <a:schemeClr val="tx2"/>
              </a:buClr>
              <a:buSzPct val="120000"/>
            </a:pPr>
            <a:r>
              <a:rPr lang="pt-BR" sz="1295" b="1"/>
              <a:t>xxxx</a:t>
            </a:r>
            <a:endParaRPr lang="pt-BR" sz="1295" b="1" dirty="0"/>
          </a:p>
        </p:txBody>
      </p:sp>
      <p:sp>
        <p:nvSpPr>
          <p:cNvPr id="106" name="AutoShape 1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45070" y="3090672"/>
            <a:ext cx="1218135" cy="1101074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buClr>
                <a:schemeClr val="tx2"/>
              </a:buClr>
              <a:buSzPct val="120000"/>
            </a:pPr>
            <a:r>
              <a:rPr lang="pt-BR" sz="1295" b="1"/>
              <a:t>xxxx</a:t>
            </a:r>
            <a:endParaRPr lang="pt-BR" sz="1295" b="1" dirty="0"/>
          </a:p>
        </p:txBody>
      </p:sp>
      <p:sp>
        <p:nvSpPr>
          <p:cNvPr id="33" name="AutoShape 1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45070" y="1713439"/>
            <a:ext cx="1218135" cy="665284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buClr>
                <a:schemeClr val="tx2"/>
              </a:buClr>
              <a:buSzPct val="120000"/>
            </a:pPr>
            <a:r>
              <a:rPr lang="pt-BR" sz="1295" b="1"/>
              <a:t>xxxx</a:t>
            </a:r>
            <a:endParaRPr lang="pt-BR" sz="1295" b="1" dirty="0"/>
          </a:p>
        </p:txBody>
      </p:sp>
      <p:sp>
        <p:nvSpPr>
          <p:cNvPr id="47" name="AutoShap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45071" y="4243976"/>
            <a:ext cx="1217678" cy="1139042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buClr>
                <a:schemeClr val="tx2"/>
              </a:buClr>
              <a:buSzPct val="120000"/>
            </a:pPr>
            <a:r>
              <a:rPr lang="pt-BR" sz="1295" b="1"/>
              <a:t>xxxx</a:t>
            </a:r>
            <a:endParaRPr lang="pt-BR" sz="1295" b="1" dirty="0"/>
          </a:p>
        </p:txBody>
      </p:sp>
      <p:sp>
        <p:nvSpPr>
          <p:cNvPr id="93" name="AutoShape 18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45071" y="5435249"/>
            <a:ext cx="1217678" cy="1290915"/>
          </a:xfrm>
          <a:prstGeom prst="homePlate">
            <a:avLst>
              <a:gd name="adj" fmla="val 0"/>
            </a:avLst>
          </a:prstGeom>
          <a:solidFill>
            <a:schemeClr val="accent6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ctr" defTabSz="738471">
              <a:spcBef>
                <a:spcPct val="30000"/>
              </a:spcBef>
              <a:buClr>
                <a:schemeClr val="tx2"/>
              </a:buClr>
              <a:buSzPct val="120000"/>
            </a:pPr>
            <a:r>
              <a:rPr lang="pt-BR" sz="1295" b="1"/>
              <a:t>xxx</a:t>
            </a:r>
            <a:endParaRPr lang="pt-BR" sz="1295" b="1" dirty="0"/>
          </a:p>
        </p:txBody>
      </p:sp>
      <p:sp>
        <p:nvSpPr>
          <p:cNvPr id="94" name="Rectangle 2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625250" y="5435249"/>
            <a:ext cx="7656589" cy="1290915"/>
          </a:xfrm>
          <a:prstGeom prst="rect">
            <a:avLst/>
          </a:prstGeom>
          <a:noFill/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8856" tIns="0" rIns="38856" bIns="0" anchor="ctr"/>
          <a:lstStyle/>
          <a:p>
            <a:pPr marL="149065" indent="-149065" defTabSz="671648">
              <a:buSzPct val="85000"/>
              <a:buFont typeface="Arial" pitchFamily="34" charset="0"/>
              <a:buChar char="•"/>
            </a:pPr>
            <a:r>
              <a:rPr lang="pt-BR" sz="1187"/>
              <a:t>xxxxx</a:t>
            </a:r>
            <a:endParaRPr lang="pt-BR" sz="1187" dirty="0"/>
          </a:p>
        </p:txBody>
      </p:sp>
      <p:grpSp>
        <p:nvGrpSpPr>
          <p:cNvPr id="22" name="25 Grupo"/>
          <p:cNvGrpSpPr/>
          <p:nvPr>
            <p:custDataLst>
              <p:tags r:id="rId18"/>
            </p:custDataLst>
          </p:nvPr>
        </p:nvGrpSpPr>
        <p:grpSpPr>
          <a:xfrm>
            <a:off x="399231" y="1281346"/>
            <a:ext cx="9893353" cy="322326"/>
            <a:chOff x="559574" y="1151056"/>
            <a:chExt cx="8857922" cy="261720"/>
          </a:xfrm>
        </p:grpSpPr>
        <p:sp>
          <p:nvSpPr>
            <p:cNvPr id="24" name="8 Marcador de texto"/>
            <p:cNvSpPr txBox="1">
              <a:spLocks/>
            </p:cNvSpPr>
            <p:nvPr/>
          </p:nvSpPr>
          <p:spPr>
            <a:xfrm>
              <a:off x="559574" y="1151056"/>
              <a:ext cx="8847983" cy="2617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50513" rIns="0" bIns="50513" anchor="b" anchorCtr="0"/>
            <a:lstStyle/>
            <a:p>
              <a:pPr>
                <a:spcBef>
                  <a:spcPct val="30000"/>
                </a:spcBef>
                <a:defRPr/>
              </a:pPr>
              <a:r>
                <a:rPr lang="pt-BR" sz="1511" b="1" dirty="0" err="1">
                  <a:solidFill>
                    <a:schemeClr val="accent1"/>
                  </a:solidFill>
                </a:rPr>
                <a:t>Xxxxxx</a:t>
              </a:r>
              <a:endParaRPr lang="pt-BR" sz="1511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5" name="24 Conector recto"/>
            <p:cNvCxnSpPr/>
            <p:nvPr/>
          </p:nvCxnSpPr>
          <p:spPr>
            <a:xfrm>
              <a:off x="560512" y="1412776"/>
              <a:ext cx="8856984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175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71 Grupo"/>
          <p:cNvGrpSpPr/>
          <p:nvPr/>
        </p:nvGrpSpPr>
        <p:grpSpPr>
          <a:xfrm>
            <a:off x="916686" y="1860795"/>
            <a:ext cx="4208188" cy="3665030"/>
            <a:chOff x="849313" y="1651000"/>
            <a:chExt cx="3898900" cy="3395663"/>
          </a:xfrm>
        </p:grpSpPr>
        <p:sp>
          <p:nvSpPr>
            <p:cNvPr id="1039603" name="Line 243"/>
            <p:cNvSpPr>
              <a:spLocks noChangeShapeType="1"/>
            </p:cNvSpPr>
            <p:nvPr/>
          </p:nvSpPr>
          <p:spPr bwMode="auto">
            <a:xfrm flipH="1">
              <a:off x="849313" y="3698875"/>
              <a:ext cx="1576388" cy="1347788"/>
            </a:xfrm>
            <a:prstGeom prst="line">
              <a:avLst/>
            </a:prstGeom>
            <a:noFill/>
            <a:ln w="34925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39604" name="Line 244"/>
            <p:cNvSpPr>
              <a:spLocks noChangeShapeType="1"/>
            </p:cNvSpPr>
            <p:nvPr/>
          </p:nvSpPr>
          <p:spPr bwMode="auto">
            <a:xfrm flipV="1">
              <a:off x="2403476" y="1651000"/>
              <a:ext cx="0" cy="2055813"/>
            </a:xfrm>
            <a:prstGeom prst="line">
              <a:avLst/>
            </a:prstGeom>
            <a:noFill/>
            <a:ln w="3175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39605" name="Line 245"/>
            <p:cNvSpPr>
              <a:spLocks noChangeShapeType="1"/>
            </p:cNvSpPr>
            <p:nvPr/>
          </p:nvSpPr>
          <p:spPr bwMode="auto">
            <a:xfrm rot="5400000" flipV="1">
              <a:off x="3578225" y="2552700"/>
              <a:ext cx="1588" cy="2338388"/>
            </a:xfrm>
            <a:prstGeom prst="line">
              <a:avLst/>
            </a:prstGeom>
            <a:noFill/>
            <a:ln w="31750">
              <a:solidFill>
                <a:schemeClr val="accent1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grpSp>
          <p:nvGrpSpPr>
            <p:cNvPr id="3" name="Group 351"/>
            <p:cNvGrpSpPr>
              <a:grpSpLocks/>
            </p:cNvGrpSpPr>
            <p:nvPr/>
          </p:nvGrpSpPr>
          <p:grpSpPr bwMode="auto">
            <a:xfrm>
              <a:off x="1854201" y="2311400"/>
              <a:ext cx="2593975" cy="1871663"/>
              <a:chOff x="1168" y="1253"/>
              <a:chExt cx="1634" cy="1179"/>
            </a:xfrm>
          </p:grpSpPr>
          <p:sp>
            <p:nvSpPr>
              <p:cNvPr id="1039682" name="AutoShape 322"/>
              <p:cNvSpPr>
                <a:spLocks noChangeArrowheads="1"/>
              </p:cNvSpPr>
              <p:nvPr/>
            </p:nvSpPr>
            <p:spPr bwMode="auto">
              <a:xfrm>
                <a:off x="1170" y="1253"/>
                <a:ext cx="1632" cy="1179"/>
              </a:xfrm>
              <a:prstGeom prst="cube">
                <a:avLst>
                  <a:gd name="adj" fmla="val 25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3" name="Line 323"/>
              <p:cNvSpPr>
                <a:spLocks noChangeShapeType="1"/>
              </p:cNvSpPr>
              <p:nvPr/>
            </p:nvSpPr>
            <p:spPr bwMode="auto">
              <a:xfrm>
                <a:off x="1168" y="1725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4" name="Line 324"/>
              <p:cNvSpPr>
                <a:spLocks noChangeShapeType="1"/>
              </p:cNvSpPr>
              <p:nvPr/>
            </p:nvSpPr>
            <p:spPr bwMode="auto">
              <a:xfrm>
                <a:off x="1168" y="1902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5" name="Line 325"/>
              <p:cNvSpPr>
                <a:spLocks noChangeShapeType="1"/>
              </p:cNvSpPr>
              <p:nvPr/>
            </p:nvSpPr>
            <p:spPr bwMode="auto">
              <a:xfrm>
                <a:off x="1168" y="2078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6" name="Line 326"/>
              <p:cNvSpPr>
                <a:spLocks noChangeShapeType="1"/>
              </p:cNvSpPr>
              <p:nvPr/>
            </p:nvSpPr>
            <p:spPr bwMode="auto">
              <a:xfrm>
                <a:off x="1168" y="2255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7" name="Line 327"/>
              <p:cNvSpPr>
                <a:spLocks noChangeShapeType="1"/>
              </p:cNvSpPr>
              <p:nvPr/>
            </p:nvSpPr>
            <p:spPr bwMode="auto">
              <a:xfrm>
                <a:off x="1168" y="2432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8" name="Line 328"/>
              <p:cNvSpPr>
                <a:spLocks noChangeShapeType="1"/>
              </p:cNvSpPr>
              <p:nvPr/>
            </p:nvSpPr>
            <p:spPr bwMode="auto">
              <a:xfrm>
                <a:off x="1168" y="1549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89" name="Line 329"/>
              <p:cNvSpPr>
                <a:spLocks noChangeShapeType="1"/>
              </p:cNvSpPr>
              <p:nvPr/>
            </p:nvSpPr>
            <p:spPr bwMode="auto">
              <a:xfrm flipV="1">
                <a:off x="2512" y="1435"/>
                <a:ext cx="290" cy="289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0" name="Line 330"/>
              <p:cNvSpPr>
                <a:spLocks noChangeShapeType="1"/>
              </p:cNvSpPr>
              <p:nvPr/>
            </p:nvSpPr>
            <p:spPr bwMode="auto">
              <a:xfrm flipV="1">
                <a:off x="2512" y="1613"/>
                <a:ext cx="290" cy="289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1" name="Line 331"/>
              <p:cNvSpPr>
                <a:spLocks noChangeShapeType="1"/>
              </p:cNvSpPr>
              <p:nvPr/>
            </p:nvSpPr>
            <p:spPr bwMode="auto">
              <a:xfrm flipV="1">
                <a:off x="2512" y="1788"/>
                <a:ext cx="290" cy="289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2" name="Line 332"/>
              <p:cNvSpPr>
                <a:spLocks noChangeShapeType="1"/>
              </p:cNvSpPr>
              <p:nvPr/>
            </p:nvSpPr>
            <p:spPr bwMode="auto">
              <a:xfrm flipV="1">
                <a:off x="2512" y="1964"/>
                <a:ext cx="290" cy="289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3" name="Line 333"/>
              <p:cNvSpPr>
                <a:spLocks noChangeShapeType="1"/>
              </p:cNvSpPr>
              <p:nvPr/>
            </p:nvSpPr>
            <p:spPr bwMode="auto">
              <a:xfrm>
                <a:off x="1393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4" name="Line 334"/>
              <p:cNvSpPr>
                <a:spLocks noChangeShapeType="1"/>
              </p:cNvSpPr>
              <p:nvPr/>
            </p:nvSpPr>
            <p:spPr bwMode="auto">
              <a:xfrm>
                <a:off x="1616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5" name="Line 335"/>
              <p:cNvSpPr>
                <a:spLocks noChangeShapeType="1"/>
              </p:cNvSpPr>
              <p:nvPr/>
            </p:nvSpPr>
            <p:spPr bwMode="auto">
              <a:xfrm>
                <a:off x="1170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6" name="Line 336"/>
              <p:cNvSpPr>
                <a:spLocks noChangeShapeType="1"/>
              </p:cNvSpPr>
              <p:nvPr/>
            </p:nvSpPr>
            <p:spPr bwMode="auto">
              <a:xfrm>
                <a:off x="1839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7" name="Line 337"/>
              <p:cNvSpPr>
                <a:spLocks noChangeShapeType="1"/>
              </p:cNvSpPr>
              <p:nvPr/>
            </p:nvSpPr>
            <p:spPr bwMode="auto">
              <a:xfrm>
                <a:off x="2062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8" name="Line 338"/>
              <p:cNvSpPr>
                <a:spLocks noChangeShapeType="1"/>
              </p:cNvSpPr>
              <p:nvPr/>
            </p:nvSpPr>
            <p:spPr bwMode="auto">
              <a:xfrm>
                <a:off x="2285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699" name="Line 339"/>
              <p:cNvSpPr>
                <a:spLocks noChangeShapeType="1"/>
              </p:cNvSpPr>
              <p:nvPr/>
            </p:nvSpPr>
            <p:spPr bwMode="auto">
              <a:xfrm>
                <a:off x="2508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0" name="Line 340"/>
              <p:cNvSpPr>
                <a:spLocks noChangeShapeType="1"/>
              </p:cNvSpPr>
              <p:nvPr/>
            </p:nvSpPr>
            <p:spPr bwMode="auto">
              <a:xfrm>
                <a:off x="2606" y="1447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1" name="Line 341"/>
              <p:cNvSpPr>
                <a:spLocks noChangeShapeType="1"/>
              </p:cNvSpPr>
              <p:nvPr/>
            </p:nvSpPr>
            <p:spPr bwMode="auto">
              <a:xfrm>
                <a:off x="2704" y="1355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2" name="Line 342"/>
              <p:cNvSpPr>
                <a:spLocks noChangeShapeType="1"/>
              </p:cNvSpPr>
              <p:nvPr/>
            </p:nvSpPr>
            <p:spPr bwMode="auto">
              <a:xfrm>
                <a:off x="2802" y="1256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3" name="Line 343"/>
              <p:cNvSpPr>
                <a:spLocks noChangeShapeType="1"/>
              </p:cNvSpPr>
              <p:nvPr/>
            </p:nvSpPr>
            <p:spPr bwMode="auto">
              <a:xfrm>
                <a:off x="2508" y="1549"/>
                <a:ext cx="0" cy="88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4" name="Line 344"/>
              <p:cNvSpPr>
                <a:spLocks noChangeShapeType="1"/>
              </p:cNvSpPr>
              <p:nvPr/>
            </p:nvSpPr>
            <p:spPr bwMode="auto">
              <a:xfrm>
                <a:off x="1266" y="1450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5" name="Line 345"/>
              <p:cNvSpPr>
                <a:spLocks noChangeShapeType="1"/>
              </p:cNvSpPr>
              <p:nvPr/>
            </p:nvSpPr>
            <p:spPr bwMode="auto">
              <a:xfrm>
                <a:off x="1364" y="1355"/>
                <a:ext cx="1340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6" name="Line 346"/>
              <p:cNvSpPr>
                <a:spLocks noChangeShapeType="1"/>
              </p:cNvSpPr>
              <p:nvPr/>
            </p:nvSpPr>
            <p:spPr bwMode="auto">
              <a:xfrm flipV="1">
                <a:off x="2285" y="1256"/>
                <a:ext cx="291" cy="29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7" name="Line 347"/>
              <p:cNvSpPr>
                <a:spLocks noChangeShapeType="1"/>
              </p:cNvSpPr>
              <p:nvPr/>
            </p:nvSpPr>
            <p:spPr bwMode="auto">
              <a:xfrm flipV="1">
                <a:off x="2062" y="1256"/>
                <a:ext cx="291" cy="29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8" name="Line 348"/>
              <p:cNvSpPr>
                <a:spLocks noChangeShapeType="1"/>
              </p:cNvSpPr>
              <p:nvPr/>
            </p:nvSpPr>
            <p:spPr bwMode="auto">
              <a:xfrm flipV="1">
                <a:off x="1839" y="1256"/>
                <a:ext cx="291" cy="29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09" name="Line 349"/>
              <p:cNvSpPr>
                <a:spLocks noChangeShapeType="1"/>
              </p:cNvSpPr>
              <p:nvPr/>
            </p:nvSpPr>
            <p:spPr bwMode="auto">
              <a:xfrm flipV="1">
                <a:off x="1616" y="1256"/>
                <a:ext cx="291" cy="29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10" name="Line 350"/>
              <p:cNvSpPr>
                <a:spLocks noChangeShapeType="1"/>
              </p:cNvSpPr>
              <p:nvPr/>
            </p:nvSpPr>
            <p:spPr bwMode="auto">
              <a:xfrm flipV="1">
                <a:off x="1393" y="1256"/>
                <a:ext cx="291" cy="293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</p:grpSp>
      </p:grpSp>
      <p:grpSp>
        <p:nvGrpSpPr>
          <p:cNvPr id="71" name="70 Grupo"/>
          <p:cNvGrpSpPr/>
          <p:nvPr/>
        </p:nvGrpSpPr>
        <p:grpSpPr>
          <a:xfrm>
            <a:off x="6128945" y="1536956"/>
            <a:ext cx="3534809" cy="4098528"/>
            <a:chOff x="5678488" y="1350963"/>
            <a:chExt cx="3275012" cy="3797300"/>
          </a:xfrm>
        </p:grpSpPr>
        <p:sp>
          <p:nvSpPr>
            <p:cNvPr id="1039436" name="Line 76"/>
            <p:cNvSpPr>
              <a:spLocks noChangeShapeType="1"/>
            </p:cNvSpPr>
            <p:nvPr/>
          </p:nvSpPr>
          <p:spPr bwMode="auto">
            <a:xfrm flipH="1">
              <a:off x="5678488" y="3802063"/>
              <a:ext cx="952500" cy="1346200"/>
            </a:xfrm>
            <a:prstGeom prst="line">
              <a:avLst/>
            </a:prstGeom>
            <a:noFill/>
            <a:ln w="34925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39437" name="Line 77"/>
            <p:cNvSpPr>
              <a:spLocks noChangeShapeType="1"/>
            </p:cNvSpPr>
            <p:nvPr/>
          </p:nvSpPr>
          <p:spPr bwMode="auto">
            <a:xfrm flipV="1">
              <a:off x="6842125" y="1350963"/>
              <a:ext cx="0" cy="2460625"/>
            </a:xfrm>
            <a:prstGeom prst="line">
              <a:avLst/>
            </a:prstGeom>
            <a:noFill/>
            <a:ln w="31750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39438" name="Line 78"/>
            <p:cNvSpPr>
              <a:spLocks noChangeShapeType="1"/>
            </p:cNvSpPr>
            <p:nvPr/>
          </p:nvSpPr>
          <p:spPr bwMode="auto">
            <a:xfrm rot="5400000" flipV="1">
              <a:off x="7783513" y="2559051"/>
              <a:ext cx="1588" cy="2338387"/>
            </a:xfrm>
            <a:prstGeom prst="line">
              <a:avLst/>
            </a:prstGeom>
            <a:noFill/>
            <a:ln w="31750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grpSp>
          <p:nvGrpSpPr>
            <p:cNvPr id="5" name="Group 395"/>
            <p:cNvGrpSpPr>
              <a:grpSpLocks/>
            </p:cNvGrpSpPr>
            <p:nvPr/>
          </p:nvGrpSpPr>
          <p:grpSpPr bwMode="auto">
            <a:xfrm>
              <a:off x="6324600" y="2195513"/>
              <a:ext cx="2155825" cy="2035175"/>
              <a:chOff x="3846" y="1253"/>
              <a:chExt cx="1634" cy="1542"/>
            </a:xfrm>
          </p:grpSpPr>
          <p:sp>
            <p:nvSpPr>
              <p:cNvPr id="1039713" name="AutoShape 353"/>
              <p:cNvSpPr>
                <a:spLocks noChangeArrowheads="1"/>
              </p:cNvSpPr>
              <p:nvPr/>
            </p:nvSpPr>
            <p:spPr bwMode="auto">
              <a:xfrm>
                <a:off x="3848" y="1253"/>
                <a:ext cx="1632" cy="1542"/>
              </a:xfrm>
              <a:prstGeom prst="cube">
                <a:avLst>
                  <a:gd name="adj" fmla="val 25000"/>
                </a:avLst>
              </a:prstGeom>
              <a:solidFill>
                <a:schemeClr val="tx2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s-ES" sz="2159"/>
              </a:p>
            </p:txBody>
          </p:sp>
          <p:grpSp>
            <p:nvGrpSpPr>
              <p:cNvPr id="6" name="Group 383"/>
              <p:cNvGrpSpPr>
                <a:grpSpLocks/>
              </p:cNvGrpSpPr>
              <p:nvPr/>
            </p:nvGrpSpPr>
            <p:grpSpPr bwMode="auto">
              <a:xfrm>
                <a:off x="3846" y="1640"/>
                <a:ext cx="1242" cy="1155"/>
                <a:chOff x="3846" y="1640"/>
                <a:chExt cx="1340" cy="1155"/>
              </a:xfrm>
            </p:grpSpPr>
            <p:sp>
              <p:nvSpPr>
                <p:cNvPr id="1039714" name="Line 354"/>
                <p:cNvSpPr>
                  <a:spLocks noChangeShapeType="1"/>
                </p:cNvSpPr>
                <p:nvPr/>
              </p:nvSpPr>
              <p:spPr bwMode="auto">
                <a:xfrm>
                  <a:off x="3846" y="1870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1039715" name="Line 355"/>
                <p:cNvSpPr>
                  <a:spLocks noChangeShapeType="1"/>
                </p:cNvSpPr>
                <p:nvPr/>
              </p:nvSpPr>
              <p:spPr bwMode="auto">
                <a:xfrm>
                  <a:off x="3846" y="2102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1039716" name="Line 356"/>
                <p:cNvSpPr>
                  <a:spLocks noChangeShapeType="1"/>
                </p:cNvSpPr>
                <p:nvPr/>
              </p:nvSpPr>
              <p:spPr bwMode="auto">
                <a:xfrm>
                  <a:off x="3846" y="2332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1039717" name="Line 357"/>
                <p:cNvSpPr>
                  <a:spLocks noChangeShapeType="1"/>
                </p:cNvSpPr>
                <p:nvPr/>
              </p:nvSpPr>
              <p:spPr bwMode="auto">
                <a:xfrm>
                  <a:off x="3846" y="2564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1039718" name="Line 358"/>
                <p:cNvSpPr>
                  <a:spLocks noChangeShapeType="1"/>
                </p:cNvSpPr>
                <p:nvPr/>
              </p:nvSpPr>
              <p:spPr bwMode="auto">
                <a:xfrm>
                  <a:off x="3846" y="2795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1039719" name="Line 359"/>
                <p:cNvSpPr>
                  <a:spLocks noChangeShapeType="1"/>
                </p:cNvSpPr>
                <p:nvPr/>
              </p:nvSpPr>
              <p:spPr bwMode="auto">
                <a:xfrm>
                  <a:off x="3846" y="1640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</p:grpSp>
          <p:sp>
            <p:nvSpPr>
              <p:cNvPr id="1039724" name="Line 364"/>
              <p:cNvSpPr>
                <a:spLocks noChangeShapeType="1"/>
              </p:cNvSpPr>
              <p:nvPr/>
            </p:nvSpPr>
            <p:spPr bwMode="auto">
              <a:xfrm>
                <a:off x="4055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25" name="Line 365"/>
              <p:cNvSpPr>
                <a:spLocks noChangeShapeType="1"/>
              </p:cNvSpPr>
              <p:nvPr/>
            </p:nvSpPr>
            <p:spPr bwMode="auto">
              <a:xfrm>
                <a:off x="4263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26" name="Line 366"/>
              <p:cNvSpPr>
                <a:spLocks noChangeShapeType="1"/>
              </p:cNvSpPr>
              <p:nvPr/>
            </p:nvSpPr>
            <p:spPr bwMode="auto">
              <a:xfrm>
                <a:off x="3848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27" name="Line 367"/>
              <p:cNvSpPr>
                <a:spLocks noChangeShapeType="1"/>
              </p:cNvSpPr>
              <p:nvPr/>
            </p:nvSpPr>
            <p:spPr bwMode="auto">
              <a:xfrm>
                <a:off x="4471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28" name="Line 368"/>
              <p:cNvSpPr>
                <a:spLocks noChangeShapeType="1"/>
              </p:cNvSpPr>
              <p:nvPr/>
            </p:nvSpPr>
            <p:spPr bwMode="auto">
              <a:xfrm>
                <a:off x="4678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29" name="Line 369"/>
              <p:cNvSpPr>
                <a:spLocks noChangeShapeType="1"/>
              </p:cNvSpPr>
              <p:nvPr/>
            </p:nvSpPr>
            <p:spPr bwMode="auto">
              <a:xfrm>
                <a:off x="4886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34" name="Line 374"/>
              <p:cNvSpPr>
                <a:spLocks noChangeShapeType="1"/>
              </p:cNvSpPr>
              <p:nvPr/>
            </p:nvSpPr>
            <p:spPr bwMode="auto">
              <a:xfrm>
                <a:off x="5094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35" name="Line 375"/>
              <p:cNvSpPr>
                <a:spLocks noChangeShapeType="1"/>
              </p:cNvSpPr>
              <p:nvPr/>
            </p:nvSpPr>
            <p:spPr bwMode="auto">
              <a:xfrm>
                <a:off x="3964" y="1523"/>
                <a:ext cx="1243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36" name="Line 376"/>
              <p:cNvSpPr>
                <a:spLocks noChangeShapeType="1"/>
              </p:cNvSpPr>
              <p:nvPr/>
            </p:nvSpPr>
            <p:spPr bwMode="auto">
              <a:xfrm>
                <a:off x="4105" y="1386"/>
                <a:ext cx="1238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4" name="Line 384"/>
              <p:cNvSpPr>
                <a:spLocks noChangeShapeType="1"/>
              </p:cNvSpPr>
              <p:nvPr/>
            </p:nvSpPr>
            <p:spPr bwMode="auto">
              <a:xfrm flipV="1">
                <a:off x="4055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5" name="Line 385"/>
              <p:cNvSpPr>
                <a:spLocks noChangeShapeType="1"/>
              </p:cNvSpPr>
              <p:nvPr/>
            </p:nvSpPr>
            <p:spPr bwMode="auto">
              <a:xfrm flipV="1">
                <a:off x="4261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6" name="Line 386"/>
              <p:cNvSpPr>
                <a:spLocks noChangeShapeType="1"/>
              </p:cNvSpPr>
              <p:nvPr/>
            </p:nvSpPr>
            <p:spPr bwMode="auto">
              <a:xfrm flipV="1">
                <a:off x="4468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7" name="Line 387"/>
              <p:cNvSpPr>
                <a:spLocks noChangeShapeType="1"/>
              </p:cNvSpPr>
              <p:nvPr/>
            </p:nvSpPr>
            <p:spPr bwMode="auto">
              <a:xfrm flipV="1">
                <a:off x="4675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8" name="Line 388"/>
              <p:cNvSpPr>
                <a:spLocks noChangeShapeType="1"/>
              </p:cNvSpPr>
              <p:nvPr/>
            </p:nvSpPr>
            <p:spPr bwMode="auto">
              <a:xfrm flipV="1">
                <a:off x="4881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49" name="Line 389"/>
              <p:cNvSpPr>
                <a:spLocks noChangeShapeType="1"/>
              </p:cNvSpPr>
              <p:nvPr/>
            </p:nvSpPr>
            <p:spPr bwMode="auto">
              <a:xfrm>
                <a:off x="5207" y="1532"/>
                <a:ext cx="0" cy="1148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50" name="Line 390"/>
              <p:cNvSpPr>
                <a:spLocks noChangeShapeType="1"/>
              </p:cNvSpPr>
              <p:nvPr/>
            </p:nvSpPr>
            <p:spPr bwMode="auto">
              <a:xfrm>
                <a:off x="5342" y="1390"/>
                <a:ext cx="0" cy="1148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51" name="Line 391"/>
              <p:cNvSpPr>
                <a:spLocks noChangeShapeType="1"/>
              </p:cNvSpPr>
              <p:nvPr/>
            </p:nvSpPr>
            <p:spPr bwMode="auto">
              <a:xfrm flipV="1">
                <a:off x="5094" y="1450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52" name="Line 392"/>
              <p:cNvSpPr>
                <a:spLocks noChangeShapeType="1"/>
              </p:cNvSpPr>
              <p:nvPr/>
            </p:nvSpPr>
            <p:spPr bwMode="auto">
              <a:xfrm flipV="1">
                <a:off x="5094" y="168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53" name="Line 393"/>
              <p:cNvSpPr>
                <a:spLocks noChangeShapeType="1"/>
              </p:cNvSpPr>
              <p:nvPr/>
            </p:nvSpPr>
            <p:spPr bwMode="auto">
              <a:xfrm flipV="1">
                <a:off x="5094" y="191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039754" name="Line 394"/>
              <p:cNvSpPr>
                <a:spLocks noChangeShapeType="1"/>
              </p:cNvSpPr>
              <p:nvPr/>
            </p:nvSpPr>
            <p:spPr bwMode="auto">
              <a:xfrm flipV="1">
                <a:off x="5094" y="214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</p:grpSp>
      </p:grpSp>
      <p:sp>
        <p:nvSpPr>
          <p:cNvPr id="76" name="7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altLang="zh-CN" dirty="0" smtClean="0"/>
              <a:t>Cubo</a:t>
            </a:r>
            <a:endParaRPr lang="pt-BR" dirty="0"/>
          </a:p>
        </p:txBody>
      </p:sp>
      <p:sp>
        <p:nvSpPr>
          <p:cNvPr id="73" name="7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altLang="zh-CN" dirty="0" smtClean="0"/>
              <a:t>Formas y </a:t>
            </a:r>
            <a:r>
              <a:rPr lang="pt-BR" altLang="zh-CN" dirty="0" err="1" smtClean="0"/>
              <a:t>dibujos</a:t>
            </a:r>
            <a:endParaRPr lang="pt-BR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6929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527253" y="841373"/>
            <a:ext cx="2082495" cy="2039422"/>
            <a:chOff x="1980" y="1873"/>
            <a:chExt cx="1464" cy="1305"/>
          </a:xfrm>
          <a:solidFill>
            <a:schemeClr val="accent6"/>
          </a:solidFill>
        </p:grpSpPr>
        <p:sp>
          <p:nvSpPr>
            <p:cNvPr id="1093647" name="AutoShape 15"/>
            <p:cNvSpPr>
              <a:spLocks noChangeArrowheads="1"/>
            </p:cNvSpPr>
            <p:nvPr/>
          </p:nvSpPr>
          <p:spPr bwMode="auto">
            <a:xfrm>
              <a:off x="2364" y="25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48" name="AutoShape 16"/>
            <p:cNvSpPr>
              <a:spLocks noChangeArrowheads="1"/>
            </p:cNvSpPr>
            <p:nvPr/>
          </p:nvSpPr>
          <p:spPr bwMode="auto">
            <a:xfrm>
              <a:off x="2364" y="222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49" name="AutoShape 17"/>
            <p:cNvSpPr>
              <a:spLocks noChangeArrowheads="1"/>
            </p:cNvSpPr>
            <p:nvPr/>
          </p:nvSpPr>
          <p:spPr bwMode="auto">
            <a:xfrm>
              <a:off x="2724" y="25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0" name="AutoShape 18"/>
            <p:cNvSpPr>
              <a:spLocks noChangeArrowheads="1"/>
            </p:cNvSpPr>
            <p:nvPr/>
          </p:nvSpPr>
          <p:spPr bwMode="auto">
            <a:xfrm>
              <a:off x="2724" y="222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1" name="AutoShape 19"/>
            <p:cNvSpPr>
              <a:spLocks noChangeArrowheads="1"/>
            </p:cNvSpPr>
            <p:nvPr/>
          </p:nvSpPr>
          <p:spPr bwMode="auto">
            <a:xfrm>
              <a:off x="2232" y="270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2" name="AutoShape 20"/>
            <p:cNvSpPr>
              <a:spLocks noChangeArrowheads="1"/>
            </p:cNvSpPr>
            <p:nvPr/>
          </p:nvSpPr>
          <p:spPr bwMode="auto">
            <a:xfrm>
              <a:off x="2232" y="235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3" name="AutoShape 21"/>
            <p:cNvSpPr>
              <a:spLocks noChangeArrowheads="1"/>
            </p:cNvSpPr>
            <p:nvPr/>
          </p:nvSpPr>
          <p:spPr bwMode="auto">
            <a:xfrm>
              <a:off x="2592" y="270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4" name="AutoShape 22"/>
            <p:cNvSpPr>
              <a:spLocks noChangeArrowheads="1"/>
            </p:cNvSpPr>
            <p:nvPr/>
          </p:nvSpPr>
          <p:spPr bwMode="auto">
            <a:xfrm>
              <a:off x="2592" y="235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5" name="AutoShape 23"/>
            <p:cNvSpPr>
              <a:spLocks noChangeArrowheads="1"/>
            </p:cNvSpPr>
            <p:nvPr/>
          </p:nvSpPr>
          <p:spPr bwMode="auto">
            <a:xfrm>
              <a:off x="3084" y="25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6" name="AutoShape 24"/>
            <p:cNvSpPr>
              <a:spLocks noChangeArrowheads="1"/>
            </p:cNvSpPr>
            <p:nvPr/>
          </p:nvSpPr>
          <p:spPr bwMode="auto">
            <a:xfrm>
              <a:off x="3084" y="222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7" name="AutoShape 25"/>
            <p:cNvSpPr>
              <a:spLocks noChangeArrowheads="1"/>
            </p:cNvSpPr>
            <p:nvPr/>
          </p:nvSpPr>
          <p:spPr bwMode="auto">
            <a:xfrm>
              <a:off x="3444" y="25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8" name="AutoShape 26"/>
            <p:cNvSpPr>
              <a:spLocks noChangeArrowheads="1"/>
            </p:cNvSpPr>
            <p:nvPr/>
          </p:nvSpPr>
          <p:spPr bwMode="auto">
            <a:xfrm>
              <a:off x="3444" y="222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59" name="AutoShape 27"/>
            <p:cNvSpPr>
              <a:spLocks noChangeArrowheads="1"/>
            </p:cNvSpPr>
            <p:nvPr/>
          </p:nvSpPr>
          <p:spPr bwMode="auto">
            <a:xfrm>
              <a:off x="2952" y="270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0" name="AutoShape 28"/>
            <p:cNvSpPr>
              <a:spLocks noChangeArrowheads="1"/>
            </p:cNvSpPr>
            <p:nvPr/>
          </p:nvSpPr>
          <p:spPr bwMode="auto">
            <a:xfrm>
              <a:off x="2952" y="235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1" name="AutoShape 29"/>
            <p:cNvSpPr>
              <a:spLocks noChangeArrowheads="1"/>
            </p:cNvSpPr>
            <p:nvPr/>
          </p:nvSpPr>
          <p:spPr bwMode="auto">
            <a:xfrm>
              <a:off x="3312" y="2701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2" name="AutoShape 30"/>
            <p:cNvSpPr>
              <a:spLocks noChangeArrowheads="1"/>
            </p:cNvSpPr>
            <p:nvPr/>
          </p:nvSpPr>
          <p:spPr bwMode="auto">
            <a:xfrm>
              <a:off x="3312" y="235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3" name="AutoShape 31"/>
            <p:cNvSpPr>
              <a:spLocks noChangeArrowheads="1"/>
            </p:cNvSpPr>
            <p:nvPr/>
          </p:nvSpPr>
          <p:spPr bwMode="auto">
            <a:xfrm>
              <a:off x="2112" y="283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4" name="AutoShape 32"/>
            <p:cNvSpPr>
              <a:spLocks noChangeArrowheads="1"/>
            </p:cNvSpPr>
            <p:nvPr/>
          </p:nvSpPr>
          <p:spPr bwMode="auto">
            <a:xfrm>
              <a:off x="2112" y="248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5" name="AutoShape 33"/>
            <p:cNvSpPr>
              <a:spLocks noChangeArrowheads="1"/>
            </p:cNvSpPr>
            <p:nvPr/>
          </p:nvSpPr>
          <p:spPr bwMode="auto">
            <a:xfrm>
              <a:off x="2472" y="283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6" name="AutoShape 34"/>
            <p:cNvSpPr>
              <a:spLocks noChangeArrowheads="1"/>
            </p:cNvSpPr>
            <p:nvPr/>
          </p:nvSpPr>
          <p:spPr bwMode="auto">
            <a:xfrm>
              <a:off x="2472" y="248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7" name="AutoShape 35"/>
            <p:cNvSpPr>
              <a:spLocks noChangeArrowheads="1"/>
            </p:cNvSpPr>
            <p:nvPr/>
          </p:nvSpPr>
          <p:spPr bwMode="auto">
            <a:xfrm>
              <a:off x="1980" y="296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8" name="AutoShape 36"/>
            <p:cNvSpPr>
              <a:spLocks noChangeArrowheads="1"/>
            </p:cNvSpPr>
            <p:nvPr/>
          </p:nvSpPr>
          <p:spPr bwMode="auto">
            <a:xfrm>
              <a:off x="1980" y="261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69" name="AutoShape 37"/>
            <p:cNvSpPr>
              <a:spLocks noChangeArrowheads="1"/>
            </p:cNvSpPr>
            <p:nvPr/>
          </p:nvSpPr>
          <p:spPr bwMode="auto">
            <a:xfrm>
              <a:off x="2340" y="296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0" name="AutoShape 38"/>
            <p:cNvSpPr>
              <a:spLocks noChangeArrowheads="1"/>
            </p:cNvSpPr>
            <p:nvPr/>
          </p:nvSpPr>
          <p:spPr bwMode="auto">
            <a:xfrm>
              <a:off x="2340" y="261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1" name="AutoShape 39"/>
            <p:cNvSpPr>
              <a:spLocks noChangeArrowheads="1"/>
            </p:cNvSpPr>
            <p:nvPr/>
          </p:nvSpPr>
          <p:spPr bwMode="auto">
            <a:xfrm>
              <a:off x="2832" y="283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2" name="AutoShape 40"/>
            <p:cNvSpPr>
              <a:spLocks noChangeArrowheads="1"/>
            </p:cNvSpPr>
            <p:nvPr/>
          </p:nvSpPr>
          <p:spPr bwMode="auto">
            <a:xfrm>
              <a:off x="2832" y="248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3" name="AutoShape 41"/>
            <p:cNvSpPr>
              <a:spLocks noChangeArrowheads="1"/>
            </p:cNvSpPr>
            <p:nvPr/>
          </p:nvSpPr>
          <p:spPr bwMode="auto">
            <a:xfrm>
              <a:off x="3192" y="283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4" name="AutoShape 42"/>
            <p:cNvSpPr>
              <a:spLocks noChangeArrowheads="1"/>
            </p:cNvSpPr>
            <p:nvPr/>
          </p:nvSpPr>
          <p:spPr bwMode="auto">
            <a:xfrm>
              <a:off x="3192" y="248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5" name="AutoShape 43"/>
            <p:cNvSpPr>
              <a:spLocks noChangeArrowheads="1"/>
            </p:cNvSpPr>
            <p:nvPr/>
          </p:nvSpPr>
          <p:spPr bwMode="auto">
            <a:xfrm>
              <a:off x="2700" y="296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6" name="AutoShape 44"/>
            <p:cNvSpPr>
              <a:spLocks noChangeArrowheads="1"/>
            </p:cNvSpPr>
            <p:nvPr/>
          </p:nvSpPr>
          <p:spPr bwMode="auto">
            <a:xfrm>
              <a:off x="2700" y="261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7" name="AutoShape 45"/>
            <p:cNvSpPr>
              <a:spLocks noChangeArrowheads="1"/>
            </p:cNvSpPr>
            <p:nvPr/>
          </p:nvSpPr>
          <p:spPr bwMode="auto">
            <a:xfrm>
              <a:off x="3060" y="296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8" name="AutoShape 46"/>
            <p:cNvSpPr>
              <a:spLocks noChangeArrowheads="1"/>
            </p:cNvSpPr>
            <p:nvPr/>
          </p:nvSpPr>
          <p:spPr bwMode="auto">
            <a:xfrm>
              <a:off x="3060" y="261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79" name="AutoShape 47"/>
            <p:cNvSpPr>
              <a:spLocks noChangeArrowheads="1"/>
            </p:cNvSpPr>
            <p:nvPr/>
          </p:nvSpPr>
          <p:spPr bwMode="auto">
            <a:xfrm>
              <a:off x="2364" y="187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0" name="AutoShape 48"/>
            <p:cNvSpPr>
              <a:spLocks noChangeArrowheads="1"/>
            </p:cNvSpPr>
            <p:nvPr/>
          </p:nvSpPr>
          <p:spPr bwMode="auto">
            <a:xfrm>
              <a:off x="2724" y="187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1" name="AutoShape 49"/>
            <p:cNvSpPr>
              <a:spLocks noChangeArrowheads="1"/>
            </p:cNvSpPr>
            <p:nvPr/>
          </p:nvSpPr>
          <p:spPr bwMode="auto">
            <a:xfrm>
              <a:off x="2232" y="200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2" name="AutoShape 50"/>
            <p:cNvSpPr>
              <a:spLocks noChangeArrowheads="1"/>
            </p:cNvSpPr>
            <p:nvPr/>
          </p:nvSpPr>
          <p:spPr bwMode="auto">
            <a:xfrm>
              <a:off x="2592" y="200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3" name="AutoShape 51"/>
            <p:cNvSpPr>
              <a:spLocks noChangeArrowheads="1"/>
            </p:cNvSpPr>
            <p:nvPr/>
          </p:nvSpPr>
          <p:spPr bwMode="auto">
            <a:xfrm>
              <a:off x="3084" y="187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4" name="AutoShape 52"/>
            <p:cNvSpPr>
              <a:spLocks noChangeArrowheads="1"/>
            </p:cNvSpPr>
            <p:nvPr/>
          </p:nvSpPr>
          <p:spPr bwMode="auto">
            <a:xfrm>
              <a:off x="3444" y="1873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5" name="AutoShape 53"/>
            <p:cNvSpPr>
              <a:spLocks noChangeArrowheads="1"/>
            </p:cNvSpPr>
            <p:nvPr/>
          </p:nvSpPr>
          <p:spPr bwMode="auto">
            <a:xfrm>
              <a:off x="2952" y="200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6" name="AutoShape 54"/>
            <p:cNvSpPr>
              <a:spLocks noChangeArrowheads="1"/>
            </p:cNvSpPr>
            <p:nvPr/>
          </p:nvSpPr>
          <p:spPr bwMode="auto">
            <a:xfrm>
              <a:off x="3312" y="2005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7" name="AutoShape 55"/>
            <p:cNvSpPr>
              <a:spLocks noChangeArrowheads="1"/>
            </p:cNvSpPr>
            <p:nvPr/>
          </p:nvSpPr>
          <p:spPr bwMode="auto">
            <a:xfrm>
              <a:off x="2112" y="213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8" name="AutoShape 56"/>
            <p:cNvSpPr>
              <a:spLocks noChangeArrowheads="1"/>
            </p:cNvSpPr>
            <p:nvPr/>
          </p:nvSpPr>
          <p:spPr bwMode="auto">
            <a:xfrm>
              <a:off x="2472" y="213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89" name="AutoShape 57"/>
            <p:cNvSpPr>
              <a:spLocks noChangeArrowheads="1"/>
            </p:cNvSpPr>
            <p:nvPr/>
          </p:nvSpPr>
          <p:spPr bwMode="auto">
            <a:xfrm>
              <a:off x="1980" y="22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90" name="AutoShape 58"/>
            <p:cNvSpPr>
              <a:spLocks noChangeArrowheads="1"/>
            </p:cNvSpPr>
            <p:nvPr/>
          </p:nvSpPr>
          <p:spPr bwMode="auto">
            <a:xfrm>
              <a:off x="2340" y="22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91" name="AutoShape 59"/>
            <p:cNvSpPr>
              <a:spLocks noChangeArrowheads="1"/>
            </p:cNvSpPr>
            <p:nvPr/>
          </p:nvSpPr>
          <p:spPr bwMode="auto">
            <a:xfrm>
              <a:off x="2832" y="213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92" name="AutoShape 60"/>
            <p:cNvSpPr>
              <a:spLocks noChangeArrowheads="1"/>
            </p:cNvSpPr>
            <p:nvPr/>
          </p:nvSpPr>
          <p:spPr bwMode="auto">
            <a:xfrm>
              <a:off x="3192" y="2137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93" name="AutoShape 61"/>
            <p:cNvSpPr>
              <a:spLocks noChangeArrowheads="1"/>
            </p:cNvSpPr>
            <p:nvPr/>
          </p:nvSpPr>
          <p:spPr bwMode="auto">
            <a:xfrm>
              <a:off x="2700" y="22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694" name="AutoShape 62"/>
            <p:cNvSpPr>
              <a:spLocks noChangeArrowheads="1"/>
            </p:cNvSpPr>
            <p:nvPr/>
          </p:nvSpPr>
          <p:spPr bwMode="auto">
            <a:xfrm>
              <a:off x="3060" y="2269"/>
              <a:ext cx="0" cy="213"/>
            </a:xfrm>
            <a:prstGeom prst="cube">
              <a:avLst>
                <a:gd name="adj" fmla="val 25000"/>
              </a:avLst>
            </a:prstGeom>
            <a:grpFill/>
            <a:ln w="9525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</p:grpSp>
      <p:grpSp>
        <p:nvGrpSpPr>
          <p:cNvPr id="197" name="196 Grupo"/>
          <p:cNvGrpSpPr/>
          <p:nvPr/>
        </p:nvGrpSpPr>
        <p:grpSpPr>
          <a:xfrm>
            <a:off x="7646562" y="280683"/>
            <a:ext cx="2828876" cy="2455414"/>
            <a:chOff x="6393160" y="331038"/>
            <a:chExt cx="2620963" cy="2274949"/>
          </a:xfrm>
        </p:grpSpPr>
        <p:sp>
          <p:nvSpPr>
            <p:cNvPr id="1093706" name="AutoShape 74"/>
            <p:cNvSpPr>
              <a:spLocks noChangeArrowheads="1"/>
            </p:cNvSpPr>
            <p:nvPr/>
          </p:nvSpPr>
          <p:spPr bwMode="auto">
            <a:xfrm>
              <a:off x="7631410" y="1183556"/>
              <a:ext cx="228600" cy="228600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93707" name="Text Box 75"/>
            <p:cNvSpPr txBox="1">
              <a:spLocks noChangeArrowheads="1"/>
            </p:cNvSpPr>
            <p:nvPr/>
          </p:nvSpPr>
          <p:spPr bwMode="auto">
            <a:xfrm>
              <a:off x="6393160" y="2388438"/>
              <a:ext cx="604838" cy="217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Mercado</a:t>
              </a:r>
            </a:p>
          </p:txBody>
        </p:sp>
        <p:sp>
          <p:nvSpPr>
            <p:cNvPr id="1093708" name="Text Box 76"/>
            <p:cNvSpPr txBox="1">
              <a:spLocks noChangeArrowheads="1"/>
            </p:cNvSpPr>
            <p:nvPr/>
          </p:nvSpPr>
          <p:spPr bwMode="auto">
            <a:xfrm>
              <a:off x="6793210" y="331038"/>
              <a:ext cx="661988" cy="217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Canales</a:t>
              </a:r>
            </a:p>
          </p:txBody>
        </p:sp>
        <p:sp>
          <p:nvSpPr>
            <p:cNvPr id="1093709" name="Text Box 77"/>
            <p:cNvSpPr txBox="1">
              <a:spLocks noChangeArrowheads="1"/>
            </p:cNvSpPr>
            <p:nvPr/>
          </p:nvSpPr>
          <p:spPr bwMode="auto">
            <a:xfrm>
              <a:off x="8374360" y="1810588"/>
              <a:ext cx="639763" cy="2175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Producto</a:t>
              </a:r>
            </a:p>
          </p:txBody>
        </p:sp>
        <p:sp>
          <p:nvSpPr>
            <p:cNvPr id="1093710" name="Line 78"/>
            <p:cNvSpPr>
              <a:spLocks noChangeShapeType="1"/>
            </p:cNvSpPr>
            <p:nvPr/>
          </p:nvSpPr>
          <p:spPr bwMode="auto">
            <a:xfrm>
              <a:off x="7131348" y="561256"/>
              <a:ext cx="0" cy="1370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711" name="Line 79"/>
            <p:cNvSpPr>
              <a:spLocks noChangeShapeType="1"/>
            </p:cNvSpPr>
            <p:nvPr/>
          </p:nvSpPr>
          <p:spPr bwMode="auto">
            <a:xfrm rot="5400000">
              <a:off x="7753648" y="1308968"/>
              <a:ext cx="0" cy="124301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712" name="Line 80"/>
            <p:cNvSpPr>
              <a:spLocks noChangeShapeType="1"/>
            </p:cNvSpPr>
            <p:nvPr/>
          </p:nvSpPr>
          <p:spPr bwMode="auto">
            <a:xfrm flipH="1">
              <a:off x="6697960" y="1931268"/>
              <a:ext cx="433388" cy="42068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713" name="AutoShape 81"/>
            <p:cNvSpPr>
              <a:spLocks noChangeArrowheads="1"/>
            </p:cNvSpPr>
            <p:nvPr/>
          </p:nvSpPr>
          <p:spPr bwMode="auto">
            <a:xfrm>
              <a:off x="6780510" y="896218"/>
              <a:ext cx="1365250" cy="1365250"/>
            </a:xfrm>
            <a:prstGeom prst="cube">
              <a:avLst>
                <a:gd name="adj" fmla="val 25000"/>
              </a:avLst>
            </a:prstGeom>
            <a:solidFill>
              <a:schemeClr val="accent3">
                <a:alpha val="50000"/>
              </a:schemeClr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93714" name="Text Box 82"/>
            <p:cNvSpPr txBox="1">
              <a:spLocks noChangeArrowheads="1"/>
            </p:cNvSpPr>
            <p:nvPr/>
          </p:nvSpPr>
          <p:spPr bwMode="auto">
            <a:xfrm>
              <a:off x="7237710" y="894203"/>
              <a:ext cx="838200" cy="340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Modelo comercial</a:t>
              </a:r>
            </a:p>
          </p:txBody>
        </p:sp>
      </p:grpSp>
      <p:sp>
        <p:nvSpPr>
          <p:cNvPr id="1093716" name="Text Box 84"/>
          <p:cNvSpPr txBox="1">
            <a:spLocks noChangeArrowheads="1"/>
          </p:cNvSpPr>
          <p:nvPr/>
        </p:nvSpPr>
        <p:spPr bwMode="auto">
          <a:xfrm>
            <a:off x="60934" y="6655586"/>
            <a:ext cx="652818" cy="234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139" tIns="50513" rIns="97139" bIns="50513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863" i="1" dirty="0"/>
              <a:t>Mercado</a:t>
            </a:r>
          </a:p>
        </p:txBody>
      </p:sp>
      <p:sp>
        <p:nvSpPr>
          <p:cNvPr id="1093717" name="Text Box 85"/>
          <p:cNvSpPr txBox="1">
            <a:spLocks noChangeArrowheads="1"/>
          </p:cNvSpPr>
          <p:nvPr/>
        </p:nvSpPr>
        <p:spPr bwMode="auto">
          <a:xfrm>
            <a:off x="864534" y="4049455"/>
            <a:ext cx="714501" cy="234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139" tIns="50513" rIns="97139" bIns="50513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863" i="1" dirty="0" err="1"/>
              <a:t>Canales</a:t>
            </a:r>
            <a:endParaRPr lang="pt-BR" sz="863" i="1" dirty="0"/>
          </a:p>
        </p:txBody>
      </p:sp>
      <p:sp>
        <p:nvSpPr>
          <p:cNvPr id="1093718" name="Text Box 86"/>
          <p:cNvSpPr txBox="1">
            <a:spLocks noChangeArrowheads="1"/>
          </p:cNvSpPr>
          <p:nvPr/>
        </p:nvSpPr>
        <p:spPr bwMode="auto">
          <a:xfrm>
            <a:off x="3169742" y="5798815"/>
            <a:ext cx="690513" cy="234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139" tIns="50513" rIns="97139" bIns="50513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863" i="1" dirty="0" err="1"/>
              <a:t>Producto</a:t>
            </a:r>
            <a:endParaRPr lang="pt-BR" sz="863" i="1" dirty="0"/>
          </a:p>
        </p:txBody>
      </p:sp>
      <p:sp>
        <p:nvSpPr>
          <p:cNvPr id="1093719" name="Line 87"/>
          <p:cNvSpPr>
            <a:spLocks noChangeShapeType="1"/>
          </p:cNvSpPr>
          <p:nvPr/>
        </p:nvSpPr>
        <p:spPr bwMode="auto">
          <a:xfrm>
            <a:off x="1229495" y="4297936"/>
            <a:ext cx="0" cy="147869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093720" name="Line 88"/>
          <p:cNvSpPr>
            <a:spLocks noChangeShapeType="1"/>
          </p:cNvSpPr>
          <p:nvPr/>
        </p:nvSpPr>
        <p:spPr bwMode="auto">
          <a:xfrm rot="5400000">
            <a:off x="2356932" y="4649190"/>
            <a:ext cx="0" cy="2253163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093721" name="Line 89"/>
          <p:cNvSpPr>
            <a:spLocks noChangeShapeType="1"/>
          </p:cNvSpPr>
          <p:nvPr/>
        </p:nvSpPr>
        <p:spPr bwMode="auto">
          <a:xfrm flipH="1">
            <a:off x="357359" y="5776628"/>
            <a:ext cx="872137" cy="84643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grpSp>
        <p:nvGrpSpPr>
          <p:cNvPr id="223" name="222 Grupo"/>
          <p:cNvGrpSpPr/>
          <p:nvPr/>
        </p:nvGrpSpPr>
        <p:grpSpPr>
          <a:xfrm>
            <a:off x="686338" y="4638117"/>
            <a:ext cx="1576443" cy="1625910"/>
            <a:chOff x="635894" y="4224201"/>
            <a:chExt cx="1460579" cy="1506412"/>
          </a:xfrm>
        </p:grpSpPr>
        <p:sp>
          <p:nvSpPr>
            <p:cNvPr id="1093722" name="AutoShape 90"/>
            <p:cNvSpPr>
              <a:spLocks noChangeArrowheads="1"/>
            </p:cNvSpPr>
            <p:nvPr/>
          </p:nvSpPr>
          <p:spPr bwMode="auto">
            <a:xfrm>
              <a:off x="1020069" y="4988583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3" name="AutoShape 91"/>
            <p:cNvSpPr>
              <a:spLocks noChangeArrowheads="1"/>
            </p:cNvSpPr>
            <p:nvPr/>
          </p:nvSpPr>
          <p:spPr bwMode="auto">
            <a:xfrm>
              <a:off x="1020069" y="4605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4" name="AutoShape 92"/>
            <p:cNvSpPr>
              <a:spLocks noChangeArrowheads="1"/>
            </p:cNvSpPr>
            <p:nvPr/>
          </p:nvSpPr>
          <p:spPr bwMode="auto">
            <a:xfrm>
              <a:off x="1378844" y="4988583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5" name="AutoShape 93"/>
            <p:cNvSpPr>
              <a:spLocks noChangeArrowheads="1"/>
            </p:cNvSpPr>
            <p:nvPr/>
          </p:nvSpPr>
          <p:spPr bwMode="auto">
            <a:xfrm>
              <a:off x="1378844" y="4605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6" name="AutoShape 94"/>
            <p:cNvSpPr>
              <a:spLocks noChangeArrowheads="1"/>
            </p:cNvSpPr>
            <p:nvPr/>
          </p:nvSpPr>
          <p:spPr bwMode="auto">
            <a:xfrm>
              <a:off x="886719" y="513225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7" name="AutoShape 95"/>
            <p:cNvSpPr>
              <a:spLocks noChangeArrowheads="1"/>
            </p:cNvSpPr>
            <p:nvPr/>
          </p:nvSpPr>
          <p:spPr bwMode="auto">
            <a:xfrm>
              <a:off x="886719" y="475125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8" name="AutoShape 96"/>
            <p:cNvSpPr>
              <a:spLocks noChangeArrowheads="1"/>
            </p:cNvSpPr>
            <p:nvPr/>
          </p:nvSpPr>
          <p:spPr bwMode="auto">
            <a:xfrm>
              <a:off x="1247081" y="513225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29" name="AutoShape 97"/>
            <p:cNvSpPr>
              <a:spLocks noChangeArrowheads="1"/>
            </p:cNvSpPr>
            <p:nvPr/>
          </p:nvSpPr>
          <p:spPr bwMode="auto">
            <a:xfrm>
              <a:off x="1247081" y="475125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0" name="AutoShape 98"/>
            <p:cNvSpPr>
              <a:spLocks noChangeArrowheads="1"/>
            </p:cNvSpPr>
            <p:nvPr/>
          </p:nvSpPr>
          <p:spPr bwMode="auto">
            <a:xfrm>
              <a:off x="1739206" y="4988583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1" name="AutoShape 99"/>
            <p:cNvSpPr>
              <a:spLocks noChangeArrowheads="1"/>
            </p:cNvSpPr>
            <p:nvPr/>
          </p:nvSpPr>
          <p:spPr bwMode="auto">
            <a:xfrm>
              <a:off x="1739206" y="4605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2" name="AutoShape 100"/>
            <p:cNvSpPr>
              <a:spLocks noChangeArrowheads="1"/>
            </p:cNvSpPr>
            <p:nvPr/>
          </p:nvSpPr>
          <p:spPr bwMode="auto">
            <a:xfrm>
              <a:off x="2096394" y="4988583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3" name="AutoShape 101"/>
            <p:cNvSpPr>
              <a:spLocks noChangeArrowheads="1"/>
            </p:cNvSpPr>
            <p:nvPr/>
          </p:nvSpPr>
          <p:spPr bwMode="auto">
            <a:xfrm>
              <a:off x="2096394" y="4605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4" name="AutoShape 102"/>
            <p:cNvSpPr>
              <a:spLocks noChangeArrowheads="1"/>
            </p:cNvSpPr>
            <p:nvPr/>
          </p:nvSpPr>
          <p:spPr bwMode="auto">
            <a:xfrm>
              <a:off x="1605856" y="513225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5" name="AutoShape 103"/>
            <p:cNvSpPr>
              <a:spLocks noChangeArrowheads="1"/>
            </p:cNvSpPr>
            <p:nvPr/>
          </p:nvSpPr>
          <p:spPr bwMode="auto">
            <a:xfrm>
              <a:off x="1605856" y="475125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6" name="AutoShape 104"/>
            <p:cNvSpPr>
              <a:spLocks noChangeArrowheads="1"/>
            </p:cNvSpPr>
            <p:nvPr/>
          </p:nvSpPr>
          <p:spPr bwMode="auto">
            <a:xfrm>
              <a:off x="1966219" y="513225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7" name="AutoShape 105"/>
            <p:cNvSpPr>
              <a:spLocks noChangeArrowheads="1"/>
            </p:cNvSpPr>
            <p:nvPr/>
          </p:nvSpPr>
          <p:spPr bwMode="auto">
            <a:xfrm>
              <a:off x="1966219" y="475125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8" name="AutoShape 106"/>
            <p:cNvSpPr>
              <a:spLocks noChangeArrowheads="1"/>
            </p:cNvSpPr>
            <p:nvPr/>
          </p:nvSpPr>
          <p:spPr bwMode="auto">
            <a:xfrm>
              <a:off x="767656" y="52783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39" name="AutoShape 107"/>
            <p:cNvSpPr>
              <a:spLocks noChangeArrowheads="1"/>
            </p:cNvSpPr>
            <p:nvPr/>
          </p:nvSpPr>
          <p:spPr bwMode="auto">
            <a:xfrm>
              <a:off x="767656" y="489571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0" name="AutoShape 108"/>
            <p:cNvSpPr>
              <a:spLocks noChangeArrowheads="1"/>
            </p:cNvSpPr>
            <p:nvPr/>
          </p:nvSpPr>
          <p:spPr bwMode="auto">
            <a:xfrm>
              <a:off x="1126431" y="52783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1" name="AutoShape 109"/>
            <p:cNvSpPr>
              <a:spLocks noChangeArrowheads="1"/>
            </p:cNvSpPr>
            <p:nvPr/>
          </p:nvSpPr>
          <p:spPr bwMode="auto">
            <a:xfrm>
              <a:off x="1126431" y="489571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2" name="AutoShape 110"/>
            <p:cNvSpPr>
              <a:spLocks noChangeArrowheads="1"/>
            </p:cNvSpPr>
            <p:nvPr/>
          </p:nvSpPr>
          <p:spPr bwMode="auto">
            <a:xfrm>
              <a:off x="635894" y="54227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3" name="AutoShape 111"/>
            <p:cNvSpPr>
              <a:spLocks noChangeArrowheads="1"/>
            </p:cNvSpPr>
            <p:nvPr/>
          </p:nvSpPr>
          <p:spPr bwMode="auto">
            <a:xfrm>
              <a:off x="635894" y="504176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4" name="AutoShape 112"/>
            <p:cNvSpPr>
              <a:spLocks noChangeArrowheads="1"/>
            </p:cNvSpPr>
            <p:nvPr/>
          </p:nvSpPr>
          <p:spPr bwMode="auto">
            <a:xfrm>
              <a:off x="996256" y="54227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5" name="AutoShape 113"/>
            <p:cNvSpPr>
              <a:spLocks noChangeArrowheads="1"/>
            </p:cNvSpPr>
            <p:nvPr/>
          </p:nvSpPr>
          <p:spPr bwMode="auto">
            <a:xfrm>
              <a:off x="996256" y="504176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6" name="AutoShape 114"/>
            <p:cNvSpPr>
              <a:spLocks noChangeArrowheads="1"/>
            </p:cNvSpPr>
            <p:nvPr/>
          </p:nvSpPr>
          <p:spPr bwMode="auto">
            <a:xfrm>
              <a:off x="1486794" y="52783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7" name="AutoShape 115"/>
            <p:cNvSpPr>
              <a:spLocks noChangeArrowheads="1"/>
            </p:cNvSpPr>
            <p:nvPr/>
          </p:nvSpPr>
          <p:spPr bwMode="auto">
            <a:xfrm>
              <a:off x="1486794" y="489571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8" name="AutoShape 116"/>
            <p:cNvSpPr>
              <a:spLocks noChangeArrowheads="1"/>
            </p:cNvSpPr>
            <p:nvPr/>
          </p:nvSpPr>
          <p:spPr bwMode="auto">
            <a:xfrm>
              <a:off x="1845569" y="52783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49" name="AutoShape 117"/>
            <p:cNvSpPr>
              <a:spLocks noChangeArrowheads="1"/>
            </p:cNvSpPr>
            <p:nvPr/>
          </p:nvSpPr>
          <p:spPr bwMode="auto">
            <a:xfrm>
              <a:off x="1845569" y="489571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0" name="AutoShape 118"/>
            <p:cNvSpPr>
              <a:spLocks noChangeArrowheads="1"/>
            </p:cNvSpPr>
            <p:nvPr/>
          </p:nvSpPr>
          <p:spPr bwMode="auto">
            <a:xfrm>
              <a:off x="1355031" y="54227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1" name="AutoShape 119"/>
            <p:cNvSpPr>
              <a:spLocks noChangeArrowheads="1"/>
            </p:cNvSpPr>
            <p:nvPr/>
          </p:nvSpPr>
          <p:spPr bwMode="auto">
            <a:xfrm>
              <a:off x="1355031" y="504176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2" name="AutoShape 120"/>
            <p:cNvSpPr>
              <a:spLocks noChangeArrowheads="1"/>
            </p:cNvSpPr>
            <p:nvPr/>
          </p:nvSpPr>
          <p:spPr bwMode="auto">
            <a:xfrm>
              <a:off x="1715394" y="54227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3" name="AutoShape 121"/>
            <p:cNvSpPr>
              <a:spLocks noChangeArrowheads="1"/>
            </p:cNvSpPr>
            <p:nvPr/>
          </p:nvSpPr>
          <p:spPr bwMode="auto">
            <a:xfrm>
              <a:off x="1715394" y="50417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4" name="AutoShape 122"/>
            <p:cNvSpPr>
              <a:spLocks noChangeArrowheads="1"/>
            </p:cNvSpPr>
            <p:nvPr/>
          </p:nvSpPr>
          <p:spPr bwMode="auto">
            <a:xfrm>
              <a:off x="1020069" y="4224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5" name="AutoShape 123"/>
            <p:cNvSpPr>
              <a:spLocks noChangeArrowheads="1"/>
            </p:cNvSpPr>
            <p:nvPr/>
          </p:nvSpPr>
          <p:spPr bwMode="auto">
            <a:xfrm>
              <a:off x="1378844" y="4224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6" name="AutoShape 124"/>
            <p:cNvSpPr>
              <a:spLocks noChangeArrowheads="1"/>
            </p:cNvSpPr>
            <p:nvPr/>
          </p:nvSpPr>
          <p:spPr bwMode="auto">
            <a:xfrm>
              <a:off x="886719" y="436866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7" name="AutoShape 125"/>
            <p:cNvSpPr>
              <a:spLocks noChangeArrowheads="1"/>
            </p:cNvSpPr>
            <p:nvPr/>
          </p:nvSpPr>
          <p:spPr bwMode="auto">
            <a:xfrm>
              <a:off x="1247081" y="436866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8" name="AutoShape 126"/>
            <p:cNvSpPr>
              <a:spLocks noChangeArrowheads="1"/>
            </p:cNvSpPr>
            <p:nvPr/>
          </p:nvSpPr>
          <p:spPr bwMode="auto">
            <a:xfrm>
              <a:off x="1739206" y="4224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59" name="AutoShape 127"/>
            <p:cNvSpPr>
              <a:spLocks noChangeArrowheads="1"/>
            </p:cNvSpPr>
            <p:nvPr/>
          </p:nvSpPr>
          <p:spPr bwMode="auto">
            <a:xfrm>
              <a:off x="2096394" y="4224201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0" name="AutoShape 128"/>
            <p:cNvSpPr>
              <a:spLocks noChangeArrowheads="1"/>
            </p:cNvSpPr>
            <p:nvPr/>
          </p:nvSpPr>
          <p:spPr bwMode="auto">
            <a:xfrm>
              <a:off x="1605856" y="43686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1" name="AutoShape 129"/>
            <p:cNvSpPr>
              <a:spLocks noChangeArrowheads="1"/>
            </p:cNvSpPr>
            <p:nvPr/>
          </p:nvSpPr>
          <p:spPr bwMode="auto">
            <a:xfrm>
              <a:off x="1966219" y="4368664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2" name="AutoShape 130"/>
            <p:cNvSpPr>
              <a:spLocks noChangeArrowheads="1"/>
            </p:cNvSpPr>
            <p:nvPr/>
          </p:nvSpPr>
          <p:spPr bwMode="auto">
            <a:xfrm>
              <a:off x="767656" y="451471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3" name="AutoShape 131"/>
            <p:cNvSpPr>
              <a:spLocks noChangeArrowheads="1"/>
            </p:cNvSpPr>
            <p:nvPr/>
          </p:nvSpPr>
          <p:spPr bwMode="auto">
            <a:xfrm>
              <a:off x="1126431" y="451471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4" name="AutoShape 132"/>
            <p:cNvSpPr>
              <a:spLocks noChangeArrowheads="1"/>
            </p:cNvSpPr>
            <p:nvPr/>
          </p:nvSpPr>
          <p:spPr bwMode="auto">
            <a:xfrm>
              <a:off x="635894" y="465838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5" name="AutoShape 133"/>
            <p:cNvSpPr>
              <a:spLocks noChangeArrowheads="1"/>
            </p:cNvSpPr>
            <p:nvPr/>
          </p:nvSpPr>
          <p:spPr bwMode="auto">
            <a:xfrm>
              <a:off x="996256" y="465838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6" name="AutoShape 134"/>
            <p:cNvSpPr>
              <a:spLocks noChangeArrowheads="1"/>
            </p:cNvSpPr>
            <p:nvPr/>
          </p:nvSpPr>
          <p:spPr bwMode="auto">
            <a:xfrm>
              <a:off x="1486794" y="451471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7" name="AutoShape 135"/>
            <p:cNvSpPr>
              <a:spLocks noChangeArrowheads="1"/>
            </p:cNvSpPr>
            <p:nvPr/>
          </p:nvSpPr>
          <p:spPr bwMode="auto">
            <a:xfrm>
              <a:off x="1845569" y="4514715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8" name="AutoShape 136"/>
            <p:cNvSpPr>
              <a:spLocks noChangeArrowheads="1"/>
            </p:cNvSpPr>
            <p:nvPr/>
          </p:nvSpPr>
          <p:spPr bwMode="auto">
            <a:xfrm>
              <a:off x="1355031" y="4658382"/>
              <a:ext cx="79" cy="307849"/>
            </a:xfrm>
            <a:prstGeom prst="cube">
              <a:avLst>
                <a:gd name="adj" fmla="val 25000"/>
              </a:avLst>
            </a:prstGeom>
            <a:solidFill>
              <a:srgbClr val="DDDDDD">
                <a:alpha val="50000"/>
              </a:srgb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  <p:sp>
          <p:nvSpPr>
            <p:cNvPr id="1093769" name="AutoShape 137"/>
            <p:cNvSpPr>
              <a:spLocks noChangeArrowheads="1"/>
            </p:cNvSpPr>
            <p:nvPr/>
          </p:nvSpPr>
          <p:spPr bwMode="auto">
            <a:xfrm>
              <a:off x="1702694" y="4658382"/>
              <a:ext cx="79" cy="307849"/>
            </a:xfrm>
            <a:prstGeom prst="cube">
              <a:avLst>
                <a:gd name="adj" fmla="val 25000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endParaRPr lang="es-ES" sz="2159"/>
            </a:p>
          </p:txBody>
        </p:sp>
      </p:grpSp>
      <p:sp>
        <p:nvSpPr>
          <p:cNvPr id="1093770" name="Text Box 138"/>
          <p:cNvSpPr txBox="1">
            <a:spLocks noChangeArrowheads="1"/>
          </p:cNvSpPr>
          <p:nvPr/>
        </p:nvSpPr>
        <p:spPr bwMode="auto">
          <a:xfrm>
            <a:off x="2824700" y="4953719"/>
            <a:ext cx="904692" cy="367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139" tIns="50513" rIns="97139" bIns="50513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pt-BR" sz="863" i="1" dirty="0"/>
              <a:t>Modelo comercial</a:t>
            </a:r>
          </a:p>
        </p:txBody>
      </p:sp>
      <p:grpSp>
        <p:nvGrpSpPr>
          <p:cNvPr id="186" name="185 Grupo"/>
          <p:cNvGrpSpPr/>
          <p:nvPr/>
        </p:nvGrpSpPr>
        <p:grpSpPr>
          <a:xfrm>
            <a:off x="6249018" y="3002636"/>
            <a:ext cx="4304140" cy="3658177"/>
            <a:chOff x="5673725" y="2708920"/>
            <a:chExt cx="3987800" cy="3389313"/>
          </a:xfrm>
        </p:grpSpPr>
        <p:sp>
          <p:nvSpPr>
            <p:cNvPr id="1093634" name="Arc 2"/>
            <p:cNvSpPr>
              <a:spLocks/>
            </p:cNvSpPr>
            <p:nvPr/>
          </p:nvSpPr>
          <p:spPr bwMode="auto">
            <a:xfrm rot="10800000" flipH="1">
              <a:off x="7115175" y="3510608"/>
              <a:ext cx="976313" cy="969962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23 h 21600"/>
                <a:gd name="T2" fmla="*/ 27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599" y="22"/>
                  </a:moveTo>
                  <a:cubicBezTo>
                    <a:pt x="21587" y="11932"/>
                    <a:pt x="11936" y="21585"/>
                    <a:pt x="26" y="21599"/>
                  </a:cubicBezTo>
                </a:path>
                <a:path w="21600" h="21600" stroke="0" extrusionOk="0">
                  <a:moveTo>
                    <a:pt x="21599" y="22"/>
                  </a:moveTo>
                  <a:cubicBezTo>
                    <a:pt x="21587" y="11932"/>
                    <a:pt x="11936" y="21585"/>
                    <a:pt x="26" y="2159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822427"/>
              <a:r>
                <a:rPr lang="es-ES_tradnl" sz="863"/>
                <a:t>   </a:t>
              </a:r>
            </a:p>
          </p:txBody>
        </p:sp>
        <p:sp>
          <p:nvSpPr>
            <p:cNvPr id="1093635" name="Arc 3"/>
            <p:cNvSpPr>
              <a:spLocks/>
            </p:cNvSpPr>
            <p:nvPr/>
          </p:nvSpPr>
          <p:spPr bwMode="auto">
            <a:xfrm rot="5400000">
              <a:off x="6809582" y="4138464"/>
              <a:ext cx="935037" cy="1647825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118 w 21600"/>
                <a:gd name="T1" fmla="*/ 0 h 35962"/>
                <a:gd name="T2" fmla="*/ 16134 w 21600"/>
                <a:gd name="T3" fmla="*/ 35962 h 35962"/>
                <a:gd name="T4" fmla="*/ 0 w 21600"/>
                <a:gd name="T5" fmla="*/ 21600 h 35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5962" fill="none" extrusionOk="0">
                  <a:moveTo>
                    <a:pt x="117" y="0"/>
                  </a:moveTo>
                  <a:cubicBezTo>
                    <a:pt x="12001" y="65"/>
                    <a:pt x="21600" y="9716"/>
                    <a:pt x="21600" y="21600"/>
                  </a:cubicBezTo>
                  <a:cubicBezTo>
                    <a:pt x="21600" y="26895"/>
                    <a:pt x="19654" y="32006"/>
                    <a:pt x="16133" y="35961"/>
                  </a:cubicBezTo>
                </a:path>
                <a:path w="21600" h="35962" stroke="0" extrusionOk="0">
                  <a:moveTo>
                    <a:pt x="117" y="0"/>
                  </a:moveTo>
                  <a:cubicBezTo>
                    <a:pt x="12001" y="65"/>
                    <a:pt x="21600" y="9716"/>
                    <a:pt x="21600" y="21600"/>
                  </a:cubicBezTo>
                  <a:cubicBezTo>
                    <a:pt x="21600" y="26895"/>
                    <a:pt x="19654" y="32006"/>
                    <a:pt x="16133" y="35961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822427"/>
              <a:r>
                <a:rPr lang="es-ES_tradnl" sz="863"/>
                <a:t>   </a:t>
              </a:r>
            </a:p>
          </p:txBody>
        </p:sp>
        <p:sp>
          <p:nvSpPr>
            <p:cNvPr id="1093636" name="AutoShape 4"/>
            <p:cNvSpPr>
              <a:spLocks noChangeArrowheads="1"/>
            </p:cNvSpPr>
            <p:nvPr/>
          </p:nvSpPr>
          <p:spPr bwMode="auto">
            <a:xfrm rot="-10800000">
              <a:off x="7251700" y="2708920"/>
              <a:ext cx="838200" cy="1014413"/>
            </a:xfrm>
            <a:prstGeom prst="downArrow">
              <a:avLst>
                <a:gd name="adj1" fmla="val 66991"/>
                <a:gd name="adj2" fmla="val 41293"/>
              </a:avLst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093637" name="Freeform 5"/>
            <p:cNvSpPr>
              <a:spLocks/>
            </p:cNvSpPr>
            <p:nvPr/>
          </p:nvSpPr>
          <p:spPr bwMode="auto">
            <a:xfrm>
              <a:off x="7785100" y="4548833"/>
              <a:ext cx="1752600" cy="593725"/>
            </a:xfrm>
            <a:custGeom>
              <a:avLst/>
              <a:gdLst/>
              <a:ahLst/>
              <a:cxnLst>
                <a:cxn ang="0">
                  <a:pos x="187" y="60"/>
                </a:cxn>
                <a:cxn ang="0">
                  <a:pos x="0" y="271"/>
                </a:cxn>
                <a:cxn ang="0">
                  <a:pos x="751" y="273"/>
                </a:cxn>
                <a:cxn ang="0">
                  <a:pos x="714" y="374"/>
                </a:cxn>
                <a:cxn ang="0">
                  <a:pos x="1104" y="177"/>
                </a:cxn>
                <a:cxn ang="0">
                  <a:pos x="874" y="0"/>
                </a:cxn>
                <a:cxn ang="0">
                  <a:pos x="838" y="63"/>
                </a:cxn>
              </a:cxnLst>
              <a:rect l="0" t="0" r="r" b="b"/>
              <a:pathLst>
                <a:path w="1104" h="374">
                  <a:moveTo>
                    <a:pt x="187" y="60"/>
                  </a:moveTo>
                  <a:lnTo>
                    <a:pt x="0" y="271"/>
                  </a:lnTo>
                  <a:lnTo>
                    <a:pt x="751" y="273"/>
                  </a:lnTo>
                  <a:lnTo>
                    <a:pt x="714" y="374"/>
                  </a:lnTo>
                  <a:lnTo>
                    <a:pt x="1104" y="177"/>
                  </a:lnTo>
                  <a:lnTo>
                    <a:pt x="874" y="0"/>
                  </a:lnTo>
                  <a:lnTo>
                    <a:pt x="838" y="63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638" name="Freeform 6"/>
            <p:cNvSpPr>
              <a:spLocks/>
            </p:cNvSpPr>
            <p:nvPr/>
          </p:nvSpPr>
          <p:spPr bwMode="auto">
            <a:xfrm>
              <a:off x="6032500" y="5163195"/>
              <a:ext cx="1276350" cy="935038"/>
            </a:xfrm>
            <a:custGeom>
              <a:avLst/>
              <a:gdLst/>
              <a:ahLst/>
              <a:cxnLst>
                <a:cxn ang="0">
                  <a:pos x="864" y="0"/>
                </a:cxn>
                <a:cxn ang="0">
                  <a:pos x="584" y="0"/>
                </a:cxn>
                <a:cxn ang="0">
                  <a:pos x="102" y="512"/>
                </a:cxn>
                <a:cxn ang="0">
                  <a:pos x="0" y="524"/>
                </a:cxn>
                <a:cxn ang="0">
                  <a:pos x="112" y="643"/>
                </a:cxn>
                <a:cxn ang="0">
                  <a:pos x="552" y="524"/>
                </a:cxn>
                <a:cxn ang="0">
                  <a:pos x="383" y="524"/>
                </a:cxn>
              </a:cxnLst>
              <a:rect l="0" t="0" r="r" b="b"/>
              <a:pathLst>
                <a:path w="864" h="643">
                  <a:moveTo>
                    <a:pt x="864" y="0"/>
                  </a:moveTo>
                  <a:lnTo>
                    <a:pt x="584" y="0"/>
                  </a:lnTo>
                  <a:lnTo>
                    <a:pt x="102" y="512"/>
                  </a:lnTo>
                  <a:lnTo>
                    <a:pt x="0" y="524"/>
                  </a:lnTo>
                  <a:lnTo>
                    <a:pt x="112" y="643"/>
                  </a:lnTo>
                  <a:lnTo>
                    <a:pt x="552" y="524"/>
                  </a:lnTo>
                  <a:lnTo>
                    <a:pt x="383" y="524"/>
                  </a:ln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639" name="Arc 7"/>
            <p:cNvSpPr>
              <a:spLocks/>
            </p:cNvSpPr>
            <p:nvPr/>
          </p:nvSpPr>
          <p:spPr bwMode="auto">
            <a:xfrm rot="10800000">
              <a:off x="6162675" y="3510608"/>
              <a:ext cx="976313" cy="1676400"/>
            </a:xfrm>
            <a:custGeom>
              <a:avLst/>
              <a:gdLst>
                <a:gd name="G0" fmla="+- 0 0 0"/>
                <a:gd name="G1" fmla="+- 15823 0 0"/>
                <a:gd name="G2" fmla="+- 21600 0 0"/>
                <a:gd name="T0" fmla="*/ 14703 w 21600"/>
                <a:gd name="T1" fmla="*/ 0 h 37423"/>
                <a:gd name="T2" fmla="*/ 27 w 21600"/>
                <a:gd name="T3" fmla="*/ 37423 h 37423"/>
                <a:gd name="T4" fmla="*/ 0 w 21600"/>
                <a:gd name="T5" fmla="*/ 15823 h 37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37423" fill="none" extrusionOk="0">
                  <a:moveTo>
                    <a:pt x="14703" y="-1"/>
                  </a:moveTo>
                  <a:cubicBezTo>
                    <a:pt x="19101" y="4086"/>
                    <a:pt x="21600" y="9819"/>
                    <a:pt x="21600" y="15823"/>
                  </a:cubicBezTo>
                  <a:cubicBezTo>
                    <a:pt x="21600" y="27741"/>
                    <a:pt x="11945" y="37408"/>
                    <a:pt x="26" y="37422"/>
                  </a:cubicBezTo>
                </a:path>
                <a:path w="21600" h="37423" stroke="0" extrusionOk="0">
                  <a:moveTo>
                    <a:pt x="14703" y="-1"/>
                  </a:moveTo>
                  <a:cubicBezTo>
                    <a:pt x="19101" y="4086"/>
                    <a:pt x="21600" y="9819"/>
                    <a:pt x="21600" y="15823"/>
                  </a:cubicBezTo>
                  <a:cubicBezTo>
                    <a:pt x="21600" y="27741"/>
                    <a:pt x="11945" y="37408"/>
                    <a:pt x="26" y="37422"/>
                  </a:cubicBezTo>
                  <a:lnTo>
                    <a:pt x="0" y="15823"/>
                  </a:ln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822427"/>
              <a:r>
                <a:rPr lang="es-ES_tradnl" sz="863"/>
                <a:t>   </a:t>
              </a:r>
            </a:p>
          </p:txBody>
        </p:sp>
        <p:sp>
          <p:nvSpPr>
            <p:cNvPr id="1093640" name="Line 8"/>
            <p:cNvSpPr>
              <a:spLocks noChangeShapeType="1"/>
            </p:cNvSpPr>
            <p:nvPr/>
          </p:nvSpPr>
          <p:spPr bwMode="auto">
            <a:xfrm flipV="1">
              <a:off x="7135813" y="3029595"/>
              <a:ext cx="0" cy="1450975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sm" len="sm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641" name="Line 9"/>
            <p:cNvSpPr>
              <a:spLocks noChangeShapeType="1"/>
            </p:cNvSpPr>
            <p:nvPr/>
          </p:nvSpPr>
          <p:spPr bwMode="auto">
            <a:xfrm flipV="1">
              <a:off x="6292850" y="4461520"/>
              <a:ext cx="849313" cy="9144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 type="triangle" w="med" len="sm"/>
              <a:tailEnd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642" name="Freeform 10"/>
            <p:cNvSpPr>
              <a:spLocks/>
            </p:cNvSpPr>
            <p:nvPr/>
          </p:nvSpPr>
          <p:spPr bwMode="auto">
            <a:xfrm>
              <a:off x="7126288" y="4494858"/>
              <a:ext cx="1954212" cy="746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86" y="0"/>
                </a:cxn>
              </a:cxnLst>
              <a:rect l="0" t="0" r="r" b="b"/>
              <a:pathLst>
                <a:path w="1886" h="1">
                  <a:moveTo>
                    <a:pt x="0" y="0"/>
                  </a:moveTo>
                  <a:lnTo>
                    <a:pt x="1886" y="0"/>
                  </a:lnTo>
                </a:path>
              </a:pathLst>
            </a:cu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sm" len="sm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093643" name="Text Box 11"/>
            <p:cNvSpPr txBox="1">
              <a:spLocks noChangeArrowheads="1"/>
            </p:cNvSpPr>
            <p:nvPr/>
          </p:nvSpPr>
          <p:spPr bwMode="auto">
            <a:xfrm>
              <a:off x="7065963" y="2858145"/>
              <a:ext cx="620808" cy="618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22427">
                <a:spcBef>
                  <a:spcPct val="30000"/>
                </a:spcBef>
              </a:pPr>
              <a:r>
                <a:rPr lang="es-ES_tradnl" sz="971" u="sng"/>
                <a:t>xxxxxxxxxxx</a:t>
              </a:r>
              <a:endParaRPr lang="es-ES_tradnl" sz="971" u="sng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</p:txBody>
        </p:sp>
        <p:sp>
          <p:nvSpPr>
            <p:cNvPr id="1093644" name="Text Box 12"/>
            <p:cNvSpPr txBox="1">
              <a:spLocks noChangeArrowheads="1"/>
            </p:cNvSpPr>
            <p:nvPr/>
          </p:nvSpPr>
          <p:spPr bwMode="auto">
            <a:xfrm>
              <a:off x="8172450" y="4432945"/>
              <a:ext cx="1489075" cy="778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r" defTabSz="822427">
                <a:spcBef>
                  <a:spcPct val="30000"/>
                </a:spcBef>
              </a:pPr>
              <a:r>
                <a:rPr lang="es-ES_tradnl" sz="971" u="sng"/>
                <a:t>xxxxxxx</a:t>
              </a:r>
              <a:endParaRPr lang="es-ES_tradnl" sz="971" u="sng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</p:txBody>
        </p:sp>
        <p:sp>
          <p:nvSpPr>
            <p:cNvPr id="1093645" name="AutoShape 13"/>
            <p:cNvSpPr>
              <a:spLocks noChangeArrowheads="1"/>
            </p:cNvSpPr>
            <p:nvPr/>
          </p:nvSpPr>
          <p:spPr bwMode="auto">
            <a:xfrm>
              <a:off x="6713538" y="4002733"/>
              <a:ext cx="1077912" cy="915987"/>
            </a:xfrm>
            <a:prstGeom prst="cube">
              <a:avLst>
                <a:gd name="adj" fmla="val 45755"/>
              </a:avLst>
            </a:prstGeom>
            <a:solidFill>
              <a:schemeClr val="tx2">
                <a:alpha val="5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defTabSz="822427"/>
              <a:endParaRPr lang="es-ES" sz="863"/>
            </a:p>
          </p:txBody>
        </p:sp>
        <p:sp>
          <p:nvSpPr>
            <p:cNvPr id="1093827" name="Text Box 195"/>
            <p:cNvSpPr txBox="1">
              <a:spLocks noChangeArrowheads="1"/>
            </p:cNvSpPr>
            <p:nvPr/>
          </p:nvSpPr>
          <p:spPr bwMode="auto">
            <a:xfrm>
              <a:off x="5673725" y="5483870"/>
              <a:ext cx="677245" cy="4582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822427">
                <a:spcBef>
                  <a:spcPct val="30000"/>
                </a:spcBef>
              </a:pPr>
              <a:r>
                <a:rPr lang="es-ES_tradnl" sz="971" u="sng"/>
                <a:t>xxxxxxxxxxxx</a:t>
              </a:r>
              <a:endParaRPr lang="es-ES_tradnl" sz="971" u="sng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  <a:p>
              <a:pPr marL="308410" lvl="1" indent="-102803" defTabSz="822427">
                <a:spcBef>
                  <a:spcPct val="30000"/>
                </a:spcBef>
                <a:buFont typeface="Arial" pitchFamily="34" charset="0"/>
                <a:buChar char="•"/>
              </a:pPr>
              <a:r>
                <a:rPr lang="es-ES_tradnl" sz="863"/>
                <a:t>xxx</a:t>
              </a:r>
              <a:endParaRPr lang="es-ES_tradnl" sz="863" dirty="0"/>
            </a:p>
          </p:txBody>
        </p:sp>
      </p:grpSp>
      <p:grpSp>
        <p:nvGrpSpPr>
          <p:cNvPr id="189" name="Group 396"/>
          <p:cNvGrpSpPr>
            <a:grpSpLocks/>
          </p:cNvGrpSpPr>
          <p:nvPr/>
        </p:nvGrpSpPr>
        <p:grpSpPr bwMode="auto">
          <a:xfrm>
            <a:off x="3791503" y="3624396"/>
            <a:ext cx="2469182" cy="2738195"/>
            <a:chOff x="3583" y="851"/>
            <a:chExt cx="2157" cy="2392"/>
          </a:xfrm>
        </p:grpSpPr>
        <p:sp>
          <p:nvSpPr>
            <p:cNvPr id="190" name="Line 76"/>
            <p:cNvSpPr>
              <a:spLocks noChangeShapeType="1"/>
            </p:cNvSpPr>
            <p:nvPr/>
          </p:nvSpPr>
          <p:spPr bwMode="auto">
            <a:xfrm flipH="1">
              <a:off x="3583" y="2395"/>
              <a:ext cx="600" cy="848"/>
            </a:xfrm>
            <a:prstGeom prst="line">
              <a:avLst/>
            </a:prstGeom>
            <a:noFill/>
            <a:ln w="34925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91" name="Line 77"/>
            <p:cNvSpPr>
              <a:spLocks noChangeShapeType="1"/>
            </p:cNvSpPr>
            <p:nvPr/>
          </p:nvSpPr>
          <p:spPr bwMode="auto">
            <a:xfrm flipV="1">
              <a:off x="4310" y="851"/>
              <a:ext cx="0" cy="1550"/>
            </a:xfrm>
            <a:prstGeom prst="line">
              <a:avLst/>
            </a:prstGeom>
            <a:noFill/>
            <a:ln w="31750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92" name="Line 78"/>
            <p:cNvSpPr>
              <a:spLocks noChangeShapeType="1"/>
            </p:cNvSpPr>
            <p:nvPr/>
          </p:nvSpPr>
          <p:spPr bwMode="auto">
            <a:xfrm rot="5400000" flipV="1">
              <a:off x="5003" y="1606"/>
              <a:ext cx="1" cy="1473"/>
            </a:xfrm>
            <a:prstGeom prst="line">
              <a:avLst/>
            </a:prstGeom>
            <a:noFill/>
            <a:ln w="31750">
              <a:solidFill>
                <a:schemeClr val="accent4"/>
              </a:solidFill>
              <a:round/>
              <a:headEnd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grpSp>
          <p:nvGrpSpPr>
            <p:cNvPr id="193" name="Group 395"/>
            <p:cNvGrpSpPr>
              <a:grpSpLocks/>
            </p:cNvGrpSpPr>
            <p:nvPr/>
          </p:nvGrpSpPr>
          <p:grpSpPr bwMode="auto">
            <a:xfrm>
              <a:off x="3984" y="1383"/>
              <a:ext cx="1358" cy="1282"/>
              <a:chOff x="3846" y="1253"/>
              <a:chExt cx="1634" cy="1542"/>
            </a:xfrm>
          </p:grpSpPr>
          <p:sp>
            <p:nvSpPr>
              <p:cNvPr id="194" name="AutoShape 353"/>
              <p:cNvSpPr>
                <a:spLocks noChangeArrowheads="1"/>
              </p:cNvSpPr>
              <p:nvPr/>
            </p:nvSpPr>
            <p:spPr bwMode="auto">
              <a:xfrm>
                <a:off x="3848" y="1253"/>
                <a:ext cx="1632" cy="1542"/>
              </a:xfrm>
              <a:prstGeom prst="cube">
                <a:avLst>
                  <a:gd name="adj" fmla="val 25000"/>
                </a:avLst>
              </a:prstGeom>
              <a:solidFill>
                <a:schemeClr val="tx2"/>
              </a:solidFill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endParaRPr lang="es-ES" sz="2159"/>
              </a:p>
            </p:txBody>
          </p:sp>
          <p:grpSp>
            <p:nvGrpSpPr>
              <p:cNvPr id="195" name="Group 383"/>
              <p:cNvGrpSpPr>
                <a:grpSpLocks/>
              </p:cNvGrpSpPr>
              <p:nvPr/>
            </p:nvGrpSpPr>
            <p:grpSpPr bwMode="auto">
              <a:xfrm>
                <a:off x="3846" y="1640"/>
                <a:ext cx="1242" cy="1155"/>
                <a:chOff x="3846" y="1640"/>
                <a:chExt cx="1340" cy="1155"/>
              </a:xfrm>
            </p:grpSpPr>
            <p:sp>
              <p:nvSpPr>
                <p:cNvPr id="217" name="Line 354"/>
                <p:cNvSpPr>
                  <a:spLocks noChangeShapeType="1"/>
                </p:cNvSpPr>
                <p:nvPr/>
              </p:nvSpPr>
              <p:spPr bwMode="auto">
                <a:xfrm>
                  <a:off x="3846" y="1870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218" name="Line 355"/>
                <p:cNvSpPr>
                  <a:spLocks noChangeShapeType="1"/>
                </p:cNvSpPr>
                <p:nvPr/>
              </p:nvSpPr>
              <p:spPr bwMode="auto">
                <a:xfrm>
                  <a:off x="3846" y="2102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219" name="Line 356"/>
                <p:cNvSpPr>
                  <a:spLocks noChangeShapeType="1"/>
                </p:cNvSpPr>
                <p:nvPr/>
              </p:nvSpPr>
              <p:spPr bwMode="auto">
                <a:xfrm>
                  <a:off x="3846" y="2332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220" name="Line 357"/>
                <p:cNvSpPr>
                  <a:spLocks noChangeShapeType="1"/>
                </p:cNvSpPr>
                <p:nvPr/>
              </p:nvSpPr>
              <p:spPr bwMode="auto">
                <a:xfrm>
                  <a:off x="3846" y="2564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221" name="Line 358"/>
                <p:cNvSpPr>
                  <a:spLocks noChangeShapeType="1"/>
                </p:cNvSpPr>
                <p:nvPr/>
              </p:nvSpPr>
              <p:spPr bwMode="auto">
                <a:xfrm>
                  <a:off x="3846" y="2795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  <p:sp>
              <p:nvSpPr>
                <p:cNvPr id="222" name="Line 359"/>
                <p:cNvSpPr>
                  <a:spLocks noChangeShapeType="1"/>
                </p:cNvSpPr>
                <p:nvPr/>
              </p:nvSpPr>
              <p:spPr bwMode="auto">
                <a:xfrm>
                  <a:off x="3846" y="1640"/>
                  <a:ext cx="1340" cy="0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ffectLst/>
              </p:spPr>
              <p:txBody>
                <a:bodyPr lIns="0" tIns="0" rIns="0" bIns="0" anchor="ctr"/>
                <a:lstStyle/>
                <a:p>
                  <a:endParaRPr lang="es-ES" sz="2159"/>
                </a:p>
              </p:txBody>
            </p:sp>
          </p:grpSp>
          <p:sp>
            <p:nvSpPr>
              <p:cNvPr id="196" name="Line 364"/>
              <p:cNvSpPr>
                <a:spLocks noChangeShapeType="1"/>
              </p:cNvSpPr>
              <p:nvPr/>
            </p:nvSpPr>
            <p:spPr bwMode="auto">
              <a:xfrm>
                <a:off x="4055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98" name="Line 365"/>
              <p:cNvSpPr>
                <a:spLocks noChangeShapeType="1"/>
              </p:cNvSpPr>
              <p:nvPr/>
            </p:nvSpPr>
            <p:spPr bwMode="auto">
              <a:xfrm>
                <a:off x="4263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199" name="Line 366"/>
              <p:cNvSpPr>
                <a:spLocks noChangeShapeType="1"/>
              </p:cNvSpPr>
              <p:nvPr/>
            </p:nvSpPr>
            <p:spPr bwMode="auto">
              <a:xfrm>
                <a:off x="3848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0" name="Line 367"/>
              <p:cNvSpPr>
                <a:spLocks noChangeShapeType="1"/>
              </p:cNvSpPr>
              <p:nvPr/>
            </p:nvSpPr>
            <p:spPr bwMode="auto">
              <a:xfrm>
                <a:off x="4471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1" name="Line 368"/>
              <p:cNvSpPr>
                <a:spLocks noChangeShapeType="1"/>
              </p:cNvSpPr>
              <p:nvPr/>
            </p:nvSpPr>
            <p:spPr bwMode="auto">
              <a:xfrm>
                <a:off x="4678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2" name="Line 369"/>
              <p:cNvSpPr>
                <a:spLocks noChangeShapeType="1"/>
              </p:cNvSpPr>
              <p:nvPr/>
            </p:nvSpPr>
            <p:spPr bwMode="auto">
              <a:xfrm>
                <a:off x="4886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3" name="Line 374"/>
              <p:cNvSpPr>
                <a:spLocks noChangeShapeType="1"/>
              </p:cNvSpPr>
              <p:nvPr/>
            </p:nvSpPr>
            <p:spPr bwMode="auto">
              <a:xfrm>
                <a:off x="5094" y="1640"/>
                <a:ext cx="0" cy="1155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4" name="Line 375"/>
              <p:cNvSpPr>
                <a:spLocks noChangeShapeType="1"/>
              </p:cNvSpPr>
              <p:nvPr/>
            </p:nvSpPr>
            <p:spPr bwMode="auto">
              <a:xfrm>
                <a:off x="3964" y="1523"/>
                <a:ext cx="1243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5" name="Line 376"/>
              <p:cNvSpPr>
                <a:spLocks noChangeShapeType="1"/>
              </p:cNvSpPr>
              <p:nvPr/>
            </p:nvSpPr>
            <p:spPr bwMode="auto">
              <a:xfrm>
                <a:off x="4105" y="1386"/>
                <a:ext cx="1238" cy="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6" name="Line 384"/>
              <p:cNvSpPr>
                <a:spLocks noChangeShapeType="1"/>
              </p:cNvSpPr>
              <p:nvPr/>
            </p:nvSpPr>
            <p:spPr bwMode="auto">
              <a:xfrm flipV="1">
                <a:off x="4055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7" name="Line 385"/>
              <p:cNvSpPr>
                <a:spLocks noChangeShapeType="1"/>
              </p:cNvSpPr>
              <p:nvPr/>
            </p:nvSpPr>
            <p:spPr bwMode="auto">
              <a:xfrm flipV="1">
                <a:off x="4261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8" name="Line 386"/>
              <p:cNvSpPr>
                <a:spLocks noChangeShapeType="1"/>
              </p:cNvSpPr>
              <p:nvPr/>
            </p:nvSpPr>
            <p:spPr bwMode="auto">
              <a:xfrm flipV="1">
                <a:off x="4468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09" name="Line 387"/>
              <p:cNvSpPr>
                <a:spLocks noChangeShapeType="1"/>
              </p:cNvSpPr>
              <p:nvPr/>
            </p:nvSpPr>
            <p:spPr bwMode="auto">
              <a:xfrm flipV="1">
                <a:off x="4675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0" name="Line 388"/>
              <p:cNvSpPr>
                <a:spLocks noChangeShapeType="1"/>
              </p:cNvSpPr>
              <p:nvPr/>
            </p:nvSpPr>
            <p:spPr bwMode="auto">
              <a:xfrm flipV="1">
                <a:off x="4881" y="1256"/>
                <a:ext cx="380" cy="384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1" name="Line 389"/>
              <p:cNvSpPr>
                <a:spLocks noChangeShapeType="1"/>
              </p:cNvSpPr>
              <p:nvPr/>
            </p:nvSpPr>
            <p:spPr bwMode="auto">
              <a:xfrm>
                <a:off x="5207" y="1532"/>
                <a:ext cx="0" cy="1148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2" name="Line 390"/>
              <p:cNvSpPr>
                <a:spLocks noChangeShapeType="1"/>
              </p:cNvSpPr>
              <p:nvPr/>
            </p:nvSpPr>
            <p:spPr bwMode="auto">
              <a:xfrm>
                <a:off x="5342" y="1390"/>
                <a:ext cx="0" cy="1148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3" name="Line 391"/>
              <p:cNvSpPr>
                <a:spLocks noChangeShapeType="1"/>
              </p:cNvSpPr>
              <p:nvPr/>
            </p:nvSpPr>
            <p:spPr bwMode="auto">
              <a:xfrm flipV="1">
                <a:off x="5094" y="1450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4" name="Line 392"/>
              <p:cNvSpPr>
                <a:spLocks noChangeShapeType="1"/>
              </p:cNvSpPr>
              <p:nvPr/>
            </p:nvSpPr>
            <p:spPr bwMode="auto">
              <a:xfrm flipV="1">
                <a:off x="5094" y="168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5" name="Line 393"/>
              <p:cNvSpPr>
                <a:spLocks noChangeShapeType="1"/>
              </p:cNvSpPr>
              <p:nvPr/>
            </p:nvSpPr>
            <p:spPr bwMode="auto">
              <a:xfrm flipV="1">
                <a:off x="5094" y="191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  <p:sp>
            <p:nvSpPr>
              <p:cNvPr id="216" name="Line 394"/>
              <p:cNvSpPr>
                <a:spLocks noChangeShapeType="1"/>
              </p:cNvSpPr>
              <p:nvPr/>
            </p:nvSpPr>
            <p:spPr bwMode="auto">
              <a:xfrm flipV="1">
                <a:off x="5094" y="2142"/>
                <a:ext cx="386" cy="420"/>
              </a:xfrm>
              <a:prstGeom prst="line">
                <a:avLst/>
              </a:prstGeom>
              <a:noFill/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 lIns="0" tIns="0" rIns="0" bIns="0" anchor="ctr"/>
              <a:lstStyle/>
              <a:p>
                <a:endParaRPr lang="es-ES" sz="2159"/>
              </a:p>
            </p:txBody>
          </p:sp>
        </p:grpSp>
      </p:grpSp>
      <p:grpSp>
        <p:nvGrpSpPr>
          <p:cNvPr id="273" name="Grupo 272"/>
          <p:cNvGrpSpPr/>
          <p:nvPr/>
        </p:nvGrpSpPr>
        <p:grpSpPr>
          <a:xfrm>
            <a:off x="3791503" y="671030"/>
            <a:ext cx="3714721" cy="2698654"/>
            <a:chOff x="3512840" y="548680"/>
            <a:chExt cx="3441701" cy="2500312"/>
          </a:xfrm>
        </p:grpSpPr>
        <p:sp>
          <p:nvSpPr>
            <p:cNvPr id="274" name="Text Box 140"/>
            <p:cNvSpPr txBox="1">
              <a:spLocks noChangeArrowheads="1"/>
            </p:cNvSpPr>
            <p:nvPr/>
          </p:nvSpPr>
          <p:spPr bwMode="auto">
            <a:xfrm>
              <a:off x="3512840" y="2834680"/>
              <a:ext cx="604838" cy="21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Mercado</a:t>
              </a:r>
            </a:p>
          </p:txBody>
        </p:sp>
        <p:sp>
          <p:nvSpPr>
            <p:cNvPr id="275" name="Text Box 141"/>
            <p:cNvSpPr txBox="1">
              <a:spLocks noChangeArrowheads="1"/>
            </p:cNvSpPr>
            <p:nvPr/>
          </p:nvSpPr>
          <p:spPr bwMode="auto">
            <a:xfrm>
              <a:off x="4112915" y="548680"/>
              <a:ext cx="661988" cy="21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Canales</a:t>
              </a:r>
            </a:p>
          </p:txBody>
        </p:sp>
        <p:sp>
          <p:nvSpPr>
            <p:cNvPr id="276" name="Text Box 142"/>
            <p:cNvSpPr txBox="1">
              <a:spLocks noChangeArrowheads="1"/>
            </p:cNvSpPr>
            <p:nvPr/>
          </p:nvSpPr>
          <p:spPr bwMode="auto">
            <a:xfrm>
              <a:off x="6314778" y="1958380"/>
              <a:ext cx="639763" cy="2143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Producto</a:t>
              </a:r>
            </a:p>
          </p:txBody>
        </p:sp>
        <p:sp>
          <p:nvSpPr>
            <p:cNvPr id="277" name="Line 143"/>
            <p:cNvSpPr>
              <a:spLocks noChangeShapeType="1"/>
            </p:cNvSpPr>
            <p:nvPr/>
          </p:nvSpPr>
          <p:spPr bwMode="auto">
            <a:xfrm>
              <a:off x="4451053" y="777280"/>
              <a:ext cx="0" cy="1370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s-ES" sz="2159"/>
            </a:p>
          </p:txBody>
        </p:sp>
        <p:sp>
          <p:nvSpPr>
            <p:cNvPr id="278" name="Line 144"/>
            <p:cNvSpPr>
              <a:spLocks noChangeShapeType="1"/>
            </p:cNvSpPr>
            <p:nvPr/>
          </p:nvSpPr>
          <p:spPr bwMode="auto">
            <a:xfrm rot="5400000">
              <a:off x="5369421" y="1389262"/>
              <a:ext cx="0" cy="166052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s-ES" sz="2159"/>
            </a:p>
          </p:txBody>
        </p:sp>
        <p:sp>
          <p:nvSpPr>
            <p:cNvPr id="279" name="Line 145"/>
            <p:cNvSpPr>
              <a:spLocks noChangeShapeType="1"/>
            </p:cNvSpPr>
            <p:nvPr/>
          </p:nvSpPr>
          <p:spPr bwMode="auto">
            <a:xfrm flipH="1">
              <a:off x="3778842" y="2263434"/>
              <a:ext cx="655638" cy="60960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 anchor="ctr">
              <a:noAutofit/>
            </a:bodyPr>
            <a:lstStyle/>
            <a:p>
              <a:endParaRPr lang="es-ES" sz="2159"/>
            </a:p>
          </p:txBody>
        </p:sp>
        <p:sp>
          <p:nvSpPr>
            <p:cNvPr id="280" name="Text Box 182"/>
            <p:cNvSpPr txBox="1">
              <a:spLocks noChangeArrowheads="1"/>
            </p:cNvSpPr>
            <p:nvPr/>
          </p:nvSpPr>
          <p:spPr bwMode="auto">
            <a:xfrm>
              <a:off x="5971878" y="1234480"/>
              <a:ext cx="838200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7139" tIns="50513" rIns="97139" bIns="50513" anchor="ctr">
              <a:noAutofit/>
            </a:bodyPr>
            <a:lstStyle/>
            <a:p>
              <a:pPr>
                <a:spcBef>
                  <a:spcPct val="50000"/>
                </a:spcBef>
              </a:pPr>
              <a:r>
                <a:rPr lang="es-ES_tradnl" sz="863" i="1"/>
                <a:t>Modelo comercial</a:t>
              </a:r>
            </a:p>
          </p:txBody>
        </p:sp>
        <p:grpSp>
          <p:nvGrpSpPr>
            <p:cNvPr id="281" name="Grupo 124"/>
            <p:cNvGrpSpPr/>
            <p:nvPr/>
          </p:nvGrpSpPr>
          <p:grpSpPr>
            <a:xfrm>
              <a:off x="4114147" y="1139595"/>
              <a:ext cx="1670053" cy="1412088"/>
              <a:chOff x="4397865" y="3795419"/>
              <a:chExt cx="1670053" cy="1412088"/>
            </a:xfrm>
          </p:grpSpPr>
          <p:grpSp>
            <p:nvGrpSpPr>
              <p:cNvPr id="282" name="Grupo 72"/>
              <p:cNvGrpSpPr/>
              <p:nvPr/>
            </p:nvGrpSpPr>
            <p:grpSpPr>
              <a:xfrm>
                <a:off x="4620119" y="3795419"/>
                <a:ext cx="1447799" cy="1190029"/>
                <a:chOff x="4108153" y="4876800"/>
                <a:chExt cx="1447799" cy="1190029"/>
              </a:xfrm>
            </p:grpSpPr>
            <p:sp>
              <p:nvSpPr>
                <p:cNvPr id="309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0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1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2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3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4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5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6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7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8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19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20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</p:grpSp>
          <p:grpSp>
            <p:nvGrpSpPr>
              <p:cNvPr id="283" name="Grupo 85"/>
              <p:cNvGrpSpPr/>
              <p:nvPr/>
            </p:nvGrpSpPr>
            <p:grpSpPr>
              <a:xfrm>
                <a:off x="4508992" y="3906448"/>
                <a:ext cx="1447799" cy="1190029"/>
                <a:chOff x="4108153" y="4876800"/>
                <a:chExt cx="1447799" cy="1190029"/>
              </a:xfrm>
            </p:grpSpPr>
            <p:sp>
              <p:nvSpPr>
                <p:cNvPr id="297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8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9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0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1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2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3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4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5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6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7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308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</p:grpSp>
          <p:grpSp>
            <p:nvGrpSpPr>
              <p:cNvPr id="284" name="Grupo 98"/>
              <p:cNvGrpSpPr/>
              <p:nvPr/>
            </p:nvGrpSpPr>
            <p:grpSpPr>
              <a:xfrm>
                <a:off x="4397865" y="4017478"/>
                <a:ext cx="1447799" cy="1190029"/>
                <a:chOff x="4108153" y="4876800"/>
                <a:chExt cx="1447799" cy="1190029"/>
              </a:xfrm>
            </p:grpSpPr>
            <p:sp>
              <p:nvSpPr>
                <p:cNvPr id="285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86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87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88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59216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89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0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1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2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5241647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3" name="AutoShape 183"/>
                <p:cNvSpPr>
                  <a:spLocks noChangeArrowheads="1"/>
                </p:cNvSpPr>
                <p:nvPr/>
              </p:nvSpPr>
              <p:spPr bwMode="auto">
                <a:xfrm>
                  <a:off x="4108153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4" name="AutoShape 183"/>
                <p:cNvSpPr>
                  <a:spLocks noChangeArrowheads="1"/>
                </p:cNvSpPr>
                <p:nvPr/>
              </p:nvSpPr>
              <p:spPr bwMode="auto">
                <a:xfrm>
                  <a:off x="4443115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5" name="AutoShape 183"/>
                <p:cNvSpPr>
                  <a:spLocks noChangeArrowheads="1"/>
                </p:cNvSpPr>
                <p:nvPr/>
              </p:nvSpPr>
              <p:spPr bwMode="auto">
                <a:xfrm>
                  <a:off x="4776490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  <p:sp>
              <p:nvSpPr>
                <p:cNvPr id="296" name="AutoShape 183"/>
                <p:cNvSpPr>
                  <a:spLocks noChangeArrowheads="1"/>
                </p:cNvSpPr>
                <p:nvPr/>
              </p:nvSpPr>
              <p:spPr bwMode="auto">
                <a:xfrm>
                  <a:off x="5111452" y="4876800"/>
                  <a:ext cx="444500" cy="474662"/>
                </a:xfrm>
                <a:prstGeom prst="cube">
                  <a:avLst>
                    <a:gd name="adj" fmla="val 25000"/>
                  </a:avLst>
                </a:prstGeom>
                <a:solidFill>
                  <a:srgbClr val="DDDDDD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 anchor="ctr">
                  <a:noAutofit/>
                </a:bodyPr>
                <a:lstStyle/>
                <a:p>
                  <a:endParaRPr lang="es-ES" sz="2159"/>
                </a:p>
              </p:txBody>
            </p:sp>
          </p:grpSp>
        </p:grpSp>
      </p:grpSp>
      <p:sp>
        <p:nvSpPr>
          <p:cNvPr id="224" name="Título 2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225" name="Espaço Reservado para Texto 22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1642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/>
        </p:nvGraphicFramePr>
        <p:xfrm>
          <a:off x="216375" y="3391237"/>
          <a:ext cx="4934717" cy="3441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4 Diagrama"/>
          <p:cNvGraphicFramePr/>
          <p:nvPr/>
        </p:nvGraphicFramePr>
        <p:xfrm>
          <a:off x="7211190" y="3468957"/>
          <a:ext cx="3238408" cy="3441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5 Diagrama"/>
          <p:cNvGraphicFramePr/>
          <p:nvPr/>
        </p:nvGraphicFramePr>
        <p:xfrm>
          <a:off x="2625700" y="2769475"/>
          <a:ext cx="7127875" cy="29927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30" name="29 Grupo"/>
          <p:cNvGrpSpPr/>
          <p:nvPr/>
        </p:nvGrpSpPr>
        <p:grpSpPr>
          <a:xfrm>
            <a:off x="216375" y="437870"/>
            <a:ext cx="2518636" cy="2253885"/>
            <a:chOff x="8065293" y="2060237"/>
            <a:chExt cx="3237255" cy="2896965"/>
          </a:xfrm>
        </p:grpSpPr>
        <p:sp>
          <p:nvSpPr>
            <p:cNvPr id="22" name="21 Triángulo isósceles"/>
            <p:cNvSpPr/>
            <p:nvPr/>
          </p:nvSpPr>
          <p:spPr>
            <a:xfrm rot="7422837">
              <a:off x="7754543" y="3117743"/>
              <a:ext cx="2896965" cy="781953"/>
            </a:xfrm>
            <a:prstGeom prst="triangle">
              <a:avLst>
                <a:gd name="adj" fmla="val 40459"/>
              </a:avLst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  <p:sp>
          <p:nvSpPr>
            <p:cNvPr id="21" name="20 Triángulo isósceles"/>
            <p:cNvSpPr/>
            <p:nvPr/>
          </p:nvSpPr>
          <p:spPr>
            <a:xfrm>
              <a:off x="8065293" y="3493388"/>
              <a:ext cx="3237255" cy="1002666"/>
            </a:xfrm>
            <a:prstGeom prst="triangle">
              <a:avLst>
                <a:gd name="adj" fmla="val 50000"/>
              </a:avLst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  <p:sp>
          <p:nvSpPr>
            <p:cNvPr id="29" name="28 Triángulo isósceles"/>
            <p:cNvSpPr/>
            <p:nvPr/>
          </p:nvSpPr>
          <p:spPr>
            <a:xfrm rot="14177163" flipH="1">
              <a:off x="8714889" y="3117743"/>
              <a:ext cx="2896965" cy="781953"/>
            </a:xfrm>
            <a:prstGeom prst="triangle">
              <a:avLst>
                <a:gd name="adj" fmla="val 40459"/>
              </a:avLst>
            </a:prstGeom>
            <a:solidFill>
              <a:schemeClr val="accent4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8856" rIns="38856" rtlCol="0" anchor="ctr"/>
            <a:lstStyle/>
            <a:p>
              <a:pPr algn="ctr"/>
              <a:r>
                <a:rPr lang="ca-ES" sz="1187">
                  <a:solidFill>
                    <a:schemeClr val="bg1"/>
                  </a:solidFill>
                </a:rPr>
                <a:t>Texto</a:t>
              </a:r>
              <a:endParaRPr lang="ca-ES" sz="1187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36 Grupo"/>
          <p:cNvGrpSpPr/>
          <p:nvPr/>
        </p:nvGrpSpPr>
        <p:grpSpPr>
          <a:xfrm>
            <a:off x="3014301" y="418086"/>
            <a:ext cx="2320896" cy="1888312"/>
            <a:chOff x="5889104" y="314326"/>
            <a:chExt cx="2150318" cy="1749527"/>
          </a:xfrm>
        </p:grpSpPr>
        <p:sp>
          <p:nvSpPr>
            <p:cNvPr id="33" name="Freeform 109"/>
            <p:cNvSpPr>
              <a:spLocks/>
            </p:cNvSpPr>
            <p:nvPr/>
          </p:nvSpPr>
          <p:spPr bwMode="auto">
            <a:xfrm>
              <a:off x="5889104" y="1178084"/>
              <a:ext cx="1070198" cy="885769"/>
            </a:xfrm>
            <a:custGeom>
              <a:avLst/>
              <a:gdLst>
                <a:gd name="T0" fmla="*/ 216 w 424"/>
                <a:gd name="T1" fmla="*/ 0 h 376"/>
                <a:gd name="T2" fmla="*/ 424 w 424"/>
                <a:gd name="T3" fmla="*/ 104 h 376"/>
                <a:gd name="T4" fmla="*/ 424 w 424"/>
                <a:gd name="T5" fmla="*/ 376 h 376"/>
                <a:gd name="T6" fmla="*/ 0 w 424"/>
                <a:gd name="T7" fmla="*/ 374 h 376"/>
                <a:gd name="T8" fmla="*/ 216 w 424"/>
                <a:gd name="T9" fmla="*/ 0 h 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4"/>
                <a:gd name="T16" fmla="*/ 0 h 376"/>
                <a:gd name="T17" fmla="*/ 424 w 424"/>
                <a:gd name="T18" fmla="*/ 376 h 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4" h="376">
                  <a:moveTo>
                    <a:pt x="216" y="0"/>
                  </a:moveTo>
                  <a:lnTo>
                    <a:pt x="424" y="104"/>
                  </a:lnTo>
                  <a:lnTo>
                    <a:pt x="424" y="376"/>
                  </a:lnTo>
                  <a:lnTo>
                    <a:pt x="0" y="374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r"/>
              <a:r>
                <a:rPr lang="es-ES" sz="863">
                  <a:solidFill>
                    <a:schemeClr val="bg1"/>
                  </a:solidFill>
                </a:rPr>
                <a:t>XXXX</a:t>
              </a:r>
              <a:endParaRPr lang="es-ES" sz="863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0"/>
            <p:cNvSpPr>
              <a:spLocks/>
            </p:cNvSpPr>
            <p:nvPr/>
          </p:nvSpPr>
          <p:spPr bwMode="auto">
            <a:xfrm>
              <a:off x="6435846" y="314326"/>
              <a:ext cx="1056861" cy="1101694"/>
            </a:xfrm>
            <a:custGeom>
              <a:avLst/>
              <a:gdLst>
                <a:gd name="T0" fmla="*/ 202 w 410"/>
                <a:gd name="T1" fmla="*/ 0 h 462"/>
                <a:gd name="T2" fmla="*/ 410 w 410"/>
                <a:gd name="T3" fmla="*/ 364 h 462"/>
                <a:gd name="T4" fmla="*/ 201 w 410"/>
                <a:gd name="T5" fmla="*/ 462 h 462"/>
                <a:gd name="T6" fmla="*/ 0 w 410"/>
                <a:gd name="T7" fmla="*/ 360 h 462"/>
                <a:gd name="T8" fmla="*/ 202 w 410"/>
                <a:gd name="T9" fmla="*/ 0 h 46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10"/>
                <a:gd name="T16" fmla="*/ 0 h 462"/>
                <a:gd name="T17" fmla="*/ 410 w 410"/>
                <a:gd name="T18" fmla="*/ 462 h 462"/>
                <a:gd name="connsiteX0" fmla="*/ 4927 w 9976"/>
                <a:gd name="connsiteY0" fmla="*/ 0 h 10000"/>
                <a:gd name="connsiteX1" fmla="*/ 9976 w 9976"/>
                <a:gd name="connsiteY1" fmla="*/ 7764 h 10000"/>
                <a:gd name="connsiteX2" fmla="*/ 4902 w 9976"/>
                <a:gd name="connsiteY2" fmla="*/ 10000 h 10000"/>
                <a:gd name="connsiteX3" fmla="*/ 0 w 9976"/>
                <a:gd name="connsiteY3" fmla="*/ 7792 h 10000"/>
                <a:gd name="connsiteX4" fmla="*/ 4927 w 9976"/>
                <a:gd name="connsiteY4" fmla="*/ 0 h 10000"/>
                <a:gd name="connsiteX0" fmla="*/ 4939 w 9879"/>
                <a:gd name="connsiteY0" fmla="*/ 0 h 10000"/>
                <a:gd name="connsiteX1" fmla="*/ 9879 w 9879"/>
                <a:gd name="connsiteY1" fmla="*/ 7764 h 10000"/>
                <a:gd name="connsiteX2" fmla="*/ 4914 w 9879"/>
                <a:gd name="connsiteY2" fmla="*/ 10000 h 10000"/>
                <a:gd name="connsiteX3" fmla="*/ 0 w 9879"/>
                <a:gd name="connsiteY3" fmla="*/ 7792 h 10000"/>
                <a:gd name="connsiteX4" fmla="*/ 4939 w 9879"/>
                <a:gd name="connsiteY4" fmla="*/ 0 h 10000"/>
                <a:gd name="connsiteX0" fmla="*/ 4999 w 10000"/>
                <a:gd name="connsiteY0" fmla="*/ 0 h 10000"/>
                <a:gd name="connsiteX1" fmla="*/ 10000 w 10000"/>
                <a:gd name="connsiteY1" fmla="*/ 7764 h 10000"/>
                <a:gd name="connsiteX2" fmla="*/ 4974 w 10000"/>
                <a:gd name="connsiteY2" fmla="*/ 10000 h 10000"/>
                <a:gd name="connsiteX3" fmla="*/ 0 w 10000"/>
                <a:gd name="connsiteY3" fmla="*/ 7792 h 10000"/>
                <a:gd name="connsiteX4" fmla="*/ 4999 w 10000"/>
                <a:gd name="connsiteY4" fmla="*/ 0 h 10000"/>
                <a:gd name="connsiteX0" fmla="*/ 4999 w 10037"/>
                <a:gd name="connsiteY0" fmla="*/ 0 h 10000"/>
                <a:gd name="connsiteX1" fmla="*/ 10037 w 10037"/>
                <a:gd name="connsiteY1" fmla="*/ 7795 h 10000"/>
                <a:gd name="connsiteX2" fmla="*/ 4974 w 10037"/>
                <a:gd name="connsiteY2" fmla="*/ 10000 h 10000"/>
                <a:gd name="connsiteX3" fmla="*/ 0 w 10037"/>
                <a:gd name="connsiteY3" fmla="*/ 7792 h 10000"/>
                <a:gd name="connsiteX4" fmla="*/ 4999 w 10037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37" h="10000">
                  <a:moveTo>
                    <a:pt x="4999" y="0"/>
                  </a:moveTo>
                  <a:lnTo>
                    <a:pt x="10037" y="7795"/>
                  </a:lnTo>
                  <a:lnTo>
                    <a:pt x="4974" y="10000"/>
                  </a:lnTo>
                  <a:lnTo>
                    <a:pt x="0" y="7792"/>
                  </a:lnTo>
                  <a:lnTo>
                    <a:pt x="4999" y="0"/>
                  </a:lnTo>
                  <a:close/>
                </a:path>
              </a:pathLst>
            </a:custGeom>
            <a:solidFill>
              <a:schemeClr val="accent2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es-ES" sz="863">
                  <a:solidFill>
                    <a:schemeClr val="bg1"/>
                  </a:solidFill>
                </a:rPr>
                <a:t>XXXX</a:t>
              </a:r>
              <a:endParaRPr lang="es-ES" sz="863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09"/>
            <p:cNvSpPr>
              <a:spLocks/>
            </p:cNvSpPr>
            <p:nvPr/>
          </p:nvSpPr>
          <p:spPr bwMode="auto">
            <a:xfrm flipH="1">
              <a:off x="6969224" y="1178084"/>
              <a:ext cx="1070198" cy="885769"/>
            </a:xfrm>
            <a:custGeom>
              <a:avLst/>
              <a:gdLst>
                <a:gd name="T0" fmla="*/ 216 w 424"/>
                <a:gd name="T1" fmla="*/ 0 h 376"/>
                <a:gd name="T2" fmla="*/ 424 w 424"/>
                <a:gd name="T3" fmla="*/ 104 h 376"/>
                <a:gd name="T4" fmla="*/ 424 w 424"/>
                <a:gd name="T5" fmla="*/ 376 h 376"/>
                <a:gd name="T6" fmla="*/ 0 w 424"/>
                <a:gd name="T7" fmla="*/ 374 h 376"/>
                <a:gd name="T8" fmla="*/ 216 w 424"/>
                <a:gd name="T9" fmla="*/ 0 h 3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4"/>
                <a:gd name="T16" fmla="*/ 0 h 376"/>
                <a:gd name="T17" fmla="*/ 424 w 424"/>
                <a:gd name="T18" fmla="*/ 376 h 37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4" h="376">
                  <a:moveTo>
                    <a:pt x="216" y="0"/>
                  </a:moveTo>
                  <a:lnTo>
                    <a:pt x="424" y="104"/>
                  </a:lnTo>
                  <a:lnTo>
                    <a:pt x="424" y="376"/>
                  </a:lnTo>
                  <a:lnTo>
                    <a:pt x="0" y="374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chemeClr val="accent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anchor="ctr"/>
            <a:lstStyle/>
            <a:p>
              <a:r>
                <a:rPr lang="es-ES" sz="863">
                  <a:solidFill>
                    <a:schemeClr val="bg1"/>
                  </a:solidFill>
                </a:rPr>
                <a:t>XXXXXX</a:t>
              </a:r>
              <a:endParaRPr lang="es-ES" sz="863" dirty="0">
                <a:solidFill>
                  <a:schemeClr val="bg1"/>
                </a:solidFill>
              </a:endParaRPr>
            </a:p>
          </p:txBody>
        </p:sp>
      </p:grpSp>
      <p:sp>
        <p:nvSpPr>
          <p:cNvPr id="13" name="Título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3205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6194056" y="4972386"/>
            <a:ext cx="2868284" cy="642537"/>
            <a:chOff x="3615" y="2856"/>
            <a:chExt cx="1674" cy="375"/>
          </a:xfrm>
        </p:grpSpPr>
        <p:sp>
          <p:nvSpPr>
            <p:cNvPr id="5" name="Freeform 3"/>
            <p:cNvSpPr>
              <a:spLocks/>
            </p:cNvSpPr>
            <p:nvPr/>
          </p:nvSpPr>
          <p:spPr bwMode="auto">
            <a:xfrm>
              <a:off x="3626" y="2980"/>
              <a:ext cx="731" cy="251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04" y="180"/>
                </a:cxn>
                <a:cxn ang="0">
                  <a:pos x="308" y="248"/>
                </a:cxn>
                <a:cxn ang="0">
                  <a:pos x="560" y="196"/>
                </a:cxn>
                <a:cxn ang="0">
                  <a:pos x="675" y="0"/>
                </a:cxn>
              </a:cxnLst>
              <a:rect l="0" t="0" r="r" b="b"/>
              <a:pathLst>
                <a:path w="675" h="251">
                  <a:moveTo>
                    <a:pt x="0" y="9"/>
                  </a:moveTo>
                  <a:cubicBezTo>
                    <a:pt x="17" y="37"/>
                    <a:pt x="53" y="140"/>
                    <a:pt x="104" y="180"/>
                  </a:cubicBezTo>
                  <a:cubicBezTo>
                    <a:pt x="155" y="220"/>
                    <a:pt x="235" y="245"/>
                    <a:pt x="308" y="248"/>
                  </a:cubicBezTo>
                  <a:cubicBezTo>
                    <a:pt x="384" y="251"/>
                    <a:pt x="499" y="237"/>
                    <a:pt x="560" y="196"/>
                  </a:cubicBezTo>
                  <a:cubicBezTo>
                    <a:pt x="623" y="158"/>
                    <a:pt x="651" y="41"/>
                    <a:pt x="675" y="0"/>
                  </a:cubicBezTo>
                </a:path>
              </a:pathLst>
            </a:custGeom>
            <a:solidFill>
              <a:schemeClr val="accent6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6" name="Oval 4"/>
            <p:cNvSpPr>
              <a:spLocks noChangeArrowheads="1"/>
            </p:cNvSpPr>
            <p:nvPr/>
          </p:nvSpPr>
          <p:spPr bwMode="auto">
            <a:xfrm>
              <a:off x="3615" y="2920"/>
              <a:ext cx="753" cy="10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3717" y="3034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3799" y="3120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9" name="Oval 7"/>
            <p:cNvSpPr>
              <a:spLocks noChangeArrowheads="1"/>
            </p:cNvSpPr>
            <p:nvPr/>
          </p:nvSpPr>
          <p:spPr bwMode="auto">
            <a:xfrm>
              <a:off x="3871" y="3045"/>
              <a:ext cx="60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0" name="Oval 8"/>
            <p:cNvSpPr>
              <a:spLocks noChangeArrowheads="1"/>
            </p:cNvSpPr>
            <p:nvPr/>
          </p:nvSpPr>
          <p:spPr bwMode="auto">
            <a:xfrm>
              <a:off x="3941" y="3140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1" name="Oval 9"/>
            <p:cNvSpPr>
              <a:spLocks noChangeArrowheads="1"/>
            </p:cNvSpPr>
            <p:nvPr/>
          </p:nvSpPr>
          <p:spPr bwMode="auto">
            <a:xfrm>
              <a:off x="4061" y="3050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2" name="Oval 10"/>
            <p:cNvSpPr>
              <a:spLocks noChangeArrowheads="1"/>
            </p:cNvSpPr>
            <p:nvPr/>
          </p:nvSpPr>
          <p:spPr bwMode="auto">
            <a:xfrm>
              <a:off x="4099" y="3141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3" name="Oval 11"/>
            <p:cNvSpPr>
              <a:spLocks noChangeArrowheads="1"/>
            </p:cNvSpPr>
            <p:nvPr/>
          </p:nvSpPr>
          <p:spPr bwMode="auto">
            <a:xfrm>
              <a:off x="4197" y="3050"/>
              <a:ext cx="61" cy="56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4346" y="2856"/>
              <a:ext cx="943" cy="11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746" y="9"/>
                </a:cxn>
                <a:cxn ang="0">
                  <a:pos x="746" y="59"/>
                </a:cxn>
                <a:cxn ang="0">
                  <a:pos x="0" y="114"/>
                </a:cxn>
              </a:cxnLst>
              <a:rect l="0" t="0" r="r" b="b"/>
              <a:pathLst>
                <a:path w="870" h="114">
                  <a:moveTo>
                    <a:pt x="0" y="114"/>
                  </a:moveTo>
                  <a:lnTo>
                    <a:pt x="746" y="9"/>
                  </a:lnTo>
                  <a:cubicBezTo>
                    <a:pt x="870" y="0"/>
                    <a:pt x="870" y="42"/>
                    <a:pt x="746" y="59"/>
                  </a:cubicBezTo>
                  <a:cubicBezTo>
                    <a:pt x="622" y="76"/>
                    <a:pt x="155" y="103"/>
                    <a:pt x="0" y="114"/>
                  </a:cubicBezTo>
                  <a:close/>
                </a:path>
              </a:pathLst>
            </a:custGeom>
            <a:solidFill>
              <a:schemeClr val="accent6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15" name="Oval 13"/>
            <p:cNvSpPr>
              <a:spLocks noChangeArrowheads="1"/>
            </p:cNvSpPr>
            <p:nvPr/>
          </p:nvSpPr>
          <p:spPr bwMode="auto">
            <a:xfrm rot="-368682">
              <a:off x="5052" y="2869"/>
              <a:ext cx="168" cy="41"/>
            </a:xfrm>
            <a:prstGeom prst="ellipse">
              <a:avLst/>
            </a:pr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</p:grpSp>
      <p:grpSp>
        <p:nvGrpSpPr>
          <p:cNvPr id="16" name="Group 32"/>
          <p:cNvGrpSpPr>
            <a:grpSpLocks/>
          </p:cNvGrpSpPr>
          <p:nvPr/>
        </p:nvGrpSpPr>
        <p:grpSpPr bwMode="auto">
          <a:xfrm>
            <a:off x="7755232" y="3702117"/>
            <a:ext cx="1440996" cy="1226817"/>
            <a:chOff x="2287" y="489"/>
            <a:chExt cx="1021" cy="943"/>
          </a:xfrm>
          <a:solidFill>
            <a:schemeClr val="accent1"/>
          </a:solidFill>
        </p:grpSpPr>
        <p:sp>
          <p:nvSpPr>
            <p:cNvPr id="17" name="Oval 33"/>
            <p:cNvSpPr>
              <a:spLocks noChangeArrowheads="1"/>
            </p:cNvSpPr>
            <p:nvPr/>
          </p:nvSpPr>
          <p:spPr bwMode="auto">
            <a:xfrm>
              <a:off x="2287" y="489"/>
              <a:ext cx="1019" cy="204"/>
            </a:xfrm>
            <a:prstGeom prst="ellips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18" name="Freeform 34"/>
            <p:cNvSpPr>
              <a:spLocks/>
            </p:cNvSpPr>
            <p:nvPr/>
          </p:nvSpPr>
          <p:spPr bwMode="auto">
            <a:xfrm>
              <a:off x="2288" y="596"/>
              <a:ext cx="1020" cy="8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8" y="36"/>
                </a:cxn>
                <a:cxn ang="0">
                  <a:pos x="96" y="60"/>
                </a:cxn>
                <a:cxn ang="0">
                  <a:pos x="212" y="80"/>
                </a:cxn>
                <a:cxn ang="0">
                  <a:pos x="312" y="88"/>
                </a:cxn>
                <a:cxn ang="0">
                  <a:pos x="412" y="96"/>
                </a:cxn>
                <a:cxn ang="0">
                  <a:pos x="528" y="96"/>
                </a:cxn>
                <a:cxn ang="0">
                  <a:pos x="668" y="92"/>
                </a:cxn>
                <a:cxn ang="0">
                  <a:pos x="792" y="80"/>
                </a:cxn>
                <a:cxn ang="0">
                  <a:pos x="892" y="60"/>
                </a:cxn>
                <a:cxn ang="0">
                  <a:pos x="988" y="36"/>
                </a:cxn>
                <a:cxn ang="0">
                  <a:pos x="1020" y="4"/>
                </a:cxn>
                <a:cxn ang="0">
                  <a:pos x="628" y="468"/>
                </a:cxn>
                <a:cxn ang="0">
                  <a:pos x="592" y="836"/>
                </a:cxn>
                <a:cxn ang="0">
                  <a:pos x="460" y="836"/>
                </a:cxn>
                <a:cxn ang="0">
                  <a:pos x="420" y="472"/>
                </a:cxn>
                <a:cxn ang="0">
                  <a:pos x="0" y="0"/>
                </a:cxn>
              </a:cxnLst>
              <a:rect l="0" t="0" r="r" b="b"/>
              <a:pathLst>
                <a:path w="1020" h="836">
                  <a:moveTo>
                    <a:pt x="0" y="0"/>
                  </a:moveTo>
                  <a:lnTo>
                    <a:pt x="28" y="36"/>
                  </a:lnTo>
                  <a:lnTo>
                    <a:pt x="96" y="60"/>
                  </a:lnTo>
                  <a:lnTo>
                    <a:pt x="212" y="80"/>
                  </a:lnTo>
                  <a:lnTo>
                    <a:pt x="312" y="88"/>
                  </a:lnTo>
                  <a:lnTo>
                    <a:pt x="412" y="96"/>
                  </a:lnTo>
                  <a:lnTo>
                    <a:pt x="528" y="96"/>
                  </a:lnTo>
                  <a:lnTo>
                    <a:pt x="668" y="92"/>
                  </a:lnTo>
                  <a:lnTo>
                    <a:pt x="792" y="80"/>
                  </a:lnTo>
                  <a:lnTo>
                    <a:pt x="892" y="60"/>
                  </a:lnTo>
                  <a:lnTo>
                    <a:pt x="988" y="36"/>
                  </a:lnTo>
                  <a:lnTo>
                    <a:pt x="1020" y="4"/>
                  </a:lnTo>
                  <a:lnTo>
                    <a:pt x="628" y="468"/>
                  </a:lnTo>
                  <a:lnTo>
                    <a:pt x="592" y="836"/>
                  </a:lnTo>
                  <a:lnTo>
                    <a:pt x="460" y="836"/>
                  </a:lnTo>
                  <a:lnTo>
                    <a:pt x="42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19" name="Oval 35"/>
            <p:cNvSpPr>
              <a:spLocks noChangeArrowheads="1"/>
            </p:cNvSpPr>
            <p:nvPr/>
          </p:nvSpPr>
          <p:spPr bwMode="auto">
            <a:xfrm>
              <a:off x="2346" y="491"/>
              <a:ext cx="916" cy="18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20" name="Group 36"/>
          <p:cNvGrpSpPr>
            <a:grpSpLocks/>
          </p:cNvGrpSpPr>
          <p:nvPr/>
        </p:nvGrpSpPr>
        <p:grpSpPr bwMode="auto">
          <a:xfrm>
            <a:off x="9400126" y="3784362"/>
            <a:ext cx="1125725" cy="956095"/>
            <a:chOff x="3363" y="1227"/>
            <a:chExt cx="1021" cy="943"/>
          </a:xfrm>
          <a:solidFill>
            <a:schemeClr val="accent3"/>
          </a:solidFill>
        </p:grpSpPr>
        <p:sp>
          <p:nvSpPr>
            <p:cNvPr id="21" name="Oval 37"/>
            <p:cNvSpPr>
              <a:spLocks noChangeArrowheads="1"/>
            </p:cNvSpPr>
            <p:nvPr/>
          </p:nvSpPr>
          <p:spPr bwMode="auto">
            <a:xfrm>
              <a:off x="3363" y="1227"/>
              <a:ext cx="1019" cy="204"/>
            </a:xfrm>
            <a:prstGeom prst="ellipse">
              <a:avLst/>
            </a:prstGeom>
            <a:grpFill/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22" name="Freeform 38"/>
            <p:cNvSpPr>
              <a:spLocks/>
            </p:cNvSpPr>
            <p:nvPr/>
          </p:nvSpPr>
          <p:spPr bwMode="auto">
            <a:xfrm>
              <a:off x="3364" y="1334"/>
              <a:ext cx="1020" cy="8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8" y="36"/>
                </a:cxn>
                <a:cxn ang="0">
                  <a:pos x="96" y="60"/>
                </a:cxn>
                <a:cxn ang="0">
                  <a:pos x="212" y="80"/>
                </a:cxn>
                <a:cxn ang="0">
                  <a:pos x="312" y="88"/>
                </a:cxn>
                <a:cxn ang="0">
                  <a:pos x="412" y="96"/>
                </a:cxn>
                <a:cxn ang="0">
                  <a:pos x="528" y="96"/>
                </a:cxn>
                <a:cxn ang="0">
                  <a:pos x="668" y="92"/>
                </a:cxn>
                <a:cxn ang="0">
                  <a:pos x="792" y="80"/>
                </a:cxn>
                <a:cxn ang="0">
                  <a:pos x="892" y="60"/>
                </a:cxn>
                <a:cxn ang="0">
                  <a:pos x="988" y="36"/>
                </a:cxn>
                <a:cxn ang="0">
                  <a:pos x="1020" y="4"/>
                </a:cxn>
                <a:cxn ang="0">
                  <a:pos x="628" y="468"/>
                </a:cxn>
                <a:cxn ang="0">
                  <a:pos x="592" y="836"/>
                </a:cxn>
                <a:cxn ang="0">
                  <a:pos x="460" y="836"/>
                </a:cxn>
                <a:cxn ang="0">
                  <a:pos x="420" y="472"/>
                </a:cxn>
                <a:cxn ang="0">
                  <a:pos x="0" y="0"/>
                </a:cxn>
              </a:cxnLst>
              <a:rect l="0" t="0" r="r" b="b"/>
              <a:pathLst>
                <a:path w="1020" h="836">
                  <a:moveTo>
                    <a:pt x="0" y="0"/>
                  </a:moveTo>
                  <a:lnTo>
                    <a:pt x="28" y="36"/>
                  </a:lnTo>
                  <a:lnTo>
                    <a:pt x="96" y="60"/>
                  </a:lnTo>
                  <a:lnTo>
                    <a:pt x="212" y="80"/>
                  </a:lnTo>
                  <a:lnTo>
                    <a:pt x="312" y="88"/>
                  </a:lnTo>
                  <a:lnTo>
                    <a:pt x="412" y="96"/>
                  </a:lnTo>
                  <a:lnTo>
                    <a:pt x="528" y="96"/>
                  </a:lnTo>
                  <a:lnTo>
                    <a:pt x="668" y="92"/>
                  </a:lnTo>
                  <a:lnTo>
                    <a:pt x="792" y="80"/>
                  </a:lnTo>
                  <a:lnTo>
                    <a:pt x="892" y="60"/>
                  </a:lnTo>
                  <a:lnTo>
                    <a:pt x="988" y="36"/>
                  </a:lnTo>
                  <a:lnTo>
                    <a:pt x="1020" y="4"/>
                  </a:lnTo>
                  <a:lnTo>
                    <a:pt x="628" y="468"/>
                  </a:lnTo>
                  <a:lnTo>
                    <a:pt x="592" y="836"/>
                  </a:lnTo>
                  <a:lnTo>
                    <a:pt x="460" y="836"/>
                  </a:lnTo>
                  <a:lnTo>
                    <a:pt x="420" y="4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23" name="Oval 39"/>
            <p:cNvSpPr>
              <a:spLocks noChangeArrowheads="1"/>
            </p:cNvSpPr>
            <p:nvPr/>
          </p:nvSpPr>
          <p:spPr bwMode="auto">
            <a:xfrm>
              <a:off x="3422" y="1229"/>
              <a:ext cx="916" cy="184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24" name="Group 108"/>
          <p:cNvGrpSpPr>
            <a:grpSpLocks/>
          </p:cNvGrpSpPr>
          <p:nvPr/>
        </p:nvGrpSpPr>
        <p:grpSpPr bwMode="auto">
          <a:xfrm rot="5400000" flipH="1">
            <a:off x="1317469" y="2834184"/>
            <a:ext cx="1963592" cy="435212"/>
            <a:chOff x="2374" y="2256"/>
            <a:chExt cx="1434" cy="318"/>
          </a:xfrm>
          <a:solidFill>
            <a:schemeClr val="accent5"/>
          </a:solidFill>
        </p:grpSpPr>
        <p:grpSp>
          <p:nvGrpSpPr>
            <p:cNvPr id="25" name="Group 109"/>
            <p:cNvGrpSpPr>
              <a:grpSpLocks/>
            </p:cNvGrpSpPr>
            <p:nvPr/>
          </p:nvGrpSpPr>
          <p:grpSpPr bwMode="auto">
            <a:xfrm>
              <a:off x="2596" y="2256"/>
              <a:ext cx="1212" cy="96"/>
              <a:chOff x="1440" y="2592"/>
              <a:chExt cx="1212" cy="96"/>
            </a:xfrm>
            <a:grpFill/>
          </p:grpSpPr>
          <p:sp>
            <p:nvSpPr>
              <p:cNvPr id="50" name="AutoShape 110"/>
              <p:cNvSpPr>
                <a:spLocks noChangeArrowheads="1"/>
              </p:cNvSpPr>
              <p:nvPr/>
            </p:nvSpPr>
            <p:spPr bwMode="auto">
              <a:xfrm>
                <a:off x="1440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1" name="AutoShape 111"/>
              <p:cNvSpPr>
                <a:spLocks noChangeArrowheads="1"/>
              </p:cNvSpPr>
              <p:nvPr/>
            </p:nvSpPr>
            <p:spPr bwMode="auto">
              <a:xfrm>
                <a:off x="1602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2" name="AutoShape 112"/>
              <p:cNvSpPr>
                <a:spLocks noChangeArrowheads="1"/>
              </p:cNvSpPr>
              <p:nvPr/>
            </p:nvSpPr>
            <p:spPr bwMode="auto">
              <a:xfrm>
                <a:off x="1764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3" name="AutoShape 113"/>
              <p:cNvSpPr>
                <a:spLocks noChangeArrowheads="1"/>
              </p:cNvSpPr>
              <p:nvPr/>
            </p:nvSpPr>
            <p:spPr bwMode="auto">
              <a:xfrm>
                <a:off x="1926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4" name="AutoShape 114"/>
              <p:cNvSpPr>
                <a:spLocks noChangeArrowheads="1"/>
              </p:cNvSpPr>
              <p:nvPr/>
            </p:nvSpPr>
            <p:spPr bwMode="auto">
              <a:xfrm>
                <a:off x="2088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5" name="AutoShape 115"/>
              <p:cNvSpPr>
                <a:spLocks noChangeArrowheads="1"/>
              </p:cNvSpPr>
              <p:nvPr/>
            </p:nvSpPr>
            <p:spPr bwMode="auto">
              <a:xfrm>
                <a:off x="2250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56" name="AutoShape 116"/>
              <p:cNvSpPr>
                <a:spLocks noChangeArrowheads="1"/>
              </p:cNvSpPr>
              <p:nvPr/>
            </p:nvSpPr>
            <p:spPr bwMode="auto">
              <a:xfrm>
                <a:off x="2412" y="2592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</p:grpSp>
        <p:grpSp>
          <p:nvGrpSpPr>
            <p:cNvPr id="26" name="Group 117"/>
            <p:cNvGrpSpPr>
              <a:grpSpLocks/>
            </p:cNvGrpSpPr>
            <p:nvPr/>
          </p:nvGrpSpPr>
          <p:grpSpPr bwMode="auto">
            <a:xfrm>
              <a:off x="2522" y="2330"/>
              <a:ext cx="1212" cy="96"/>
              <a:chOff x="1365" y="2667"/>
              <a:chExt cx="1212" cy="96"/>
            </a:xfrm>
            <a:grpFill/>
          </p:grpSpPr>
          <p:sp>
            <p:nvSpPr>
              <p:cNvPr id="43" name="AutoShape 118"/>
              <p:cNvSpPr>
                <a:spLocks noChangeArrowheads="1"/>
              </p:cNvSpPr>
              <p:nvPr/>
            </p:nvSpPr>
            <p:spPr bwMode="auto">
              <a:xfrm>
                <a:off x="1365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4" name="AutoShape 119"/>
              <p:cNvSpPr>
                <a:spLocks noChangeArrowheads="1"/>
              </p:cNvSpPr>
              <p:nvPr/>
            </p:nvSpPr>
            <p:spPr bwMode="auto">
              <a:xfrm>
                <a:off x="1527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5" name="AutoShape 120"/>
              <p:cNvSpPr>
                <a:spLocks noChangeArrowheads="1"/>
              </p:cNvSpPr>
              <p:nvPr/>
            </p:nvSpPr>
            <p:spPr bwMode="auto">
              <a:xfrm>
                <a:off x="1689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6" name="AutoShape 121"/>
              <p:cNvSpPr>
                <a:spLocks noChangeArrowheads="1"/>
              </p:cNvSpPr>
              <p:nvPr/>
            </p:nvSpPr>
            <p:spPr bwMode="auto">
              <a:xfrm>
                <a:off x="1851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7" name="AutoShape 122"/>
              <p:cNvSpPr>
                <a:spLocks noChangeArrowheads="1"/>
              </p:cNvSpPr>
              <p:nvPr/>
            </p:nvSpPr>
            <p:spPr bwMode="auto">
              <a:xfrm>
                <a:off x="2013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8" name="AutoShape 123"/>
              <p:cNvSpPr>
                <a:spLocks noChangeArrowheads="1"/>
              </p:cNvSpPr>
              <p:nvPr/>
            </p:nvSpPr>
            <p:spPr bwMode="auto">
              <a:xfrm>
                <a:off x="2175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9" name="AutoShape 124"/>
              <p:cNvSpPr>
                <a:spLocks noChangeArrowheads="1"/>
              </p:cNvSpPr>
              <p:nvPr/>
            </p:nvSpPr>
            <p:spPr bwMode="auto">
              <a:xfrm>
                <a:off x="2337" y="2667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</p:grpSp>
        <p:grpSp>
          <p:nvGrpSpPr>
            <p:cNvPr id="27" name="Group 125"/>
            <p:cNvGrpSpPr>
              <a:grpSpLocks/>
            </p:cNvGrpSpPr>
            <p:nvPr/>
          </p:nvGrpSpPr>
          <p:grpSpPr bwMode="auto">
            <a:xfrm>
              <a:off x="2448" y="2404"/>
              <a:ext cx="1212" cy="96"/>
              <a:chOff x="1293" y="2739"/>
              <a:chExt cx="1212" cy="96"/>
            </a:xfrm>
            <a:grpFill/>
          </p:grpSpPr>
          <p:sp>
            <p:nvSpPr>
              <p:cNvPr id="36" name="AutoShape 126"/>
              <p:cNvSpPr>
                <a:spLocks noChangeArrowheads="1"/>
              </p:cNvSpPr>
              <p:nvPr/>
            </p:nvSpPr>
            <p:spPr bwMode="auto">
              <a:xfrm>
                <a:off x="1293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7" name="AutoShape 127"/>
              <p:cNvSpPr>
                <a:spLocks noChangeArrowheads="1"/>
              </p:cNvSpPr>
              <p:nvPr/>
            </p:nvSpPr>
            <p:spPr bwMode="auto">
              <a:xfrm>
                <a:off x="1455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8" name="AutoShape 128"/>
              <p:cNvSpPr>
                <a:spLocks noChangeArrowheads="1"/>
              </p:cNvSpPr>
              <p:nvPr/>
            </p:nvSpPr>
            <p:spPr bwMode="auto">
              <a:xfrm>
                <a:off x="1617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9" name="AutoShape 129"/>
              <p:cNvSpPr>
                <a:spLocks noChangeArrowheads="1"/>
              </p:cNvSpPr>
              <p:nvPr/>
            </p:nvSpPr>
            <p:spPr bwMode="auto">
              <a:xfrm>
                <a:off x="1779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0" name="AutoShape 130"/>
              <p:cNvSpPr>
                <a:spLocks noChangeArrowheads="1"/>
              </p:cNvSpPr>
              <p:nvPr/>
            </p:nvSpPr>
            <p:spPr bwMode="auto">
              <a:xfrm>
                <a:off x="1941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1" name="AutoShape 131"/>
              <p:cNvSpPr>
                <a:spLocks noChangeArrowheads="1"/>
              </p:cNvSpPr>
              <p:nvPr/>
            </p:nvSpPr>
            <p:spPr bwMode="auto">
              <a:xfrm>
                <a:off x="2103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42" name="AutoShape 132"/>
              <p:cNvSpPr>
                <a:spLocks noChangeArrowheads="1"/>
              </p:cNvSpPr>
              <p:nvPr/>
            </p:nvSpPr>
            <p:spPr bwMode="auto">
              <a:xfrm>
                <a:off x="2265" y="2739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</p:grpSp>
        <p:grpSp>
          <p:nvGrpSpPr>
            <p:cNvPr id="28" name="Group 133"/>
            <p:cNvGrpSpPr>
              <a:grpSpLocks/>
            </p:cNvGrpSpPr>
            <p:nvPr/>
          </p:nvGrpSpPr>
          <p:grpSpPr bwMode="auto">
            <a:xfrm>
              <a:off x="2374" y="2478"/>
              <a:ext cx="1212" cy="96"/>
              <a:chOff x="1218" y="2814"/>
              <a:chExt cx="1212" cy="96"/>
            </a:xfrm>
            <a:grpFill/>
          </p:grpSpPr>
          <p:sp>
            <p:nvSpPr>
              <p:cNvPr id="29" name="AutoShape 134"/>
              <p:cNvSpPr>
                <a:spLocks noChangeArrowheads="1"/>
              </p:cNvSpPr>
              <p:nvPr/>
            </p:nvSpPr>
            <p:spPr bwMode="auto">
              <a:xfrm>
                <a:off x="1218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0" name="AutoShape 135"/>
              <p:cNvSpPr>
                <a:spLocks noChangeArrowheads="1"/>
              </p:cNvSpPr>
              <p:nvPr/>
            </p:nvSpPr>
            <p:spPr bwMode="auto">
              <a:xfrm>
                <a:off x="1380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1" name="AutoShape 136"/>
              <p:cNvSpPr>
                <a:spLocks noChangeArrowheads="1"/>
              </p:cNvSpPr>
              <p:nvPr/>
            </p:nvSpPr>
            <p:spPr bwMode="auto">
              <a:xfrm>
                <a:off x="1542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2" name="AutoShape 137"/>
              <p:cNvSpPr>
                <a:spLocks noChangeArrowheads="1"/>
              </p:cNvSpPr>
              <p:nvPr/>
            </p:nvSpPr>
            <p:spPr bwMode="auto">
              <a:xfrm>
                <a:off x="1704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3" name="AutoShape 138"/>
              <p:cNvSpPr>
                <a:spLocks noChangeArrowheads="1"/>
              </p:cNvSpPr>
              <p:nvPr/>
            </p:nvSpPr>
            <p:spPr bwMode="auto">
              <a:xfrm>
                <a:off x="1866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4" name="AutoShape 139"/>
              <p:cNvSpPr>
                <a:spLocks noChangeArrowheads="1"/>
              </p:cNvSpPr>
              <p:nvPr/>
            </p:nvSpPr>
            <p:spPr bwMode="auto">
              <a:xfrm>
                <a:off x="2028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35" name="AutoShape 140"/>
              <p:cNvSpPr>
                <a:spLocks noChangeArrowheads="1"/>
              </p:cNvSpPr>
              <p:nvPr/>
            </p:nvSpPr>
            <p:spPr bwMode="auto">
              <a:xfrm>
                <a:off x="2190" y="2814"/>
                <a:ext cx="240" cy="96"/>
              </a:xfrm>
              <a:prstGeom prst="cube">
                <a:avLst>
                  <a:gd name="adj" fmla="val 78333"/>
                </a:avLst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</p:grpSp>
      </p:grpSp>
      <p:grpSp>
        <p:nvGrpSpPr>
          <p:cNvPr id="57" name="Group 141"/>
          <p:cNvGrpSpPr>
            <a:grpSpLocks/>
          </p:cNvGrpSpPr>
          <p:nvPr/>
        </p:nvGrpSpPr>
        <p:grpSpPr bwMode="auto">
          <a:xfrm>
            <a:off x="4029991" y="3108172"/>
            <a:ext cx="1254232" cy="836155"/>
            <a:chOff x="1104" y="1680"/>
            <a:chExt cx="1728" cy="1152"/>
          </a:xfrm>
        </p:grpSpPr>
        <p:sp>
          <p:nvSpPr>
            <p:cNvPr id="58" name="Oval 142"/>
            <p:cNvSpPr>
              <a:spLocks noChangeArrowheads="1"/>
            </p:cNvSpPr>
            <p:nvPr/>
          </p:nvSpPr>
          <p:spPr bwMode="auto">
            <a:xfrm>
              <a:off x="1104" y="1680"/>
              <a:ext cx="211" cy="115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59" name="Oval 143"/>
            <p:cNvSpPr>
              <a:spLocks noChangeArrowheads="1"/>
            </p:cNvSpPr>
            <p:nvPr/>
          </p:nvSpPr>
          <p:spPr bwMode="auto">
            <a:xfrm>
              <a:off x="2749" y="2163"/>
              <a:ext cx="83" cy="186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60" name="Freeform 144"/>
            <p:cNvSpPr>
              <a:spLocks/>
            </p:cNvSpPr>
            <p:nvPr/>
          </p:nvSpPr>
          <p:spPr bwMode="auto">
            <a:xfrm>
              <a:off x="1209" y="1680"/>
              <a:ext cx="1581" cy="48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0" y="624"/>
                </a:cxn>
              </a:cxnLst>
              <a:rect l="0" t="0" r="r" b="b"/>
              <a:pathLst>
                <a:path w="1440" h="624">
                  <a:moveTo>
                    <a:pt x="0" y="0"/>
                  </a:moveTo>
                  <a:cubicBezTo>
                    <a:pt x="0" y="0"/>
                    <a:pt x="720" y="312"/>
                    <a:pt x="1440" y="624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61" name="Freeform 145"/>
            <p:cNvSpPr>
              <a:spLocks/>
            </p:cNvSpPr>
            <p:nvPr/>
          </p:nvSpPr>
          <p:spPr bwMode="auto">
            <a:xfrm flipV="1">
              <a:off x="1262" y="2349"/>
              <a:ext cx="1528" cy="48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0" y="624"/>
                </a:cxn>
              </a:cxnLst>
              <a:rect l="0" t="0" r="r" b="b"/>
              <a:pathLst>
                <a:path w="1440" h="624">
                  <a:moveTo>
                    <a:pt x="0" y="0"/>
                  </a:moveTo>
                  <a:cubicBezTo>
                    <a:pt x="0" y="0"/>
                    <a:pt x="720" y="312"/>
                    <a:pt x="1440" y="624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62" name="Group 146"/>
          <p:cNvGrpSpPr>
            <a:grpSpLocks/>
          </p:cNvGrpSpPr>
          <p:nvPr/>
        </p:nvGrpSpPr>
        <p:grpSpPr bwMode="auto">
          <a:xfrm>
            <a:off x="7155290" y="3108172"/>
            <a:ext cx="1254232" cy="836155"/>
            <a:chOff x="4066" y="1680"/>
            <a:chExt cx="1728" cy="1152"/>
          </a:xfrm>
        </p:grpSpPr>
        <p:sp>
          <p:nvSpPr>
            <p:cNvPr id="63" name="Oval 147"/>
            <p:cNvSpPr>
              <a:spLocks noChangeArrowheads="1"/>
            </p:cNvSpPr>
            <p:nvPr/>
          </p:nvSpPr>
          <p:spPr bwMode="auto">
            <a:xfrm>
              <a:off x="4066" y="1680"/>
              <a:ext cx="211" cy="115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64" name="Oval 148"/>
            <p:cNvSpPr>
              <a:spLocks noChangeArrowheads="1"/>
            </p:cNvSpPr>
            <p:nvPr/>
          </p:nvSpPr>
          <p:spPr bwMode="auto">
            <a:xfrm>
              <a:off x="5711" y="2163"/>
              <a:ext cx="83" cy="186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65" name="Freeform 149"/>
            <p:cNvSpPr>
              <a:spLocks/>
            </p:cNvSpPr>
            <p:nvPr/>
          </p:nvSpPr>
          <p:spPr bwMode="auto">
            <a:xfrm>
              <a:off x="4176" y="1680"/>
              <a:ext cx="1584" cy="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8" y="384"/>
                </a:cxn>
                <a:cxn ang="0">
                  <a:pos x="1584" y="480"/>
                </a:cxn>
              </a:cxnLst>
              <a:rect l="0" t="0" r="r" b="b"/>
              <a:pathLst>
                <a:path w="1584" h="480">
                  <a:moveTo>
                    <a:pt x="0" y="0"/>
                  </a:moveTo>
                  <a:cubicBezTo>
                    <a:pt x="252" y="152"/>
                    <a:pt x="504" y="304"/>
                    <a:pt x="768" y="384"/>
                  </a:cubicBezTo>
                  <a:cubicBezTo>
                    <a:pt x="1032" y="464"/>
                    <a:pt x="1308" y="472"/>
                    <a:pt x="1584" y="480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66" name="Freeform 150"/>
            <p:cNvSpPr>
              <a:spLocks/>
            </p:cNvSpPr>
            <p:nvPr/>
          </p:nvSpPr>
          <p:spPr bwMode="auto">
            <a:xfrm flipV="1">
              <a:off x="4176" y="2352"/>
              <a:ext cx="1584" cy="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8" y="384"/>
                </a:cxn>
                <a:cxn ang="0">
                  <a:pos x="1584" y="480"/>
                </a:cxn>
              </a:cxnLst>
              <a:rect l="0" t="0" r="r" b="b"/>
              <a:pathLst>
                <a:path w="1584" h="480">
                  <a:moveTo>
                    <a:pt x="0" y="0"/>
                  </a:moveTo>
                  <a:cubicBezTo>
                    <a:pt x="252" y="152"/>
                    <a:pt x="504" y="304"/>
                    <a:pt x="768" y="384"/>
                  </a:cubicBezTo>
                  <a:cubicBezTo>
                    <a:pt x="1032" y="464"/>
                    <a:pt x="1308" y="472"/>
                    <a:pt x="1584" y="480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67" name="Group 151"/>
          <p:cNvGrpSpPr>
            <a:grpSpLocks/>
          </p:cNvGrpSpPr>
          <p:nvPr/>
        </p:nvGrpSpPr>
        <p:grpSpPr bwMode="auto">
          <a:xfrm>
            <a:off x="5839375" y="3159575"/>
            <a:ext cx="942387" cy="733349"/>
            <a:chOff x="4066" y="1680"/>
            <a:chExt cx="1728" cy="1152"/>
          </a:xfrm>
        </p:grpSpPr>
        <p:sp>
          <p:nvSpPr>
            <p:cNvPr id="68" name="Oval 152"/>
            <p:cNvSpPr>
              <a:spLocks noChangeArrowheads="1"/>
            </p:cNvSpPr>
            <p:nvPr/>
          </p:nvSpPr>
          <p:spPr bwMode="auto">
            <a:xfrm>
              <a:off x="4066" y="1680"/>
              <a:ext cx="211" cy="1152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69" name="Oval 153"/>
            <p:cNvSpPr>
              <a:spLocks noChangeArrowheads="1"/>
            </p:cNvSpPr>
            <p:nvPr/>
          </p:nvSpPr>
          <p:spPr bwMode="auto">
            <a:xfrm>
              <a:off x="5711" y="2163"/>
              <a:ext cx="83" cy="186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es-ES" sz="2159"/>
            </a:p>
          </p:txBody>
        </p:sp>
        <p:sp>
          <p:nvSpPr>
            <p:cNvPr id="70" name="Freeform 154"/>
            <p:cNvSpPr>
              <a:spLocks/>
            </p:cNvSpPr>
            <p:nvPr/>
          </p:nvSpPr>
          <p:spPr bwMode="auto">
            <a:xfrm>
              <a:off x="4176" y="1680"/>
              <a:ext cx="1584" cy="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8" y="384"/>
                </a:cxn>
                <a:cxn ang="0">
                  <a:pos x="1584" y="480"/>
                </a:cxn>
              </a:cxnLst>
              <a:rect l="0" t="0" r="r" b="b"/>
              <a:pathLst>
                <a:path w="1584" h="480">
                  <a:moveTo>
                    <a:pt x="0" y="0"/>
                  </a:moveTo>
                  <a:cubicBezTo>
                    <a:pt x="252" y="152"/>
                    <a:pt x="504" y="304"/>
                    <a:pt x="768" y="384"/>
                  </a:cubicBezTo>
                  <a:cubicBezTo>
                    <a:pt x="1032" y="464"/>
                    <a:pt x="1308" y="472"/>
                    <a:pt x="1584" y="480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  <p:sp>
          <p:nvSpPr>
            <p:cNvPr id="71" name="Freeform 155"/>
            <p:cNvSpPr>
              <a:spLocks/>
            </p:cNvSpPr>
            <p:nvPr/>
          </p:nvSpPr>
          <p:spPr bwMode="auto">
            <a:xfrm flipV="1">
              <a:off x="4176" y="2352"/>
              <a:ext cx="1584" cy="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768" y="384"/>
                </a:cxn>
                <a:cxn ang="0">
                  <a:pos x="1584" y="480"/>
                </a:cxn>
              </a:cxnLst>
              <a:rect l="0" t="0" r="r" b="b"/>
              <a:pathLst>
                <a:path w="1584" h="480">
                  <a:moveTo>
                    <a:pt x="0" y="0"/>
                  </a:moveTo>
                  <a:cubicBezTo>
                    <a:pt x="252" y="152"/>
                    <a:pt x="504" y="304"/>
                    <a:pt x="768" y="384"/>
                  </a:cubicBezTo>
                  <a:cubicBezTo>
                    <a:pt x="1032" y="464"/>
                    <a:pt x="1308" y="472"/>
                    <a:pt x="1584" y="480"/>
                  </a:cubicBezTo>
                </a:path>
              </a:pathLst>
            </a:cu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endParaRPr lang="es-ES" sz="2159"/>
            </a:p>
          </p:txBody>
        </p:sp>
      </p:grpSp>
      <p:grpSp>
        <p:nvGrpSpPr>
          <p:cNvPr id="72" name="Group 156"/>
          <p:cNvGrpSpPr>
            <a:grpSpLocks/>
          </p:cNvGrpSpPr>
          <p:nvPr/>
        </p:nvGrpSpPr>
        <p:grpSpPr bwMode="auto">
          <a:xfrm>
            <a:off x="2714076" y="3204124"/>
            <a:ext cx="771044" cy="740202"/>
            <a:chOff x="3835" y="1560"/>
            <a:chExt cx="450" cy="432"/>
          </a:xfrm>
        </p:grpSpPr>
        <p:sp>
          <p:nvSpPr>
            <p:cNvPr id="73" name="Oval 157"/>
            <p:cNvSpPr>
              <a:spLocks noChangeArrowheads="1"/>
            </p:cNvSpPr>
            <p:nvPr/>
          </p:nvSpPr>
          <p:spPr bwMode="auto">
            <a:xfrm>
              <a:off x="3840" y="1560"/>
              <a:ext cx="432" cy="43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s-ES" sz="2159"/>
            </a:p>
          </p:txBody>
        </p:sp>
        <p:grpSp>
          <p:nvGrpSpPr>
            <p:cNvPr id="74" name="Group 158"/>
            <p:cNvGrpSpPr>
              <a:grpSpLocks/>
            </p:cNvGrpSpPr>
            <p:nvPr/>
          </p:nvGrpSpPr>
          <p:grpSpPr bwMode="auto">
            <a:xfrm>
              <a:off x="3825" y="1580"/>
              <a:ext cx="449" cy="388"/>
              <a:chOff x="3861" y="1595"/>
              <a:chExt cx="398" cy="358"/>
            </a:xfrm>
          </p:grpSpPr>
          <p:sp>
            <p:nvSpPr>
              <p:cNvPr id="75" name="AutoShape 159" descr="Large grid"/>
              <p:cNvSpPr>
                <a:spLocks noChangeArrowheads="1"/>
              </p:cNvSpPr>
              <p:nvPr/>
            </p:nvSpPr>
            <p:spPr bwMode="auto">
              <a:xfrm rot="5402889" flipH="1">
                <a:off x="3870" y="1750"/>
                <a:ext cx="358" cy="47"/>
              </a:xfrm>
              <a:prstGeom prst="parallelogram">
                <a:avLst>
                  <a:gd name="adj" fmla="val 79203"/>
                </a:avLst>
              </a:prstGeom>
              <a:pattFill prst="lgGrid">
                <a:fgClr>
                  <a:schemeClr val="hlink"/>
                </a:fgClr>
                <a:bgClr>
                  <a:srgbClr val="FFFFFF"/>
                </a:bgClr>
              </a:patt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</p:spPr>
            <p:txBody>
              <a:bodyPr wrap="none" lIns="0" rIns="0" anchor="ctr"/>
              <a:lstStyle/>
              <a:p>
                <a:endParaRPr lang="es-ES" sz="2159"/>
              </a:p>
            </p:txBody>
          </p:sp>
          <p:sp>
            <p:nvSpPr>
              <p:cNvPr id="76" name="AutoShape 160"/>
              <p:cNvSpPr>
                <a:spLocks noChangeArrowheads="1"/>
              </p:cNvSpPr>
              <p:nvPr/>
            </p:nvSpPr>
            <p:spPr bwMode="auto">
              <a:xfrm rot="-5400000">
                <a:off x="3839" y="1712"/>
                <a:ext cx="191" cy="148"/>
              </a:xfrm>
              <a:prstGeom prst="downArrow">
                <a:avLst>
                  <a:gd name="adj1" fmla="val 68593"/>
                  <a:gd name="adj2" fmla="val 35139"/>
                </a:avLst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77" name="AutoShape 161"/>
              <p:cNvSpPr>
                <a:spLocks noChangeArrowheads="1"/>
              </p:cNvSpPr>
              <p:nvPr/>
            </p:nvSpPr>
            <p:spPr bwMode="auto">
              <a:xfrm rot="-5400000">
                <a:off x="4160" y="1717"/>
                <a:ext cx="62" cy="136"/>
              </a:xfrm>
              <a:prstGeom prst="downArrow">
                <a:avLst>
                  <a:gd name="adj1" fmla="val 38713"/>
                  <a:gd name="adj2" fmla="val 69665"/>
                </a:avLst>
              </a:prstGeom>
              <a:solidFill>
                <a:schemeClr val="accent6"/>
              </a:solidFill>
              <a:ln w="1270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s-ES" sz="2159"/>
              </a:p>
            </p:txBody>
          </p:sp>
          <p:sp>
            <p:nvSpPr>
              <p:cNvPr id="78" name="AutoShape 162" descr="Large grid"/>
              <p:cNvSpPr>
                <a:spLocks noChangeArrowheads="1"/>
              </p:cNvSpPr>
              <p:nvPr/>
            </p:nvSpPr>
            <p:spPr bwMode="auto">
              <a:xfrm rot="5402889" flipH="1">
                <a:off x="3903" y="1750"/>
                <a:ext cx="358" cy="47"/>
              </a:xfrm>
              <a:prstGeom prst="parallelogram">
                <a:avLst>
                  <a:gd name="adj" fmla="val 79203"/>
                </a:avLst>
              </a:prstGeom>
              <a:pattFill prst="lgGrid">
                <a:fgClr>
                  <a:schemeClr val="hlink"/>
                </a:fgClr>
                <a:bgClr>
                  <a:srgbClr val="FFFFFF"/>
                </a:bgClr>
              </a:pattFill>
              <a:ln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:ln>
              <a:effectLst/>
            </p:spPr>
            <p:txBody>
              <a:bodyPr wrap="none" lIns="0" rIns="0" anchor="ctr"/>
              <a:lstStyle/>
              <a:p>
                <a:endParaRPr lang="es-ES" sz="2159"/>
              </a:p>
            </p:txBody>
          </p:sp>
        </p:grpSp>
      </p:grpSp>
      <p:grpSp>
        <p:nvGrpSpPr>
          <p:cNvPr id="79" name="Group 2"/>
          <p:cNvGrpSpPr>
            <a:grpSpLocks/>
          </p:cNvGrpSpPr>
          <p:nvPr/>
        </p:nvGrpSpPr>
        <p:grpSpPr bwMode="auto">
          <a:xfrm>
            <a:off x="4024664" y="5256520"/>
            <a:ext cx="1168547" cy="714862"/>
            <a:chOff x="2166" y="1391"/>
            <a:chExt cx="953" cy="583"/>
          </a:xfrm>
        </p:grpSpPr>
        <p:sp>
          <p:nvSpPr>
            <p:cNvPr id="80" name="Freeform 3"/>
            <p:cNvSpPr>
              <a:spLocks/>
            </p:cNvSpPr>
            <p:nvPr/>
          </p:nvSpPr>
          <p:spPr bwMode="auto">
            <a:xfrm>
              <a:off x="2986" y="1425"/>
              <a:ext cx="126" cy="2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76" y="447"/>
                </a:cxn>
                <a:cxn ang="0">
                  <a:pos x="178" y="445"/>
                </a:cxn>
                <a:cxn ang="0">
                  <a:pos x="178" y="441"/>
                </a:cxn>
                <a:cxn ang="0">
                  <a:pos x="186" y="431"/>
                </a:cxn>
                <a:cxn ang="0">
                  <a:pos x="200" y="415"/>
                </a:cxn>
                <a:cxn ang="0">
                  <a:pos x="214" y="393"/>
                </a:cxn>
                <a:cxn ang="0">
                  <a:pos x="240" y="347"/>
                </a:cxn>
                <a:cxn ang="0">
                  <a:pos x="248" y="325"/>
                </a:cxn>
                <a:cxn ang="0">
                  <a:pos x="252" y="305"/>
                </a:cxn>
                <a:cxn ang="0">
                  <a:pos x="252" y="272"/>
                </a:cxn>
                <a:cxn ang="0">
                  <a:pos x="248" y="242"/>
                </a:cxn>
                <a:cxn ang="0">
                  <a:pos x="242" y="210"/>
                </a:cxn>
                <a:cxn ang="0">
                  <a:pos x="230" y="178"/>
                </a:cxn>
                <a:cxn ang="0">
                  <a:pos x="220" y="160"/>
                </a:cxn>
                <a:cxn ang="0">
                  <a:pos x="206" y="142"/>
                </a:cxn>
                <a:cxn ang="0">
                  <a:pos x="174" y="104"/>
                </a:cxn>
                <a:cxn ang="0">
                  <a:pos x="134" y="68"/>
                </a:cxn>
                <a:cxn ang="0">
                  <a:pos x="116" y="52"/>
                </a:cxn>
                <a:cxn ang="0">
                  <a:pos x="100" y="38"/>
                </a:cxn>
                <a:cxn ang="0">
                  <a:pos x="66" y="20"/>
                </a:cxn>
                <a:cxn ang="0">
                  <a:pos x="32" y="8"/>
                </a:cxn>
                <a:cxn ang="0">
                  <a:pos x="20" y="4"/>
                </a:cxn>
                <a:cxn ang="0">
                  <a:pos x="10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52" h="447">
                  <a:moveTo>
                    <a:pt x="0" y="0"/>
                  </a:moveTo>
                  <a:lnTo>
                    <a:pt x="176" y="447"/>
                  </a:lnTo>
                  <a:lnTo>
                    <a:pt x="178" y="445"/>
                  </a:lnTo>
                  <a:lnTo>
                    <a:pt x="178" y="441"/>
                  </a:lnTo>
                  <a:lnTo>
                    <a:pt x="186" y="431"/>
                  </a:lnTo>
                  <a:lnTo>
                    <a:pt x="200" y="415"/>
                  </a:lnTo>
                  <a:lnTo>
                    <a:pt x="214" y="393"/>
                  </a:lnTo>
                  <a:lnTo>
                    <a:pt x="240" y="347"/>
                  </a:lnTo>
                  <a:lnTo>
                    <a:pt x="248" y="325"/>
                  </a:lnTo>
                  <a:lnTo>
                    <a:pt x="252" y="305"/>
                  </a:lnTo>
                  <a:lnTo>
                    <a:pt x="252" y="272"/>
                  </a:lnTo>
                  <a:lnTo>
                    <a:pt x="248" y="242"/>
                  </a:lnTo>
                  <a:lnTo>
                    <a:pt x="242" y="210"/>
                  </a:lnTo>
                  <a:lnTo>
                    <a:pt x="230" y="178"/>
                  </a:lnTo>
                  <a:lnTo>
                    <a:pt x="220" y="160"/>
                  </a:lnTo>
                  <a:lnTo>
                    <a:pt x="206" y="142"/>
                  </a:lnTo>
                  <a:lnTo>
                    <a:pt x="174" y="104"/>
                  </a:lnTo>
                  <a:lnTo>
                    <a:pt x="134" y="68"/>
                  </a:lnTo>
                  <a:lnTo>
                    <a:pt x="116" y="52"/>
                  </a:lnTo>
                  <a:lnTo>
                    <a:pt x="100" y="38"/>
                  </a:lnTo>
                  <a:lnTo>
                    <a:pt x="66" y="20"/>
                  </a:lnTo>
                  <a:lnTo>
                    <a:pt x="32" y="8"/>
                  </a:lnTo>
                  <a:lnTo>
                    <a:pt x="20" y="4"/>
                  </a:lnTo>
                  <a:lnTo>
                    <a:pt x="10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1" name="Freeform 4"/>
            <p:cNvSpPr>
              <a:spLocks/>
            </p:cNvSpPr>
            <p:nvPr/>
          </p:nvSpPr>
          <p:spPr bwMode="auto">
            <a:xfrm>
              <a:off x="2581" y="1446"/>
              <a:ext cx="77" cy="195"/>
            </a:xfrm>
            <a:custGeom>
              <a:avLst/>
              <a:gdLst/>
              <a:ahLst/>
              <a:cxnLst>
                <a:cxn ang="0">
                  <a:pos x="2" y="299"/>
                </a:cxn>
                <a:cxn ang="0">
                  <a:pos x="2" y="283"/>
                </a:cxn>
                <a:cxn ang="0">
                  <a:pos x="0" y="265"/>
                </a:cxn>
                <a:cxn ang="0">
                  <a:pos x="0" y="244"/>
                </a:cxn>
                <a:cxn ang="0">
                  <a:pos x="4" y="198"/>
                </a:cxn>
                <a:cxn ang="0">
                  <a:pos x="6" y="178"/>
                </a:cxn>
                <a:cxn ang="0">
                  <a:pos x="12" y="160"/>
                </a:cxn>
                <a:cxn ang="0">
                  <a:pos x="24" y="132"/>
                </a:cxn>
                <a:cxn ang="0">
                  <a:pos x="38" y="106"/>
                </a:cxn>
                <a:cxn ang="0">
                  <a:pos x="56" y="84"/>
                </a:cxn>
                <a:cxn ang="0">
                  <a:pos x="72" y="64"/>
                </a:cxn>
                <a:cxn ang="0">
                  <a:pos x="82" y="54"/>
                </a:cxn>
                <a:cxn ang="0">
                  <a:pos x="92" y="44"/>
                </a:cxn>
                <a:cxn ang="0">
                  <a:pos x="122" y="22"/>
                </a:cxn>
                <a:cxn ang="0">
                  <a:pos x="134" y="14"/>
                </a:cxn>
                <a:cxn ang="0">
                  <a:pos x="143" y="6"/>
                </a:cxn>
                <a:cxn ang="0">
                  <a:pos x="151" y="2"/>
                </a:cxn>
                <a:cxn ang="0">
                  <a:pos x="153" y="0"/>
                </a:cxn>
                <a:cxn ang="0">
                  <a:pos x="151" y="2"/>
                </a:cxn>
                <a:cxn ang="0">
                  <a:pos x="145" y="8"/>
                </a:cxn>
                <a:cxn ang="0">
                  <a:pos x="136" y="18"/>
                </a:cxn>
                <a:cxn ang="0">
                  <a:pos x="126" y="32"/>
                </a:cxn>
                <a:cxn ang="0">
                  <a:pos x="112" y="48"/>
                </a:cxn>
                <a:cxn ang="0">
                  <a:pos x="100" y="68"/>
                </a:cxn>
                <a:cxn ang="0">
                  <a:pos x="76" y="110"/>
                </a:cxn>
                <a:cxn ang="0">
                  <a:pos x="72" y="124"/>
                </a:cxn>
                <a:cxn ang="0">
                  <a:pos x="68" y="138"/>
                </a:cxn>
                <a:cxn ang="0">
                  <a:pos x="60" y="174"/>
                </a:cxn>
                <a:cxn ang="0">
                  <a:pos x="48" y="256"/>
                </a:cxn>
                <a:cxn ang="0">
                  <a:pos x="46" y="295"/>
                </a:cxn>
                <a:cxn ang="0">
                  <a:pos x="42" y="331"/>
                </a:cxn>
                <a:cxn ang="0">
                  <a:pos x="42" y="357"/>
                </a:cxn>
                <a:cxn ang="0">
                  <a:pos x="40" y="367"/>
                </a:cxn>
                <a:cxn ang="0">
                  <a:pos x="40" y="373"/>
                </a:cxn>
                <a:cxn ang="0">
                  <a:pos x="38" y="381"/>
                </a:cxn>
                <a:cxn ang="0">
                  <a:pos x="34" y="385"/>
                </a:cxn>
                <a:cxn ang="0">
                  <a:pos x="24" y="389"/>
                </a:cxn>
                <a:cxn ang="0">
                  <a:pos x="10" y="389"/>
                </a:cxn>
                <a:cxn ang="0">
                  <a:pos x="2" y="299"/>
                </a:cxn>
              </a:cxnLst>
              <a:rect l="0" t="0" r="r" b="b"/>
              <a:pathLst>
                <a:path w="153" h="389">
                  <a:moveTo>
                    <a:pt x="2" y="299"/>
                  </a:moveTo>
                  <a:lnTo>
                    <a:pt x="2" y="283"/>
                  </a:lnTo>
                  <a:lnTo>
                    <a:pt x="0" y="265"/>
                  </a:lnTo>
                  <a:lnTo>
                    <a:pt x="0" y="244"/>
                  </a:lnTo>
                  <a:lnTo>
                    <a:pt x="4" y="198"/>
                  </a:lnTo>
                  <a:lnTo>
                    <a:pt x="6" y="178"/>
                  </a:lnTo>
                  <a:lnTo>
                    <a:pt x="12" y="160"/>
                  </a:lnTo>
                  <a:lnTo>
                    <a:pt x="24" y="132"/>
                  </a:lnTo>
                  <a:lnTo>
                    <a:pt x="38" y="106"/>
                  </a:lnTo>
                  <a:lnTo>
                    <a:pt x="56" y="84"/>
                  </a:lnTo>
                  <a:lnTo>
                    <a:pt x="72" y="64"/>
                  </a:lnTo>
                  <a:lnTo>
                    <a:pt x="82" y="54"/>
                  </a:lnTo>
                  <a:lnTo>
                    <a:pt x="92" y="44"/>
                  </a:lnTo>
                  <a:lnTo>
                    <a:pt x="122" y="22"/>
                  </a:lnTo>
                  <a:lnTo>
                    <a:pt x="134" y="14"/>
                  </a:lnTo>
                  <a:lnTo>
                    <a:pt x="143" y="6"/>
                  </a:lnTo>
                  <a:lnTo>
                    <a:pt x="151" y="2"/>
                  </a:lnTo>
                  <a:lnTo>
                    <a:pt x="153" y="0"/>
                  </a:lnTo>
                  <a:lnTo>
                    <a:pt x="151" y="2"/>
                  </a:lnTo>
                  <a:lnTo>
                    <a:pt x="145" y="8"/>
                  </a:lnTo>
                  <a:lnTo>
                    <a:pt x="136" y="18"/>
                  </a:lnTo>
                  <a:lnTo>
                    <a:pt x="126" y="32"/>
                  </a:lnTo>
                  <a:lnTo>
                    <a:pt x="112" y="48"/>
                  </a:lnTo>
                  <a:lnTo>
                    <a:pt x="100" y="68"/>
                  </a:lnTo>
                  <a:lnTo>
                    <a:pt x="76" y="110"/>
                  </a:lnTo>
                  <a:lnTo>
                    <a:pt x="72" y="124"/>
                  </a:lnTo>
                  <a:lnTo>
                    <a:pt x="68" y="138"/>
                  </a:lnTo>
                  <a:lnTo>
                    <a:pt x="60" y="174"/>
                  </a:lnTo>
                  <a:lnTo>
                    <a:pt x="48" y="256"/>
                  </a:lnTo>
                  <a:lnTo>
                    <a:pt x="46" y="295"/>
                  </a:lnTo>
                  <a:lnTo>
                    <a:pt x="42" y="331"/>
                  </a:lnTo>
                  <a:lnTo>
                    <a:pt x="42" y="357"/>
                  </a:lnTo>
                  <a:lnTo>
                    <a:pt x="40" y="367"/>
                  </a:lnTo>
                  <a:lnTo>
                    <a:pt x="40" y="373"/>
                  </a:lnTo>
                  <a:lnTo>
                    <a:pt x="38" y="381"/>
                  </a:lnTo>
                  <a:lnTo>
                    <a:pt x="34" y="385"/>
                  </a:lnTo>
                  <a:lnTo>
                    <a:pt x="24" y="389"/>
                  </a:lnTo>
                  <a:lnTo>
                    <a:pt x="10" y="389"/>
                  </a:lnTo>
                  <a:lnTo>
                    <a:pt x="2" y="299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" name="Freeform 5"/>
            <p:cNvSpPr>
              <a:spLocks/>
            </p:cNvSpPr>
            <p:nvPr/>
          </p:nvSpPr>
          <p:spPr bwMode="auto">
            <a:xfrm>
              <a:off x="2586" y="1418"/>
              <a:ext cx="526" cy="193"/>
            </a:xfrm>
            <a:custGeom>
              <a:avLst/>
              <a:gdLst/>
              <a:ahLst/>
              <a:cxnLst>
                <a:cxn ang="0">
                  <a:pos x="2" y="385"/>
                </a:cxn>
                <a:cxn ang="0">
                  <a:pos x="8" y="367"/>
                </a:cxn>
                <a:cxn ang="0">
                  <a:pos x="24" y="337"/>
                </a:cxn>
                <a:cxn ang="0">
                  <a:pos x="60" y="278"/>
                </a:cxn>
                <a:cxn ang="0">
                  <a:pos x="128" y="188"/>
                </a:cxn>
                <a:cxn ang="0">
                  <a:pos x="193" y="132"/>
                </a:cxn>
                <a:cxn ang="0">
                  <a:pos x="267" y="96"/>
                </a:cxn>
                <a:cxn ang="0">
                  <a:pos x="357" y="64"/>
                </a:cxn>
                <a:cxn ang="0">
                  <a:pos x="443" y="44"/>
                </a:cxn>
                <a:cxn ang="0">
                  <a:pos x="529" y="36"/>
                </a:cxn>
                <a:cxn ang="0">
                  <a:pos x="617" y="38"/>
                </a:cxn>
                <a:cxn ang="0">
                  <a:pos x="693" y="44"/>
                </a:cxn>
                <a:cxn ang="0">
                  <a:pos x="764" y="58"/>
                </a:cxn>
                <a:cxn ang="0">
                  <a:pos x="834" y="88"/>
                </a:cxn>
                <a:cxn ang="0">
                  <a:pos x="906" y="128"/>
                </a:cxn>
                <a:cxn ang="0">
                  <a:pos x="956" y="166"/>
                </a:cxn>
                <a:cxn ang="0">
                  <a:pos x="986" y="194"/>
                </a:cxn>
                <a:cxn ang="0">
                  <a:pos x="1016" y="240"/>
                </a:cxn>
                <a:cxn ang="0">
                  <a:pos x="1032" y="268"/>
                </a:cxn>
                <a:cxn ang="0">
                  <a:pos x="1044" y="288"/>
                </a:cxn>
                <a:cxn ang="0">
                  <a:pos x="1052" y="300"/>
                </a:cxn>
                <a:cxn ang="0">
                  <a:pos x="1052" y="304"/>
                </a:cxn>
                <a:cxn ang="0">
                  <a:pos x="1048" y="290"/>
                </a:cxn>
                <a:cxn ang="0">
                  <a:pos x="1036" y="262"/>
                </a:cxn>
                <a:cxn ang="0">
                  <a:pos x="1018" y="216"/>
                </a:cxn>
                <a:cxn ang="0">
                  <a:pos x="1008" y="200"/>
                </a:cxn>
                <a:cxn ang="0">
                  <a:pos x="986" y="176"/>
                </a:cxn>
                <a:cxn ang="0">
                  <a:pos x="936" y="126"/>
                </a:cxn>
                <a:cxn ang="0">
                  <a:pos x="862" y="74"/>
                </a:cxn>
                <a:cxn ang="0">
                  <a:pos x="768" y="32"/>
                </a:cxn>
                <a:cxn ang="0">
                  <a:pos x="679" y="12"/>
                </a:cxn>
                <a:cxn ang="0">
                  <a:pos x="603" y="2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09" y="38"/>
                </a:cxn>
                <a:cxn ang="0">
                  <a:pos x="211" y="76"/>
                </a:cxn>
                <a:cxn ang="0">
                  <a:pos x="141" y="128"/>
                </a:cxn>
                <a:cxn ang="0">
                  <a:pos x="80" y="194"/>
                </a:cxn>
                <a:cxn ang="0">
                  <a:pos x="46" y="248"/>
                </a:cxn>
                <a:cxn ang="0">
                  <a:pos x="22" y="290"/>
                </a:cxn>
                <a:cxn ang="0">
                  <a:pos x="12" y="327"/>
                </a:cxn>
                <a:cxn ang="0">
                  <a:pos x="0" y="387"/>
                </a:cxn>
              </a:cxnLst>
              <a:rect l="0" t="0" r="r" b="b"/>
              <a:pathLst>
                <a:path w="1052" h="387">
                  <a:moveTo>
                    <a:pt x="0" y="387"/>
                  </a:moveTo>
                  <a:lnTo>
                    <a:pt x="2" y="385"/>
                  </a:lnTo>
                  <a:lnTo>
                    <a:pt x="2" y="377"/>
                  </a:lnTo>
                  <a:lnTo>
                    <a:pt x="8" y="367"/>
                  </a:lnTo>
                  <a:lnTo>
                    <a:pt x="16" y="355"/>
                  </a:lnTo>
                  <a:lnTo>
                    <a:pt x="24" y="337"/>
                  </a:lnTo>
                  <a:lnTo>
                    <a:pt x="34" y="320"/>
                  </a:lnTo>
                  <a:lnTo>
                    <a:pt x="60" y="278"/>
                  </a:lnTo>
                  <a:lnTo>
                    <a:pt x="90" y="230"/>
                  </a:lnTo>
                  <a:lnTo>
                    <a:pt x="128" y="188"/>
                  </a:lnTo>
                  <a:lnTo>
                    <a:pt x="171" y="150"/>
                  </a:lnTo>
                  <a:lnTo>
                    <a:pt x="193" y="132"/>
                  </a:lnTo>
                  <a:lnTo>
                    <a:pt x="217" y="118"/>
                  </a:lnTo>
                  <a:lnTo>
                    <a:pt x="267" y="96"/>
                  </a:lnTo>
                  <a:lnTo>
                    <a:pt x="311" y="78"/>
                  </a:lnTo>
                  <a:lnTo>
                    <a:pt x="357" y="64"/>
                  </a:lnTo>
                  <a:lnTo>
                    <a:pt x="401" y="52"/>
                  </a:lnTo>
                  <a:lnTo>
                    <a:pt x="443" y="44"/>
                  </a:lnTo>
                  <a:lnTo>
                    <a:pt x="487" y="38"/>
                  </a:lnTo>
                  <a:lnTo>
                    <a:pt x="529" y="36"/>
                  </a:lnTo>
                  <a:lnTo>
                    <a:pt x="575" y="36"/>
                  </a:lnTo>
                  <a:lnTo>
                    <a:pt x="617" y="38"/>
                  </a:lnTo>
                  <a:lnTo>
                    <a:pt x="655" y="40"/>
                  </a:lnTo>
                  <a:lnTo>
                    <a:pt x="693" y="44"/>
                  </a:lnTo>
                  <a:lnTo>
                    <a:pt x="729" y="50"/>
                  </a:lnTo>
                  <a:lnTo>
                    <a:pt x="764" y="58"/>
                  </a:lnTo>
                  <a:lnTo>
                    <a:pt x="798" y="72"/>
                  </a:lnTo>
                  <a:lnTo>
                    <a:pt x="834" y="88"/>
                  </a:lnTo>
                  <a:lnTo>
                    <a:pt x="872" y="108"/>
                  </a:lnTo>
                  <a:lnTo>
                    <a:pt x="906" y="128"/>
                  </a:lnTo>
                  <a:lnTo>
                    <a:pt x="934" y="148"/>
                  </a:lnTo>
                  <a:lnTo>
                    <a:pt x="956" y="166"/>
                  </a:lnTo>
                  <a:lnTo>
                    <a:pt x="974" y="182"/>
                  </a:lnTo>
                  <a:lnTo>
                    <a:pt x="986" y="194"/>
                  </a:lnTo>
                  <a:lnTo>
                    <a:pt x="996" y="210"/>
                  </a:lnTo>
                  <a:lnTo>
                    <a:pt x="1016" y="240"/>
                  </a:lnTo>
                  <a:lnTo>
                    <a:pt x="1026" y="254"/>
                  </a:lnTo>
                  <a:lnTo>
                    <a:pt x="1032" y="268"/>
                  </a:lnTo>
                  <a:lnTo>
                    <a:pt x="1038" y="280"/>
                  </a:lnTo>
                  <a:lnTo>
                    <a:pt x="1044" y="288"/>
                  </a:lnTo>
                  <a:lnTo>
                    <a:pt x="1048" y="296"/>
                  </a:lnTo>
                  <a:lnTo>
                    <a:pt x="1052" y="300"/>
                  </a:lnTo>
                  <a:lnTo>
                    <a:pt x="1052" y="302"/>
                  </a:lnTo>
                  <a:lnTo>
                    <a:pt x="1052" y="304"/>
                  </a:lnTo>
                  <a:lnTo>
                    <a:pt x="1052" y="300"/>
                  </a:lnTo>
                  <a:lnTo>
                    <a:pt x="1048" y="290"/>
                  </a:lnTo>
                  <a:lnTo>
                    <a:pt x="1044" y="278"/>
                  </a:lnTo>
                  <a:lnTo>
                    <a:pt x="1036" y="262"/>
                  </a:lnTo>
                  <a:lnTo>
                    <a:pt x="1024" y="228"/>
                  </a:lnTo>
                  <a:lnTo>
                    <a:pt x="1018" y="216"/>
                  </a:lnTo>
                  <a:lnTo>
                    <a:pt x="1010" y="204"/>
                  </a:lnTo>
                  <a:lnTo>
                    <a:pt x="1008" y="200"/>
                  </a:lnTo>
                  <a:lnTo>
                    <a:pt x="1000" y="194"/>
                  </a:lnTo>
                  <a:lnTo>
                    <a:pt x="986" y="176"/>
                  </a:lnTo>
                  <a:lnTo>
                    <a:pt x="964" y="152"/>
                  </a:lnTo>
                  <a:lnTo>
                    <a:pt x="936" y="126"/>
                  </a:lnTo>
                  <a:lnTo>
                    <a:pt x="902" y="100"/>
                  </a:lnTo>
                  <a:lnTo>
                    <a:pt x="862" y="74"/>
                  </a:lnTo>
                  <a:lnTo>
                    <a:pt x="818" y="50"/>
                  </a:lnTo>
                  <a:lnTo>
                    <a:pt x="768" y="32"/>
                  </a:lnTo>
                  <a:lnTo>
                    <a:pt x="723" y="22"/>
                  </a:lnTo>
                  <a:lnTo>
                    <a:pt x="679" y="12"/>
                  </a:lnTo>
                  <a:lnTo>
                    <a:pt x="639" y="4"/>
                  </a:lnTo>
                  <a:lnTo>
                    <a:pt x="603" y="2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7" y="26"/>
                  </a:lnTo>
                  <a:lnTo>
                    <a:pt x="309" y="38"/>
                  </a:lnTo>
                  <a:lnTo>
                    <a:pt x="257" y="56"/>
                  </a:lnTo>
                  <a:lnTo>
                    <a:pt x="211" y="76"/>
                  </a:lnTo>
                  <a:lnTo>
                    <a:pt x="175" y="100"/>
                  </a:lnTo>
                  <a:lnTo>
                    <a:pt x="141" y="128"/>
                  </a:lnTo>
                  <a:lnTo>
                    <a:pt x="110" y="160"/>
                  </a:lnTo>
                  <a:lnTo>
                    <a:pt x="80" y="194"/>
                  </a:lnTo>
                  <a:lnTo>
                    <a:pt x="62" y="220"/>
                  </a:lnTo>
                  <a:lnTo>
                    <a:pt x="46" y="248"/>
                  </a:lnTo>
                  <a:lnTo>
                    <a:pt x="28" y="278"/>
                  </a:lnTo>
                  <a:lnTo>
                    <a:pt x="22" y="290"/>
                  </a:lnTo>
                  <a:lnTo>
                    <a:pt x="20" y="300"/>
                  </a:lnTo>
                  <a:lnTo>
                    <a:pt x="12" y="327"/>
                  </a:lnTo>
                  <a:lnTo>
                    <a:pt x="4" y="351"/>
                  </a:lnTo>
                  <a:lnTo>
                    <a:pt x="0" y="387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" name="Freeform 6"/>
            <p:cNvSpPr>
              <a:spLocks/>
            </p:cNvSpPr>
            <p:nvPr/>
          </p:nvSpPr>
          <p:spPr bwMode="auto">
            <a:xfrm>
              <a:off x="2580" y="1393"/>
              <a:ext cx="532" cy="218"/>
            </a:xfrm>
            <a:custGeom>
              <a:avLst/>
              <a:gdLst/>
              <a:ahLst/>
              <a:cxnLst>
                <a:cxn ang="0">
                  <a:pos x="12" y="435"/>
                </a:cxn>
                <a:cxn ang="0">
                  <a:pos x="18" y="417"/>
                </a:cxn>
                <a:cxn ang="0">
                  <a:pos x="34" y="387"/>
                </a:cxn>
                <a:cxn ang="0">
                  <a:pos x="70" y="328"/>
                </a:cxn>
                <a:cxn ang="0">
                  <a:pos x="138" y="236"/>
                </a:cxn>
                <a:cxn ang="0">
                  <a:pos x="205" y="182"/>
                </a:cxn>
                <a:cxn ang="0">
                  <a:pos x="277" y="146"/>
                </a:cxn>
                <a:cxn ang="0">
                  <a:pos x="369" y="114"/>
                </a:cxn>
                <a:cxn ang="0">
                  <a:pos x="455" y="94"/>
                </a:cxn>
                <a:cxn ang="0">
                  <a:pos x="541" y="86"/>
                </a:cxn>
                <a:cxn ang="0">
                  <a:pos x="627" y="88"/>
                </a:cxn>
                <a:cxn ang="0">
                  <a:pos x="705" y="94"/>
                </a:cxn>
                <a:cxn ang="0">
                  <a:pos x="774" y="108"/>
                </a:cxn>
                <a:cxn ang="0">
                  <a:pos x="844" y="138"/>
                </a:cxn>
                <a:cxn ang="0">
                  <a:pos x="918" y="178"/>
                </a:cxn>
                <a:cxn ang="0">
                  <a:pos x="966" y="216"/>
                </a:cxn>
                <a:cxn ang="0">
                  <a:pos x="998" y="244"/>
                </a:cxn>
                <a:cxn ang="0">
                  <a:pos x="1026" y="290"/>
                </a:cxn>
                <a:cxn ang="0">
                  <a:pos x="1042" y="318"/>
                </a:cxn>
                <a:cxn ang="0">
                  <a:pos x="1056" y="338"/>
                </a:cxn>
                <a:cxn ang="0">
                  <a:pos x="1062" y="350"/>
                </a:cxn>
                <a:cxn ang="0">
                  <a:pos x="1064" y="354"/>
                </a:cxn>
                <a:cxn ang="0">
                  <a:pos x="1060" y="338"/>
                </a:cxn>
                <a:cxn ang="0">
                  <a:pos x="1056" y="306"/>
                </a:cxn>
                <a:cxn ang="0">
                  <a:pos x="1042" y="256"/>
                </a:cxn>
                <a:cxn ang="0">
                  <a:pos x="1032" y="240"/>
                </a:cxn>
                <a:cxn ang="0">
                  <a:pos x="1020" y="222"/>
                </a:cxn>
                <a:cxn ang="0">
                  <a:pos x="988" y="184"/>
                </a:cxn>
                <a:cxn ang="0">
                  <a:pos x="922" y="124"/>
                </a:cxn>
                <a:cxn ang="0">
                  <a:pos x="836" y="68"/>
                </a:cxn>
                <a:cxn ang="0">
                  <a:pos x="788" y="50"/>
                </a:cxn>
                <a:cxn ang="0">
                  <a:pos x="695" y="24"/>
                </a:cxn>
                <a:cxn ang="0">
                  <a:pos x="613" y="6"/>
                </a:cxn>
                <a:cxn ang="0">
                  <a:pos x="531" y="0"/>
                </a:cxn>
                <a:cxn ang="0">
                  <a:pos x="449" y="8"/>
                </a:cxn>
                <a:cxn ang="0">
                  <a:pos x="367" y="24"/>
                </a:cxn>
                <a:cxn ang="0">
                  <a:pos x="299" y="42"/>
                </a:cxn>
                <a:cxn ang="0">
                  <a:pos x="243" y="60"/>
                </a:cxn>
                <a:cxn ang="0">
                  <a:pos x="199" y="80"/>
                </a:cxn>
                <a:cxn ang="0">
                  <a:pos x="120" y="140"/>
                </a:cxn>
                <a:cxn ang="0">
                  <a:pos x="74" y="188"/>
                </a:cxn>
                <a:cxn ang="0">
                  <a:pos x="56" y="212"/>
                </a:cxn>
                <a:cxn ang="0">
                  <a:pos x="30" y="264"/>
                </a:cxn>
                <a:cxn ang="0">
                  <a:pos x="10" y="312"/>
                </a:cxn>
                <a:cxn ang="0">
                  <a:pos x="0" y="360"/>
                </a:cxn>
                <a:cxn ang="0">
                  <a:pos x="0" y="391"/>
                </a:cxn>
                <a:cxn ang="0">
                  <a:pos x="8" y="433"/>
                </a:cxn>
              </a:cxnLst>
              <a:rect l="0" t="0" r="r" b="b"/>
              <a:pathLst>
                <a:path w="1064" h="437">
                  <a:moveTo>
                    <a:pt x="10" y="437"/>
                  </a:moveTo>
                  <a:lnTo>
                    <a:pt x="12" y="435"/>
                  </a:lnTo>
                  <a:lnTo>
                    <a:pt x="14" y="427"/>
                  </a:lnTo>
                  <a:lnTo>
                    <a:pt x="18" y="417"/>
                  </a:lnTo>
                  <a:lnTo>
                    <a:pt x="26" y="405"/>
                  </a:lnTo>
                  <a:lnTo>
                    <a:pt x="34" y="387"/>
                  </a:lnTo>
                  <a:lnTo>
                    <a:pt x="44" y="370"/>
                  </a:lnTo>
                  <a:lnTo>
                    <a:pt x="70" y="328"/>
                  </a:lnTo>
                  <a:lnTo>
                    <a:pt x="102" y="280"/>
                  </a:lnTo>
                  <a:lnTo>
                    <a:pt x="138" y="236"/>
                  </a:lnTo>
                  <a:lnTo>
                    <a:pt x="181" y="200"/>
                  </a:lnTo>
                  <a:lnTo>
                    <a:pt x="205" y="182"/>
                  </a:lnTo>
                  <a:lnTo>
                    <a:pt x="229" y="168"/>
                  </a:lnTo>
                  <a:lnTo>
                    <a:pt x="277" y="146"/>
                  </a:lnTo>
                  <a:lnTo>
                    <a:pt x="323" y="128"/>
                  </a:lnTo>
                  <a:lnTo>
                    <a:pt x="369" y="114"/>
                  </a:lnTo>
                  <a:lnTo>
                    <a:pt x="413" y="102"/>
                  </a:lnTo>
                  <a:lnTo>
                    <a:pt x="455" y="94"/>
                  </a:lnTo>
                  <a:lnTo>
                    <a:pt x="499" y="88"/>
                  </a:lnTo>
                  <a:lnTo>
                    <a:pt x="541" y="86"/>
                  </a:lnTo>
                  <a:lnTo>
                    <a:pt x="587" y="86"/>
                  </a:lnTo>
                  <a:lnTo>
                    <a:pt x="627" y="88"/>
                  </a:lnTo>
                  <a:lnTo>
                    <a:pt x="667" y="90"/>
                  </a:lnTo>
                  <a:lnTo>
                    <a:pt x="705" y="94"/>
                  </a:lnTo>
                  <a:lnTo>
                    <a:pt x="739" y="100"/>
                  </a:lnTo>
                  <a:lnTo>
                    <a:pt x="774" y="108"/>
                  </a:lnTo>
                  <a:lnTo>
                    <a:pt x="808" y="122"/>
                  </a:lnTo>
                  <a:lnTo>
                    <a:pt x="844" y="138"/>
                  </a:lnTo>
                  <a:lnTo>
                    <a:pt x="884" y="158"/>
                  </a:lnTo>
                  <a:lnTo>
                    <a:pt x="918" y="178"/>
                  </a:lnTo>
                  <a:lnTo>
                    <a:pt x="946" y="198"/>
                  </a:lnTo>
                  <a:lnTo>
                    <a:pt x="966" y="216"/>
                  </a:lnTo>
                  <a:lnTo>
                    <a:pt x="984" y="230"/>
                  </a:lnTo>
                  <a:lnTo>
                    <a:pt x="998" y="244"/>
                  </a:lnTo>
                  <a:lnTo>
                    <a:pt x="1006" y="260"/>
                  </a:lnTo>
                  <a:lnTo>
                    <a:pt x="1026" y="290"/>
                  </a:lnTo>
                  <a:lnTo>
                    <a:pt x="1036" y="304"/>
                  </a:lnTo>
                  <a:lnTo>
                    <a:pt x="1042" y="318"/>
                  </a:lnTo>
                  <a:lnTo>
                    <a:pt x="1050" y="330"/>
                  </a:lnTo>
                  <a:lnTo>
                    <a:pt x="1056" y="338"/>
                  </a:lnTo>
                  <a:lnTo>
                    <a:pt x="1058" y="346"/>
                  </a:lnTo>
                  <a:lnTo>
                    <a:pt x="1062" y="350"/>
                  </a:lnTo>
                  <a:lnTo>
                    <a:pt x="1064" y="352"/>
                  </a:lnTo>
                  <a:lnTo>
                    <a:pt x="1064" y="354"/>
                  </a:lnTo>
                  <a:lnTo>
                    <a:pt x="1064" y="350"/>
                  </a:lnTo>
                  <a:lnTo>
                    <a:pt x="1060" y="338"/>
                  </a:lnTo>
                  <a:lnTo>
                    <a:pt x="1058" y="324"/>
                  </a:lnTo>
                  <a:lnTo>
                    <a:pt x="1056" y="306"/>
                  </a:lnTo>
                  <a:lnTo>
                    <a:pt x="1046" y="270"/>
                  </a:lnTo>
                  <a:lnTo>
                    <a:pt x="1042" y="256"/>
                  </a:lnTo>
                  <a:lnTo>
                    <a:pt x="1036" y="244"/>
                  </a:lnTo>
                  <a:lnTo>
                    <a:pt x="1032" y="240"/>
                  </a:lnTo>
                  <a:lnTo>
                    <a:pt x="1026" y="232"/>
                  </a:lnTo>
                  <a:lnTo>
                    <a:pt x="1020" y="222"/>
                  </a:lnTo>
                  <a:lnTo>
                    <a:pt x="1010" y="212"/>
                  </a:lnTo>
                  <a:lnTo>
                    <a:pt x="988" y="184"/>
                  </a:lnTo>
                  <a:lnTo>
                    <a:pt x="958" y="154"/>
                  </a:lnTo>
                  <a:lnTo>
                    <a:pt x="922" y="124"/>
                  </a:lnTo>
                  <a:lnTo>
                    <a:pt x="882" y="92"/>
                  </a:lnTo>
                  <a:lnTo>
                    <a:pt x="836" y="68"/>
                  </a:lnTo>
                  <a:lnTo>
                    <a:pt x="812" y="58"/>
                  </a:lnTo>
                  <a:lnTo>
                    <a:pt x="788" y="50"/>
                  </a:lnTo>
                  <a:lnTo>
                    <a:pt x="739" y="36"/>
                  </a:lnTo>
                  <a:lnTo>
                    <a:pt x="695" y="24"/>
                  </a:lnTo>
                  <a:lnTo>
                    <a:pt x="651" y="14"/>
                  </a:lnTo>
                  <a:lnTo>
                    <a:pt x="613" y="6"/>
                  </a:lnTo>
                  <a:lnTo>
                    <a:pt x="571" y="2"/>
                  </a:lnTo>
                  <a:lnTo>
                    <a:pt x="531" y="0"/>
                  </a:lnTo>
                  <a:lnTo>
                    <a:pt x="491" y="2"/>
                  </a:lnTo>
                  <a:lnTo>
                    <a:pt x="449" y="8"/>
                  </a:lnTo>
                  <a:lnTo>
                    <a:pt x="405" y="16"/>
                  </a:lnTo>
                  <a:lnTo>
                    <a:pt x="367" y="24"/>
                  </a:lnTo>
                  <a:lnTo>
                    <a:pt x="331" y="32"/>
                  </a:lnTo>
                  <a:lnTo>
                    <a:pt x="299" y="42"/>
                  </a:lnTo>
                  <a:lnTo>
                    <a:pt x="269" y="50"/>
                  </a:lnTo>
                  <a:lnTo>
                    <a:pt x="243" y="60"/>
                  </a:lnTo>
                  <a:lnTo>
                    <a:pt x="221" y="70"/>
                  </a:lnTo>
                  <a:lnTo>
                    <a:pt x="199" y="80"/>
                  </a:lnTo>
                  <a:lnTo>
                    <a:pt x="161" y="108"/>
                  </a:lnTo>
                  <a:lnTo>
                    <a:pt x="120" y="140"/>
                  </a:lnTo>
                  <a:lnTo>
                    <a:pt x="86" y="174"/>
                  </a:lnTo>
                  <a:lnTo>
                    <a:pt x="74" y="188"/>
                  </a:lnTo>
                  <a:lnTo>
                    <a:pt x="64" y="200"/>
                  </a:lnTo>
                  <a:lnTo>
                    <a:pt x="56" y="212"/>
                  </a:lnTo>
                  <a:lnTo>
                    <a:pt x="46" y="226"/>
                  </a:lnTo>
                  <a:lnTo>
                    <a:pt x="30" y="264"/>
                  </a:lnTo>
                  <a:lnTo>
                    <a:pt x="16" y="298"/>
                  </a:lnTo>
                  <a:lnTo>
                    <a:pt x="10" y="312"/>
                  </a:lnTo>
                  <a:lnTo>
                    <a:pt x="8" y="324"/>
                  </a:lnTo>
                  <a:lnTo>
                    <a:pt x="0" y="360"/>
                  </a:lnTo>
                  <a:lnTo>
                    <a:pt x="0" y="375"/>
                  </a:lnTo>
                  <a:lnTo>
                    <a:pt x="0" y="391"/>
                  </a:lnTo>
                  <a:lnTo>
                    <a:pt x="6" y="423"/>
                  </a:lnTo>
                  <a:lnTo>
                    <a:pt x="8" y="433"/>
                  </a:lnTo>
                  <a:lnTo>
                    <a:pt x="10" y="437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" name="Freeform 7"/>
            <p:cNvSpPr>
              <a:spLocks/>
            </p:cNvSpPr>
            <p:nvPr/>
          </p:nvSpPr>
          <p:spPr bwMode="auto">
            <a:xfrm>
              <a:off x="2581" y="1395"/>
              <a:ext cx="531" cy="216"/>
            </a:xfrm>
            <a:custGeom>
              <a:avLst/>
              <a:gdLst/>
              <a:ahLst/>
              <a:cxnLst>
                <a:cxn ang="0">
                  <a:pos x="10" y="431"/>
                </a:cxn>
                <a:cxn ang="0">
                  <a:pos x="16" y="413"/>
                </a:cxn>
                <a:cxn ang="0">
                  <a:pos x="32" y="383"/>
                </a:cxn>
                <a:cxn ang="0">
                  <a:pos x="68" y="324"/>
                </a:cxn>
                <a:cxn ang="0">
                  <a:pos x="136" y="232"/>
                </a:cxn>
                <a:cxn ang="0">
                  <a:pos x="203" y="178"/>
                </a:cxn>
                <a:cxn ang="0">
                  <a:pos x="275" y="142"/>
                </a:cxn>
                <a:cxn ang="0">
                  <a:pos x="367" y="110"/>
                </a:cxn>
                <a:cxn ang="0">
                  <a:pos x="453" y="90"/>
                </a:cxn>
                <a:cxn ang="0">
                  <a:pos x="539" y="82"/>
                </a:cxn>
                <a:cxn ang="0">
                  <a:pos x="625" y="84"/>
                </a:cxn>
                <a:cxn ang="0">
                  <a:pos x="703" y="90"/>
                </a:cxn>
                <a:cxn ang="0">
                  <a:pos x="772" y="106"/>
                </a:cxn>
                <a:cxn ang="0">
                  <a:pos x="842" y="134"/>
                </a:cxn>
                <a:cxn ang="0">
                  <a:pos x="916" y="176"/>
                </a:cxn>
                <a:cxn ang="0">
                  <a:pos x="964" y="212"/>
                </a:cxn>
                <a:cxn ang="0">
                  <a:pos x="996" y="240"/>
                </a:cxn>
                <a:cxn ang="0">
                  <a:pos x="1024" y="286"/>
                </a:cxn>
                <a:cxn ang="0">
                  <a:pos x="1040" y="314"/>
                </a:cxn>
                <a:cxn ang="0">
                  <a:pos x="1054" y="334"/>
                </a:cxn>
                <a:cxn ang="0">
                  <a:pos x="1060" y="346"/>
                </a:cxn>
                <a:cxn ang="0">
                  <a:pos x="1062" y="350"/>
                </a:cxn>
                <a:cxn ang="0">
                  <a:pos x="1058" y="336"/>
                </a:cxn>
                <a:cxn ang="0">
                  <a:pos x="1052" y="304"/>
                </a:cxn>
                <a:cxn ang="0">
                  <a:pos x="1038" y="254"/>
                </a:cxn>
                <a:cxn ang="0">
                  <a:pos x="1030" y="238"/>
                </a:cxn>
                <a:cxn ang="0">
                  <a:pos x="1016" y="220"/>
                </a:cxn>
                <a:cxn ang="0">
                  <a:pos x="984" y="184"/>
                </a:cxn>
                <a:cxn ang="0">
                  <a:pos x="918" y="122"/>
                </a:cxn>
                <a:cxn ang="0">
                  <a:pos x="834" y="66"/>
                </a:cxn>
                <a:cxn ang="0">
                  <a:pos x="786" y="48"/>
                </a:cxn>
                <a:cxn ang="0">
                  <a:pos x="693" y="24"/>
                </a:cxn>
                <a:cxn ang="0">
                  <a:pos x="629" y="10"/>
                </a:cxn>
                <a:cxn ang="0">
                  <a:pos x="569" y="2"/>
                </a:cxn>
                <a:cxn ang="0">
                  <a:pos x="489" y="2"/>
                </a:cxn>
                <a:cxn ang="0">
                  <a:pos x="403" y="16"/>
                </a:cxn>
                <a:cxn ang="0">
                  <a:pos x="331" y="34"/>
                </a:cxn>
                <a:cxn ang="0">
                  <a:pos x="269" y="52"/>
                </a:cxn>
                <a:cxn ang="0">
                  <a:pos x="221" y="72"/>
                </a:cxn>
                <a:cxn ang="0">
                  <a:pos x="161" y="110"/>
                </a:cxn>
                <a:cxn ang="0">
                  <a:pos x="90" y="174"/>
                </a:cxn>
                <a:cxn ang="0">
                  <a:pos x="66" y="200"/>
                </a:cxn>
                <a:cxn ang="0">
                  <a:pos x="48" y="226"/>
                </a:cxn>
                <a:cxn ang="0">
                  <a:pos x="16" y="298"/>
                </a:cxn>
                <a:cxn ang="0">
                  <a:pos x="6" y="324"/>
                </a:cxn>
                <a:cxn ang="0">
                  <a:pos x="0" y="389"/>
                </a:cxn>
                <a:cxn ang="0">
                  <a:pos x="6" y="419"/>
                </a:cxn>
                <a:cxn ang="0">
                  <a:pos x="6" y="429"/>
                </a:cxn>
              </a:cxnLst>
              <a:rect l="0" t="0" r="r" b="b"/>
              <a:pathLst>
                <a:path w="1062" h="433">
                  <a:moveTo>
                    <a:pt x="8" y="433"/>
                  </a:moveTo>
                  <a:lnTo>
                    <a:pt x="10" y="431"/>
                  </a:lnTo>
                  <a:lnTo>
                    <a:pt x="12" y="423"/>
                  </a:lnTo>
                  <a:lnTo>
                    <a:pt x="16" y="413"/>
                  </a:lnTo>
                  <a:lnTo>
                    <a:pt x="24" y="401"/>
                  </a:lnTo>
                  <a:lnTo>
                    <a:pt x="32" y="383"/>
                  </a:lnTo>
                  <a:lnTo>
                    <a:pt x="42" y="366"/>
                  </a:lnTo>
                  <a:lnTo>
                    <a:pt x="68" y="324"/>
                  </a:lnTo>
                  <a:lnTo>
                    <a:pt x="100" y="276"/>
                  </a:lnTo>
                  <a:lnTo>
                    <a:pt x="136" y="232"/>
                  </a:lnTo>
                  <a:lnTo>
                    <a:pt x="179" y="196"/>
                  </a:lnTo>
                  <a:lnTo>
                    <a:pt x="203" y="178"/>
                  </a:lnTo>
                  <a:lnTo>
                    <a:pt x="227" y="166"/>
                  </a:lnTo>
                  <a:lnTo>
                    <a:pt x="275" y="142"/>
                  </a:lnTo>
                  <a:lnTo>
                    <a:pt x="321" y="124"/>
                  </a:lnTo>
                  <a:lnTo>
                    <a:pt x="367" y="110"/>
                  </a:lnTo>
                  <a:lnTo>
                    <a:pt x="411" y="98"/>
                  </a:lnTo>
                  <a:lnTo>
                    <a:pt x="453" y="90"/>
                  </a:lnTo>
                  <a:lnTo>
                    <a:pt x="497" y="86"/>
                  </a:lnTo>
                  <a:lnTo>
                    <a:pt x="539" y="82"/>
                  </a:lnTo>
                  <a:lnTo>
                    <a:pt x="585" y="82"/>
                  </a:lnTo>
                  <a:lnTo>
                    <a:pt x="625" y="84"/>
                  </a:lnTo>
                  <a:lnTo>
                    <a:pt x="665" y="88"/>
                  </a:lnTo>
                  <a:lnTo>
                    <a:pt x="703" y="90"/>
                  </a:lnTo>
                  <a:lnTo>
                    <a:pt x="737" y="98"/>
                  </a:lnTo>
                  <a:lnTo>
                    <a:pt x="772" y="106"/>
                  </a:lnTo>
                  <a:lnTo>
                    <a:pt x="806" y="118"/>
                  </a:lnTo>
                  <a:lnTo>
                    <a:pt x="842" y="134"/>
                  </a:lnTo>
                  <a:lnTo>
                    <a:pt x="882" y="154"/>
                  </a:lnTo>
                  <a:lnTo>
                    <a:pt x="916" y="176"/>
                  </a:lnTo>
                  <a:lnTo>
                    <a:pt x="944" y="194"/>
                  </a:lnTo>
                  <a:lnTo>
                    <a:pt x="964" y="212"/>
                  </a:lnTo>
                  <a:lnTo>
                    <a:pt x="982" y="226"/>
                  </a:lnTo>
                  <a:lnTo>
                    <a:pt x="996" y="240"/>
                  </a:lnTo>
                  <a:lnTo>
                    <a:pt x="1004" y="256"/>
                  </a:lnTo>
                  <a:lnTo>
                    <a:pt x="1024" y="286"/>
                  </a:lnTo>
                  <a:lnTo>
                    <a:pt x="1034" y="300"/>
                  </a:lnTo>
                  <a:lnTo>
                    <a:pt x="1040" y="314"/>
                  </a:lnTo>
                  <a:lnTo>
                    <a:pt x="1048" y="326"/>
                  </a:lnTo>
                  <a:lnTo>
                    <a:pt x="1054" y="334"/>
                  </a:lnTo>
                  <a:lnTo>
                    <a:pt x="1056" y="342"/>
                  </a:lnTo>
                  <a:lnTo>
                    <a:pt x="1060" y="346"/>
                  </a:lnTo>
                  <a:lnTo>
                    <a:pt x="1062" y="348"/>
                  </a:lnTo>
                  <a:lnTo>
                    <a:pt x="1062" y="350"/>
                  </a:lnTo>
                  <a:lnTo>
                    <a:pt x="1062" y="346"/>
                  </a:lnTo>
                  <a:lnTo>
                    <a:pt x="1058" y="336"/>
                  </a:lnTo>
                  <a:lnTo>
                    <a:pt x="1056" y="322"/>
                  </a:lnTo>
                  <a:lnTo>
                    <a:pt x="1052" y="304"/>
                  </a:lnTo>
                  <a:lnTo>
                    <a:pt x="1044" y="268"/>
                  </a:lnTo>
                  <a:lnTo>
                    <a:pt x="1038" y="254"/>
                  </a:lnTo>
                  <a:lnTo>
                    <a:pt x="1032" y="242"/>
                  </a:lnTo>
                  <a:lnTo>
                    <a:pt x="1030" y="238"/>
                  </a:lnTo>
                  <a:lnTo>
                    <a:pt x="1022" y="230"/>
                  </a:lnTo>
                  <a:lnTo>
                    <a:pt x="1016" y="220"/>
                  </a:lnTo>
                  <a:lnTo>
                    <a:pt x="1006" y="212"/>
                  </a:lnTo>
                  <a:lnTo>
                    <a:pt x="984" y="184"/>
                  </a:lnTo>
                  <a:lnTo>
                    <a:pt x="954" y="152"/>
                  </a:lnTo>
                  <a:lnTo>
                    <a:pt x="918" y="122"/>
                  </a:lnTo>
                  <a:lnTo>
                    <a:pt x="880" y="92"/>
                  </a:lnTo>
                  <a:lnTo>
                    <a:pt x="834" y="66"/>
                  </a:lnTo>
                  <a:lnTo>
                    <a:pt x="810" y="56"/>
                  </a:lnTo>
                  <a:lnTo>
                    <a:pt x="786" y="48"/>
                  </a:lnTo>
                  <a:lnTo>
                    <a:pt x="737" y="36"/>
                  </a:lnTo>
                  <a:lnTo>
                    <a:pt x="693" y="24"/>
                  </a:lnTo>
                  <a:lnTo>
                    <a:pt x="649" y="14"/>
                  </a:lnTo>
                  <a:lnTo>
                    <a:pt x="629" y="10"/>
                  </a:lnTo>
                  <a:lnTo>
                    <a:pt x="611" y="6"/>
                  </a:lnTo>
                  <a:lnTo>
                    <a:pt x="569" y="2"/>
                  </a:lnTo>
                  <a:lnTo>
                    <a:pt x="531" y="0"/>
                  </a:lnTo>
                  <a:lnTo>
                    <a:pt x="489" y="2"/>
                  </a:lnTo>
                  <a:lnTo>
                    <a:pt x="447" y="8"/>
                  </a:lnTo>
                  <a:lnTo>
                    <a:pt x="403" y="16"/>
                  </a:lnTo>
                  <a:lnTo>
                    <a:pt x="367" y="26"/>
                  </a:lnTo>
                  <a:lnTo>
                    <a:pt x="331" y="34"/>
                  </a:lnTo>
                  <a:lnTo>
                    <a:pt x="299" y="42"/>
                  </a:lnTo>
                  <a:lnTo>
                    <a:pt x="269" y="52"/>
                  </a:lnTo>
                  <a:lnTo>
                    <a:pt x="243" y="60"/>
                  </a:lnTo>
                  <a:lnTo>
                    <a:pt x="221" y="72"/>
                  </a:lnTo>
                  <a:lnTo>
                    <a:pt x="199" y="82"/>
                  </a:lnTo>
                  <a:lnTo>
                    <a:pt x="161" y="110"/>
                  </a:lnTo>
                  <a:lnTo>
                    <a:pt x="122" y="142"/>
                  </a:lnTo>
                  <a:lnTo>
                    <a:pt x="90" y="174"/>
                  </a:lnTo>
                  <a:lnTo>
                    <a:pt x="76" y="188"/>
                  </a:lnTo>
                  <a:lnTo>
                    <a:pt x="66" y="200"/>
                  </a:lnTo>
                  <a:lnTo>
                    <a:pt x="58" y="212"/>
                  </a:lnTo>
                  <a:lnTo>
                    <a:pt x="48" y="226"/>
                  </a:lnTo>
                  <a:lnTo>
                    <a:pt x="30" y="264"/>
                  </a:lnTo>
                  <a:lnTo>
                    <a:pt x="16" y="298"/>
                  </a:lnTo>
                  <a:lnTo>
                    <a:pt x="10" y="312"/>
                  </a:lnTo>
                  <a:lnTo>
                    <a:pt x="6" y="324"/>
                  </a:lnTo>
                  <a:lnTo>
                    <a:pt x="2" y="358"/>
                  </a:lnTo>
                  <a:lnTo>
                    <a:pt x="0" y="389"/>
                  </a:lnTo>
                  <a:lnTo>
                    <a:pt x="2" y="403"/>
                  </a:lnTo>
                  <a:lnTo>
                    <a:pt x="6" y="419"/>
                  </a:lnTo>
                  <a:lnTo>
                    <a:pt x="6" y="423"/>
                  </a:lnTo>
                  <a:lnTo>
                    <a:pt x="6" y="429"/>
                  </a:lnTo>
                  <a:lnTo>
                    <a:pt x="8" y="433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" name="Freeform 8"/>
            <p:cNvSpPr>
              <a:spLocks/>
            </p:cNvSpPr>
            <p:nvPr/>
          </p:nvSpPr>
          <p:spPr bwMode="auto">
            <a:xfrm>
              <a:off x="2581" y="1397"/>
              <a:ext cx="531" cy="214"/>
            </a:xfrm>
            <a:custGeom>
              <a:avLst/>
              <a:gdLst/>
              <a:ahLst/>
              <a:cxnLst>
                <a:cxn ang="0">
                  <a:pos x="10" y="427"/>
                </a:cxn>
                <a:cxn ang="0">
                  <a:pos x="16" y="409"/>
                </a:cxn>
                <a:cxn ang="0">
                  <a:pos x="32" y="379"/>
                </a:cxn>
                <a:cxn ang="0">
                  <a:pos x="68" y="320"/>
                </a:cxn>
                <a:cxn ang="0">
                  <a:pos x="136" y="228"/>
                </a:cxn>
                <a:cxn ang="0">
                  <a:pos x="203" y="174"/>
                </a:cxn>
                <a:cxn ang="0">
                  <a:pos x="275" y="138"/>
                </a:cxn>
                <a:cxn ang="0">
                  <a:pos x="367" y="106"/>
                </a:cxn>
                <a:cxn ang="0">
                  <a:pos x="453" y="86"/>
                </a:cxn>
                <a:cxn ang="0">
                  <a:pos x="539" y="78"/>
                </a:cxn>
                <a:cxn ang="0">
                  <a:pos x="625" y="80"/>
                </a:cxn>
                <a:cxn ang="0">
                  <a:pos x="703" y="86"/>
                </a:cxn>
                <a:cxn ang="0">
                  <a:pos x="772" y="100"/>
                </a:cxn>
                <a:cxn ang="0">
                  <a:pos x="842" y="130"/>
                </a:cxn>
                <a:cxn ang="0">
                  <a:pos x="916" y="170"/>
                </a:cxn>
                <a:cxn ang="0">
                  <a:pos x="964" y="208"/>
                </a:cxn>
                <a:cxn ang="0">
                  <a:pos x="996" y="236"/>
                </a:cxn>
                <a:cxn ang="0">
                  <a:pos x="1024" y="282"/>
                </a:cxn>
                <a:cxn ang="0">
                  <a:pos x="1040" y="310"/>
                </a:cxn>
                <a:cxn ang="0">
                  <a:pos x="1054" y="330"/>
                </a:cxn>
                <a:cxn ang="0">
                  <a:pos x="1060" y="342"/>
                </a:cxn>
                <a:cxn ang="0">
                  <a:pos x="1062" y="346"/>
                </a:cxn>
                <a:cxn ang="0">
                  <a:pos x="1058" y="332"/>
                </a:cxn>
                <a:cxn ang="0">
                  <a:pos x="1052" y="300"/>
                </a:cxn>
                <a:cxn ang="0">
                  <a:pos x="1036" y="250"/>
                </a:cxn>
                <a:cxn ang="0">
                  <a:pos x="1028" y="234"/>
                </a:cxn>
                <a:cxn ang="0">
                  <a:pos x="1014" y="216"/>
                </a:cxn>
                <a:cxn ang="0">
                  <a:pos x="984" y="180"/>
                </a:cxn>
                <a:cxn ang="0">
                  <a:pos x="918" y="118"/>
                </a:cxn>
                <a:cxn ang="0">
                  <a:pos x="832" y="64"/>
                </a:cxn>
                <a:cxn ang="0">
                  <a:pos x="737" y="34"/>
                </a:cxn>
                <a:cxn ang="0">
                  <a:pos x="649" y="12"/>
                </a:cxn>
                <a:cxn ang="0">
                  <a:pos x="569" y="0"/>
                </a:cxn>
                <a:cxn ang="0">
                  <a:pos x="489" y="2"/>
                </a:cxn>
                <a:cxn ang="0">
                  <a:pos x="403" y="16"/>
                </a:cxn>
                <a:cxn ang="0">
                  <a:pos x="333" y="32"/>
                </a:cxn>
                <a:cxn ang="0">
                  <a:pos x="271" y="50"/>
                </a:cxn>
                <a:cxn ang="0">
                  <a:pos x="221" y="70"/>
                </a:cxn>
                <a:cxn ang="0">
                  <a:pos x="161" y="108"/>
                </a:cxn>
                <a:cxn ang="0">
                  <a:pos x="92" y="172"/>
                </a:cxn>
                <a:cxn ang="0">
                  <a:pos x="66" y="200"/>
                </a:cxn>
                <a:cxn ang="0">
                  <a:pos x="50" y="226"/>
                </a:cxn>
                <a:cxn ang="0">
                  <a:pos x="16" y="296"/>
                </a:cxn>
                <a:cxn ang="0">
                  <a:pos x="10" y="322"/>
                </a:cxn>
                <a:cxn ang="0">
                  <a:pos x="0" y="385"/>
                </a:cxn>
                <a:cxn ang="0">
                  <a:pos x="6" y="415"/>
                </a:cxn>
                <a:cxn ang="0">
                  <a:pos x="6" y="425"/>
                </a:cxn>
              </a:cxnLst>
              <a:rect l="0" t="0" r="r" b="b"/>
              <a:pathLst>
                <a:path w="1062" h="429">
                  <a:moveTo>
                    <a:pt x="8" y="429"/>
                  </a:moveTo>
                  <a:lnTo>
                    <a:pt x="10" y="427"/>
                  </a:lnTo>
                  <a:lnTo>
                    <a:pt x="12" y="419"/>
                  </a:lnTo>
                  <a:lnTo>
                    <a:pt x="16" y="409"/>
                  </a:lnTo>
                  <a:lnTo>
                    <a:pt x="24" y="397"/>
                  </a:lnTo>
                  <a:lnTo>
                    <a:pt x="32" y="379"/>
                  </a:lnTo>
                  <a:lnTo>
                    <a:pt x="42" y="362"/>
                  </a:lnTo>
                  <a:lnTo>
                    <a:pt x="68" y="320"/>
                  </a:lnTo>
                  <a:lnTo>
                    <a:pt x="100" y="272"/>
                  </a:lnTo>
                  <a:lnTo>
                    <a:pt x="136" y="228"/>
                  </a:lnTo>
                  <a:lnTo>
                    <a:pt x="179" y="192"/>
                  </a:lnTo>
                  <a:lnTo>
                    <a:pt x="203" y="174"/>
                  </a:lnTo>
                  <a:lnTo>
                    <a:pt x="227" y="160"/>
                  </a:lnTo>
                  <a:lnTo>
                    <a:pt x="275" y="138"/>
                  </a:lnTo>
                  <a:lnTo>
                    <a:pt x="321" y="120"/>
                  </a:lnTo>
                  <a:lnTo>
                    <a:pt x="367" y="106"/>
                  </a:lnTo>
                  <a:lnTo>
                    <a:pt x="411" y="94"/>
                  </a:lnTo>
                  <a:lnTo>
                    <a:pt x="453" y="86"/>
                  </a:lnTo>
                  <a:lnTo>
                    <a:pt x="497" y="80"/>
                  </a:lnTo>
                  <a:lnTo>
                    <a:pt x="539" y="78"/>
                  </a:lnTo>
                  <a:lnTo>
                    <a:pt x="585" y="78"/>
                  </a:lnTo>
                  <a:lnTo>
                    <a:pt x="625" y="80"/>
                  </a:lnTo>
                  <a:lnTo>
                    <a:pt x="665" y="82"/>
                  </a:lnTo>
                  <a:lnTo>
                    <a:pt x="703" y="86"/>
                  </a:lnTo>
                  <a:lnTo>
                    <a:pt x="737" y="92"/>
                  </a:lnTo>
                  <a:lnTo>
                    <a:pt x="772" y="100"/>
                  </a:lnTo>
                  <a:lnTo>
                    <a:pt x="806" y="114"/>
                  </a:lnTo>
                  <a:lnTo>
                    <a:pt x="842" y="130"/>
                  </a:lnTo>
                  <a:lnTo>
                    <a:pt x="882" y="150"/>
                  </a:lnTo>
                  <a:lnTo>
                    <a:pt x="916" y="170"/>
                  </a:lnTo>
                  <a:lnTo>
                    <a:pt x="944" y="190"/>
                  </a:lnTo>
                  <a:lnTo>
                    <a:pt x="964" y="208"/>
                  </a:lnTo>
                  <a:lnTo>
                    <a:pt x="982" y="222"/>
                  </a:lnTo>
                  <a:lnTo>
                    <a:pt x="996" y="236"/>
                  </a:lnTo>
                  <a:lnTo>
                    <a:pt x="1004" y="252"/>
                  </a:lnTo>
                  <a:lnTo>
                    <a:pt x="1024" y="282"/>
                  </a:lnTo>
                  <a:lnTo>
                    <a:pt x="1034" y="296"/>
                  </a:lnTo>
                  <a:lnTo>
                    <a:pt x="1040" y="310"/>
                  </a:lnTo>
                  <a:lnTo>
                    <a:pt x="1048" y="322"/>
                  </a:lnTo>
                  <a:lnTo>
                    <a:pt x="1054" y="330"/>
                  </a:lnTo>
                  <a:lnTo>
                    <a:pt x="1056" y="338"/>
                  </a:lnTo>
                  <a:lnTo>
                    <a:pt x="1060" y="342"/>
                  </a:lnTo>
                  <a:lnTo>
                    <a:pt x="1062" y="344"/>
                  </a:lnTo>
                  <a:lnTo>
                    <a:pt x="1062" y="346"/>
                  </a:lnTo>
                  <a:lnTo>
                    <a:pt x="1062" y="342"/>
                  </a:lnTo>
                  <a:lnTo>
                    <a:pt x="1058" y="332"/>
                  </a:lnTo>
                  <a:lnTo>
                    <a:pt x="1056" y="318"/>
                  </a:lnTo>
                  <a:lnTo>
                    <a:pt x="1052" y="300"/>
                  </a:lnTo>
                  <a:lnTo>
                    <a:pt x="1042" y="264"/>
                  </a:lnTo>
                  <a:lnTo>
                    <a:pt x="1036" y="250"/>
                  </a:lnTo>
                  <a:lnTo>
                    <a:pt x="1030" y="238"/>
                  </a:lnTo>
                  <a:lnTo>
                    <a:pt x="1028" y="234"/>
                  </a:lnTo>
                  <a:lnTo>
                    <a:pt x="1022" y="226"/>
                  </a:lnTo>
                  <a:lnTo>
                    <a:pt x="1014" y="216"/>
                  </a:lnTo>
                  <a:lnTo>
                    <a:pt x="1006" y="206"/>
                  </a:lnTo>
                  <a:lnTo>
                    <a:pt x="984" y="180"/>
                  </a:lnTo>
                  <a:lnTo>
                    <a:pt x="954" y="150"/>
                  </a:lnTo>
                  <a:lnTo>
                    <a:pt x="918" y="118"/>
                  </a:lnTo>
                  <a:lnTo>
                    <a:pt x="878" y="90"/>
                  </a:lnTo>
                  <a:lnTo>
                    <a:pt x="832" y="64"/>
                  </a:lnTo>
                  <a:lnTo>
                    <a:pt x="784" y="46"/>
                  </a:lnTo>
                  <a:lnTo>
                    <a:pt x="737" y="34"/>
                  </a:lnTo>
                  <a:lnTo>
                    <a:pt x="691" y="22"/>
                  </a:lnTo>
                  <a:lnTo>
                    <a:pt x="649" y="12"/>
                  </a:lnTo>
                  <a:lnTo>
                    <a:pt x="611" y="4"/>
                  </a:lnTo>
                  <a:lnTo>
                    <a:pt x="569" y="0"/>
                  </a:lnTo>
                  <a:lnTo>
                    <a:pt x="531" y="0"/>
                  </a:lnTo>
                  <a:lnTo>
                    <a:pt x="489" y="2"/>
                  </a:lnTo>
                  <a:lnTo>
                    <a:pt x="445" y="8"/>
                  </a:lnTo>
                  <a:lnTo>
                    <a:pt x="403" y="16"/>
                  </a:lnTo>
                  <a:lnTo>
                    <a:pt x="367" y="24"/>
                  </a:lnTo>
                  <a:lnTo>
                    <a:pt x="333" y="32"/>
                  </a:lnTo>
                  <a:lnTo>
                    <a:pt x="299" y="40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1" y="70"/>
                  </a:lnTo>
                  <a:lnTo>
                    <a:pt x="201" y="80"/>
                  </a:lnTo>
                  <a:lnTo>
                    <a:pt x="161" y="108"/>
                  </a:lnTo>
                  <a:lnTo>
                    <a:pt x="126" y="140"/>
                  </a:lnTo>
                  <a:lnTo>
                    <a:pt x="92" y="172"/>
                  </a:lnTo>
                  <a:lnTo>
                    <a:pt x="78" y="186"/>
                  </a:lnTo>
                  <a:lnTo>
                    <a:pt x="66" y="200"/>
                  </a:lnTo>
                  <a:lnTo>
                    <a:pt x="58" y="212"/>
                  </a:lnTo>
                  <a:lnTo>
                    <a:pt x="50" y="226"/>
                  </a:lnTo>
                  <a:lnTo>
                    <a:pt x="32" y="262"/>
                  </a:lnTo>
                  <a:lnTo>
                    <a:pt x="16" y="296"/>
                  </a:lnTo>
                  <a:lnTo>
                    <a:pt x="14" y="310"/>
                  </a:lnTo>
                  <a:lnTo>
                    <a:pt x="10" y="322"/>
                  </a:lnTo>
                  <a:lnTo>
                    <a:pt x="4" y="356"/>
                  </a:lnTo>
                  <a:lnTo>
                    <a:pt x="0" y="385"/>
                  </a:lnTo>
                  <a:lnTo>
                    <a:pt x="2" y="399"/>
                  </a:lnTo>
                  <a:lnTo>
                    <a:pt x="6" y="415"/>
                  </a:lnTo>
                  <a:lnTo>
                    <a:pt x="6" y="419"/>
                  </a:lnTo>
                  <a:lnTo>
                    <a:pt x="6" y="425"/>
                  </a:lnTo>
                  <a:lnTo>
                    <a:pt x="8" y="429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" name="Freeform 9"/>
            <p:cNvSpPr>
              <a:spLocks/>
            </p:cNvSpPr>
            <p:nvPr/>
          </p:nvSpPr>
          <p:spPr bwMode="auto">
            <a:xfrm>
              <a:off x="2582" y="1399"/>
              <a:ext cx="530" cy="212"/>
            </a:xfrm>
            <a:custGeom>
              <a:avLst/>
              <a:gdLst/>
              <a:ahLst/>
              <a:cxnLst>
                <a:cxn ang="0">
                  <a:pos x="8" y="423"/>
                </a:cxn>
                <a:cxn ang="0">
                  <a:pos x="14" y="405"/>
                </a:cxn>
                <a:cxn ang="0">
                  <a:pos x="30" y="375"/>
                </a:cxn>
                <a:cxn ang="0">
                  <a:pos x="66" y="316"/>
                </a:cxn>
                <a:cxn ang="0">
                  <a:pos x="134" y="224"/>
                </a:cxn>
                <a:cxn ang="0">
                  <a:pos x="201" y="170"/>
                </a:cxn>
                <a:cxn ang="0">
                  <a:pos x="273" y="134"/>
                </a:cxn>
                <a:cxn ang="0">
                  <a:pos x="365" y="102"/>
                </a:cxn>
                <a:cxn ang="0">
                  <a:pos x="451" y="82"/>
                </a:cxn>
                <a:cxn ang="0">
                  <a:pos x="537" y="74"/>
                </a:cxn>
                <a:cxn ang="0">
                  <a:pos x="623" y="76"/>
                </a:cxn>
                <a:cxn ang="0">
                  <a:pos x="701" y="82"/>
                </a:cxn>
                <a:cxn ang="0">
                  <a:pos x="770" y="98"/>
                </a:cxn>
                <a:cxn ang="0">
                  <a:pos x="840" y="126"/>
                </a:cxn>
                <a:cxn ang="0">
                  <a:pos x="914" y="168"/>
                </a:cxn>
                <a:cxn ang="0">
                  <a:pos x="962" y="204"/>
                </a:cxn>
                <a:cxn ang="0">
                  <a:pos x="994" y="232"/>
                </a:cxn>
                <a:cxn ang="0">
                  <a:pos x="1022" y="278"/>
                </a:cxn>
                <a:cxn ang="0">
                  <a:pos x="1038" y="306"/>
                </a:cxn>
                <a:cxn ang="0">
                  <a:pos x="1052" y="326"/>
                </a:cxn>
                <a:cxn ang="0">
                  <a:pos x="1058" y="338"/>
                </a:cxn>
                <a:cxn ang="0">
                  <a:pos x="1060" y="342"/>
                </a:cxn>
                <a:cxn ang="0">
                  <a:pos x="1056" y="328"/>
                </a:cxn>
                <a:cxn ang="0">
                  <a:pos x="1048" y="296"/>
                </a:cxn>
                <a:cxn ang="0">
                  <a:pos x="1032" y="248"/>
                </a:cxn>
                <a:cxn ang="0">
                  <a:pos x="1024" y="232"/>
                </a:cxn>
                <a:cxn ang="0">
                  <a:pos x="1012" y="214"/>
                </a:cxn>
                <a:cxn ang="0">
                  <a:pos x="980" y="178"/>
                </a:cxn>
                <a:cxn ang="0">
                  <a:pos x="916" y="118"/>
                </a:cxn>
                <a:cxn ang="0">
                  <a:pos x="830" y="64"/>
                </a:cxn>
                <a:cxn ang="0">
                  <a:pos x="735" y="34"/>
                </a:cxn>
                <a:cxn ang="0">
                  <a:pos x="649" y="12"/>
                </a:cxn>
                <a:cxn ang="0">
                  <a:pos x="569" y="2"/>
                </a:cxn>
                <a:cxn ang="0">
                  <a:pos x="487" y="4"/>
                </a:cxn>
                <a:cxn ang="0">
                  <a:pos x="401" y="18"/>
                </a:cxn>
                <a:cxn ang="0">
                  <a:pos x="299" y="42"/>
                </a:cxn>
                <a:cxn ang="0">
                  <a:pos x="245" y="60"/>
                </a:cxn>
                <a:cxn ang="0">
                  <a:pos x="201" y="82"/>
                </a:cxn>
                <a:cxn ang="0">
                  <a:pos x="126" y="140"/>
                </a:cxn>
                <a:cxn ang="0">
                  <a:pos x="80" y="186"/>
                </a:cxn>
                <a:cxn ang="0">
                  <a:pos x="60" y="212"/>
                </a:cxn>
                <a:cxn ang="0">
                  <a:pos x="32" y="260"/>
                </a:cxn>
                <a:cxn ang="0">
                  <a:pos x="14" y="308"/>
                </a:cxn>
                <a:cxn ang="0">
                  <a:pos x="4" y="352"/>
                </a:cxn>
                <a:cxn ang="0">
                  <a:pos x="4" y="411"/>
                </a:cxn>
                <a:cxn ang="0">
                  <a:pos x="6" y="425"/>
                </a:cxn>
              </a:cxnLst>
              <a:rect l="0" t="0" r="r" b="b"/>
              <a:pathLst>
                <a:path w="1060" h="425">
                  <a:moveTo>
                    <a:pt x="6" y="425"/>
                  </a:moveTo>
                  <a:lnTo>
                    <a:pt x="8" y="423"/>
                  </a:lnTo>
                  <a:lnTo>
                    <a:pt x="10" y="415"/>
                  </a:lnTo>
                  <a:lnTo>
                    <a:pt x="14" y="405"/>
                  </a:lnTo>
                  <a:lnTo>
                    <a:pt x="22" y="393"/>
                  </a:lnTo>
                  <a:lnTo>
                    <a:pt x="30" y="375"/>
                  </a:lnTo>
                  <a:lnTo>
                    <a:pt x="40" y="358"/>
                  </a:lnTo>
                  <a:lnTo>
                    <a:pt x="66" y="316"/>
                  </a:lnTo>
                  <a:lnTo>
                    <a:pt x="98" y="268"/>
                  </a:lnTo>
                  <a:lnTo>
                    <a:pt x="134" y="224"/>
                  </a:lnTo>
                  <a:lnTo>
                    <a:pt x="177" y="188"/>
                  </a:lnTo>
                  <a:lnTo>
                    <a:pt x="201" y="170"/>
                  </a:lnTo>
                  <a:lnTo>
                    <a:pt x="225" y="158"/>
                  </a:lnTo>
                  <a:lnTo>
                    <a:pt x="273" y="134"/>
                  </a:lnTo>
                  <a:lnTo>
                    <a:pt x="319" y="116"/>
                  </a:lnTo>
                  <a:lnTo>
                    <a:pt x="365" y="102"/>
                  </a:lnTo>
                  <a:lnTo>
                    <a:pt x="409" y="90"/>
                  </a:lnTo>
                  <a:lnTo>
                    <a:pt x="451" y="82"/>
                  </a:lnTo>
                  <a:lnTo>
                    <a:pt x="495" y="78"/>
                  </a:lnTo>
                  <a:lnTo>
                    <a:pt x="537" y="74"/>
                  </a:lnTo>
                  <a:lnTo>
                    <a:pt x="583" y="74"/>
                  </a:lnTo>
                  <a:lnTo>
                    <a:pt x="623" y="76"/>
                  </a:lnTo>
                  <a:lnTo>
                    <a:pt x="663" y="80"/>
                  </a:lnTo>
                  <a:lnTo>
                    <a:pt x="701" y="82"/>
                  </a:lnTo>
                  <a:lnTo>
                    <a:pt x="735" y="90"/>
                  </a:lnTo>
                  <a:lnTo>
                    <a:pt x="770" y="98"/>
                  </a:lnTo>
                  <a:lnTo>
                    <a:pt x="804" y="110"/>
                  </a:lnTo>
                  <a:lnTo>
                    <a:pt x="840" y="126"/>
                  </a:lnTo>
                  <a:lnTo>
                    <a:pt x="880" y="146"/>
                  </a:lnTo>
                  <a:lnTo>
                    <a:pt x="914" y="168"/>
                  </a:lnTo>
                  <a:lnTo>
                    <a:pt x="942" y="186"/>
                  </a:lnTo>
                  <a:lnTo>
                    <a:pt x="962" y="204"/>
                  </a:lnTo>
                  <a:lnTo>
                    <a:pt x="980" y="218"/>
                  </a:lnTo>
                  <a:lnTo>
                    <a:pt x="994" y="232"/>
                  </a:lnTo>
                  <a:lnTo>
                    <a:pt x="1002" y="248"/>
                  </a:lnTo>
                  <a:lnTo>
                    <a:pt x="1022" y="278"/>
                  </a:lnTo>
                  <a:lnTo>
                    <a:pt x="1032" y="292"/>
                  </a:lnTo>
                  <a:lnTo>
                    <a:pt x="1038" y="306"/>
                  </a:lnTo>
                  <a:lnTo>
                    <a:pt x="1046" y="318"/>
                  </a:lnTo>
                  <a:lnTo>
                    <a:pt x="1052" y="326"/>
                  </a:lnTo>
                  <a:lnTo>
                    <a:pt x="1054" y="334"/>
                  </a:lnTo>
                  <a:lnTo>
                    <a:pt x="1058" y="338"/>
                  </a:lnTo>
                  <a:lnTo>
                    <a:pt x="1060" y="340"/>
                  </a:lnTo>
                  <a:lnTo>
                    <a:pt x="1060" y="342"/>
                  </a:lnTo>
                  <a:lnTo>
                    <a:pt x="1060" y="338"/>
                  </a:lnTo>
                  <a:lnTo>
                    <a:pt x="1056" y="328"/>
                  </a:lnTo>
                  <a:lnTo>
                    <a:pt x="1054" y="314"/>
                  </a:lnTo>
                  <a:lnTo>
                    <a:pt x="1048" y="296"/>
                  </a:lnTo>
                  <a:lnTo>
                    <a:pt x="1038" y="262"/>
                  </a:lnTo>
                  <a:lnTo>
                    <a:pt x="1032" y="248"/>
                  </a:lnTo>
                  <a:lnTo>
                    <a:pt x="1028" y="236"/>
                  </a:lnTo>
                  <a:lnTo>
                    <a:pt x="1024" y="232"/>
                  </a:lnTo>
                  <a:lnTo>
                    <a:pt x="1020" y="222"/>
                  </a:lnTo>
                  <a:lnTo>
                    <a:pt x="1012" y="214"/>
                  </a:lnTo>
                  <a:lnTo>
                    <a:pt x="1002" y="204"/>
                  </a:lnTo>
                  <a:lnTo>
                    <a:pt x="980" y="178"/>
                  </a:lnTo>
                  <a:lnTo>
                    <a:pt x="950" y="150"/>
                  </a:lnTo>
                  <a:lnTo>
                    <a:pt x="916" y="118"/>
                  </a:lnTo>
                  <a:lnTo>
                    <a:pt x="876" y="90"/>
                  </a:lnTo>
                  <a:lnTo>
                    <a:pt x="830" y="64"/>
                  </a:lnTo>
                  <a:lnTo>
                    <a:pt x="782" y="48"/>
                  </a:lnTo>
                  <a:lnTo>
                    <a:pt x="735" y="34"/>
                  </a:lnTo>
                  <a:lnTo>
                    <a:pt x="691" y="22"/>
                  </a:lnTo>
                  <a:lnTo>
                    <a:pt x="649" y="12"/>
                  </a:lnTo>
                  <a:lnTo>
                    <a:pt x="609" y="6"/>
                  </a:lnTo>
                  <a:lnTo>
                    <a:pt x="569" y="2"/>
                  </a:lnTo>
                  <a:lnTo>
                    <a:pt x="529" y="0"/>
                  </a:lnTo>
                  <a:lnTo>
                    <a:pt x="487" y="4"/>
                  </a:lnTo>
                  <a:lnTo>
                    <a:pt x="443" y="10"/>
                  </a:lnTo>
                  <a:lnTo>
                    <a:pt x="401" y="18"/>
                  </a:lnTo>
                  <a:lnTo>
                    <a:pt x="331" y="34"/>
                  </a:lnTo>
                  <a:lnTo>
                    <a:pt x="299" y="42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1" y="70"/>
                  </a:lnTo>
                  <a:lnTo>
                    <a:pt x="201" y="82"/>
                  </a:lnTo>
                  <a:lnTo>
                    <a:pt x="163" y="108"/>
                  </a:lnTo>
                  <a:lnTo>
                    <a:pt x="126" y="140"/>
                  </a:lnTo>
                  <a:lnTo>
                    <a:pt x="92" y="170"/>
                  </a:lnTo>
                  <a:lnTo>
                    <a:pt x="80" y="186"/>
                  </a:lnTo>
                  <a:lnTo>
                    <a:pt x="68" y="200"/>
                  </a:lnTo>
                  <a:lnTo>
                    <a:pt x="60" y="212"/>
                  </a:lnTo>
                  <a:lnTo>
                    <a:pt x="50" y="224"/>
                  </a:lnTo>
                  <a:lnTo>
                    <a:pt x="32" y="260"/>
                  </a:lnTo>
                  <a:lnTo>
                    <a:pt x="18" y="292"/>
                  </a:lnTo>
                  <a:lnTo>
                    <a:pt x="14" y="308"/>
                  </a:lnTo>
                  <a:lnTo>
                    <a:pt x="10" y="318"/>
                  </a:lnTo>
                  <a:lnTo>
                    <a:pt x="4" y="352"/>
                  </a:lnTo>
                  <a:lnTo>
                    <a:pt x="0" y="381"/>
                  </a:lnTo>
                  <a:lnTo>
                    <a:pt x="4" y="411"/>
                  </a:lnTo>
                  <a:lnTo>
                    <a:pt x="6" y="421"/>
                  </a:lnTo>
                  <a:lnTo>
                    <a:pt x="6" y="425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" name="Freeform 10"/>
            <p:cNvSpPr>
              <a:spLocks/>
            </p:cNvSpPr>
            <p:nvPr/>
          </p:nvSpPr>
          <p:spPr bwMode="auto">
            <a:xfrm>
              <a:off x="2583" y="1401"/>
              <a:ext cx="529" cy="210"/>
            </a:xfrm>
            <a:custGeom>
              <a:avLst/>
              <a:gdLst/>
              <a:ahLst/>
              <a:cxnLst>
                <a:cxn ang="0">
                  <a:pos x="6" y="419"/>
                </a:cxn>
                <a:cxn ang="0">
                  <a:pos x="12" y="401"/>
                </a:cxn>
                <a:cxn ang="0">
                  <a:pos x="28" y="371"/>
                </a:cxn>
                <a:cxn ang="0">
                  <a:pos x="64" y="312"/>
                </a:cxn>
                <a:cxn ang="0">
                  <a:pos x="132" y="220"/>
                </a:cxn>
                <a:cxn ang="0">
                  <a:pos x="199" y="166"/>
                </a:cxn>
                <a:cxn ang="0">
                  <a:pos x="271" y="130"/>
                </a:cxn>
                <a:cxn ang="0">
                  <a:pos x="363" y="98"/>
                </a:cxn>
                <a:cxn ang="0">
                  <a:pos x="449" y="78"/>
                </a:cxn>
                <a:cxn ang="0">
                  <a:pos x="535" y="70"/>
                </a:cxn>
                <a:cxn ang="0">
                  <a:pos x="621" y="72"/>
                </a:cxn>
                <a:cxn ang="0">
                  <a:pos x="699" y="78"/>
                </a:cxn>
                <a:cxn ang="0">
                  <a:pos x="768" y="92"/>
                </a:cxn>
                <a:cxn ang="0">
                  <a:pos x="838" y="122"/>
                </a:cxn>
                <a:cxn ang="0">
                  <a:pos x="914" y="162"/>
                </a:cxn>
                <a:cxn ang="0">
                  <a:pos x="962" y="200"/>
                </a:cxn>
                <a:cxn ang="0">
                  <a:pos x="992" y="228"/>
                </a:cxn>
                <a:cxn ang="0">
                  <a:pos x="1020" y="274"/>
                </a:cxn>
                <a:cxn ang="0">
                  <a:pos x="1036" y="302"/>
                </a:cxn>
                <a:cxn ang="0">
                  <a:pos x="1050" y="322"/>
                </a:cxn>
                <a:cxn ang="0">
                  <a:pos x="1056" y="334"/>
                </a:cxn>
                <a:cxn ang="0">
                  <a:pos x="1058" y="338"/>
                </a:cxn>
                <a:cxn ang="0">
                  <a:pos x="1054" y="324"/>
                </a:cxn>
                <a:cxn ang="0">
                  <a:pos x="1046" y="294"/>
                </a:cxn>
                <a:cxn ang="0">
                  <a:pos x="1030" y="244"/>
                </a:cxn>
                <a:cxn ang="0">
                  <a:pos x="1022" y="228"/>
                </a:cxn>
                <a:cxn ang="0">
                  <a:pos x="1000" y="202"/>
                </a:cxn>
                <a:cxn ang="0">
                  <a:pos x="948" y="146"/>
                </a:cxn>
                <a:cxn ang="0">
                  <a:pos x="874" y="88"/>
                </a:cxn>
                <a:cxn ang="0">
                  <a:pos x="780" y="46"/>
                </a:cxn>
                <a:cxn ang="0">
                  <a:pos x="687" y="20"/>
                </a:cxn>
                <a:cxn ang="0">
                  <a:pos x="607" y="4"/>
                </a:cxn>
                <a:cxn ang="0">
                  <a:pos x="527" y="0"/>
                </a:cxn>
                <a:cxn ang="0">
                  <a:pos x="441" y="10"/>
                </a:cxn>
                <a:cxn ang="0">
                  <a:pos x="365" y="26"/>
                </a:cxn>
                <a:cxn ang="0">
                  <a:pos x="299" y="40"/>
                </a:cxn>
                <a:cxn ang="0">
                  <a:pos x="245" y="60"/>
                </a:cxn>
                <a:cxn ang="0">
                  <a:pos x="201" y="82"/>
                </a:cxn>
                <a:cxn ang="0">
                  <a:pos x="126" y="138"/>
                </a:cxn>
                <a:cxn ang="0">
                  <a:pos x="80" y="186"/>
                </a:cxn>
                <a:cxn ang="0">
                  <a:pos x="60" y="210"/>
                </a:cxn>
                <a:cxn ang="0">
                  <a:pos x="32" y="258"/>
                </a:cxn>
                <a:cxn ang="0">
                  <a:pos x="12" y="306"/>
                </a:cxn>
                <a:cxn ang="0">
                  <a:pos x="2" y="348"/>
                </a:cxn>
                <a:cxn ang="0">
                  <a:pos x="0" y="379"/>
                </a:cxn>
                <a:cxn ang="0">
                  <a:pos x="4" y="417"/>
                </a:cxn>
              </a:cxnLst>
              <a:rect l="0" t="0" r="r" b="b"/>
              <a:pathLst>
                <a:path w="1058" h="421">
                  <a:moveTo>
                    <a:pt x="4" y="421"/>
                  </a:moveTo>
                  <a:lnTo>
                    <a:pt x="6" y="419"/>
                  </a:lnTo>
                  <a:lnTo>
                    <a:pt x="8" y="411"/>
                  </a:lnTo>
                  <a:lnTo>
                    <a:pt x="12" y="401"/>
                  </a:lnTo>
                  <a:lnTo>
                    <a:pt x="20" y="389"/>
                  </a:lnTo>
                  <a:lnTo>
                    <a:pt x="28" y="371"/>
                  </a:lnTo>
                  <a:lnTo>
                    <a:pt x="38" y="354"/>
                  </a:lnTo>
                  <a:lnTo>
                    <a:pt x="64" y="312"/>
                  </a:lnTo>
                  <a:lnTo>
                    <a:pt x="96" y="264"/>
                  </a:lnTo>
                  <a:lnTo>
                    <a:pt x="132" y="220"/>
                  </a:lnTo>
                  <a:lnTo>
                    <a:pt x="175" y="184"/>
                  </a:lnTo>
                  <a:lnTo>
                    <a:pt x="199" y="166"/>
                  </a:lnTo>
                  <a:lnTo>
                    <a:pt x="223" y="152"/>
                  </a:lnTo>
                  <a:lnTo>
                    <a:pt x="271" y="130"/>
                  </a:lnTo>
                  <a:lnTo>
                    <a:pt x="317" y="112"/>
                  </a:lnTo>
                  <a:lnTo>
                    <a:pt x="363" y="98"/>
                  </a:lnTo>
                  <a:lnTo>
                    <a:pt x="407" y="86"/>
                  </a:lnTo>
                  <a:lnTo>
                    <a:pt x="449" y="78"/>
                  </a:lnTo>
                  <a:lnTo>
                    <a:pt x="493" y="72"/>
                  </a:lnTo>
                  <a:lnTo>
                    <a:pt x="535" y="70"/>
                  </a:lnTo>
                  <a:lnTo>
                    <a:pt x="581" y="70"/>
                  </a:lnTo>
                  <a:lnTo>
                    <a:pt x="621" y="72"/>
                  </a:lnTo>
                  <a:lnTo>
                    <a:pt x="661" y="74"/>
                  </a:lnTo>
                  <a:lnTo>
                    <a:pt x="699" y="78"/>
                  </a:lnTo>
                  <a:lnTo>
                    <a:pt x="733" y="84"/>
                  </a:lnTo>
                  <a:lnTo>
                    <a:pt x="768" y="92"/>
                  </a:lnTo>
                  <a:lnTo>
                    <a:pt x="802" y="106"/>
                  </a:lnTo>
                  <a:lnTo>
                    <a:pt x="838" y="122"/>
                  </a:lnTo>
                  <a:lnTo>
                    <a:pt x="878" y="142"/>
                  </a:lnTo>
                  <a:lnTo>
                    <a:pt x="914" y="162"/>
                  </a:lnTo>
                  <a:lnTo>
                    <a:pt x="940" y="182"/>
                  </a:lnTo>
                  <a:lnTo>
                    <a:pt x="962" y="200"/>
                  </a:lnTo>
                  <a:lnTo>
                    <a:pt x="978" y="214"/>
                  </a:lnTo>
                  <a:lnTo>
                    <a:pt x="992" y="228"/>
                  </a:lnTo>
                  <a:lnTo>
                    <a:pt x="1002" y="244"/>
                  </a:lnTo>
                  <a:lnTo>
                    <a:pt x="1020" y="274"/>
                  </a:lnTo>
                  <a:lnTo>
                    <a:pt x="1030" y="288"/>
                  </a:lnTo>
                  <a:lnTo>
                    <a:pt x="1036" y="302"/>
                  </a:lnTo>
                  <a:lnTo>
                    <a:pt x="1044" y="314"/>
                  </a:lnTo>
                  <a:lnTo>
                    <a:pt x="1050" y="322"/>
                  </a:lnTo>
                  <a:lnTo>
                    <a:pt x="1052" y="330"/>
                  </a:lnTo>
                  <a:lnTo>
                    <a:pt x="1056" y="334"/>
                  </a:lnTo>
                  <a:lnTo>
                    <a:pt x="1058" y="336"/>
                  </a:lnTo>
                  <a:lnTo>
                    <a:pt x="1058" y="338"/>
                  </a:lnTo>
                  <a:lnTo>
                    <a:pt x="1058" y="334"/>
                  </a:lnTo>
                  <a:lnTo>
                    <a:pt x="1054" y="324"/>
                  </a:lnTo>
                  <a:lnTo>
                    <a:pt x="1052" y="310"/>
                  </a:lnTo>
                  <a:lnTo>
                    <a:pt x="1046" y="294"/>
                  </a:lnTo>
                  <a:lnTo>
                    <a:pt x="1036" y="258"/>
                  </a:lnTo>
                  <a:lnTo>
                    <a:pt x="1030" y="244"/>
                  </a:lnTo>
                  <a:lnTo>
                    <a:pt x="1026" y="234"/>
                  </a:lnTo>
                  <a:lnTo>
                    <a:pt x="1022" y="228"/>
                  </a:lnTo>
                  <a:lnTo>
                    <a:pt x="1016" y="220"/>
                  </a:lnTo>
                  <a:lnTo>
                    <a:pt x="1000" y="202"/>
                  </a:lnTo>
                  <a:lnTo>
                    <a:pt x="976" y="176"/>
                  </a:lnTo>
                  <a:lnTo>
                    <a:pt x="948" y="146"/>
                  </a:lnTo>
                  <a:lnTo>
                    <a:pt x="914" y="116"/>
                  </a:lnTo>
                  <a:lnTo>
                    <a:pt x="874" y="88"/>
                  </a:lnTo>
                  <a:lnTo>
                    <a:pt x="828" y="64"/>
                  </a:lnTo>
                  <a:lnTo>
                    <a:pt x="780" y="46"/>
                  </a:lnTo>
                  <a:lnTo>
                    <a:pt x="733" y="32"/>
                  </a:lnTo>
                  <a:lnTo>
                    <a:pt x="687" y="20"/>
                  </a:lnTo>
                  <a:lnTo>
                    <a:pt x="645" y="12"/>
                  </a:lnTo>
                  <a:lnTo>
                    <a:pt x="607" y="4"/>
                  </a:lnTo>
                  <a:lnTo>
                    <a:pt x="567" y="2"/>
                  </a:lnTo>
                  <a:lnTo>
                    <a:pt x="527" y="0"/>
                  </a:lnTo>
                  <a:lnTo>
                    <a:pt x="485" y="4"/>
                  </a:lnTo>
                  <a:lnTo>
                    <a:pt x="441" y="10"/>
                  </a:lnTo>
                  <a:lnTo>
                    <a:pt x="401" y="18"/>
                  </a:lnTo>
                  <a:lnTo>
                    <a:pt x="365" y="26"/>
                  </a:lnTo>
                  <a:lnTo>
                    <a:pt x="329" y="32"/>
                  </a:lnTo>
                  <a:lnTo>
                    <a:pt x="299" y="40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3" y="70"/>
                  </a:lnTo>
                  <a:lnTo>
                    <a:pt x="201" y="82"/>
                  </a:lnTo>
                  <a:lnTo>
                    <a:pt x="163" y="108"/>
                  </a:lnTo>
                  <a:lnTo>
                    <a:pt x="126" y="138"/>
                  </a:lnTo>
                  <a:lnTo>
                    <a:pt x="92" y="168"/>
                  </a:lnTo>
                  <a:lnTo>
                    <a:pt x="80" y="186"/>
                  </a:lnTo>
                  <a:lnTo>
                    <a:pt x="68" y="200"/>
                  </a:lnTo>
                  <a:lnTo>
                    <a:pt x="60" y="210"/>
                  </a:lnTo>
                  <a:lnTo>
                    <a:pt x="50" y="224"/>
                  </a:lnTo>
                  <a:lnTo>
                    <a:pt x="32" y="258"/>
                  </a:lnTo>
                  <a:lnTo>
                    <a:pt x="18" y="292"/>
                  </a:lnTo>
                  <a:lnTo>
                    <a:pt x="12" y="306"/>
                  </a:lnTo>
                  <a:lnTo>
                    <a:pt x="10" y="316"/>
                  </a:lnTo>
                  <a:lnTo>
                    <a:pt x="2" y="348"/>
                  </a:lnTo>
                  <a:lnTo>
                    <a:pt x="2" y="365"/>
                  </a:lnTo>
                  <a:lnTo>
                    <a:pt x="0" y="379"/>
                  </a:lnTo>
                  <a:lnTo>
                    <a:pt x="2" y="407"/>
                  </a:lnTo>
                  <a:lnTo>
                    <a:pt x="4" y="417"/>
                  </a:lnTo>
                  <a:lnTo>
                    <a:pt x="4" y="421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8" name="Freeform 11"/>
            <p:cNvSpPr>
              <a:spLocks/>
            </p:cNvSpPr>
            <p:nvPr/>
          </p:nvSpPr>
          <p:spPr bwMode="auto">
            <a:xfrm>
              <a:off x="2584" y="1404"/>
              <a:ext cx="528" cy="207"/>
            </a:xfrm>
            <a:custGeom>
              <a:avLst/>
              <a:gdLst/>
              <a:ahLst/>
              <a:cxnLst>
                <a:cxn ang="0">
                  <a:pos x="4" y="413"/>
                </a:cxn>
                <a:cxn ang="0">
                  <a:pos x="10" y="395"/>
                </a:cxn>
                <a:cxn ang="0">
                  <a:pos x="26" y="365"/>
                </a:cxn>
                <a:cxn ang="0">
                  <a:pos x="62" y="306"/>
                </a:cxn>
                <a:cxn ang="0">
                  <a:pos x="130" y="214"/>
                </a:cxn>
                <a:cxn ang="0">
                  <a:pos x="197" y="160"/>
                </a:cxn>
                <a:cxn ang="0">
                  <a:pos x="269" y="124"/>
                </a:cxn>
                <a:cxn ang="0">
                  <a:pos x="361" y="92"/>
                </a:cxn>
                <a:cxn ang="0">
                  <a:pos x="447" y="72"/>
                </a:cxn>
                <a:cxn ang="0">
                  <a:pos x="533" y="64"/>
                </a:cxn>
                <a:cxn ang="0">
                  <a:pos x="619" y="66"/>
                </a:cxn>
                <a:cxn ang="0">
                  <a:pos x="697" y="72"/>
                </a:cxn>
                <a:cxn ang="0">
                  <a:pos x="766" y="88"/>
                </a:cxn>
                <a:cxn ang="0">
                  <a:pos x="836" y="116"/>
                </a:cxn>
                <a:cxn ang="0">
                  <a:pos x="912" y="158"/>
                </a:cxn>
                <a:cxn ang="0">
                  <a:pos x="960" y="194"/>
                </a:cxn>
                <a:cxn ang="0">
                  <a:pos x="990" y="222"/>
                </a:cxn>
                <a:cxn ang="0">
                  <a:pos x="1018" y="268"/>
                </a:cxn>
                <a:cxn ang="0">
                  <a:pos x="1034" y="296"/>
                </a:cxn>
                <a:cxn ang="0">
                  <a:pos x="1048" y="316"/>
                </a:cxn>
                <a:cxn ang="0">
                  <a:pos x="1054" y="328"/>
                </a:cxn>
                <a:cxn ang="0">
                  <a:pos x="1056" y="332"/>
                </a:cxn>
                <a:cxn ang="0">
                  <a:pos x="1052" y="318"/>
                </a:cxn>
                <a:cxn ang="0">
                  <a:pos x="1044" y="288"/>
                </a:cxn>
                <a:cxn ang="0">
                  <a:pos x="1026" y="238"/>
                </a:cxn>
                <a:cxn ang="0">
                  <a:pos x="1018" y="222"/>
                </a:cxn>
                <a:cxn ang="0">
                  <a:pos x="996" y="198"/>
                </a:cxn>
                <a:cxn ang="0">
                  <a:pos x="946" y="142"/>
                </a:cxn>
                <a:cxn ang="0">
                  <a:pos x="870" y="84"/>
                </a:cxn>
                <a:cxn ang="0">
                  <a:pos x="776" y="42"/>
                </a:cxn>
                <a:cxn ang="0">
                  <a:pos x="683" y="20"/>
                </a:cxn>
                <a:cxn ang="0">
                  <a:pos x="605" y="4"/>
                </a:cxn>
                <a:cxn ang="0">
                  <a:pos x="525" y="0"/>
                </a:cxn>
                <a:cxn ang="0">
                  <a:pos x="439" y="10"/>
                </a:cxn>
                <a:cxn ang="0">
                  <a:pos x="363" y="24"/>
                </a:cxn>
                <a:cxn ang="0">
                  <a:pos x="301" y="40"/>
                </a:cxn>
                <a:cxn ang="0">
                  <a:pos x="245" y="58"/>
                </a:cxn>
                <a:cxn ang="0">
                  <a:pos x="201" y="80"/>
                </a:cxn>
                <a:cxn ang="0">
                  <a:pos x="128" y="136"/>
                </a:cxn>
                <a:cxn ang="0">
                  <a:pos x="78" y="184"/>
                </a:cxn>
                <a:cxn ang="0">
                  <a:pos x="60" y="208"/>
                </a:cxn>
                <a:cxn ang="0">
                  <a:pos x="32" y="256"/>
                </a:cxn>
                <a:cxn ang="0">
                  <a:pos x="12" y="302"/>
                </a:cxn>
                <a:cxn ang="0">
                  <a:pos x="2" y="344"/>
                </a:cxn>
                <a:cxn ang="0">
                  <a:pos x="0" y="375"/>
                </a:cxn>
                <a:cxn ang="0">
                  <a:pos x="2" y="409"/>
                </a:cxn>
              </a:cxnLst>
              <a:rect l="0" t="0" r="r" b="b"/>
              <a:pathLst>
                <a:path w="1056" h="415">
                  <a:moveTo>
                    <a:pt x="2" y="415"/>
                  </a:moveTo>
                  <a:lnTo>
                    <a:pt x="4" y="413"/>
                  </a:lnTo>
                  <a:lnTo>
                    <a:pt x="6" y="405"/>
                  </a:lnTo>
                  <a:lnTo>
                    <a:pt x="10" y="395"/>
                  </a:lnTo>
                  <a:lnTo>
                    <a:pt x="18" y="383"/>
                  </a:lnTo>
                  <a:lnTo>
                    <a:pt x="26" y="365"/>
                  </a:lnTo>
                  <a:lnTo>
                    <a:pt x="36" y="348"/>
                  </a:lnTo>
                  <a:lnTo>
                    <a:pt x="62" y="306"/>
                  </a:lnTo>
                  <a:lnTo>
                    <a:pt x="94" y="258"/>
                  </a:lnTo>
                  <a:lnTo>
                    <a:pt x="130" y="214"/>
                  </a:lnTo>
                  <a:lnTo>
                    <a:pt x="173" y="178"/>
                  </a:lnTo>
                  <a:lnTo>
                    <a:pt x="197" y="160"/>
                  </a:lnTo>
                  <a:lnTo>
                    <a:pt x="221" y="148"/>
                  </a:lnTo>
                  <a:lnTo>
                    <a:pt x="269" y="124"/>
                  </a:lnTo>
                  <a:lnTo>
                    <a:pt x="315" y="106"/>
                  </a:lnTo>
                  <a:lnTo>
                    <a:pt x="361" y="92"/>
                  </a:lnTo>
                  <a:lnTo>
                    <a:pt x="405" y="80"/>
                  </a:lnTo>
                  <a:lnTo>
                    <a:pt x="447" y="72"/>
                  </a:lnTo>
                  <a:lnTo>
                    <a:pt x="491" y="68"/>
                  </a:lnTo>
                  <a:lnTo>
                    <a:pt x="533" y="64"/>
                  </a:lnTo>
                  <a:lnTo>
                    <a:pt x="579" y="64"/>
                  </a:lnTo>
                  <a:lnTo>
                    <a:pt x="619" y="66"/>
                  </a:lnTo>
                  <a:lnTo>
                    <a:pt x="659" y="70"/>
                  </a:lnTo>
                  <a:lnTo>
                    <a:pt x="697" y="72"/>
                  </a:lnTo>
                  <a:lnTo>
                    <a:pt x="731" y="80"/>
                  </a:lnTo>
                  <a:lnTo>
                    <a:pt x="766" y="88"/>
                  </a:lnTo>
                  <a:lnTo>
                    <a:pt x="800" y="100"/>
                  </a:lnTo>
                  <a:lnTo>
                    <a:pt x="836" y="116"/>
                  </a:lnTo>
                  <a:lnTo>
                    <a:pt x="876" y="136"/>
                  </a:lnTo>
                  <a:lnTo>
                    <a:pt x="912" y="158"/>
                  </a:lnTo>
                  <a:lnTo>
                    <a:pt x="938" y="176"/>
                  </a:lnTo>
                  <a:lnTo>
                    <a:pt x="960" y="194"/>
                  </a:lnTo>
                  <a:lnTo>
                    <a:pt x="976" y="208"/>
                  </a:lnTo>
                  <a:lnTo>
                    <a:pt x="990" y="222"/>
                  </a:lnTo>
                  <a:lnTo>
                    <a:pt x="1000" y="238"/>
                  </a:lnTo>
                  <a:lnTo>
                    <a:pt x="1018" y="268"/>
                  </a:lnTo>
                  <a:lnTo>
                    <a:pt x="1028" y="282"/>
                  </a:lnTo>
                  <a:lnTo>
                    <a:pt x="1034" y="296"/>
                  </a:lnTo>
                  <a:lnTo>
                    <a:pt x="1042" y="308"/>
                  </a:lnTo>
                  <a:lnTo>
                    <a:pt x="1048" y="316"/>
                  </a:lnTo>
                  <a:lnTo>
                    <a:pt x="1050" y="324"/>
                  </a:lnTo>
                  <a:lnTo>
                    <a:pt x="1054" y="328"/>
                  </a:lnTo>
                  <a:lnTo>
                    <a:pt x="1056" y="330"/>
                  </a:lnTo>
                  <a:lnTo>
                    <a:pt x="1056" y="332"/>
                  </a:lnTo>
                  <a:lnTo>
                    <a:pt x="1054" y="328"/>
                  </a:lnTo>
                  <a:lnTo>
                    <a:pt x="1052" y="318"/>
                  </a:lnTo>
                  <a:lnTo>
                    <a:pt x="1050" y="304"/>
                  </a:lnTo>
                  <a:lnTo>
                    <a:pt x="1044" y="288"/>
                  </a:lnTo>
                  <a:lnTo>
                    <a:pt x="1034" y="252"/>
                  </a:lnTo>
                  <a:lnTo>
                    <a:pt x="1026" y="238"/>
                  </a:lnTo>
                  <a:lnTo>
                    <a:pt x="1022" y="228"/>
                  </a:lnTo>
                  <a:lnTo>
                    <a:pt x="1018" y="222"/>
                  </a:lnTo>
                  <a:lnTo>
                    <a:pt x="1012" y="214"/>
                  </a:lnTo>
                  <a:lnTo>
                    <a:pt x="996" y="198"/>
                  </a:lnTo>
                  <a:lnTo>
                    <a:pt x="972" y="172"/>
                  </a:lnTo>
                  <a:lnTo>
                    <a:pt x="946" y="142"/>
                  </a:lnTo>
                  <a:lnTo>
                    <a:pt x="910" y="112"/>
                  </a:lnTo>
                  <a:lnTo>
                    <a:pt x="870" y="84"/>
                  </a:lnTo>
                  <a:lnTo>
                    <a:pt x="826" y="60"/>
                  </a:lnTo>
                  <a:lnTo>
                    <a:pt x="776" y="42"/>
                  </a:lnTo>
                  <a:lnTo>
                    <a:pt x="729" y="28"/>
                  </a:lnTo>
                  <a:lnTo>
                    <a:pt x="683" y="20"/>
                  </a:lnTo>
                  <a:lnTo>
                    <a:pt x="643" y="10"/>
                  </a:lnTo>
                  <a:lnTo>
                    <a:pt x="605" y="4"/>
                  </a:lnTo>
                  <a:lnTo>
                    <a:pt x="565" y="0"/>
                  </a:lnTo>
                  <a:lnTo>
                    <a:pt x="525" y="0"/>
                  </a:lnTo>
                  <a:lnTo>
                    <a:pt x="483" y="2"/>
                  </a:lnTo>
                  <a:lnTo>
                    <a:pt x="439" y="10"/>
                  </a:lnTo>
                  <a:lnTo>
                    <a:pt x="399" y="18"/>
                  </a:lnTo>
                  <a:lnTo>
                    <a:pt x="363" y="24"/>
                  </a:lnTo>
                  <a:lnTo>
                    <a:pt x="331" y="32"/>
                  </a:lnTo>
                  <a:lnTo>
                    <a:pt x="301" y="40"/>
                  </a:lnTo>
                  <a:lnTo>
                    <a:pt x="271" y="48"/>
                  </a:lnTo>
                  <a:lnTo>
                    <a:pt x="245" y="58"/>
                  </a:lnTo>
                  <a:lnTo>
                    <a:pt x="223" y="68"/>
                  </a:lnTo>
                  <a:lnTo>
                    <a:pt x="201" y="80"/>
                  </a:lnTo>
                  <a:lnTo>
                    <a:pt x="163" y="106"/>
                  </a:lnTo>
                  <a:lnTo>
                    <a:pt x="128" y="136"/>
                  </a:lnTo>
                  <a:lnTo>
                    <a:pt x="94" y="168"/>
                  </a:lnTo>
                  <a:lnTo>
                    <a:pt x="78" y="184"/>
                  </a:lnTo>
                  <a:lnTo>
                    <a:pt x="68" y="198"/>
                  </a:lnTo>
                  <a:lnTo>
                    <a:pt x="60" y="208"/>
                  </a:lnTo>
                  <a:lnTo>
                    <a:pt x="50" y="222"/>
                  </a:lnTo>
                  <a:lnTo>
                    <a:pt x="32" y="256"/>
                  </a:lnTo>
                  <a:lnTo>
                    <a:pt x="18" y="288"/>
                  </a:lnTo>
                  <a:lnTo>
                    <a:pt x="12" y="302"/>
                  </a:lnTo>
                  <a:lnTo>
                    <a:pt x="10" y="312"/>
                  </a:lnTo>
                  <a:lnTo>
                    <a:pt x="2" y="344"/>
                  </a:lnTo>
                  <a:lnTo>
                    <a:pt x="0" y="359"/>
                  </a:lnTo>
                  <a:lnTo>
                    <a:pt x="0" y="375"/>
                  </a:lnTo>
                  <a:lnTo>
                    <a:pt x="0" y="401"/>
                  </a:lnTo>
                  <a:lnTo>
                    <a:pt x="2" y="409"/>
                  </a:lnTo>
                  <a:lnTo>
                    <a:pt x="2" y="415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9" name="Freeform 12"/>
            <p:cNvSpPr>
              <a:spLocks/>
            </p:cNvSpPr>
            <p:nvPr/>
          </p:nvSpPr>
          <p:spPr bwMode="auto">
            <a:xfrm>
              <a:off x="2585" y="1406"/>
              <a:ext cx="527" cy="205"/>
            </a:xfrm>
            <a:custGeom>
              <a:avLst/>
              <a:gdLst/>
              <a:ahLst/>
              <a:cxnLst>
                <a:cxn ang="0">
                  <a:pos x="4" y="409"/>
                </a:cxn>
                <a:cxn ang="0">
                  <a:pos x="10" y="391"/>
                </a:cxn>
                <a:cxn ang="0">
                  <a:pos x="26" y="361"/>
                </a:cxn>
                <a:cxn ang="0">
                  <a:pos x="62" y="302"/>
                </a:cxn>
                <a:cxn ang="0">
                  <a:pos x="130" y="210"/>
                </a:cxn>
                <a:cxn ang="0">
                  <a:pos x="195" y="156"/>
                </a:cxn>
                <a:cxn ang="0">
                  <a:pos x="269" y="120"/>
                </a:cxn>
                <a:cxn ang="0">
                  <a:pos x="359" y="88"/>
                </a:cxn>
                <a:cxn ang="0">
                  <a:pos x="445" y="68"/>
                </a:cxn>
                <a:cxn ang="0">
                  <a:pos x="531" y="60"/>
                </a:cxn>
                <a:cxn ang="0">
                  <a:pos x="619" y="62"/>
                </a:cxn>
                <a:cxn ang="0">
                  <a:pos x="695" y="68"/>
                </a:cxn>
                <a:cxn ang="0">
                  <a:pos x="766" y="82"/>
                </a:cxn>
                <a:cxn ang="0">
                  <a:pos x="836" y="112"/>
                </a:cxn>
                <a:cxn ang="0">
                  <a:pos x="910" y="152"/>
                </a:cxn>
                <a:cxn ang="0">
                  <a:pos x="958" y="190"/>
                </a:cxn>
                <a:cxn ang="0">
                  <a:pos x="988" y="218"/>
                </a:cxn>
                <a:cxn ang="0">
                  <a:pos x="1018" y="264"/>
                </a:cxn>
                <a:cxn ang="0">
                  <a:pos x="1034" y="292"/>
                </a:cxn>
                <a:cxn ang="0">
                  <a:pos x="1046" y="312"/>
                </a:cxn>
                <a:cxn ang="0">
                  <a:pos x="1054" y="324"/>
                </a:cxn>
                <a:cxn ang="0">
                  <a:pos x="1054" y="328"/>
                </a:cxn>
                <a:cxn ang="0">
                  <a:pos x="1052" y="314"/>
                </a:cxn>
                <a:cxn ang="0">
                  <a:pos x="1042" y="284"/>
                </a:cxn>
                <a:cxn ang="0">
                  <a:pos x="1026" y="234"/>
                </a:cxn>
                <a:cxn ang="0">
                  <a:pos x="1016" y="218"/>
                </a:cxn>
                <a:cxn ang="0">
                  <a:pos x="994" y="194"/>
                </a:cxn>
                <a:cxn ang="0">
                  <a:pos x="942" y="140"/>
                </a:cxn>
                <a:cxn ang="0">
                  <a:pos x="868" y="82"/>
                </a:cxn>
                <a:cxn ang="0">
                  <a:pos x="776" y="40"/>
                </a:cxn>
                <a:cxn ang="0">
                  <a:pos x="683" y="16"/>
                </a:cxn>
                <a:cxn ang="0">
                  <a:pos x="603" y="2"/>
                </a:cxn>
                <a:cxn ang="0">
                  <a:pos x="523" y="0"/>
                </a:cxn>
                <a:cxn ang="0">
                  <a:pos x="437" y="10"/>
                </a:cxn>
                <a:cxn ang="0">
                  <a:pos x="331" y="32"/>
                </a:cxn>
                <a:cxn ang="0">
                  <a:pos x="271" y="48"/>
                </a:cxn>
                <a:cxn ang="0">
                  <a:pos x="223" y="66"/>
                </a:cxn>
                <a:cxn ang="0">
                  <a:pos x="165" y="104"/>
                </a:cxn>
                <a:cxn ang="0">
                  <a:pos x="94" y="166"/>
                </a:cxn>
                <a:cxn ang="0">
                  <a:pos x="68" y="196"/>
                </a:cxn>
                <a:cxn ang="0">
                  <a:pos x="50" y="222"/>
                </a:cxn>
                <a:cxn ang="0">
                  <a:pos x="18" y="286"/>
                </a:cxn>
                <a:cxn ang="0">
                  <a:pos x="10" y="312"/>
                </a:cxn>
                <a:cxn ang="0">
                  <a:pos x="0" y="371"/>
                </a:cxn>
                <a:cxn ang="0">
                  <a:pos x="2" y="411"/>
                </a:cxn>
              </a:cxnLst>
              <a:rect l="0" t="0" r="r" b="b"/>
              <a:pathLst>
                <a:path w="1054" h="411">
                  <a:moveTo>
                    <a:pt x="2" y="411"/>
                  </a:moveTo>
                  <a:lnTo>
                    <a:pt x="4" y="409"/>
                  </a:lnTo>
                  <a:lnTo>
                    <a:pt x="4" y="401"/>
                  </a:lnTo>
                  <a:lnTo>
                    <a:pt x="10" y="391"/>
                  </a:lnTo>
                  <a:lnTo>
                    <a:pt x="18" y="379"/>
                  </a:lnTo>
                  <a:lnTo>
                    <a:pt x="26" y="361"/>
                  </a:lnTo>
                  <a:lnTo>
                    <a:pt x="36" y="344"/>
                  </a:lnTo>
                  <a:lnTo>
                    <a:pt x="62" y="302"/>
                  </a:lnTo>
                  <a:lnTo>
                    <a:pt x="92" y="254"/>
                  </a:lnTo>
                  <a:lnTo>
                    <a:pt x="130" y="210"/>
                  </a:lnTo>
                  <a:lnTo>
                    <a:pt x="173" y="174"/>
                  </a:lnTo>
                  <a:lnTo>
                    <a:pt x="195" y="156"/>
                  </a:lnTo>
                  <a:lnTo>
                    <a:pt x="219" y="142"/>
                  </a:lnTo>
                  <a:lnTo>
                    <a:pt x="269" y="120"/>
                  </a:lnTo>
                  <a:lnTo>
                    <a:pt x="313" y="102"/>
                  </a:lnTo>
                  <a:lnTo>
                    <a:pt x="359" y="88"/>
                  </a:lnTo>
                  <a:lnTo>
                    <a:pt x="403" y="76"/>
                  </a:lnTo>
                  <a:lnTo>
                    <a:pt x="445" y="68"/>
                  </a:lnTo>
                  <a:lnTo>
                    <a:pt x="489" y="62"/>
                  </a:lnTo>
                  <a:lnTo>
                    <a:pt x="531" y="60"/>
                  </a:lnTo>
                  <a:lnTo>
                    <a:pt x="577" y="60"/>
                  </a:lnTo>
                  <a:lnTo>
                    <a:pt x="619" y="62"/>
                  </a:lnTo>
                  <a:lnTo>
                    <a:pt x="657" y="64"/>
                  </a:lnTo>
                  <a:lnTo>
                    <a:pt x="695" y="68"/>
                  </a:lnTo>
                  <a:lnTo>
                    <a:pt x="731" y="74"/>
                  </a:lnTo>
                  <a:lnTo>
                    <a:pt x="766" y="82"/>
                  </a:lnTo>
                  <a:lnTo>
                    <a:pt x="800" y="96"/>
                  </a:lnTo>
                  <a:lnTo>
                    <a:pt x="836" y="112"/>
                  </a:lnTo>
                  <a:lnTo>
                    <a:pt x="874" y="132"/>
                  </a:lnTo>
                  <a:lnTo>
                    <a:pt x="910" y="152"/>
                  </a:lnTo>
                  <a:lnTo>
                    <a:pt x="938" y="172"/>
                  </a:lnTo>
                  <a:lnTo>
                    <a:pt x="958" y="190"/>
                  </a:lnTo>
                  <a:lnTo>
                    <a:pt x="976" y="206"/>
                  </a:lnTo>
                  <a:lnTo>
                    <a:pt x="988" y="218"/>
                  </a:lnTo>
                  <a:lnTo>
                    <a:pt x="1000" y="234"/>
                  </a:lnTo>
                  <a:lnTo>
                    <a:pt x="1018" y="264"/>
                  </a:lnTo>
                  <a:lnTo>
                    <a:pt x="1028" y="278"/>
                  </a:lnTo>
                  <a:lnTo>
                    <a:pt x="1034" y="292"/>
                  </a:lnTo>
                  <a:lnTo>
                    <a:pt x="1040" y="304"/>
                  </a:lnTo>
                  <a:lnTo>
                    <a:pt x="1046" y="312"/>
                  </a:lnTo>
                  <a:lnTo>
                    <a:pt x="1050" y="320"/>
                  </a:lnTo>
                  <a:lnTo>
                    <a:pt x="1054" y="324"/>
                  </a:lnTo>
                  <a:lnTo>
                    <a:pt x="1054" y="326"/>
                  </a:lnTo>
                  <a:lnTo>
                    <a:pt x="1054" y="328"/>
                  </a:lnTo>
                  <a:lnTo>
                    <a:pt x="1054" y="324"/>
                  </a:lnTo>
                  <a:lnTo>
                    <a:pt x="1052" y="314"/>
                  </a:lnTo>
                  <a:lnTo>
                    <a:pt x="1046" y="300"/>
                  </a:lnTo>
                  <a:lnTo>
                    <a:pt x="1042" y="284"/>
                  </a:lnTo>
                  <a:lnTo>
                    <a:pt x="1030" y="248"/>
                  </a:lnTo>
                  <a:lnTo>
                    <a:pt x="1026" y="234"/>
                  </a:lnTo>
                  <a:lnTo>
                    <a:pt x="1020" y="224"/>
                  </a:lnTo>
                  <a:lnTo>
                    <a:pt x="1016" y="218"/>
                  </a:lnTo>
                  <a:lnTo>
                    <a:pt x="1010" y="210"/>
                  </a:lnTo>
                  <a:lnTo>
                    <a:pt x="994" y="194"/>
                  </a:lnTo>
                  <a:lnTo>
                    <a:pt x="970" y="168"/>
                  </a:lnTo>
                  <a:lnTo>
                    <a:pt x="942" y="140"/>
                  </a:lnTo>
                  <a:lnTo>
                    <a:pt x="908" y="110"/>
                  </a:lnTo>
                  <a:lnTo>
                    <a:pt x="868" y="82"/>
                  </a:lnTo>
                  <a:lnTo>
                    <a:pt x="824" y="58"/>
                  </a:lnTo>
                  <a:lnTo>
                    <a:pt x="776" y="40"/>
                  </a:lnTo>
                  <a:lnTo>
                    <a:pt x="727" y="28"/>
                  </a:lnTo>
                  <a:lnTo>
                    <a:pt x="683" y="16"/>
                  </a:lnTo>
                  <a:lnTo>
                    <a:pt x="641" y="8"/>
                  </a:lnTo>
                  <a:lnTo>
                    <a:pt x="603" y="2"/>
                  </a:lnTo>
                  <a:lnTo>
                    <a:pt x="565" y="0"/>
                  </a:lnTo>
                  <a:lnTo>
                    <a:pt x="523" y="0"/>
                  </a:lnTo>
                  <a:lnTo>
                    <a:pt x="483" y="2"/>
                  </a:lnTo>
                  <a:lnTo>
                    <a:pt x="437" y="10"/>
                  </a:lnTo>
                  <a:lnTo>
                    <a:pt x="399" y="16"/>
                  </a:lnTo>
                  <a:lnTo>
                    <a:pt x="331" y="32"/>
                  </a:lnTo>
                  <a:lnTo>
                    <a:pt x="301" y="38"/>
                  </a:lnTo>
                  <a:lnTo>
                    <a:pt x="271" y="48"/>
                  </a:lnTo>
                  <a:lnTo>
                    <a:pt x="245" y="56"/>
                  </a:lnTo>
                  <a:lnTo>
                    <a:pt x="223" y="66"/>
                  </a:lnTo>
                  <a:lnTo>
                    <a:pt x="201" y="78"/>
                  </a:lnTo>
                  <a:lnTo>
                    <a:pt x="165" y="104"/>
                  </a:lnTo>
                  <a:lnTo>
                    <a:pt x="128" y="132"/>
                  </a:lnTo>
                  <a:lnTo>
                    <a:pt x="94" y="166"/>
                  </a:lnTo>
                  <a:lnTo>
                    <a:pt x="82" y="182"/>
                  </a:lnTo>
                  <a:lnTo>
                    <a:pt x="68" y="196"/>
                  </a:lnTo>
                  <a:lnTo>
                    <a:pt x="60" y="208"/>
                  </a:lnTo>
                  <a:lnTo>
                    <a:pt x="50" y="222"/>
                  </a:lnTo>
                  <a:lnTo>
                    <a:pt x="32" y="254"/>
                  </a:lnTo>
                  <a:lnTo>
                    <a:pt x="18" y="286"/>
                  </a:lnTo>
                  <a:lnTo>
                    <a:pt x="12" y="300"/>
                  </a:lnTo>
                  <a:lnTo>
                    <a:pt x="10" y="312"/>
                  </a:lnTo>
                  <a:lnTo>
                    <a:pt x="4" y="342"/>
                  </a:lnTo>
                  <a:lnTo>
                    <a:pt x="0" y="371"/>
                  </a:lnTo>
                  <a:lnTo>
                    <a:pt x="2" y="397"/>
                  </a:lnTo>
                  <a:lnTo>
                    <a:pt x="2" y="411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0" name="Freeform 13"/>
            <p:cNvSpPr>
              <a:spLocks/>
            </p:cNvSpPr>
            <p:nvPr/>
          </p:nvSpPr>
          <p:spPr bwMode="auto">
            <a:xfrm>
              <a:off x="2585" y="1408"/>
              <a:ext cx="527" cy="203"/>
            </a:xfrm>
            <a:custGeom>
              <a:avLst/>
              <a:gdLst/>
              <a:ahLst/>
              <a:cxnLst>
                <a:cxn ang="0">
                  <a:pos x="4" y="405"/>
                </a:cxn>
                <a:cxn ang="0">
                  <a:pos x="10" y="387"/>
                </a:cxn>
                <a:cxn ang="0">
                  <a:pos x="26" y="357"/>
                </a:cxn>
                <a:cxn ang="0">
                  <a:pos x="62" y="298"/>
                </a:cxn>
                <a:cxn ang="0">
                  <a:pos x="130" y="206"/>
                </a:cxn>
                <a:cxn ang="0">
                  <a:pos x="195" y="152"/>
                </a:cxn>
                <a:cxn ang="0">
                  <a:pos x="269" y="116"/>
                </a:cxn>
                <a:cxn ang="0">
                  <a:pos x="359" y="84"/>
                </a:cxn>
                <a:cxn ang="0">
                  <a:pos x="445" y="64"/>
                </a:cxn>
                <a:cxn ang="0">
                  <a:pos x="531" y="56"/>
                </a:cxn>
                <a:cxn ang="0">
                  <a:pos x="619" y="58"/>
                </a:cxn>
                <a:cxn ang="0">
                  <a:pos x="695" y="64"/>
                </a:cxn>
                <a:cxn ang="0">
                  <a:pos x="766" y="80"/>
                </a:cxn>
                <a:cxn ang="0">
                  <a:pos x="836" y="108"/>
                </a:cxn>
                <a:cxn ang="0">
                  <a:pos x="910" y="150"/>
                </a:cxn>
                <a:cxn ang="0">
                  <a:pos x="958" y="186"/>
                </a:cxn>
                <a:cxn ang="0">
                  <a:pos x="988" y="214"/>
                </a:cxn>
                <a:cxn ang="0">
                  <a:pos x="1018" y="260"/>
                </a:cxn>
                <a:cxn ang="0">
                  <a:pos x="1034" y="288"/>
                </a:cxn>
                <a:cxn ang="0">
                  <a:pos x="1046" y="308"/>
                </a:cxn>
                <a:cxn ang="0">
                  <a:pos x="1054" y="320"/>
                </a:cxn>
                <a:cxn ang="0">
                  <a:pos x="1054" y="324"/>
                </a:cxn>
                <a:cxn ang="0">
                  <a:pos x="1052" y="310"/>
                </a:cxn>
                <a:cxn ang="0">
                  <a:pos x="1042" y="280"/>
                </a:cxn>
                <a:cxn ang="0">
                  <a:pos x="1024" y="230"/>
                </a:cxn>
                <a:cxn ang="0">
                  <a:pos x="1016" y="216"/>
                </a:cxn>
                <a:cxn ang="0">
                  <a:pos x="994" y="192"/>
                </a:cxn>
                <a:cxn ang="0">
                  <a:pos x="942" y="138"/>
                </a:cxn>
                <a:cxn ang="0">
                  <a:pos x="868" y="82"/>
                </a:cxn>
                <a:cxn ang="0">
                  <a:pos x="776" y="40"/>
                </a:cxn>
                <a:cxn ang="0">
                  <a:pos x="683" y="18"/>
                </a:cxn>
                <a:cxn ang="0">
                  <a:pos x="603" y="4"/>
                </a:cxn>
                <a:cxn ang="0">
                  <a:pos x="523" y="0"/>
                </a:cxn>
                <a:cxn ang="0">
                  <a:pos x="437" y="10"/>
                </a:cxn>
                <a:cxn ang="0">
                  <a:pos x="365" y="24"/>
                </a:cxn>
                <a:cxn ang="0">
                  <a:pos x="301" y="38"/>
                </a:cxn>
                <a:cxn ang="0">
                  <a:pos x="247" y="56"/>
                </a:cxn>
                <a:cxn ang="0">
                  <a:pos x="203" y="78"/>
                </a:cxn>
                <a:cxn ang="0">
                  <a:pos x="132" y="134"/>
                </a:cxn>
                <a:cxn ang="0">
                  <a:pos x="72" y="198"/>
                </a:cxn>
                <a:cxn ang="0">
                  <a:pos x="54" y="222"/>
                </a:cxn>
                <a:cxn ang="0">
                  <a:pos x="22" y="284"/>
                </a:cxn>
                <a:cxn ang="0">
                  <a:pos x="12" y="308"/>
                </a:cxn>
                <a:cxn ang="0">
                  <a:pos x="0" y="369"/>
                </a:cxn>
                <a:cxn ang="0">
                  <a:pos x="2" y="407"/>
                </a:cxn>
              </a:cxnLst>
              <a:rect l="0" t="0" r="r" b="b"/>
              <a:pathLst>
                <a:path w="1054" h="407">
                  <a:moveTo>
                    <a:pt x="2" y="407"/>
                  </a:moveTo>
                  <a:lnTo>
                    <a:pt x="4" y="405"/>
                  </a:lnTo>
                  <a:lnTo>
                    <a:pt x="4" y="397"/>
                  </a:lnTo>
                  <a:lnTo>
                    <a:pt x="10" y="387"/>
                  </a:lnTo>
                  <a:lnTo>
                    <a:pt x="18" y="375"/>
                  </a:lnTo>
                  <a:lnTo>
                    <a:pt x="26" y="357"/>
                  </a:lnTo>
                  <a:lnTo>
                    <a:pt x="36" y="340"/>
                  </a:lnTo>
                  <a:lnTo>
                    <a:pt x="62" y="298"/>
                  </a:lnTo>
                  <a:lnTo>
                    <a:pt x="92" y="250"/>
                  </a:lnTo>
                  <a:lnTo>
                    <a:pt x="130" y="206"/>
                  </a:lnTo>
                  <a:lnTo>
                    <a:pt x="173" y="170"/>
                  </a:lnTo>
                  <a:lnTo>
                    <a:pt x="195" y="152"/>
                  </a:lnTo>
                  <a:lnTo>
                    <a:pt x="219" y="140"/>
                  </a:lnTo>
                  <a:lnTo>
                    <a:pt x="269" y="116"/>
                  </a:lnTo>
                  <a:lnTo>
                    <a:pt x="313" y="98"/>
                  </a:lnTo>
                  <a:lnTo>
                    <a:pt x="359" y="84"/>
                  </a:lnTo>
                  <a:lnTo>
                    <a:pt x="403" y="72"/>
                  </a:lnTo>
                  <a:lnTo>
                    <a:pt x="445" y="64"/>
                  </a:lnTo>
                  <a:lnTo>
                    <a:pt x="489" y="60"/>
                  </a:lnTo>
                  <a:lnTo>
                    <a:pt x="531" y="56"/>
                  </a:lnTo>
                  <a:lnTo>
                    <a:pt x="577" y="56"/>
                  </a:lnTo>
                  <a:lnTo>
                    <a:pt x="619" y="58"/>
                  </a:lnTo>
                  <a:lnTo>
                    <a:pt x="657" y="62"/>
                  </a:lnTo>
                  <a:lnTo>
                    <a:pt x="695" y="64"/>
                  </a:lnTo>
                  <a:lnTo>
                    <a:pt x="731" y="72"/>
                  </a:lnTo>
                  <a:lnTo>
                    <a:pt x="766" y="80"/>
                  </a:lnTo>
                  <a:lnTo>
                    <a:pt x="800" y="92"/>
                  </a:lnTo>
                  <a:lnTo>
                    <a:pt x="836" y="108"/>
                  </a:lnTo>
                  <a:lnTo>
                    <a:pt x="874" y="128"/>
                  </a:lnTo>
                  <a:lnTo>
                    <a:pt x="910" y="150"/>
                  </a:lnTo>
                  <a:lnTo>
                    <a:pt x="938" y="168"/>
                  </a:lnTo>
                  <a:lnTo>
                    <a:pt x="958" y="186"/>
                  </a:lnTo>
                  <a:lnTo>
                    <a:pt x="976" y="204"/>
                  </a:lnTo>
                  <a:lnTo>
                    <a:pt x="988" y="214"/>
                  </a:lnTo>
                  <a:lnTo>
                    <a:pt x="1000" y="230"/>
                  </a:lnTo>
                  <a:lnTo>
                    <a:pt x="1018" y="260"/>
                  </a:lnTo>
                  <a:lnTo>
                    <a:pt x="1028" y="274"/>
                  </a:lnTo>
                  <a:lnTo>
                    <a:pt x="1034" y="288"/>
                  </a:lnTo>
                  <a:lnTo>
                    <a:pt x="1040" y="300"/>
                  </a:lnTo>
                  <a:lnTo>
                    <a:pt x="1046" y="308"/>
                  </a:lnTo>
                  <a:lnTo>
                    <a:pt x="1050" y="316"/>
                  </a:lnTo>
                  <a:lnTo>
                    <a:pt x="1054" y="320"/>
                  </a:lnTo>
                  <a:lnTo>
                    <a:pt x="1054" y="322"/>
                  </a:lnTo>
                  <a:lnTo>
                    <a:pt x="1054" y="324"/>
                  </a:lnTo>
                  <a:lnTo>
                    <a:pt x="1054" y="320"/>
                  </a:lnTo>
                  <a:lnTo>
                    <a:pt x="1052" y="310"/>
                  </a:lnTo>
                  <a:lnTo>
                    <a:pt x="1046" y="296"/>
                  </a:lnTo>
                  <a:lnTo>
                    <a:pt x="1042" y="280"/>
                  </a:lnTo>
                  <a:lnTo>
                    <a:pt x="1030" y="246"/>
                  </a:lnTo>
                  <a:lnTo>
                    <a:pt x="1024" y="230"/>
                  </a:lnTo>
                  <a:lnTo>
                    <a:pt x="1020" y="222"/>
                  </a:lnTo>
                  <a:lnTo>
                    <a:pt x="1016" y="216"/>
                  </a:lnTo>
                  <a:lnTo>
                    <a:pt x="1010" y="208"/>
                  </a:lnTo>
                  <a:lnTo>
                    <a:pt x="994" y="192"/>
                  </a:lnTo>
                  <a:lnTo>
                    <a:pt x="970" y="166"/>
                  </a:lnTo>
                  <a:lnTo>
                    <a:pt x="942" y="138"/>
                  </a:lnTo>
                  <a:lnTo>
                    <a:pt x="908" y="108"/>
                  </a:lnTo>
                  <a:lnTo>
                    <a:pt x="868" y="82"/>
                  </a:lnTo>
                  <a:lnTo>
                    <a:pt x="824" y="58"/>
                  </a:lnTo>
                  <a:lnTo>
                    <a:pt x="776" y="40"/>
                  </a:lnTo>
                  <a:lnTo>
                    <a:pt x="727" y="28"/>
                  </a:lnTo>
                  <a:lnTo>
                    <a:pt x="683" y="18"/>
                  </a:lnTo>
                  <a:lnTo>
                    <a:pt x="641" y="8"/>
                  </a:lnTo>
                  <a:lnTo>
                    <a:pt x="603" y="4"/>
                  </a:lnTo>
                  <a:lnTo>
                    <a:pt x="565" y="0"/>
                  </a:lnTo>
                  <a:lnTo>
                    <a:pt x="523" y="0"/>
                  </a:lnTo>
                  <a:lnTo>
                    <a:pt x="483" y="4"/>
                  </a:lnTo>
                  <a:lnTo>
                    <a:pt x="437" y="10"/>
                  </a:lnTo>
                  <a:lnTo>
                    <a:pt x="401" y="16"/>
                  </a:lnTo>
                  <a:lnTo>
                    <a:pt x="365" y="24"/>
                  </a:lnTo>
                  <a:lnTo>
                    <a:pt x="331" y="32"/>
                  </a:lnTo>
                  <a:lnTo>
                    <a:pt x="301" y="38"/>
                  </a:lnTo>
                  <a:lnTo>
                    <a:pt x="273" y="48"/>
                  </a:lnTo>
                  <a:lnTo>
                    <a:pt x="247" y="56"/>
                  </a:lnTo>
                  <a:lnTo>
                    <a:pt x="225" y="66"/>
                  </a:lnTo>
                  <a:lnTo>
                    <a:pt x="203" y="78"/>
                  </a:lnTo>
                  <a:lnTo>
                    <a:pt x="167" y="104"/>
                  </a:lnTo>
                  <a:lnTo>
                    <a:pt x="132" y="134"/>
                  </a:lnTo>
                  <a:lnTo>
                    <a:pt x="98" y="166"/>
                  </a:lnTo>
                  <a:lnTo>
                    <a:pt x="72" y="198"/>
                  </a:lnTo>
                  <a:lnTo>
                    <a:pt x="64" y="206"/>
                  </a:lnTo>
                  <a:lnTo>
                    <a:pt x="54" y="222"/>
                  </a:lnTo>
                  <a:lnTo>
                    <a:pt x="36" y="254"/>
                  </a:lnTo>
                  <a:lnTo>
                    <a:pt x="22" y="284"/>
                  </a:lnTo>
                  <a:lnTo>
                    <a:pt x="14" y="298"/>
                  </a:lnTo>
                  <a:lnTo>
                    <a:pt x="12" y="308"/>
                  </a:lnTo>
                  <a:lnTo>
                    <a:pt x="4" y="340"/>
                  </a:lnTo>
                  <a:lnTo>
                    <a:pt x="0" y="369"/>
                  </a:lnTo>
                  <a:lnTo>
                    <a:pt x="2" y="393"/>
                  </a:lnTo>
                  <a:lnTo>
                    <a:pt x="2" y="407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1" name="Freeform 14"/>
            <p:cNvSpPr>
              <a:spLocks/>
            </p:cNvSpPr>
            <p:nvPr/>
          </p:nvSpPr>
          <p:spPr bwMode="auto">
            <a:xfrm>
              <a:off x="2586" y="1409"/>
              <a:ext cx="526" cy="202"/>
            </a:xfrm>
            <a:custGeom>
              <a:avLst/>
              <a:gdLst/>
              <a:ahLst/>
              <a:cxnLst>
                <a:cxn ang="0">
                  <a:pos x="2" y="403"/>
                </a:cxn>
                <a:cxn ang="0">
                  <a:pos x="8" y="385"/>
                </a:cxn>
                <a:cxn ang="0">
                  <a:pos x="24" y="353"/>
                </a:cxn>
                <a:cxn ang="0">
                  <a:pos x="60" y="294"/>
                </a:cxn>
                <a:cxn ang="0">
                  <a:pos x="128" y="204"/>
                </a:cxn>
                <a:cxn ang="0">
                  <a:pos x="193" y="148"/>
                </a:cxn>
                <a:cxn ang="0">
                  <a:pos x="267" y="112"/>
                </a:cxn>
                <a:cxn ang="0">
                  <a:pos x="357" y="80"/>
                </a:cxn>
                <a:cxn ang="0">
                  <a:pos x="443" y="60"/>
                </a:cxn>
                <a:cxn ang="0">
                  <a:pos x="529" y="52"/>
                </a:cxn>
                <a:cxn ang="0">
                  <a:pos x="617" y="54"/>
                </a:cxn>
                <a:cxn ang="0">
                  <a:pos x="693" y="60"/>
                </a:cxn>
                <a:cxn ang="0">
                  <a:pos x="764" y="76"/>
                </a:cxn>
                <a:cxn ang="0">
                  <a:pos x="834" y="104"/>
                </a:cxn>
                <a:cxn ang="0">
                  <a:pos x="906" y="146"/>
                </a:cxn>
                <a:cxn ang="0">
                  <a:pos x="956" y="182"/>
                </a:cxn>
                <a:cxn ang="0">
                  <a:pos x="986" y="212"/>
                </a:cxn>
                <a:cxn ang="0">
                  <a:pos x="1016" y="258"/>
                </a:cxn>
                <a:cxn ang="0">
                  <a:pos x="1032" y="284"/>
                </a:cxn>
                <a:cxn ang="0">
                  <a:pos x="1044" y="304"/>
                </a:cxn>
                <a:cxn ang="0">
                  <a:pos x="1052" y="318"/>
                </a:cxn>
                <a:cxn ang="0">
                  <a:pos x="1052" y="318"/>
                </a:cxn>
                <a:cxn ang="0">
                  <a:pos x="1044" y="292"/>
                </a:cxn>
                <a:cxn ang="0">
                  <a:pos x="1026" y="242"/>
                </a:cxn>
                <a:cxn ang="0">
                  <a:pos x="1016" y="218"/>
                </a:cxn>
                <a:cxn ang="0">
                  <a:pos x="1006" y="206"/>
                </a:cxn>
                <a:cxn ang="0">
                  <a:pos x="968" y="164"/>
                </a:cxn>
                <a:cxn ang="0">
                  <a:pos x="904" y="106"/>
                </a:cxn>
                <a:cxn ang="0">
                  <a:pos x="820" y="56"/>
                </a:cxn>
                <a:cxn ang="0">
                  <a:pos x="725" y="26"/>
                </a:cxn>
                <a:cxn ang="0">
                  <a:pos x="639" y="8"/>
                </a:cxn>
                <a:cxn ang="0">
                  <a:pos x="563" y="0"/>
                </a:cxn>
                <a:cxn ang="0">
                  <a:pos x="479" y="4"/>
                </a:cxn>
                <a:cxn ang="0">
                  <a:pos x="363" y="26"/>
                </a:cxn>
                <a:cxn ang="0">
                  <a:pos x="249" y="58"/>
                </a:cxn>
                <a:cxn ang="0">
                  <a:pos x="203" y="78"/>
                </a:cxn>
                <a:cxn ang="0">
                  <a:pos x="131" y="134"/>
                </a:cxn>
                <a:cxn ang="0">
                  <a:pos x="70" y="198"/>
                </a:cxn>
                <a:cxn ang="0">
                  <a:pos x="36" y="254"/>
                </a:cxn>
                <a:cxn ang="0">
                  <a:pos x="16" y="298"/>
                </a:cxn>
                <a:cxn ang="0">
                  <a:pos x="10" y="324"/>
                </a:cxn>
                <a:cxn ang="0">
                  <a:pos x="0" y="365"/>
                </a:cxn>
              </a:cxnLst>
              <a:rect l="0" t="0" r="r" b="b"/>
              <a:pathLst>
                <a:path w="1052" h="405">
                  <a:moveTo>
                    <a:pt x="0" y="405"/>
                  </a:moveTo>
                  <a:lnTo>
                    <a:pt x="2" y="403"/>
                  </a:lnTo>
                  <a:lnTo>
                    <a:pt x="2" y="395"/>
                  </a:lnTo>
                  <a:lnTo>
                    <a:pt x="8" y="385"/>
                  </a:lnTo>
                  <a:lnTo>
                    <a:pt x="16" y="371"/>
                  </a:lnTo>
                  <a:lnTo>
                    <a:pt x="24" y="353"/>
                  </a:lnTo>
                  <a:lnTo>
                    <a:pt x="34" y="336"/>
                  </a:lnTo>
                  <a:lnTo>
                    <a:pt x="60" y="294"/>
                  </a:lnTo>
                  <a:lnTo>
                    <a:pt x="90" y="248"/>
                  </a:lnTo>
                  <a:lnTo>
                    <a:pt x="128" y="204"/>
                  </a:lnTo>
                  <a:lnTo>
                    <a:pt x="171" y="166"/>
                  </a:lnTo>
                  <a:lnTo>
                    <a:pt x="193" y="148"/>
                  </a:lnTo>
                  <a:lnTo>
                    <a:pt x="217" y="136"/>
                  </a:lnTo>
                  <a:lnTo>
                    <a:pt x="267" y="112"/>
                  </a:lnTo>
                  <a:lnTo>
                    <a:pt x="311" y="94"/>
                  </a:lnTo>
                  <a:lnTo>
                    <a:pt x="357" y="80"/>
                  </a:lnTo>
                  <a:lnTo>
                    <a:pt x="401" y="68"/>
                  </a:lnTo>
                  <a:lnTo>
                    <a:pt x="443" y="60"/>
                  </a:lnTo>
                  <a:lnTo>
                    <a:pt x="487" y="56"/>
                  </a:lnTo>
                  <a:lnTo>
                    <a:pt x="529" y="52"/>
                  </a:lnTo>
                  <a:lnTo>
                    <a:pt x="575" y="52"/>
                  </a:lnTo>
                  <a:lnTo>
                    <a:pt x="617" y="54"/>
                  </a:lnTo>
                  <a:lnTo>
                    <a:pt x="655" y="58"/>
                  </a:lnTo>
                  <a:lnTo>
                    <a:pt x="693" y="60"/>
                  </a:lnTo>
                  <a:lnTo>
                    <a:pt x="729" y="68"/>
                  </a:lnTo>
                  <a:lnTo>
                    <a:pt x="764" y="76"/>
                  </a:lnTo>
                  <a:lnTo>
                    <a:pt x="798" y="88"/>
                  </a:lnTo>
                  <a:lnTo>
                    <a:pt x="834" y="104"/>
                  </a:lnTo>
                  <a:lnTo>
                    <a:pt x="872" y="124"/>
                  </a:lnTo>
                  <a:lnTo>
                    <a:pt x="906" y="146"/>
                  </a:lnTo>
                  <a:lnTo>
                    <a:pt x="934" y="164"/>
                  </a:lnTo>
                  <a:lnTo>
                    <a:pt x="956" y="182"/>
                  </a:lnTo>
                  <a:lnTo>
                    <a:pt x="974" y="200"/>
                  </a:lnTo>
                  <a:lnTo>
                    <a:pt x="986" y="212"/>
                  </a:lnTo>
                  <a:lnTo>
                    <a:pt x="996" y="226"/>
                  </a:lnTo>
                  <a:lnTo>
                    <a:pt x="1016" y="258"/>
                  </a:lnTo>
                  <a:lnTo>
                    <a:pt x="1026" y="272"/>
                  </a:lnTo>
                  <a:lnTo>
                    <a:pt x="1032" y="284"/>
                  </a:lnTo>
                  <a:lnTo>
                    <a:pt x="1038" y="296"/>
                  </a:lnTo>
                  <a:lnTo>
                    <a:pt x="1044" y="304"/>
                  </a:lnTo>
                  <a:lnTo>
                    <a:pt x="1048" y="312"/>
                  </a:lnTo>
                  <a:lnTo>
                    <a:pt x="1052" y="318"/>
                  </a:lnTo>
                  <a:lnTo>
                    <a:pt x="1052" y="320"/>
                  </a:lnTo>
                  <a:lnTo>
                    <a:pt x="1052" y="318"/>
                  </a:lnTo>
                  <a:lnTo>
                    <a:pt x="1050" y="308"/>
                  </a:lnTo>
                  <a:lnTo>
                    <a:pt x="1044" y="292"/>
                  </a:lnTo>
                  <a:lnTo>
                    <a:pt x="1040" y="276"/>
                  </a:lnTo>
                  <a:lnTo>
                    <a:pt x="1026" y="242"/>
                  </a:lnTo>
                  <a:lnTo>
                    <a:pt x="1022" y="228"/>
                  </a:lnTo>
                  <a:lnTo>
                    <a:pt x="1016" y="218"/>
                  </a:lnTo>
                  <a:lnTo>
                    <a:pt x="1012" y="214"/>
                  </a:lnTo>
                  <a:lnTo>
                    <a:pt x="1006" y="206"/>
                  </a:lnTo>
                  <a:lnTo>
                    <a:pt x="992" y="190"/>
                  </a:lnTo>
                  <a:lnTo>
                    <a:pt x="968" y="164"/>
                  </a:lnTo>
                  <a:lnTo>
                    <a:pt x="940" y="136"/>
                  </a:lnTo>
                  <a:lnTo>
                    <a:pt x="904" y="106"/>
                  </a:lnTo>
                  <a:lnTo>
                    <a:pt x="866" y="80"/>
                  </a:lnTo>
                  <a:lnTo>
                    <a:pt x="820" y="56"/>
                  </a:lnTo>
                  <a:lnTo>
                    <a:pt x="772" y="38"/>
                  </a:lnTo>
                  <a:lnTo>
                    <a:pt x="725" y="26"/>
                  </a:lnTo>
                  <a:lnTo>
                    <a:pt x="681" y="16"/>
                  </a:lnTo>
                  <a:lnTo>
                    <a:pt x="639" y="8"/>
                  </a:lnTo>
                  <a:lnTo>
                    <a:pt x="601" y="2"/>
                  </a:lnTo>
                  <a:lnTo>
                    <a:pt x="563" y="0"/>
                  </a:lnTo>
                  <a:lnTo>
                    <a:pt x="521" y="0"/>
                  </a:lnTo>
                  <a:lnTo>
                    <a:pt x="479" y="4"/>
                  </a:lnTo>
                  <a:lnTo>
                    <a:pt x="433" y="10"/>
                  </a:lnTo>
                  <a:lnTo>
                    <a:pt x="363" y="26"/>
                  </a:lnTo>
                  <a:lnTo>
                    <a:pt x="303" y="40"/>
                  </a:lnTo>
                  <a:lnTo>
                    <a:pt x="249" y="58"/>
                  </a:lnTo>
                  <a:lnTo>
                    <a:pt x="225" y="68"/>
                  </a:lnTo>
                  <a:lnTo>
                    <a:pt x="203" y="78"/>
                  </a:lnTo>
                  <a:lnTo>
                    <a:pt x="165" y="104"/>
                  </a:lnTo>
                  <a:lnTo>
                    <a:pt x="131" y="134"/>
                  </a:lnTo>
                  <a:lnTo>
                    <a:pt x="98" y="164"/>
                  </a:lnTo>
                  <a:lnTo>
                    <a:pt x="70" y="198"/>
                  </a:lnTo>
                  <a:lnTo>
                    <a:pt x="54" y="222"/>
                  </a:lnTo>
                  <a:lnTo>
                    <a:pt x="36" y="254"/>
                  </a:lnTo>
                  <a:lnTo>
                    <a:pt x="20" y="284"/>
                  </a:lnTo>
                  <a:lnTo>
                    <a:pt x="16" y="298"/>
                  </a:lnTo>
                  <a:lnTo>
                    <a:pt x="12" y="308"/>
                  </a:lnTo>
                  <a:lnTo>
                    <a:pt x="10" y="324"/>
                  </a:lnTo>
                  <a:lnTo>
                    <a:pt x="4" y="338"/>
                  </a:lnTo>
                  <a:lnTo>
                    <a:pt x="0" y="365"/>
                  </a:lnTo>
                  <a:lnTo>
                    <a:pt x="0" y="405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2" name="Freeform 15"/>
            <p:cNvSpPr>
              <a:spLocks/>
            </p:cNvSpPr>
            <p:nvPr/>
          </p:nvSpPr>
          <p:spPr bwMode="auto">
            <a:xfrm>
              <a:off x="2586" y="1413"/>
              <a:ext cx="526" cy="198"/>
            </a:xfrm>
            <a:custGeom>
              <a:avLst/>
              <a:gdLst/>
              <a:ahLst/>
              <a:cxnLst>
                <a:cxn ang="0">
                  <a:pos x="2" y="395"/>
                </a:cxn>
                <a:cxn ang="0">
                  <a:pos x="8" y="377"/>
                </a:cxn>
                <a:cxn ang="0">
                  <a:pos x="24" y="347"/>
                </a:cxn>
                <a:cxn ang="0">
                  <a:pos x="60" y="288"/>
                </a:cxn>
                <a:cxn ang="0">
                  <a:pos x="128" y="198"/>
                </a:cxn>
                <a:cxn ang="0">
                  <a:pos x="193" y="142"/>
                </a:cxn>
                <a:cxn ang="0">
                  <a:pos x="267" y="106"/>
                </a:cxn>
                <a:cxn ang="0">
                  <a:pos x="357" y="74"/>
                </a:cxn>
                <a:cxn ang="0">
                  <a:pos x="443" y="54"/>
                </a:cxn>
                <a:cxn ang="0">
                  <a:pos x="529" y="46"/>
                </a:cxn>
                <a:cxn ang="0">
                  <a:pos x="617" y="48"/>
                </a:cxn>
                <a:cxn ang="0">
                  <a:pos x="693" y="54"/>
                </a:cxn>
                <a:cxn ang="0">
                  <a:pos x="764" y="70"/>
                </a:cxn>
                <a:cxn ang="0">
                  <a:pos x="834" y="98"/>
                </a:cxn>
                <a:cxn ang="0">
                  <a:pos x="906" y="140"/>
                </a:cxn>
                <a:cxn ang="0">
                  <a:pos x="956" y="176"/>
                </a:cxn>
                <a:cxn ang="0">
                  <a:pos x="986" y="204"/>
                </a:cxn>
                <a:cxn ang="0">
                  <a:pos x="1016" y="250"/>
                </a:cxn>
                <a:cxn ang="0">
                  <a:pos x="1032" y="278"/>
                </a:cxn>
                <a:cxn ang="0">
                  <a:pos x="1044" y="298"/>
                </a:cxn>
                <a:cxn ang="0">
                  <a:pos x="1052" y="310"/>
                </a:cxn>
                <a:cxn ang="0">
                  <a:pos x="1052" y="314"/>
                </a:cxn>
                <a:cxn ang="0">
                  <a:pos x="1050" y="300"/>
                </a:cxn>
                <a:cxn ang="0">
                  <a:pos x="1038" y="272"/>
                </a:cxn>
                <a:cxn ang="0">
                  <a:pos x="1020" y="222"/>
                </a:cxn>
                <a:cxn ang="0">
                  <a:pos x="1010" y="208"/>
                </a:cxn>
                <a:cxn ang="0">
                  <a:pos x="990" y="184"/>
                </a:cxn>
                <a:cxn ang="0">
                  <a:pos x="938" y="132"/>
                </a:cxn>
                <a:cxn ang="0">
                  <a:pos x="864" y="76"/>
                </a:cxn>
                <a:cxn ang="0">
                  <a:pos x="772" y="36"/>
                </a:cxn>
                <a:cxn ang="0">
                  <a:pos x="681" y="12"/>
                </a:cxn>
                <a:cxn ang="0">
                  <a:pos x="601" y="2"/>
                </a:cxn>
                <a:cxn ang="0">
                  <a:pos x="521" y="0"/>
                </a:cxn>
                <a:cxn ang="0">
                  <a:pos x="433" y="10"/>
                </a:cxn>
                <a:cxn ang="0">
                  <a:pos x="303" y="36"/>
                </a:cxn>
                <a:cxn ang="0">
                  <a:pos x="205" y="76"/>
                </a:cxn>
                <a:cxn ang="0">
                  <a:pos x="133" y="130"/>
                </a:cxn>
                <a:cxn ang="0">
                  <a:pos x="74" y="194"/>
                </a:cxn>
                <a:cxn ang="0">
                  <a:pos x="38" y="250"/>
                </a:cxn>
                <a:cxn ang="0">
                  <a:pos x="18" y="292"/>
                </a:cxn>
                <a:cxn ang="0">
                  <a:pos x="10" y="318"/>
                </a:cxn>
                <a:cxn ang="0">
                  <a:pos x="2" y="359"/>
                </a:cxn>
                <a:cxn ang="0">
                  <a:pos x="0" y="397"/>
                </a:cxn>
              </a:cxnLst>
              <a:rect l="0" t="0" r="r" b="b"/>
              <a:pathLst>
                <a:path w="1052" h="397">
                  <a:moveTo>
                    <a:pt x="0" y="397"/>
                  </a:moveTo>
                  <a:lnTo>
                    <a:pt x="2" y="395"/>
                  </a:lnTo>
                  <a:lnTo>
                    <a:pt x="2" y="387"/>
                  </a:lnTo>
                  <a:lnTo>
                    <a:pt x="8" y="377"/>
                  </a:lnTo>
                  <a:lnTo>
                    <a:pt x="16" y="365"/>
                  </a:lnTo>
                  <a:lnTo>
                    <a:pt x="24" y="347"/>
                  </a:lnTo>
                  <a:lnTo>
                    <a:pt x="34" y="330"/>
                  </a:lnTo>
                  <a:lnTo>
                    <a:pt x="60" y="288"/>
                  </a:lnTo>
                  <a:lnTo>
                    <a:pt x="90" y="240"/>
                  </a:lnTo>
                  <a:lnTo>
                    <a:pt x="128" y="198"/>
                  </a:lnTo>
                  <a:lnTo>
                    <a:pt x="171" y="160"/>
                  </a:lnTo>
                  <a:lnTo>
                    <a:pt x="193" y="142"/>
                  </a:lnTo>
                  <a:lnTo>
                    <a:pt x="217" y="130"/>
                  </a:lnTo>
                  <a:lnTo>
                    <a:pt x="267" y="106"/>
                  </a:lnTo>
                  <a:lnTo>
                    <a:pt x="311" y="88"/>
                  </a:lnTo>
                  <a:lnTo>
                    <a:pt x="357" y="74"/>
                  </a:lnTo>
                  <a:lnTo>
                    <a:pt x="401" y="62"/>
                  </a:lnTo>
                  <a:lnTo>
                    <a:pt x="443" y="54"/>
                  </a:lnTo>
                  <a:lnTo>
                    <a:pt x="487" y="50"/>
                  </a:lnTo>
                  <a:lnTo>
                    <a:pt x="529" y="46"/>
                  </a:lnTo>
                  <a:lnTo>
                    <a:pt x="575" y="46"/>
                  </a:lnTo>
                  <a:lnTo>
                    <a:pt x="617" y="48"/>
                  </a:lnTo>
                  <a:lnTo>
                    <a:pt x="655" y="52"/>
                  </a:lnTo>
                  <a:lnTo>
                    <a:pt x="693" y="54"/>
                  </a:lnTo>
                  <a:lnTo>
                    <a:pt x="729" y="62"/>
                  </a:lnTo>
                  <a:lnTo>
                    <a:pt x="764" y="70"/>
                  </a:lnTo>
                  <a:lnTo>
                    <a:pt x="798" y="82"/>
                  </a:lnTo>
                  <a:lnTo>
                    <a:pt x="834" y="98"/>
                  </a:lnTo>
                  <a:lnTo>
                    <a:pt x="872" y="118"/>
                  </a:lnTo>
                  <a:lnTo>
                    <a:pt x="906" y="140"/>
                  </a:lnTo>
                  <a:lnTo>
                    <a:pt x="934" y="158"/>
                  </a:lnTo>
                  <a:lnTo>
                    <a:pt x="956" y="176"/>
                  </a:lnTo>
                  <a:lnTo>
                    <a:pt x="974" y="194"/>
                  </a:lnTo>
                  <a:lnTo>
                    <a:pt x="986" y="204"/>
                  </a:lnTo>
                  <a:lnTo>
                    <a:pt x="996" y="220"/>
                  </a:lnTo>
                  <a:lnTo>
                    <a:pt x="1016" y="250"/>
                  </a:lnTo>
                  <a:lnTo>
                    <a:pt x="1026" y="264"/>
                  </a:lnTo>
                  <a:lnTo>
                    <a:pt x="1032" y="278"/>
                  </a:lnTo>
                  <a:lnTo>
                    <a:pt x="1038" y="290"/>
                  </a:lnTo>
                  <a:lnTo>
                    <a:pt x="1044" y="298"/>
                  </a:lnTo>
                  <a:lnTo>
                    <a:pt x="1048" y="306"/>
                  </a:lnTo>
                  <a:lnTo>
                    <a:pt x="1052" y="310"/>
                  </a:lnTo>
                  <a:lnTo>
                    <a:pt x="1052" y="312"/>
                  </a:lnTo>
                  <a:lnTo>
                    <a:pt x="1052" y="314"/>
                  </a:lnTo>
                  <a:lnTo>
                    <a:pt x="1052" y="310"/>
                  </a:lnTo>
                  <a:lnTo>
                    <a:pt x="1050" y="300"/>
                  </a:lnTo>
                  <a:lnTo>
                    <a:pt x="1044" y="288"/>
                  </a:lnTo>
                  <a:lnTo>
                    <a:pt x="1038" y="272"/>
                  </a:lnTo>
                  <a:lnTo>
                    <a:pt x="1026" y="238"/>
                  </a:lnTo>
                  <a:lnTo>
                    <a:pt x="1020" y="222"/>
                  </a:lnTo>
                  <a:lnTo>
                    <a:pt x="1014" y="212"/>
                  </a:lnTo>
                  <a:lnTo>
                    <a:pt x="1010" y="208"/>
                  </a:lnTo>
                  <a:lnTo>
                    <a:pt x="1004" y="200"/>
                  </a:lnTo>
                  <a:lnTo>
                    <a:pt x="990" y="184"/>
                  </a:lnTo>
                  <a:lnTo>
                    <a:pt x="966" y="158"/>
                  </a:lnTo>
                  <a:lnTo>
                    <a:pt x="938" y="132"/>
                  </a:lnTo>
                  <a:lnTo>
                    <a:pt x="904" y="104"/>
                  </a:lnTo>
                  <a:lnTo>
                    <a:pt x="864" y="76"/>
                  </a:lnTo>
                  <a:lnTo>
                    <a:pt x="820" y="54"/>
                  </a:lnTo>
                  <a:lnTo>
                    <a:pt x="772" y="36"/>
                  </a:lnTo>
                  <a:lnTo>
                    <a:pt x="725" y="22"/>
                  </a:lnTo>
                  <a:lnTo>
                    <a:pt x="681" y="12"/>
                  </a:lnTo>
                  <a:lnTo>
                    <a:pt x="639" y="4"/>
                  </a:lnTo>
                  <a:lnTo>
                    <a:pt x="601" y="2"/>
                  </a:lnTo>
                  <a:lnTo>
                    <a:pt x="563" y="0"/>
                  </a:lnTo>
                  <a:lnTo>
                    <a:pt x="521" y="0"/>
                  </a:lnTo>
                  <a:lnTo>
                    <a:pt x="479" y="4"/>
                  </a:lnTo>
                  <a:lnTo>
                    <a:pt x="433" y="10"/>
                  </a:lnTo>
                  <a:lnTo>
                    <a:pt x="363" y="24"/>
                  </a:lnTo>
                  <a:lnTo>
                    <a:pt x="303" y="36"/>
                  </a:lnTo>
                  <a:lnTo>
                    <a:pt x="251" y="54"/>
                  </a:lnTo>
                  <a:lnTo>
                    <a:pt x="205" y="76"/>
                  </a:lnTo>
                  <a:lnTo>
                    <a:pt x="169" y="100"/>
                  </a:lnTo>
                  <a:lnTo>
                    <a:pt x="133" y="130"/>
                  </a:lnTo>
                  <a:lnTo>
                    <a:pt x="102" y="162"/>
                  </a:lnTo>
                  <a:lnTo>
                    <a:pt x="74" y="194"/>
                  </a:lnTo>
                  <a:lnTo>
                    <a:pt x="56" y="218"/>
                  </a:lnTo>
                  <a:lnTo>
                    <a:pt x="38" y="250"/>
                  </a:lnTo>
                  <a:lnTo>
                    <a:pt x="22" y="280"/>
                  </a:lnTo>
                  <a:lnTo>
                    <a:pt x="18" y="292"/>
                  </a:lnTo>
                  <a:lnTo>
                    <a:pt x="14" y="304"/>
                  </a:lnTo>
                  <a:lnTo>
                    <a:pt x="10" y="318"/>
                  </a:lnTo>
                  <a:lnTo>
                    <a:pt x="6" y="333"/>
                  </a:lnTo>
                  <a:lnTo>
                    <a:pt x="2" y="359"/>
                  </a:lnTo>
                  <a:lnTo>
                    <a:pt x="2" y="381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3" name="Freeform 16"/>
            <p:cNvSpPr>
              <a:spLocks/>
            </p:cNvSpPr>
            <p:nvPr/>
          </p:nvSpPr>
          <p:spPr bwMode="auto">
            <a:xfrm>
              <a:off x="2586" y="1414"/>
              <a:ext cx="526" cy="197"/>
            </a:xfrm>
            <a:custGeom>
              <a:avLst/>
              <a:gdLst/>
              <a:ahLst/>
              <a:cxnLst>
                <a:cxn ang="0">
                  <a:pos x="2" y="393"/>
                </a:cxn>
                <a:cxn ang="0">
                  <a:pos x="8" y="375"/>
                </a:cxn>
                <a:cxn ang="0">
                  <a:pos x="24" y="345"/>
                </a:cxn>
                <a:cxn ang="0">
                  <a:pos x="60" y="286"/>
                </a:cxn>
                <a:cxn ang="0">
                  <a:pos x="128" y="196"/>
                </a:cxn>
                <a:cxn ang="0">
                  <a:pos x="193" y="140"/>
                </a:cxn>
                <a:cxn ang="0">
                  <a:pos x="267" y="104"/>
                </a:cxn>
                <a:cxn ang="0">
                  <a:pos x="357" y="72"/>
                </a:cxn>
                <a:cxn ang="0">
                  <a:pos x="443" y="52"/>
                </a:cxn>
                <a:cxn ang="0">
                  <a:pos x="529" y="44"/>
                </a:cxn>
                <a:cxn ang="0">
                  <a:pos x="617" y="46"/>
                </a:cxn>
                <a:cxn ang="0">
                  <a:pos x="693" y="52"/>
                </a:cxn>
                <a:cxn ang="0">
                  <a:pos x="764" y="66"/>
                </a:cxn>
                <a:cxn ang="0">
                  <a:pos x="834" y="96"/>
                </a:cxn>
                <a:cxn ang="0">
                  <a:pos x="906" y="136"/>
                </a:cxn>
                <a:cxn ang="0">
                  <a:pos x="956" y="174"/>
                </a:cxn>
                <a:cxn ang="0">
                  <a:pos x="986" y="202"/>
                </a:cxn>
                <a:cxn ang="0">
                  <a:pos x="1016" y="248"/>
                </a:cxn>
                <a:cxn ang="0">
                  <a:pos x="1032" y="276"/>
                </a:cxn>
                <a:cxn ang="0">
                  <a:pos x="1044" y="296"/>
                </a:cxn>
                <a:cxn ang="0">
                  <a:pos x="1052" y="308"/>
                </a:cxn>
                <a:cxn ang="0">
                  <a:pos x="1052" y="312"/>
                </a:cxn>
                <a:cxn ang="0">
                  <a:pos x="1048" y="298"/>
                </a:cxn>
                <a:cxn ang="0">
                  <a:pos x="1038" y="270"/>
                </a:cxn>
                <a:cxn ang="0">
                  <a:pos x="1018" y="222"/>
                </a:cxn>
                <a:cxn ang="0">
                  <a:pos x="1008" y="206"/>
                </a:cxn>
                <a:cxn ang="0">
                  <a:pos x="988" y="182"/>
                </a:cxn>
                <a:cxn ang="0">
                  <a:pos x="938" y="132"/>
                </a:cxn>
                <a:cxn ang="0">
                  <a:pos x="864" y="76"/>
                </a:cxn>
                <a:cxn ang="0">
                  <a:pos x="772" y="36"/>
                </a:cxn>
                <a:cxn ang="0">
                  <a:pos x="681" y="12"/>
                </a:cxn>
                <a:cxn ang="0">
                  <a:pos x="603" y="2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05" y="38"/>
                </a:cxn>
                <a:cxn ang="0">
                  <a:pos x="209" y="78"/>
                </a:cxn>
                <a:cxn ang="0">
                  <a:pos x="137" y="130"/>
                </a:cxn>
                <a:cxn ang="0">
                  <a:pos x="76" y="194"/>
                </a:cxn>
                <a:cxn ang="0">
                  <a:pos x="40" y="252"/>
                </a:cxn>
                <a:cxn ang="0">
                  <a:pos x="20" y="294"/>
                </a:cxn>
                <a:cxn ang="0">
                  <a:pos x="12" y="318"/>
                </a:cxn>
                <a:cxn ang="0">
                  <a:pos x="4" y="345"/>
                </a:cxn>
                <a:cxn ang="0">
                  <a:pos x="2" y="379"/>
                </a:cxn>
              </a:cxnLst>
              <a:rect l="0" t="0" r="r" b="b"/>
              <a:pathLst>
                <a:path w="1052" h="395">
                  <a:moveTo>
                    <a:pt x="0" y="395"/>
                  </a:moveTo>
                  <a:lnTo>
                    <a:pt x="2" y="393"/>
                  </a:lnTo>
                  <a:lnTo>
                    <a:pt x="2" y="385"/>
                  </a:lnTo>
                  <a:lnTo>
                    <a:pt x="8" y="375"/>
                  </a:lnTo>
                  <a:lnTo>
                    <a:pt x="16" y="363"/>
                  </a:lnTo>
                  <a:lnTo>
                    <a:pt x="24" y="345"/>
                  </a:lnTo>
                  <a:lnTo>
                    <a:pt x="34" y="328"/>
                  </a:lnTo>
                  <a:lnTo>
                    <a:pt x="60" y="286"/>
                  </a:lnTo>
                  <a:lnTo>
                    <a:pt x="90" y="238"/>
                  </a:lnTo>
                  <a:lnTo>
                    <a:pt x="128" y="196"/>
                  </a:lnTo>
                  <a:lnTo>
                    <a:pt x="171" y="158"/>
                  </a:lnTo>
                  <a:lnTo>
                    <a:pt x="193" y="140"/>
                  </a:lnTo>
                  <a:lnTo>
                    <a:pt x="217" y="126"/>
                  </a:lnTo>
                  <a:lnTo>
                    <a:pt x="267" y="104"/>
                  </a:lnTo>
                  <a:lnTo>
                    <a:pt x="311" y="86"/>
                  </a:lnTo>
                  <a:lnTo>
                    <a:pt x="357" y="72"/>
                  </a:lnTo>
                  <a:lnTo>
                    <a:pt x="401" y="60"/>
                  </a:lnTo>
                  <a:lnTo>
                    <a:pt x="443" y="52"/>
                  </a:lnTo>
                  <a:lnTo>
                    <a:pt x="487" y="46"/>
                  </a:lnTo>
                  <a:lnTo>
                    <a:pt x="529" y="44"/>
                  </a:lnTo>
                  <a:lnTo>
                    <a:pt x="575" y="44"/>
                  </a:lnTo>
                  <a:lnTo>
                    <a:pt x="617" y="46"/>
                  </a:lnTo>
                  <a:lnTo>
                    <a:pt x="655" y="48"/>
                  </a:lnTo>
                  <a:lnTo>
                    <a:pt x="693" y="52"/>
                  </a:lnTo>
                  <a:lnTo>
                    <a:pt x="729" y="58"/>
                  </a:lnTo>
                  <a:lnTo>
                    <a:pt x="764" y="66"/>
                  </a:lnTo>
                  <a:lnTo>
                    <a:pt x="798" y="80"/>
                  </a:lnTo>
                  <a:lnTo>
                    <a:pt x="834" y="96"/>
                  </a:lnTo>
                  <a:lnTo>
                    <a:pt x="872" y="116"/>
                  </a:lnTo>
                  <a:lnTo>
                    <a:pt x="906" y="136"/>
                  </a:lnTo>
                  <a:lnTo>
                    <a:pt x="934" y="156"/>
                  </a:lnTo>
                  <a:lnTo>
                    <a:pt x="956" y="174"/>
                  </a:lnTo>
                  <a:lnTo>
                    <a:pt x="974" y="190"/>
                  </a:lnTo>
                  <a:lnTo>
                    <a:pt x="986" y="202"/>
                  </a:lnTo>
                  <a:lnTo>
                    <a:pt x="996" y="218"/>
                  </a:lnTo>
                  <a:lnTo>
                    <a:pt x="1016" y="248"/>
                  </a:lnTo>
                  <a:lnTo>
                    <a:pt x="1026" y="262"/>
                  </a:lnTo>
                  <a:lnTo>
                    <a:pt x="1032" y="276"/>
                  </a:lnTo>
                  <a:lnTo>
                    <a:pt x="1038" y="288"/>
                  </a:lnTo>
                  <a:lnTo>
                    <a:pt x="1044" y="296"/>
                  </a:lnTo>
                  <a:lnTo>
                    <a:pt x="1048" y="304"/>
                  </a:lnTo>
                  <a:lnTo>
                    <a:pt x="1052" y="308"/>
                  </a:lnTo>
                  <a:lnTo>
                    <a:pt x="1052" y="310"/>
                  </a:lnTo>
                  <a:lnTo>
                    <a:pt x="1052" y="312"/>
                  </a:lnTo>
                  <a:lnTo>
                    <a:pt x="1052" y="308"/>
                  </a:lnTo>
                  <a:lnTo>
                    <a:pt x="1048" y="298"/>
                  </a:lnTo>
                  <a:lnTo>
                    <a:pt x="1044" y="286"/>
                  </a:lnTo>
                  <a:lnTo>
                    <a:pt x="1038" y="270"/>
                  </a:lnTo>
                  <a:lnTo>
                    <a:pt x="1026" y="236"/>
                  </a:lnTo>
                  <a:lnTo>
                    <a:pt x="1018" y="222"/>
                  </a:lnTo>
                  <a:lnTo>
                    <a:pt x="1012" y="210"/>
                  </a:lnTo>
                  <a:lnTo>
                    <a:pt x="1008" y="206"/>
                  </a:lnTo>
                  <a:lnTo>
                    <a:pt x="1004" y="200"/>
                  </a:lnTo>
                  <a:lnTo>
                    <a:pt x="988" y="182"/>
                  </a:lnTo>
                  <a:lnTo>
                    <a:pt x="966" y="158"/>
                  </a:lnTo>
                  <a:lnTo>
                    <a:pt x="938" y="132"/>
                  </a:lnTo>
                  <a:lnTo>
                    <a:pt x="904" y="102"/>
                  </a:lnTo>
                  <a:lnTo>
                    <a:pt x="864" y="76"/>
                  </a:lnTo>
                  <a:lnTo>
                    <a:pt x="820" y="54"/>
                  </a:lnTo>
                  <a:lnTo>
                    <a:pt x="772" y="36"/>
                  </a:lnTo>
                  <a:lnTo>
                    <a:pt x="725" y="22"/>
                  </a:lnTo>
                  <a:lnTo>
                    <a:pt x="681" y="12"/>
                  </a:lnTo>
                  <a:lnTo>
                    <a:pt x="639" y="6"/>
                  </a:lnTo>
                  <a:lnTo>
                    <a:pt x="603" y="2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4"/>
                  </a:lnTo>
                  <a:lnTo>
                    <a:pt x="433" y="12"/>
                  </a:lnTo>
                  <a:lnTo>
                    <a:pt x="365" y="24"/>
                  </a:lnTo>
                  <a:lnTo>
                    <a:pt x="305" y="38"/>
                  </a:lnTo>
                  <a:lnTo>
                    <a:pt x="253" y="56"/>
                  </a:lnTo>
                  <a:lnTo>
                    <a:pt x="209" y="78"/>
                  </a:lnTo>
                  <a:lnTo>
                    <a:pt x="171" y="102"/>
                  </a:lnTo>
                  <a:lnTo>
                    <a:pt x="137" y="130"/>
                  </a:lnTo>
                  <a:lnTo>
                    <a:pt x="104" y="162"/>
                  </a:lnTo>
                  <a:lnTo>
                    <a:pt x="76" y="194"/>
                  </a:lnTo>
                  <a:lnTo>
                    <a:pt x="58" y="218"/>
                  </a:lnTo>
                  <a:lnTo>
                    <a:pt x="40" y="252"/>
                  </a:lnTo>
                  <a:lnTo>
                    <a:pt x="24" y="280"/>
                  </a:lnTo>
                  <a:lnTo>
                    <a:pt x="20" y="294"/>
                  </a:lnTo>
                  <a:lnTo>
                    <a:pt x="16" y="304"/>
                  </a:lnTo>
                  <a:lnTo>
                    <a:pt x="12" y="318"/>
                  </a:lnTo>
                  <a:lnTo>
                    <a:pt x="8" y="331"/>
                  </a:lnTo>
                  <a:lnTo>
                    <a:pt x="4" y="345"/>
                  </a:lnTo>
                  <a:lnTo>
                    <a:pt x="2" y="357"/>
                  </a:lnTo>
                  <a:lnTo>
                    <a:pt x="2" y="379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4" name="Freeform 17"/>
            <p:cNvSpPr>
              <a:spLocks/>
            </p:cNvSpPr>
            <p:nvPr/>
          </p:nvSpPr>
          <p:spPr bwMode="auto">
            <a:xfrm>
              <a:off x="2586" y="1416"/>
              <a:ext cx="526" cy="195"/>
            </a:xfrm>
            <a:custGeom>
              <a:avLst/>
              <a:gdLst/>
              <a:ahLst/>
              <a:cxnLst>
                <a:cxn ang="0">
                  <a:pos x="2" y="389"/>
                </a:cxn>
                <a:cxn ang="0">
                  <a:pos x="8" y="371"/>
                </a:cxn>
                <a:cxn ang="0">
                  <a:pos x="24" y="341"/>
                </a:cxn>
                <a:cxn ang="0">
                  <a:pos x="60" y="282"/>
                </a:cxn>
                <a:cxn ang="0">
                  <a:pos x="128" y="192"/>
                </a:cxn>
                <a:cxn ang="0">
                  <a:pos x="193" y="136"/>
                </a:cxn>
                <a:cxn ang="0">
                  <a:pos x="267" y="100"/>
                </a:cxn>
                <a:cxn ang="0">
                  <a:pos x="357" y="68"/>
                </a:cxn>
                <a:cxn ang="0">
                  <a:pos x="443" y="48"/>
                </a:cxn>
                <a:cxn ang="0">
                  <a:pos x="529" y="40"/>
                </a:cxn>
                <a:cxn ang="0">
                  <a:pos x="617" y="42"/>
                </a:cxn>
                <a:cxn ang="0">
                  <a:pos x="693" y="48"/>
                </a:cxn>
                <a:cxn ang="0">
                  <a:pos x="764" y="62"/>
                </a:cxn>
                <a:cxn ang="0">
                  <a:pos x="834" y="92"/>
                </a:cxn>
                <a:cxn ang="0">
                  <a:pos x="906" y="132"/>
                </a:cxn>
                <a:cxn ang="0">
                  <a:pos x="956" y="170"/>
                </a:cxn>
                <a:cxn ang="0">
                  <a:pos x="986" y="198"/>
                </a:cxn>
                <a:cxn ang="0">
                  <a:pos x="1016" y="244"/>
                </a:cxn>
                <a:cxn ang="0">
                  <a:pos x="1032" y="272"/>
                </a:cxn>
                <a:cxn ang="0">
                  <a:pos x="1044" y="292"/>
                </a:cxn>
                <a:cxn ang="0">
                  <a:pos x="1052" y="304"/>
                </a:cxn>
                <a:cxn ang="0">
                  <a:pos x="1052" y="308"/>
                </a:cxn>
                <a:cxn ang="0">
                  <a:pos x="1048" y="294"/>
                </a:cxn>
                <a:cxn ang="0">
                  <a:pos x="1038" y="266"/>
                </a:cxn>
                <a:cxn ang="0">
                  <a:pos x="1018" y="218"/>
                </a:cxn>
                <a:cxn ang="0">
                  <a:pos x="1008" y="204"/>
                </a:cxn>
                <a:cxn ang="0">
                  <a:pos x="988" y="180"/>
                </a:cxn>
                <a:cxn ang="0">
                  <a:pos x="938" y="128"/>
                </a:cxn>
                <a:cxn ang="0">
                  <a:pos x="862" y="74"/>
                </a:cxn>
                <a:cxn ang="0">
                  <a:pos x="770" y="34"/>
                </a:cxn>
                <a:cxn ang="0">
                  <a:pos x="679" y="12"/>
                </a:cxn>
                <a:cxn ang="0">
                  <a:pos x="601" y="0"/>
                </a:cxn>
                <a:cxn ang="0">
                  <a:pos x="523" y="0"/>
                </a:cxn>
                <a:cxn ang="0">
                  <a:pos x="433" y="12"/>
                </a:cxn>
                <a:cxn ang="0">
                  <a:pos x="307" y="38"/>
                </a:cxn>
                <a:cxn ang="0">
                  <a:pos x="209" y="78"/>
                </a:cxn>
                <a:cxn ang="0">
                  <a:pos x="139" y="130"/>
                </a:cxn>
                <a:cxn ang="0">
                  <a:pos x="80" y="194"/>
                </a:cxn>
                <a:cxn ang="0">
                  <a:pos x="42" y="250"/>
                </a:cxn>
                <a:cxn ang="0">
                  <a:pos x="20" y="292"/>
                </a:cxn>
                <a:cxn ang="0">
                  <a:pos x="10" y="329"/>
                </a:cxn>
                <a:cxn ang="0">
                  <a:pos x="2" y="375"/>
                </a:cxn>
              </a:cxnLst>
              <a:rect l="0" t="0" r="r" b="b"/>
              <a:pathLst>
                <a:path w="1052" h="391">
                  <a:moveTo>
                    <a:pt x="0" y="391"/>
                  </a:moveTo>
                  <a:lnTo>
                    <a:pt x="2" y="389"/>
                  </a:lnTo>
                  <a:lnTo>
                    <a:pt x="2" y="381"/>
                  </a:lnTo>
                  <a:lnTo>
                    <a:pt x="8" y="371"/>
                  </a:lnTo>
                  <a:lnTo>
                    <a:pt x="16" y="359"/>
                  </a:lnTo>
                  <a:lnTo>
                    <a:pt x="24" y="341"/>
                  </a:lnTo>
                  <a:lnTo>
                    <a:pt x="34" y="324"/>
                  </a:lnTo>
                  <a:lnTo>
                    <a:pt x="60" y="282"/>
                  </a:lnTo>
                  <a:lnTo>
                    <a:pt x="90" y="234"/>
                  </a:lnTo>
                  <a:lnTo>
                    <a:pt x="128" y="192"/>
                  </a:lnTo>
                  <a:lnTo>
                    <a:pt x="171" y="154"/>
                  </a:lnTo>
                  <a:lnTo>
                    <a:pt x="193" y="136"/>
                  </a:lnTo>
                  <a:lnTo>
                    <a:pt x="217" y="122"/>
                  </a:lnTo>
                  <a:lnTo>
                    <a:pt x="267" y="100"/>
                  </a:lnTo>
                  <a:lnTo>
                    <a:pt x="311" y="82"/>
                  </a:lnTo>
                  <a:lnTo>
                    <a:pt x="357" y="68"/>
                  </a:lnTo>
                  <a:lnTo>
                    <a:pt x="401" y="56"/>
                  </a:lnTo>
                  <a:lnTo>
                    <a:pt x="443" y="48"/>
                  </a:lnTo>
                  <a:lnTo>
                    <a:pt x="487" y="42"/>
                  </a:lnTo>
                  <a:lnTo>
                    <a:pt x="529" y="40"/>
                  </a:lnTo>
                  <a:lnTo>
                    <a:pt x="575" y="40"/>
                  </a:lnTo>
                  <a:lnTo>
                    <a:pt x="617" y="42"/>
                  </a:lnTo>
                  <a:lnTo>
                    <a:pt x="655" y="44"/>
                  </a:lnTo>
                  <a:lnTo>
                    <a:pt x="693" y="48"/>
                  </a:lnTo>
                  <a:lnTo>
                    <a:pt x="729" y="54"/>
                  </a:lnTo>
                  <a:lnTo>
                    <a:pt x="764" y="62"/>
                  </a:lnTo>
                  <a:lnTo>
                    <a:pt x="798" y="76"/>
                  </a:lnTo>
                  <a:lnTo>
                    <a:pt x="834" y="92"/>
                  </a:lnTo>
                  <a:lnTo>
                    <a:pt x="872" y="112"/>
                  </a:lnTo>
                  <a:lnTo>
                    <a:pt x="906" y="132"/>
                  </a:lnTo>
                  <a:lnTo>
                    <a:pt x="934" y="152"/>
                  </a:lnTo>
                  <a:lnTo>
                    <a:pt x="956" y="170"/>
                  </a:lnTo>
                  <a:lnTo>
                    <a:pt x="974" y="186"/>
                  </a:lnTo>
                  <a:lnTo>
                    <a:pt x="986" y="198"/>
                  </a:lnTo>
                  <a:lnTo>
                    <a:pt x="996" y="214"/>
                  </a:lnTo>
                  <a:lnTo>
                    <a:pt x="1016" y="244"/>
                  </a:lnTo>
                  <a:lnTo>
                    <a:pt x="1026" y="258"/>
                  </a:lnTo>
                  <a:lnTo>
                    <a:pt x="1032" y="272"/>
                  </a:lnTo>
                  <a:lnTo>
                    <a:pt x="1038" y="284"/>
                  </a:lnTo>
                  <a:lnTo>
                    <a:pt x="1044" y="292"/>
                  </a:lnTo>
                  <a:lnTo>
                    <a:pt x="1048" y="300"/>
                  </a:lnTo>
                  <a:lnTo>
                    <a:pt x="1052" y="304"/>
                  </a:lnTo>
                  <a:lnTo>
                    <a:pt x="1052" y="306"/>
                  </a:lnTo>
                  <a:lnTo>
                    <a:pt x="1052" y="308"/>
                  </a:lnTo>
                  <a:lnTo>
                    <a:pt x="1052" y="304"/>
                  </a:lnTo>
                  <a:lnTo>
                    <a:pt x="1048" y="294"/>
                  </a:lnTo>
                  <a:lnTo>
                    <a:pt x="1044" y="282"/>
                  </a:lnTo>
                  <a:lnTo>
                    <a:pt x="1038" y="266"/>
                  </a:lnTo>
                  <a:lnTo>
                    <a:pt x="1026" y="232"/>
                  </a:lnTo>
                  <a:lnTo>
                    <a:pt x="1018" y="218"/>
                  </a:lnTo>
                  <a:lnTo>
                    <a:pt x="1012" y="208"/>
                  </a:lnTo>
                  <a:lnTo>
                    <a:pt x="1008" y="204"/>
                  </a:lnTo>
                  <a:lnTo>
                    <a:pt x="1002" y="198"/>
                  </a:lnTo>
                  <a:lnTo>
                    <a:pt x="988" y="180"/>
                  </a:lnTo>
                  <a:lnTo>
                    <a:pt x="966" y="156"/>
                  </a:lnTo>
                  <a:lnTo>
                    <a:pt x="938" y="128"/>
                  </a:lnTo>
                  <a:lnTo>
                    <a:pt x="904" y="100"/>
                  </a:lnTo>
                  <a:lnTo>
                    <a:pt x="862" y="74"/>
                  </a:lnTo>
                  <a:lnTo>
                    <a:pt x="818" y="52"/>
                  </a:lnTo>
                  <a:lnTo>
                    <a:pt x="770" y="34"/>
                  </a:lnTo>
                  <a:lnTo>
                    <a:pt x="723" y="22"/>
                  </a:lnTo>
                  <a:lnTo>
                    <a:pt x="679" y="12"/>
                  </a:lnTo>
                  <a:lnTo>
                    <a:pt x="639" y="6"/>
                  </a:lnTo>
                  <a:lnTo>
                    <a:pt x="601" y="0"/>
                  </a:lnTo>
                  <a:lnTo>
                    <a:pt x="563" y="0"/>
                  </a:lnTo>
                  <a:lnTo>
                    <a:pt x="523" y="0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5" y="26"/>
                  </a:lnTo>
                  <a:lnTo>
                    <a:pt x="307" y="38"/>
                  </a:lnTo>
                  <a:lnTo>
                    <a:pt x="255" y="56"/>
                  </a:lnTo>
                  <a:lnTo>
                    <a:pt x="209" y="78"/>
                  </a:lnTo>
                  <a:lnTo>
                    <a:pt x="173" y="100"/>
                  </a:lnTo>
                  <a:lnTo>
                    <a:pt x="139" y="130"/>
                  </a:lnTo>
                  <a:lnTo>
                    <a:pt x="106" y="160"/>
                  </a:lnTo>
                  <a:lnTo>
                    <a:pt x="80" y="194"/>
                  </a:lnTo>
                  <a:lnTo>
                    <a:pt x="62" y="220"/>
                  </a:lnTo>
                  <a:lnTo>
                    <a:pt x="42" y="250"/>
                  </a:lnTo>
                  <a:lnTo>
                    <a:pt x="26" y="278"/>
                  </a:lnTo>
                  <a:lnTo>
                    <a:pt x="20" y="292"/>
                  </a:lnTo>
                  <a:lnTo>
                    <a:pt x="18" y="302"/>
                  </a:lnTo>
                  <a:lnTo>
                    <a:pt x="10" y="329"/>
                  </a:lnTo>
                  <a:lnTo>
                    <a:pt x="2" y="353"/>
                  </a:lnTo>
                  <a:lnTo>
                    <a:pt x="2" y="375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5" name="Freeform 18"/>
            <p:cNvSpPr>
              <a:spLocks/>
            </p:cNvSpPr>
            <p:nvPr/>
          </p:nvSpPr>
          <p:spPr bwMode="auto">
            <a:xfrm>
              <a:off x="2586" y="1421"/>
              <a:ext cx="526" cy="190"/>
            </a:xfrm>
            <a:custGeom>
              <a:avLst/>
              <a:gdLst/>
              <a:ahLst/>
              <a:cxnLst>
                <a:cxn ang="0">
                  <a:pos x="2" y="379"/>
                </a:cxn>
                <a:cxn ang="0">
                  <a:pos x="8" y="361"/>
                </a:cxn>
                <a:cxn ang="0">
                  <a:pos x="24" y="331"/>
                </a:cxn>
                <a:cxn ang="0">
                  <a:pos x="60" y="272"/>
                </a:cxn>
                <a:cxn ang="0">
                  <a:pos x="128" y="184"/>
                </a:cxn>
                <a:cxn ang="0">
                  <a:pos x="193" y="126"/>
                </a:cxn>
                <a:cxn ang="0">
                  <a:pos x="267" y="90"/>
                </a:cxn>
                <a:cxn ang="0">
                  <a:pos x="357" y="58"/>
                </a:cxn>
                <a:cxn ang="0">
                  <a:pos x="443" y="38"/>
                </a:cxn>
                <a:cxn ang="0">
                  <a:pos x="529" y="30"/>
                </a:cxn>
                <a:cxn ang="0">
                  <a:pos x="617" y="32"/>
                </a:cxn>
                <a:cxn ang="0">
                  <a:pos x="693" y="38"/>
                </a:cxn>
                <a:cxn ang="0">
                  <a:pos x="764" y="54"/>
                </a:cxn>
                <a:cxn ang="0">
                  <a:pos x="834" y="82"/>
                </a:cxn>
                <a:cxn ang="0">
                  <a:pos x="906" y="124"/>
                </a:cxn>
                <a:cxn ang="0">
                  <a:pos x="956" y="160"/>
                </a:cxn>
                <a:cxn ang="0">
                  <a:pos x="986" y="190"/>
                </a:cxn>
                <a:cxn ang="0">
                  <a:pos x="1016" y="234"/>
                </a:cxn>
                <a:cxn ang="0">
                  <a:pos x="1032" y="262"/>
                </a:cxn>
                <a:cxn ang="0">
                  <a:pos x="1044" y="282"/>
                </a:cxn>
                <a:cxn ang="0">
                  <a:pos x="1052" y="294"/>
                </a:cxn>
                <a:cxn ang="0">
                  <a:pos x="1052" y="298"/>
                </a:cxn>
                <a:cxn ang="0">
                  <a:pos x="1048" y="284"/>
                </a:cxn>
                <a:cxn ang="0">
                  <a:pos x="1036" y="256"/>
                </a:cxn>
                <a:cxn ang="0">
                  <a:pos x="1016" y="210"/>
                </a:cxn>
                <a:cxn ang="0">
                  <a:pos x="1006" y="196"/>
                </a:cxn>
                <a:cxn ang="0">
                  <a:pos x="984" y="172"/>
                </a:cxn>
                <a:cxn ang="0">
                  <a:pos x="934" y="124"/>
                </a:cxn>
                <a:cxn ang="0">
                  <a:pos x="862" y="70"/>
                </a:cxn>
                <a:cxn ang="0">
                  <a:pos x="768" y="30"/>
                </a:cxn>
                <a:cxn ang="0">
                  <a:pos x="679" y="10"/>
                </a:cxn>
                <a:cxn ang="0">
                  <a:pos x="603" y="0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11" y="38"/>
                </a:cxn>
                <a:cxn ang="0">
                  <a:pos x="213" y="76"/>
                </a:cxn>
                <a:cxn ang="0">
                  <a:pos x="143" y="126"/>
                </a:cxn>
                <a:cxn ang="0">
                  <a:pos x="82" y="190"/>
                </a:cxn>
                <a:cxn ang="0">
                  <a:pos x="46" y="246"/>
                </a:cxn>
                <a:cxn ang="0">
                  <a:pos x="24" y="286"/>
                </a:cxn>
                <a:cxn ang="0">
                  <a:pos x="14" y="321"/>
                </a:cxn>
                <a:cxn ang="0">
                  <a:pos x="2" y="365"/>
                </a:cxn>
              </a:cxnLst>
              <a:rect l="0" t="0" r="r" b="b"/>
              <a:pathLst>
                <a:path w="1052" h="381">
                  <a:moveTo>
                    <a:pt x="0" y="381"/>
                  </a:moveTo>
                  <a:lnTo>
                    <a:pt x="2" y="379"/>
                  </a:lnTo>
                  <a:lnTo>
                    <a:pt x="2" y="371"/>
                  </a:lnTo>
                  <a:lnTo>
                    <a:pt x="8" y="361"/>
                  </a:lnTo>
                  <a:lnTo>
                    <a:pt x="16" y="349"/>
                  </a:lnTo>
                  <a:lnTo>
                    <a:pt x="24" y="331"/>
                  </a:lnTo>
                  <a:lnTo>
                    <a:pt x="34" y="314"/>
                  </a:lnTo>
                  <a:lnTo>
                    <a:pt x="60" y="272"/>
                  </a:lnTo>
                  <a:lnTo>
                    <a:pt x="90" y="224"/>
                  </a:lnTo>
                  <a:lnTo>
                    <a:pt x="128" y="184"/>
                  </a:lnTo>
                  <a:lnTo>
                    <a:pt x="171" y="144"/>
                  </a:lnTo>
                  <a:lnTo>
                    <a:pt x="193" y="126"/>
                  </a:lnTo>
                  <a:lnTo>
                    <a:pt x="217" y="114"/>
                  </a:lnTo>
                  <a:lnTo>
                    <a:pt x="267" y="90"/>
                  </a:lnTo>
                  <a:lnTo>
                    <a:pt x="311" y="72"/>
                  </a:lnTo>
                  <a:lnTo>
                    <a:pt x="357" y="58"/>
                  </a:lnTo>
                  <a:lnTo>
                    <a:pt x="401" y="46"/>
                  </a:lnTo>
                  <a:lnTo>
                    <a:pt x="443" y="38"/>
                  </a:lnTo>
                  <a:lnTo>
                    <a:pt x="487" y="34"/>
                  </a:lnTo>
                  <a:lnTo>
                    <a:pt x="529" y="30"/>
                  </a:lnTo>
                  <a:lnTo>
                    <a:pt x="575" y="30"/>
                  </a:lnTo>
                  <a:lnTo>
                    <a:pt x="617" y="32"/>
                  </a:lnTo>
                  <a:lnTo>
                    <a:pt x="655" y="36"/>
                  </a:lnTo>
                  <a:lnTo>
                    <a:pt x="693" y="38"/>
                  </a:lnTo>
                  <a:lnTo>
                    <a:pt x="729" y="46"/>
                  </a:lnTo>
                  <a:lnTo>
                    <a:pt x="764" y="54"/>
                  </a:lnTo>
                  <a:lnTo>
                    <a:pt x="798" y="66"/>
                  </a:lnTo>
                  <a:lnTo>
                    <a:pt x="834" y="82"/>
                  </a:lnTo>
                  <a:lnTo>
                    <a:pt x="872" y="102"/>
                  </a:lnTo>
                  <a:lnTo>
                    <a:pt x="906" y="124"/>
                  </a:lnTo>
                  <a:lnTo>
                    <a:pt x="934" y="142"/>
                  </a:lnTo>
                  <a:lnTo>
                    <a:pt x="956" y="160"/>
                  </a:lnTo>
                  <a:lnTo>
                    <a:pt x="974" y="178"/>
                  </a:lnTo>
                  <a:lnTo>
                    <a:pt x="986" y="190"/>
                  </a:lnTo>
                  <a:lnTo>
                    <a:pt x="996" y="204"/>
                  </a:lnTo>
                  <a:lnTo>
                    <a:pt x="1016" y="234"/>
                  </a:lnTo>
                  <a:lnTo>
                    <a:pt x="1026" y="248"/>
                  </a:lnTo>
                  <a:lnTo>
                    <a:pt x="1032" y="262"/>
                  </a:lnTo>
                  <a:lnTo>
                    <a:pt x="1038" y="274"/>
                  </a:lnTo>
                  <a:lnTo>
                    <a:pt x="1044" y="282"/>
                  </a:lnTo>
                  <a:lnTo>
                    <a:pt x="1048" y="290"/>
                  </a:lnTo>
                  <a:lnTo>
                    <a:pt x="1052" y="294"/>
                  </a:lnTo>
                  <a:lnTo>
                    <a:pt x="1052" y="296"/>
                  </a:lnTo>
                  <a:lnTo>
                    <a:pt x="1052" y="298"/>
                  </a:lnTo>
                  <a:lnTo>
                    <a:pt x="1052" y="294"/>
                  </a:lnTo>
                  <a:lnTo>
                    <a:pt x="1048" y="284"/>
                  </a:lnTo>
                  <a:lnTo>
                    <a:pt x="1044" y="272"/>
                  </a:lnTo>
                  <a:lnTo>
                    <a:pt x="1036" y="256"/>
                  </a:lnTo>
                  <a:lnTo>
                    <a:pt x="1022" y="224"/>
                  </a:lnTo>
                  <a:lnTo>
                    <a:pt x="1016" y="210"/>
                  </a:lnTo>
                  <a:lnTo>
                    <a:pt x="1008" y="200"/>
                  </a:lnTo>
                  <a:lnTo>
                    <a:pt x="1006" y="196"/>
                  </a:lnTo>
                  <a:lnTo>
                    <a:pt x="1000" y="190"/>
                  </a:lnTo>
                  <a:lnTo>
                    <a:pt x="984" y="172"/>
                  </a:lnTo>
                  <a:lnTo>
                    <a:pt x="962" y="150"/>
                  </a:lnTo>
                  <a:lnTo>
                    <a:pt x="934" y="124"/>
                  </a:lnTo>
                  <a:lnTo>
                    <a:pt x="900" y="96"/>
                  </a:lnTo>
                  <a:lnTo>
                    <a:pt x="862" y="70"/>
                  </a:lnTo>
                  <a:lnTo>
                    <a:pt x="818" y="48"/>
                  </a:lnTo>
                  <a:lnTo>
                    <a:pt x="768" y="30"/>
                  </a:lnTo>
                  <a:lnTo>
                    <a:pt x="723" y="20"/>
                  </a:lnTo>
                  <a:lnTo>
                    <a:pt x="679" y="10"/>
                  </a:lnTo>
                  <a:lnTo>
                    <a:pt x="639" y="4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9" y="24"/>
                  </a:lnTo>
                  <a:lnTo>
                    <a:pt x="311" y="38"/>
                  </a:lnTo>
                  <a:lnTo>
                    <a:pt x="259" y="56"/>
                  </a:lnTo>
                  <a:lnTo>
                    <a:pt x="213" y="76"/>
                  </a:lnTo>
                  <a:lnTo>
                    <a:pt x="177" y="98"/>
                  </a:lnTo>
                  <a:lnTo>
                    <a:pt x="143" y="126"/>
                  </a:lnTo>
                  <a:lnTo>
                    <a:pt x="112" y="158"/>
                  </a:lnTo>
                  <a:lnTo>
                    <a:pt x="82" y="190"/>
                  </a:lnTo>
                  <a:lnTo>
                    <a:pt x="64" y="216"/>
                  </a:lnTo>
                  <a:lnTo>
                    <a:pt x="46" y="246"/>
                  </a:lnTo>
                  <a:lnTo>
                    <a:pt x="30" y="274"/>
                  </a:lnTo>
                  <a:lnTo>
                    <a:pt x="24" y="286"/>
                  </a:lnTo>
                  <a:lnTo>
                    <a:pt x="20" y="296"/>
                  </a:lnTo>
                  <a:lnTo>
                    <a:pt x="14" y="321"/>
                  </a:lnTo>
                  <a:lnTo>
                    <a:pt x="6" y="345"/>
                  </a:lnTo>
                  <a:lnTo>
                    <a:pt x="2" y="365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6" name="Freeform 19"/>
            <p:cNvSpPr>
              <a:spLocks/>
            </p:cNvSpPr>
            <p:nvPr/>
          </p:nvSpPr>
          <p:spPr bwMode="auto">
            <a:xfrm>
              <a:off x="2586" y="1421"/>
              <a:ext cx="526" cy="190"/>
            </a:xfrm>
            <a:custGeom>
              <a:avLst/>
              <a:gdLst/>
              <a:ahLst/>
              <a:cxnLst>
                <a:cxn ang="0">
                  <a:pos x="2" y="377"/>
                </a:cxn>
                <a:cxn ang="0">
                  <a:pos x="8" y="359"/>
                </a:cxn>
                <a:cxn ang="0">
                  <a:pos x="24" y="327"/>
                </a:cxn>
                <a:cxn ang="0">
                  <a:pos x="60" y="268"/>
                </a:cxn>
                <a:cxn ang="0">
                  <a:pos x="128" y="180"/>
                </a:cxn>
                <a:cxn ang="0">
                  <a:pos x="193" y="122"/>
                </a:cxn>
                <a:cxn ang="0">
                  <a:pos x="267" y="86"/>
                </a:cxn>
                <a:cxn ang="0">
                  <a:pos x="357" y="54"/>
                </a:cxn>
                <a:cxn ang="0">
                  <a:pos x="443" y="34"/>
                </a:cxn>
                <a:cxn ang="0">
                  <a:pos x="529" y="26"/>
                </a:cxn>
                <a:cxn ang="0">
                  <a:pos x="617" y="28"/>
                </a:cxn>
                <a:cxn ang="0">
                  <a:pos x="693" y="34"/>
                </a:cxn>
                <a:cxn ang="0">
                  <a:pos x="764" y="50"/>
                </a:cxn>
                <a:cxn ang="0">
                  <a:pos x="834" y="78"/>
                </a:cxn>
                <a:cxn ang="0">
                  <a:pos x="906" y="120"/>
                </a:cxn>
                <a:cxn ang="0">
                  <a:pos x="956" y="156"/>
                </a:cxn>
                <a:cxn ang="0">
                  <a:pos x="986" y="188"/>
                </a:cxn>
                <a:cxn ang="0">
                  <a:pos x="1016" y="232"/>
                </a:cxn>
                <a:cxn ang="0">
                  <a:pos x="1032" y="258"/>
                </a:cxn>
                <a:cxn ang="0">
                  <a:pos x="1044" y="278"/>
                </a:cxn>
                <a:cxn ang="0">
                  <a:pos x="1052" y="292"/>
                </a:cxn>
                <a:cxn ang="0">
                  <a:pos x="1052" y="292"/>
                </a:cxn>
                <a:cxn ang="0">
                  <a:pos x="1044" y="268"/>
                </a:cxn>
                <a:cxn ang="0">
                  <a:pos x="1022" y="222"/>
                </a:cxn>
                <a:cxn ang="0">
                  <a:pos x="1008" y="198"/>
                </a:cxn>
                <a:cxn ang="0">
                  <a:pos x="1000" y="188"/>
                </a:cxn>
                <a:cxn ang="0">
                  <a:pos x="962" y="146"/>
                </a:cxn>
                <a:cxn ang="0">
                  <a:pos x="900" y="94"/>
                </a:cxn>
                <a:cxn ang="0">
                  <a:pos x="818" y="46"/>
                </a:cxn>
                <a:cxn ang="0">
                  <a:pos x="721" y="16"/>
                </a:cxn>
                <a:cxn ang="0">
                  <a:pos x="639" y="2"/>
                </a:cxn>
                <a:cxn ang="0">
                  <a:pos x="563" y="0"/>
                </a:cxn>
                <a:cxn ang="0">
                  <a:pos x="481" y="6"/>
                </a:cxn>
                <a:cxn ang="0">
                  <a:pos x="369" y="24"/>
                </a:cxn>
                <a:cxn ang="0">
                  <a:pos x="261" y="54"/>
                </a:cxn>
                <a:cxn ang="0">
                  <a:pos x="181" y="98"/>
                </a:cxn>
                <a:cxn ang="0">
                  <a:pos x="114" y="156"/>
                </a:cxn>
                <a:cxn ang="0">
                  <a:pos x="68" y="216"/>
                </a:cxn>
                <a:cxn ang="0">
                  <a:pos x="32" y="274"/>
                </a:cxn>
                <a:cxn ang="0">
                  <a:pos x="24" y="296"/>
                </a:cxn>
                <a:cxn ang="0">
                  <a:pos x="8" y="343"/>
                </a:cxn>
              </a:cxnLst>
              <a:rect l="0" t="0" r="r" b="b"/>
              <a:pathLst>
                <a:path w="1052" h="379">
                  <a:moveTo>
                    <a:pt x="0" y="379"/>
                  </a:moveTo>
                  <a:lnTo>
                    <a:pt x="2" y="377"/>
                  </a:lnTo>
                  <a:lnTo>
                    <a:pt x="2" y="369"/>
                  </a:lnTo>
                  <a:lnTo>
                    <a:pt x="8" y="359"/>
                  </a:lnTo>
                  <a:lnTo>
                    <a:pt x="16" y="345"/>
                  </a:lnTo>
                  <a:lnTo>
                    <a:pt x="24" y="327"/>
                  </a:lnTo>
                  <a:lnTo>
                    <a:pt x="34" y="310"/>
                  </a:lnTo>
                  <a:lnTo>
                    <a:pt x="60" y="268"/>
                  </a:lnTo>
                  <a:lnTo>
                    <a:pt x="90" y="222"/>
                  </a:lnTo>
                  <a:lnTo>
                    <a:pt x="128" y="180"/>
                  </a:lnTo>
                  <a:lnTo>
                    <a:pt x="171" y="140"/>
                  </a:lnTo>
                  <a:lnTo>
                    <a:pt x="193" y="122"/>
                  </a:lnTo>
                  <a:lnTo>
                    <a:pt x="217" y="110"/>
                  </a:lnTo>
                  <a:lnTo>
                    <a:pt x="267" y="86"/>
                  </a:lnTo>
                  <a:lnTo>
                    <a:pt x="311" y="68"/>
                  </a:lnTo>
                  <a:lnTo>
                    <a:pt x="357" y="54"/>
                  </a:lnTo>
                  <a:lnTo>
                    <a:pt x="401" y="42"/>
                  </a:lnTo>
                  <a:lnTo>
                    <a:pt x="443" y="34"/>
                  </a:lnTo>
                  <a:lnTo>
                    <a:pt x="487" y="30"/>
                  </a:lnTo>
                  <a:lnTo>
                    <a:pt x="529" y="26"/>
                  </a:lnTo>
                  <a:lnTo>
                    <a:pt x="575" y="26"/>
                  </a:lnTo>
                  <a:lnTo>
                    <a:pt x="617" y="28"/>
                  </a:lnTo>
                  <a:lnTo>
                    <a:pt x="655" y="32"/>
                  </a:lnTo>
                  <a:lnTo>
                    <a:pt x="693" y="34"/>
                  </a:lnTo>
                  <a:lnTo>
                    <a:pt x="729" y="42"/>
                  </a:lnTo>
                  <a:lnTo>
                    <a:pt x="764" y="50"/>
                  </a:lnTo>
                  <a:lnTo>
                    <a:pt x="798" y="62"/>
                  </a:lnTo>
                  <a:lnTo>
                    <a:pt x="834" y="78"/>
                  </a:lnTo>
                  <a:lnTo>
                    <a:pt x="872" y="98"/>
                  </a:lnTo>
                  <a:lnTo>
                    <a:pt x="906" y="120"/>
                  </a:lnTo>
                  <a:lnTo>
                    <a:pt x="934" y="138"/>
                  </a:lnTo>
                  <a:lnTo>
                    <a:pt x="956" y="156"/>
                  </a:lnTo>
                  <a:lnTo>
                    <a:pt x="974" y="174"/>
                  </a:lnTo>
                  <a:lnTo>
                    <a:pt x="986" y="188"/>
                  </a:lnTo>
                  <a:lnTo>
                    <a:pt x="996" y="200"/>
                  </a:lnTo>
                  <a:lnTo>
                    <a:pt x="1016" y="232"/>
                  </a:lnTo>
                  <a:lnTo>
                    <a:pt x="1026" y="246"/>
                  </a:lnTo>
                  <a:lnTo>
                    <a:pt x="1032" y="258"/>
                  </a:lnTo>
                  <a:lnTo>
                    <a:pt x="1038" y="270"/>
                  </a:lnTo>
                  <a:lnTo>
                    <a:pt x="1044" y="278"/>
                  </a:lnTo>
                  <a:lnTo>
                    <a:pt x="1048" y="286"/>
                  </a:lnTo>
                  <a:lnTo>
                    <a:pt x="1052" y="292"/>
                  </a:lnTo>
                  <a:lnTo>
                    <a:pt x="1052" y="294"/>
                  </a:lnTo>
                  <a:lnTo>
                    <a:pt x="1052" y="292"/>
                  </a:lnTo>
                  <a:lnTo>
                    <a:pt x="1048" y="282"/>
                  </a:lnTo>
                  <a:lnTo>
                    <a:pt x="1044" y="268"/>
                  </a:lnTo>
                  <a:lnTo>
                    <a:pt x="1036" y="254"/>
                  </a:lnTo>
                  <a:lnTo>
                    <a:pt x="1022" y="222"/>
                  </a:lnTo>
                  <a:lnTo>
                    <a:pt x="1014" y="208"/>
                  </a:lnTo>
                  <a:lnTo>
                    <a:pt x="1008" y="198"/>
                  </a:lnTo>
                  <a:lnTo>
                    <a:pt x="1006" y="194"/>
                  </a:lnTo>
                  <a:lnTo>
                    <a:pt x="1000" y="188"/>
                  </a:lnTo>
                  <a:lnTo>
                    <a:pt x="984" y="170"/>
                  </a:lnTo>
                  <a:lnTo>
                    <a:pt x="962" y="146"/>
                  </a:lnTo>
                  <a:lnTo>
                    <a:pt x="934" y="120"/>
                  </a:lnTo>
                  <a:lnTo>
                    <a:pt x="900" y="94"/>
                  </a:lnTo>
                  <a:lnTo>
                    <a:pt x="862" y="68"/>
                  </a:lnTo>
                  <a:lnTo>
                    <a:pt x="818" y="46"/>
                  </a:lnTo>
                  <a:lnTo>
                    <a:pt x="768" y="30"/>
                  </a:lnTo>
                  <a:lnTo>
                    <a:pt x="721" y="16"/>
                  </a:lnTo>
                  <a:lnTo>
                    <a:pt x="679" y="8"/>
                  </a:lnTo>
                  <a:lnTo>
                    <a:pt x="639" y="2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3" y="0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9" y="24"/>
                  </a:lnTo>
                  <a:lnTo>
                    <a:pt x="311" y="36"/>
                  </a:lnTo>
                  <a:lnTo>
                    <a:pt x="261" y="54"/>
                  </a:lnTo>
                  <a:lnTo>
                    <a:pt x="217" y="76"/>
                  </a:lnTo>
                  <a:lnTo>
                    <a:pt x="181" y="98"/>
                  </a:lnTo>
                  <a:lnTo>
                    <a:pt x="147" y="126"/>
                  </a:lnTo>
                  <a:lnTo>
                    <a:pt x="114" y="156"/>
                  </a:lnTo>
                  <a:lnTo>
                    <a:pt x="86" y="192"/>
                  </a:lnTo>
                  <a:lnTo>
                    <a:pt x="68" y="216"/>
                  </a:lnTo>
                  <a:lnTo>
                    <a:pt x="48" y="246"/>
                  </a:lnTo>
                  <a:lnTo>
                    <a:pt x="32" y="274"/>
                  </a:lnTo>
                  <a:lnTo>
                    <a:pt x="28" y="286"/>
                  </a:lnTo>
                  <a:lnTo>
                    <a:pt x="24" y="296"/>
                  </a:lnTo>
                  <a:lnTo>
                    <a:pt x="16" y="321"/>
                  </a:lnTo>
                  <a:lnTo>
                    <a:pt x="8" y="343"/>
                  </a:lnTo>
                  <a:lnTo>
                    <a:pt x="0" y="379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7" name="Freeform 20"/>
            <p:cNvSpPr>
              <a:spLocks/>
            </p:cNvSpPr>
            <p:nvPr/>
          </p:nvSpPr>
          <p:spPr bwMode="auto">
            <a:xfrm>
              <a:off x="2586" y="1423"/>
              <a:ext cx="526" cy="188"/>
            </a:xfrm>
            <a:custGeom>
              <a:avLst/>
              <a:gdLst/>
              <a:ahLst/>
              <a:cxnLst>
                <a:cxn ang="0">
                  <a:pos x="2" y="373"/>
                </a:cxn>
                <a:cxn ang="0">
                  <a:pos x="8" y="355"/>
                </a:cxn>
                <a:cxn ang="0">
                  <a:pos x="24" y="325"/>
                </a:cxn>
                <a:cxn ang="0">
                  <a:pos x="60" y="266"/>
                </a:cxn>
                <a:cxn ang="0">
                  <a:pos x="128" y="176"/>
                </a:cxn>
                <a:cxn ang="0">
                  <a:pos x="193" y="120"/>
                </a:cxn>
                <a:cxn ang="0">
                  <a:pos x="267" y="84"/>
                </a:cxn>
                <a:cxn ang="0">
                  <a:pos x="357" y="52"/>
                </a:cxn>
                <a:cxn ang="0">
                  <a:pos x="443" y="32"/>
                </a:cxn>
                <a:cxn ang="0">
                  <a:pos x="529" y="24"/>
                </a:cxn>
                <a:cxn ang="0">
                  <a:pos x="617" y="26"/>
                </a:cxn>
                <a:cxn ang="0">
                  <a:pos x="693" y="32"/>
                </a:cxn>
                <a:cxn ang="0">
                  <a:pos x="764" y="46"/>
                </a:cxn>
                <a:cxn ang="0">
                  <a:pos x="834" y="76"/>
                </a:cxn>
                <a:cxn ang="0">
                  <a:pos x="906" y="116"/>
                </a:cxn>
                <a:cxn ang="0">
                  <a:pos x="956" y="154"/>
                </a:cxn>
                <a:cxn ang="0">
                  <a:pos x="986" y="184"/>
                </a:cxn>
                <a:cxn ang="0">
                  <a:pos x="1016" y="228"/>
                </a:cxn>
                <a:cxn ang="0">
                  <a:pos x="1032" y="256"/>
                </a:cxn>
                <a:cxn ang="0">
                  <a:pos x="1044" y="276"/>
                </a:cxn>
                <a:cxn ang="0">
                  <a:pos x="1052" y="288"/>
                </a:cxn>
                <a:cxn ang="0">
                  <a:pos x="1052" y="292"/>
                </a:cxn>
                <a:cxn ang="0">
                  <a:pos x="1048" y="280"/>
                </a:cxn>
                <a:cxn ang="0">
                  <a:pos x="1034" y="250"/>
                </a:cxn>
                <a:cxn ang="0">
                  <a:pos x="1014" y="206"/>
                </a:cxn>
                <a:cxn ang="0">
                  <a:pos x="1004" y="190"/>
                </a:cxn>
                <a:cxn ang="0">
                  <a:pos x="982" y="168"/>
                </a:cxn>
                <a:cxn ang="0">
                  <a:pos x="932" y="120"/>
                </a:cxn>
                <a:cxn ang="0">
                  <a:pos x="860" y="68"/>
                </a:cxn>
                <a:cxn ang="0">
                  <a:pos x="766" y="28"/>
                </a:cxn>
                <a:cxn ang="0">
                  <a:pos x="677" y="8"/>
                </a:cxn>
                <a:cxn ang="0">
                  <a:pos x="601" y="0"/>
                </a:cxn>
                <a:cxn ang="0">
                  <a:pos x="523" y="2"/>
                </a:cxn>
                <a:cxn ang="0">
                  <a:pos x="433" y="14"/>
                </a:cxn>
                <a:cxn ang="0">
                  <a:pos x="313" y="38"/>
                </a:cxn>
                <a:cxn ang="0">
                  <a:pos x="217" y="76"/>
                </a:cxn>
                <a:cxn ang="0">
                  <a:pos x="147" y="126"/>
                </a:cxn>
                <a:cxn ang="0">
                  <a:pos x="88" y="192"/>
                </a:cxn>
                <a:cxn ang="0">
                  <a:pos x="70" y="216"/>
                </a:cxn>
                <a:cxn ang="0">
                  <a:pos x="34" y="272"/>
                </a:cxn>
                <a:cxn ang="0">
                  <a:pos x="26" y="294"/>
                </a:cxn>
                <a:cxn ang="0">
                  <a:pos x="10" y="341"/>
                </a:cxn>
              </a:cxnLst>
              <a:rect l="0" t="0" r="r" b="b"/>
              <a:pathLst>
                <a:path w="1052" h="375">
                  <a:moveTo>
                    <a:pt x="0" y="375"/>
                  </a:moveTo>
                  <a:lnTo>
                    <a:pt x="2" y="373"/>
                  </a:lnTo>
                  <a:lnTo>
                    <a:pt x="2" y="365"/>
                  </a:lnTo>
                  <a:lnTo>
                    <a:pt x="8" y="355"/>
                  </a:lnTo>
                  <a:lnTo>
                    <a:pt x="16" y="343"/>
                  </a:lnTo>
                  <a:lnTo>
                    <a:pt x="24" y="325"/>
                  </a:lnTo>
                  <a:lnTo>
                    <a:pt x="34" y="308"/>
                  </a:lnTo>
                  <a:lnTo>
                    <a:pt x="60" y="266"/>
                  </a:lnTo>
                  <a:lnTo>
                    <a:pt x="90" y="218"/>
                  </a:lnTo>
                  <a:lnTo>
                    <a:pt x="128" y="176"/>
                  </a:lnTo>
                  <a:lnTo>
                    <a:pt x="171" y="138"/>
                  </a:lnTo>
                  <a:lnTo>
                    <a:pt x="193" y="120"/>
                  </a:lnTo>
                  <a:lnTo>
                    <a:pt x="217" y="106"/>
                  </a:lnTo>
                  <a:lnTo>
                    <a:pt x="267" y="84"/>
                  </a:lnTo>
                  <a:lnTo>
                    <a:pt x="311" y="66"/>
                  </a:lnTo>
                  <a:lnTo>
                    <a:pt x="357" y="52"/>
                  </a:lnTo>
                  <a:lnTo>
                    <a:pt x="401" y="40"/>
                  </a:lnTo>
                  <a:lnTo>
                    <a:pt x="443" y="32"/>
                  </a:lnTo>
                  <a:lnTo>
                    <a:pt x="487" y="26"/>
                  </a:lnTo>
                  <a:lnTo>
                    <a:pt x="529" y="24"/>
                  </a:lnTo>
                  <a:lnTo>
                    <a:pt x="575" y="24"/>
                  </a:lnTo>
                  <a:lnTo>
                    <a:pt x="617" y="26"/>
                  </a:lnTo>
                  <a:lnTo>
                    <a:pt x="655" y="28"/>
                  </a:lnTo>
                  <a:lnTo>
                    <a:pt x="693" y="32"/>
                  </a:lnTo>
                  <a:lnTo>
                    <a:pt x="729" y="38"/>
                  </a:lnTo>
                  <a:lnTo>
                    <a:pt x="764" y="46"/>
                  </a:lnTo>
                  <a:lnTo>
                    <a:pt x="798" y="60"/>
                  </a:lnTo>
                  <a:lnTo>
                    <a:pt x="834" y="76"/>
                  </a:lnTo>
                  <a:lnTo>
                    <a:pt x="872" y="96"/>
                  </a:lnTo>
                  <a:lnTo>
                    <a:pt x="906" y="116"/>
                  </a:lnTo>
                  <a:lnTo>
                    <a:pt x="934" y="136"/>
                  </a:lnTo>
                  <a:lnTo>
                    <a:pt x="956" y="154"/>
                  </a:lnTo>
                  <a:lnTo>
                    <a:pt x="974" y="170"/>
                  </a:lnTo>
                  <a:lnTo>
                    <a:pt x="986" y="184"/>
                  </a:lnTo>
                  <a:lnTo>
                    <a:pt x="996" y="198"/>
                  </a:lnTo>
                  <a:lnTo>
                    <a:pt x="1016" y="228"/>
                  </a:lnTo>
                  <a:lnTo>
                    <a:pt x="1026" y="242"/>
                  </a:lnTo>
                  <a:lnTo>
                    <a:pt x="1032" y="256"/>
                  </a:lnTo>
                  <a:lnTo>
                    <a:pt x="1038" y="268"/>
                  </a:lnTo>
                  <a:lnTo>
                    <a:pt x="1044" y="276"/>
                  </a:lnTo>
                  <a:lnTo>
                    <a:pt x="1048" y="284"/>
                  </a:lnTo>
                  <a:lnTo>
                    <a:pt x="1052" y="288"/>
                  </a:lnTo>
                  <a:lnTo>
                    <a:pt x="1052" y="290"/>
                  </a:lnTo>
                  <a:lnTo>
                    <a:pt x="1052" y="292"/>
                  </a:lnTo>
                  <a:lnTo>
                    <a:pt x="1052" y="288"/>
                  </a:lnTo>
                  <a:lnTo>
                    <a:pt x="1048" y="280"/>
                  </a:lnTo>
                  <a:lnTo>
                    <a:pt x="1042" y="268"/>
                  </a:lnTo>
                  <a:lnTo>
                    <a:pt x="1034" y="250"/>
                  </a:lnTo>
                  <a:lnTo>
                    <a:pt x="1020" y="220"/>
                  </a:lnTo>
                  <a:lnTo>
                    <a:pt x="1014" y="206"/>
                  </a:lnTo>
                  <a:lnTo>
                    <a:pt x="1008" y="196"/>
                  </a:lnTo>
                  <a:lnTo>
                    <a:pt x="1004" y="190"/>
                  </a:lnTo>
                  <a:lnTo>
                    <a:pt x="1000" y="186"/>
                  </a:lnTo>
                  <a:lnTo>
                    <a:pt x="982" y="168"/>
                  </a:lnTo>
                  <a:lnTo>
                    <a:pt x="960" y="144"/>
                  </a:lnTo>
                  <a:lnTo>
                    <a:pt x="932" y="120"/>
                  </a:lnTo>
                  <a:lnTo>
                    <a:pt x="898" y="94"/>
                  </a:lnTo>
                  <a:lnTo>
                    <a:pt x="860" y="68"/>
                  </a:lnTo>
                  <a:lnTo>
                    <a:pt x="816" y="46"/>
                  </a:lnTo>
                  <a:lnTo>
                    <a:pt x="766" y="28"/>
                  </a:lnTo>
                  <a:lnTo>
                    <a:pt x="721" y="18"/>
                  </a:lnTo>
                  <a:lnTo>
                    <a:pt x="677" y="8"/>
                  </a:lnTo>
                  <a:lnTo>
                    <a:pt x="639" y="2"/>
                  </a:lnTo>
                  <a:lnTo>
                    <a:pt x="601" y="0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8"/>
                  </a:lnTo>
                  <a:lnTo>
                    <a:pt x="433" y="14"/>
                  </a:lnTo>
                  <a:lnTo>
                    <a:pt x="371" y="26"/>
                  </a:lnTo>
                  <a:lnTo>
                    <a:pt x="313" y="38"/>
                  </a:lnTo>
                  <a:lnTo>
                    <a:pt x="263" y="54"/>
                  </a:lnTo>
                  <a:lnTo>
                    <a:pt x="217" y="76"/>
                  </a:lnTo>
                  <a:lnTo>
                    <a:pt x="183" y="98"/>
                  </a:lnTo>
                  <a:lnTo>
                    <a:pt x="147" y="126"/>
                  </a:lnTo>
                  <a:lnTo>
                    <a:pt x="118" y="158"/>
                  </a:lnTo>
                  <a:lnTo>
                    <a:pt x="88" y="192"/>
                  </a:lnTo>
                  <a:lnTo>
                    <a:pt x="80" y="204"/>
                  </a:lnTo>
                  <a:lnTo>
                    <a:pt x="70" y="216"/>
                  </a:lnTo>
                  <a:lnTo>
                    <a:pt x="50" y="246"/>
                  </a:lnTo>
                  <a:lnTo>
                    <a:pt x="34" y="272"/>
                  </a:lnTo>
                  <a:lnTo>
                    <a:pt x="28" y="286"/>
                  </a:lnTo>
                  <a:lnTo>
                    <a:pt x="26" y="294"/>
                  </a:lnTo>
                  <a:lnTo>
                    <a:pt x="18" y="319"/>
                  </a:lnTo>
                  <a:lnTo>
                    <a:pt x="10" y="341"/>
                  </a:lnTo>
                  <a:lnTo>
                    <a:pt x="0" y="375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8" name="Freeform 21"/>
            <p:cNvSpPr>
              <a:spLocks/>
            </p:cNvSpPr>
            <p:nvPr/>
          </p:nvSpPr>
          <p:spPr bwMode="auto">
            <a:xfrm>
              <a:off x="2586" y="1425"/>
              <a:ext cx="526" cy="186"/>
            </a:xfrm>
            <a:custGeom>
              <a:avLst/>
              <a:gdLst/>
              <a:ahLst/>
              <a:cxnLst>
                <a:cxn ang="0">
                  <a:pos x="2" y="369"/>
                </a:cxn>
                <a:cxn ang="0">
                  <a:pos x="8" y="351"/>
                </a:cxn>
                <a:cxn ang="0">
                  <a:pos x="24" y="319"/>
                </a:cxn>
                <a:cxn ang="0">
                  <a:pos x="60" y="260"/>
                </a:cxn>
                <a:cxn ang="0">
                  <a:pos x="128" y="172"/>
                </a:cxn>
                <a:cxn ang="0">
                  <a:pos x="193" y="114"/>
                </a:cxn>
                <a:cxn ang="0">
                  <a:pos x="267" y="78"/>
                </a:cxn>
                <a:cxn ang="0">
                  <a:pos x="357" y="46"/>
                </a:cxn>
                <a:cxn ang="0">
                  <a:pos x="443" y="26"/>
                </a:cxn>
                <a:cxn ang="0">
                  <a:pos x="529" y="18"/>
                </a:cxn>
                <a:cxn ang="0">
                  <a:pos x="617" y="20"/>
                </a:cxn>
                <a:cxn ang="0">
                  <a:pos x="693" y="26"/>
                </a:cxn>
                <a:cxn ang="0">
                  <a:pos x="764" y="42"/>
                </a:cxn>
                <a:cxn ang="0">
                  <a:pos x="834" y="70"/>
                </a:cxn>
                <a:cxn ang="0">
                  <a:pos x="906" y="112"/>
                </a:cxn>
                <a:cxn ang="0">
                  <a:pos x="956" y="148"/>
                </a:cxn>
                <a:cxn ang="0">
                  <a:pos x="986" y="180"/>
                </a:cxn>
                <a:cxn ang="0">
                  <a:pos x="1016" y="224"/>
                </a:cxn>
                <a:cxn ang="0">
                  <a:pos x="1032" y="250"/>
                </a:cxn>
                <a:cxn ang="0">
                  <a:pos x="1044" y="270"/>
                </a:cxn>
                <a:cxn ang="0">
                  <a:pos x="1052" y="284"/>
                </a:cxn>
                <a:cxn ang="0">
                  <a:pos x="1052" y="284"/>
                </a:cxn>
                <a:cxn ang="0">
                  <a:pos x="1042" y="262"/>
                </a:cxn>
                <a:cxn ang="0">
                  <a:pos x="1018" y="216"/>
                </a:cxn>
                <a:cxn ang="0">
                  <a:pos x="1006" y="192"/>
                </a:cxn>
                <a:cxn ang="0">
                  <a:pos x="998" y="182"/>
                </a:cxn>
                <a:cxn ang="0">
                  <a:pos x="960" y="140"/>
                </a:cxn>
                <a:cxn ang="0">
                  <a:pos x="898" y="90"/>
                </a:cxn>
                <a:cxn ang="0">
                  <a:pos x="816" y="44"/>
                </a:cxn>
                <a:cxn ang="0">
                  <a:pos x="721" y="16"/>
                </a:cxn>
                <a:cxn ang="0">
                  <a:pos x="639" y="0"/>
                </a:cxn>
                <a:cxn ang="0">
                  <a:pos x="563" y="0"/>
                </a:cxn>
                <a:cxn ang="0">
                  <a:pos x="481" y="8"/>
                </a:cxn>
                <a:cxn ang="0">
                  <a:pos x="377" y="24"/>
                </a:cxn>
                <a:cxn ang="0">
                  <a:pos x="279" y="50"/>
                </a:cxn>
                <a:cxn ang="0">
                  <a:pos x="195" y="88"/>
                </a:cxn>
                <a:cxn ang="0">
                  <a:pos x="122" y="152"/>
                </a:cxn>
                <a:cxn ang="0">
                  <a:pos x="70" y="216"/>
                </a:cxn>
                <a:cxn ang="0">
                  <a:pos x="36" y="270"/>
                </a:cxn>
                <a:cxn ang="0">
                  <a:pos x="28" y="292"/>
                </a:cxn>
                <a:cxn ang="0">
                  <a:pos x="14" y="331"/>
                </a:cxn>
                <a:cxn ang="0">
                  <a:pos x="0" y="371"/>
                </a:cxn>
              </a:cxnLst>
              <a:rect l="0" t="0" r="r" b="b"/>
              <a:pathLst>
                <a:path w="1052" h="371">
                  <a:moveTo>
                    <a:pt x="0" y="371"/>
                  </a:moveTo>
                  <a:lnTo>
                    <a:pt x="2" y="369"/>
                  </a:lnTo>
                  <a:lnTo>
                    <a:pt x="2" y="361"/>
                  </a:lnTo>
                  <a:lnTo>
                    <a:pt x="8" y="351"/>
                  </a:lnTo>
                  <a:lnTo>
                    <a:pt x="16" y="337"/>
                  </a:lnTo>
                  <a:lnTo>
                    <a:pt x="24" y="319"/>
                  </a:lnTo>
                  <a:lnTo>
                    <a:pt x="34" y="302"/>
                  </a:lnTo>
                  <a:lnTo>
                    <a:pt x="60" y="260"/>
                  </a:lnTo>
                  <a:lnTo>
                    <a:pt x="90" y="214"/>
                  </a:lnTo>
                  <a:lnTo>
                    <a:pt x="128" y="172"/>
                  </a:lnTo>
                  <a:lnTo>
                    <a:pt x="171" y="132"/>
                  </a:lnTo>
                  <a:lnTo>
                    <a:pt x="193" y="114"/>
                  </a:lnTo>
                  <a:lnTo>
                    <a:pt x="217" y="102"/>
                  </a:lnTo>
                  <a:lnTo>
                    <a:pt x="267" y="78"/>
                  </a:lnTo>
                  <a:lnTo>
                    <a:pt x="311" y="60"/>
                  </a:lnTo>
                  <a:lnTo>
                    <a:pt x="357" y="46"/>
                  </a:lnTo>
                  <a:lnTo>
                    <a:pt x="401" y="34"/>
                  </a:lnTo>
                  <a:lnTo>
                    <a:pt x="443" y="26"/>
                  </a:lnTo>
                  <a:lnTo>
                    <a:pt x="487" y="22"/>
                  </a:lnTo>
                  <a:lnTo>
                    <a:pt x="529" y="18"/>
                  </a:lnTo>
                  <a:lnTo>
                    <a:pt x="575" y="18"/>
                  </a:lnTo>
                  <a:lnTo>
                    <a:pt x="617" y="20"/>
                  </a:lnTo>
                  <a:lnTo>
                    <a:pt x="655" y="24"/>
                  </a:lnTo>
                  <a:lnTo>
                    <a:pt x="693" y="26"/>
                  </a:lnTo>
                  <a:lnTo>
                    <a:pt x="729" y="34"/>
                  </a:lnTo>
                  <a:lnTo>
                    <a:pt x="764" y="42"/>
                  </a:lnTo>
                  <a:lnTo>
                    <a:pt x="798" y="54"/>
                  </a:lnTo>
                  <a:lnTo>
                    <a:pt x="834" y="70"/>
                  </a:lnTo>
                  <a:lnTo>
                    <a:pt x="872" y="90"/>
                  </a:lnTo>
                  <a:lnTo>
                    <a:pt x="906" y="112"/>
                  </a:lnTo>
                  <a:lnTo>
                    <a:pt x="934" y="130"/>
                  </a:lnTo>
                  <a:lnTo>
                    <a:pt x="956" y="148"/>
                  </a:lnTo>
                  <a:lnTo>
                    <a:pt x="974" y="166"/>
                  </a:lnTo>
                  <a:lnTo>
                    <a:pt x="986" y="180"/>
                  </a:lnTo>
                  <a:lnTo>
                    <a:pt x="996" y="192"/>
                  </a:lnTo>
                  <a:lnTo>
                    <a:pt x="1016" y="224"/>
                  </a:lnTo>
                  <a:lnTo>
                    <a:pt x="1026" y="238"/>
                  </a:lnTo>
                  <a:lnTo>
                    <a:pt x="1032" y="250"/>
                  </a:lnTo>
                  <a:lnTo>
                    <a:pt x="1038" y="262"/>
                  </a:lnTo>
                  <a:lnTo>
                    <a:pt x="1044" y="270"/>
                  </a:lnTo>
                  <a:lnTo>
                    <a:pt x="1048" y="278"/>
                  </a:lnTo>
                  <a:lnTo>
                    <a:pt x="1052" y="284"/>
                  </a:lnTo>
                  <a:lnTo>
                    <a:pt x="1052" y="286"/>
                  </a:lnTo>
                  <a:lnTo>
                    <a:pt x="1052" y="284"/>
                  </a:lnTo>
                  <a:lnTo>
                    <a:pt x="1048" y="276"/>
                  </a:lnTo>
                  <a:lnTo>
                    <a:pt x="1042" y="262"/>
                  </a:lnTo>
                  <a:lnTo>
                    <a:pt x="1034" y="248"/>
                  </a:lnTo>
                  <a:lnTo>
                    <a:pt x="1018" y="216"/>
                  </a:lnTo>
                  <a:lnTo>
                    <a:pt x="1012" y="202"/>
                  </a:lnTo>
                  <a:lnTo>
                    <a:pt x="1006" y="192"/>
                  </a:lnTo>
                  <a:lnTo>
                    <a:pt x="1002" y="188"/>
                  </a:lnTo>
                  <a:lnTo>
                    <a:pt x="998" y="182"/>
                  </a:lnTo>
                  <a:lnTo>
                    <a:pt x="982" y="164"/>
                  </a:lnTo>
                  <a:lnTo>
                    <a:pt x="960" y="140"/>
                  </a:lnTo>
                  <a:lnTo>
                    <a:pt x="932" y="116"/>
                  </a:lnTo>
                  <a:lnTo>
                    <a:pt x="898" y="90"/>
                  </a:lnTo>
                  <a:lnTo>
                    <a:pt x="860" y="66"/>
                  </a:lnTo>
                  <a:lnTo>
                    <a:pt x="816" y="44"/>
                  </a:lnTo>
                  <a:lnTo>
                    <a:pt x="766" y="26"/>
                  </a:lnTo>
                  <a:lnTo>
                    <a:pt x="721" y="16"/>
                  </a:lnTo>
                  <a:lnTo>
                    <a:pt x="677" y="6"/>
                  </a:lnTo>
                  <a:lnTo>
                    <a:pt x="639" y="0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5" y="2"/>
                  </a:lnTo>
                  <a:lnTo>
                    <a:pt x="481" y="8"/>
                  </a:lnTo>
                  <a:lnTo>
                    <a:pt x="433" y="14"/>
                  </a:lnTo>
                  <a:lnTo>
                    <a:pt x="377" y="24"/>
                  </a:lnTo>
                  <a:lnTo>
                    <a:pt x="325" y="34"/>
                  </a:lnTo>
                  <a:lnTo>
                    <a:pt x="279" y="50"/>
                  </a:lnTo>
                  <a:lnTo>
                    <a:pt x="235" y="68"/>
                  </a:lnTo>
                  <a:lnTo>
                    <a:pt x="195" y="88"/>
                  </a:lnTo>
                  <a:lnTo>
                    <a:pt x="157" y="118"/>
                  </a:lnTo>
                  <a:lnTo>
                    <a:pt x="122" y="152"/>
                  </a:lnTo>
                  <a:lnTo>
                    <a:pt x="88" y="192"/>
                  </a:lnTo>
                  <a:lnTo>
                    <a:pt x="70" y="216"/>
                  </a:lnTo>
                  <a:lnTo>
                    <a:pt x="52" y="242"/>
                  </a:lnTo>
                  <a:lnTo>
                    <a:pt x="36" y="270"/>
                  </a:lnTo>
                  <a:lnTo>
                    <a:pt x="30" y="282"/>
                  </a:lnTo>
                  <a:lnTo>
                    <a:pt x="28" y="292"/>
                  </a:lnTo>
                  <a:lnTo>
                    <a:pt x="20" y="311"/>
                  </a:lnTo>
                  <a:lnTo>
                    <a:pt x="14" y="331"/>
                  </a:lnTo>
                  <a:lnTo>
                    <a:pt x="6" y="349"/>
                  </a:lnTo>
                  <a:lnTo>
                    <a:pt x="0" y="371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99" name="Freeform 22"/>
            <p:cNvSpPr>
              <a:spLocks/>
            </p:cNvSpPr>
            <p:nvPr/>
          </p:nvSpPr>
          <p:spPr bwMode="auto">
            <a:xfrm>
              <a:off x="2586" y="1428"/>
              <a:ext cx="531" cy="368"/>
            </a:xfrm>
            <a:custGeom>
              <a:avLst/>
              <a:gdLst/>
              <a:ahLst/>
              <a:cxnLst>
                <a:cxn ang="0">
                  <a:pos x="2" y="303"/>
                </a:cxn>
                <a:cxn ang="0">
                  <a:pos x="16" y="278"/>
                </a:cxn>
                <a:cxn ang="0">
                  <a:pos x="46" y="234"/>
                </a:cxn>
                <a:cxn ang="0">
                  <a:pos x="92" y="180"/>
                </a:cxn>
                <a:cxn ang="0">
                  <a:pos x="157" y="122"/>
                </a:cxn>
                <a:cxn ang="0">
                  <a:pos x="241" y="68"/>
                </a:cxn>
                <a:cxn ang="0">
                  <a:pos x="347" y="26"/>
                </a:cxn>
                <a:cxn ang="0">
                  <a:pos x="475" y="0"/>
                </a:cxn>
                <a:cxn ang="0">
                  <a:pos x="547" y="0"/>
                </a:cxn>
                <a:cxn ang="0">
                  <a:pos x="657" y="2"/>
                </a:cxn>
                <a:cxn ang="0">
                  <a:pos x="753" y="18"/>
                </a:cxn>
                <a:cxn ang="0">
                  <a:pos x="834" y="48"/>
                </a:cxn>
                <a:cxn ang="0">
                  <a:pos x="900" y="84"/>
                </a:cxn>
                <a:cxn ang="0">
                  <a:pos x="952" y="122"/>
                </a:cxn>
                <a:cxn ang="0">
                  <a:pos x="992" y="158"/>
                </a:cxn>
                <a:cxn ang="0">
                  <a:pos x="1018" y="190"/>
                </a:cxn>
                <a:cxn ang="0">
                  <a:pos x="1032" y="216"/>
                </a:cxn>
                <a:cxn ang="0">
                  <a:pos x="1050" y="250"/>
                </a:cxn>
                <a:cxn ang="0">
                  <a:pos x="1060" y="284"/>
                </a:cxn>
                <a:cxn ang="0">
                  <a:pos x="1060" y="327"/>
                </a:cxn>
                <a:cxn ang="0">
                  <a:pos x="1042" y="387"/>
                </a:cxn>
                <a:cxn ang="0">
                  <a:pos x="1028" y="405"/>
                </a:cxn>
                <a:cxn ang="0">
                  <a:pos x="980" y="457"/>
                </a:cxn>
                <a:cxn ang="0">
                  <a:pos x="904" y="513"/>
                </a:cxn>
                <a:cxn ang="0">
                  <a:pos x="764" y="603"/>
                </a:cxn>
                <a:cxn ang="0">
                  <a:pos x="621" y="679"/>
                </a:cxn>
                <a:cxn ang="0">
                  <a:pos x="545" y="715"/>
                </a:cxn>
                <a:cxn ang="0">
                  <a:pos x="499" y="731"/>
                </a:cxn>
                <a:cxn ang="0">
                  <a:pos x="477" y="735"/>
                </a:cxn>
                <a:cxn ang="0">
                  <a:pos x="453" y="729"/>
                </a:cxn>
                <a:cxn ang="0">
                  <a:pos x="407" y="717"/>
                </a:cxn>
                <a:cxn ang="0">
                  <a:pos x="343" y="705"/>
                </a:cxn>
                <a:cxn ang="0">
                  <a:pos x="235" y="679"/>
                </a:cxn>
                <a:cxn ang="0">
                  <a:pos x="131" y="647"/>
                </a:cxn>
                <a:cxn ang="0">
                  <a:pos x="78" y="621"/>
                </a:cxn>
                <a:cxn ang="0">
                  <a:pos x="46" y="591"/>
                </a:cxn>
                <a:cxn ang="0">
                  <a:pos x="0" y="307"/>
                </a:cxn>
              </a:cxnLst>
              <a:rect l="0" t="0" r="r" b="b"/>
              <a:pathLst>
                <a:path w="1062" h="735">
                  <a:moveTo>
                    <a:pt x="0" y="307"/>
                  </a:moveTo>
                  <a:lnTo>
                    <a:pt x="2" y="303"/>
                  </a:lnTo>
                  <a:lnTo>
                    <a:pt x="6" y="294"/>
                  </a:lnTo>
                  <a:lnTo>
                    <a:pt x="16" y="278"/>
                  </a:lnTo>
                  <a:lnTo>
                    <a:pt x="28" y="260"/>
                  </a:lnTo>
                  <a:lnTo>
                    <a:pt x="46" y="234"/>
                  </a:lnTo>
                  <a:lnTo>
                    <a:pt x="66" y="208"/>
                  </a:lnTo>
                  <a:lnTo>
                    <a:pt x="92" y="180"/>
                  </a:lnTo>
                  <a:lnTo>
                    <a:pt x="122" y="150"/>
                  </a:lnTo>
                  <a:lnTo>
                    <a:pt x="157" y="122"/>
                  </a:lnTo>
                  <a:lnTo>
                    <a:pt x="197" y="94"/>
                  </a:lnTo>
                  <a:lnTo>
                    <a:pt x="241" y="68"/>
                  </a:lnTo>
                  <a:lnTo>
                    <a:pt x="291" y="44"/>
                  </a:lnTo>
                  <a:lnTo>
                    <a:pt x="347" y="26"/>
                  </a:lnTo>
                  <a:lnTo>
                    <a:pt x="407" y="10"/>
                  </a:lnTo>
                  <a:lnTo>
                    <a:pt x="475" y="0"/>
                  </a:lnTo>
                  <a:lnTo>
                    <a:pt x="511" y="0"/>
                  </a:lnTo>
                  <a:lnTo>
                    <a:pt x="547" y="0"/>
                  </a:lnTo>
                  <a:lnTo>
                    <a:pt x="603" y="0"/>
                  </a:lnTo>
                  <a:lnTo>
                    <a:pt x="657" y="2"/>
                  </a:lnTo>
                  <a:lnTo>
                    <a:pt x="707" y="8"/>
                  </a:lnTo>
                  <a:lnTo>
                    <a:pt x="753" y="18"/>
                  </a:lnTo>
                  <a:lnTo>
                    <a:pt x="794" y="32"/>
                  </a:lnTo>
                  <a:lnTo>
                    <a:pt x="834" y="48"/>
                  </a:lnTo>
                  <a:lnTo>
                    <a:pt x="868" y="64"/>
                  </a:lnTo>
                  <a:lnTo>
                    <a:pt x="900" y="84"/>
                  </a:lnTo>
                  <a:lnTo>
                    <a:pt x="928" y="102"/>
                  </a:lnTo>
                  <a:lnTo>
                    <a:pt x="952" y="122"/>
                  </a:lnTo>
                  <a:lnTo>
                    <a:pt x="974" y="140"/>
                  </a:lnTo>
                  <a:lnTo>
                    <a:pt x="992" y="158"/>
                  </a:lnTo>
                  <a:lnTo>
                    <a:pt x="1006" y="176"/>
                  </a:lnTo>
                  <a:lnTo>
                    <a:pt x="1018" y="190"/>
                  </a:lnTo>
                  <a:lnTo>
                    <a:pt x="1026" y="204"/>
                  </a:lnTo>
                  <a:lnTo>
                    <a:pt x="1032" y="216"/>
                  </a:lnTo>
                  <a:lnTo>
                    <a:pt x="1042" y="234"/>
                  </a:lnTo>
                  <a:lnTo>
                    <a:pt x="1050" y="250"/>
                  </a:lnTo>
                  <a:lnTo>
                    <a:pt x="1056" y="266"/>
                  </a:lnTo>
                  <a:lnTo>
                    <a:pt x="1060" y="284"/>
                  </a:lnTo>
                  <a:lnTo>
                    <a:pt x="1062" y="303"/>
                  </a:lnTo>
                  <a:lnTo>
                    <a:pt x="1060" y="327"/>
                  </a:lnTo>
                  <a:lnTo>
                    <a:pt x="1054" y="355"/>
                  </a:lnTo>
                  <a:lnTo>
                    <a:pt x="1042" y="387"/>
                  </a:lnTo>
                  <a:lnTo>
                    <a:pt x="1036" y="395"/>
                  </a:lnTo>
                  <a:lnTo>
                    <a:pt x="1028" y="405"/>
                  </a:lnTo>
                  <a:lnTo>
                    <a:pt x="1008" y="431"/>
                  </a:lnTo>
                  <a:lnTo>
                    <a:pt x="980" y="457"/>
                  </a:lnTo>
                  <a:lnTo>
                    <a:pt x="944" y="483"/>
                  </a:lnTo>
                  <a:lnTo>
                    <a:pt x="904" y="513"/>
                  </a:lnTo>
                  <a:lnTo>
                    <a:pt x="860" y="543"/>
                  </a:lnTo>
                  <a:lnTo>
                    <a:pt x="764" y="603"/>
                  </a:lnTo>
                  <a:lnTo>
                    <a:pt x="667" y="657"/>
                  </a:lnTo>
                  <a:lnTo>
                    <a:pt x="621" y="679"/>
                  </a:lnTo>
                  <a:lnTo>
                    <a:pt x="581" y="699"/>
                  </a:lnTo>
                  <a:lnTo>
                    <a:pt x="545" y="715"/>
                  </a:lnTo>
                  <a:lnTo>
                    <a:pt x="511" y="725"/>
                  </a:lnTo>
                  <a:lnTo>
                    <a:pt x="499" y="731"/>
                  </a:lnTo>
                  <a:lnTo>
                    <a:pt x="485" y="733"/>
                  </a:lnTo>
                  <a:lnTo>
                    <a:pt x="477" y="735"/>
                  </a:lnTo>
                  <a:lnTo>
                    <a:pt x="469" y="733"/>
                  </a:lnTo>
                  <a:lnTo>
                    <a:pt x="453" y="729"/>
                  </a:lnTo>
                  <a:lnTo>
                    <a:pt x="433" y="725"/>
                  </a:lnTo>
                  <a:lnTo>
                    <a:pt x="407" y="717"/>
                  </a:lnTo>
                  <a:lnTo>
                    <a:pt x="375" y="711"/>
                  </a:lnTo>
                  <a:lnTo>
                    <a:pt x="343" y="705"/>
                  </a:lnTo>
                  <a:lnTo>
                    <a:pt x="307" y="697"/>
                  </a:lnTo>
                  <a:lnTo>
                    <a:pt x="235" y="679"/>
                  </a:lnTo>
                  <a:lnTo>
                    <a:pt x="163" y="657"/>
                  </a:lnTo>
                  <a:lnTo>
                    <a:pt x="131" y="647"/>
                  </a:lnTo>
                  <a:lnTo>
                    <a:pt x="104" y="633"/>
                  </a:lnTo>
                  <a:lnTo>
                    <a:pt x="78" y="621"/>
                  </a:lnTo>
                  <a:lnTo>
                    <a:pt x="58" y="605"/>
                  </a:lnTo>
                  <a:lnTo>
                    <a:pt x="46" y="591"/>
                  </a:lnTo>
                  <a:lnTo>
                    <a:pt x="38" y="575"/>
                  </a:lnTo>
                  <a:lnTo>
                    <a:pt x="0" y="307"/>
                  </a:lnTo>
                  <a:close/>
                </a:path>
              </a:pathLst>
            </a:custGeom>
            <a:solidFill>
              <a:srgbClr val="80C2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0" name="Oval 23"/>
            <p:cNvSpPr>
              <a:spLocks noChangeArrowheads="1"/>
            </p:cNvSpPr>
            <p:nvPr/>
          </p:nvSpPr>
          <p:spPr bwMode="auto">
            <a:xfrm>
              <a:off x="2590" y="1537"/>
              <a:ext cx="114" cy="137"/>
            </a:xfrm>
            <a:prstGeom prst="ellipse">
              <a:avLst/>
            </a:prstGeom>
            <a:solidFill>
              <a:srgbClr val="80C2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1" name="Freeform 24"/>
            <p:cNvSpPr>
              <a:spLocks/>
            </p:cNvSpPr>
            <p:nvPr/>
          </p:nvSpPr>
          <p:spPr bwMode="auto">
            <a:xfrm>
              <a:off x="2591" y="1538"/>
              <a:ext cx="106" cy="129"/>
            </a:xfrm>
            <a:custGeom>
              <a:avLst/>
              <a:gdLst/>
              <a:ahLst/>
              <a:cxnLst>
                <a:cxn ang="0">
                  <a:pos x="0" y="129"/>
                </a:cxn>
                <a:cxn ang="0">
                  <a:pos x="2" y="155"/>
                </a:cxn>
                <a:cxn ang="0">
                  <a:pos x="8" y="177"/>
                </a:cxn>
                <a:cxn ang="0">
                  <a:pos x="18" y="199"/>
                </a:cxn>
                <a:cxn ang="0">
                  <a:pos x="32" y="219"/>
                </a:cxn>
                <a:cxn ang="0">
                  <a:pos x="46" y="233"/>
                </a:cxn>
                <a:cxn ang="0">
                  <a:pos x="66" y="247"/>
                </a:cxn>
                <a:cxn ang="0">
                  <a:pos x="86" y="253"/>
                </a:cxn>
                <a:cxn ang="0">
                  <a:pos x="106" y="257"/>
                </a:cxn>
                <a:cxn ang="0">
                  <a:pos x="125" y="253"/>
                </a:cxn>
                <a:cxn ang="0">
                  <a:pos x="147" y="247"/>
                </a:cxn>
                <a:cxn ang="0">
                  <a:pos x="165" y="233"/>
                </a:cxn>
                <a:cxn ang="0">
                  <a:pos x="181" y="219"/>
                </a:cxn>
                <a:cxn ang="0">
                  <a:pos x="193" y="199"/>
                </a:cxn>
                <a:cxn ang="0">
                  <a:pos x="203" y="177"/>
                </a:cxn>
                <a:cxn ang="0">
                  <a:pos x="209" y="155"/>
                </a:cxn>
                <a:cxn ang="0">
                  <a:pos x="211" y="129"/>
                </a:cxn>
                <a:cxn ang="0">
                  <a:pos x="209" y="103"/>
                </a:cxn>
                <a:cxn ang="0">
                  <a:pos x="203" y="79"/>
                </a:cxn>
                <a:cxn ang="0">
                  <a:pos x="193" y="58"/>
                </a:cxn>
                <a:cxn ang="0">
                  <a:pos x="181" y="40"/>
                </a:cxn>
                <a:cxn ang="0">
                  <a:pos x="165" y="22"/>
                </a:cxn>
                <a:cxn ang="0">
                  <a:pos x="147" y="10"/>
                </a:cxn>
                <a:cxn ang="0">
                  <a:pos x="125" y="4"/>
                </a:cxn>
                <a:cxn ang="0">
                  <a:pos x="106" y="0"/>
                </a:cxn>
                <a:cxn ang="0">
                  <a:pos x="86" y="4"/>
                </a:cxn>
                <a:cxn ang="0">
                  <a:pos x="66" y="10"/>
                </a:cxn>
                <a:cxn ang="0">
                  <a:pos x="46" y="22"/>
                </a:cxn>
                <a:cxn ang="0">
                  <a:pos x="32" y="40"/>
                </a:cxn>
                <a:cxn ang="0">
                  <a:pos x="18" y="58"/>
                </a:cxn>
                <a:cxn ang="0">
                  <a:pos x="8" y="79"/>
                </a:cxn>
                <a:cxn ang="0">
                  <a:pos x="2" y="103"/>
                </a:cxn>
                <a:cxn ang="0">
                  <a:pos x="0" y="129"/>
                </a:cxn>
              </a:cxnLst>
              <a:rect l="0" t="0" r="r" b="b"/>
              <a:pathLst>
                <a:path w="211" h="257">
                  <a:moveTo>
                    <a:pt x="0" y="129"/>
                  </a:moveTo>
                  <a:lnTo>
                    <a:pt x="2" y="155"/>
                  </a:lnTo>
                  <a:lnTo>
                    <a:pt x="8" y="177"/>
                  </a:lnTo>
                  <a:lnTo>
                    <a:pt x="18" y="199"/>
                  </a:lnTo>
                  <a:lnTo>
                    <a:pt x="32" y="219"/>
                  </a:lnTo>
                  <a:lnTo>
                    <a:pt x="46" y="233"/>
                  </a:lnTo>
                  <a:lnTo>
                    <a:pt x="66" y="247"/>
                  </a:lnTo>
                  <a:lnTo>
                    <a:pt x="86" y="253"/>
                  </a:lnTo>
                  <a:lnTo>
                    <a:pt x="106" y="257"/>
                  </a:lnTo>
                  <a:lnTo>
                    <a:pt x="125" y="253"/>
                  </a:lnTo>
                  <a:lnTo>
                    <a:pt x="147" y="247"/>
                  </a:lnTo>
                  <a:lnTo>
                    <a:pt x="165" y="233"/>
                  </a:lnTo>
                  <a:lnTo>
                    <a:pt x="181" y="219"/>
                  </a:lnTo>
                  <a:lnTo>
                    <a:pt x="193" y="199"/>
                  </a:lnTo>
                  <a:lnTo>
                    <a:pt x="203" y="177"/>
                  </a:lnTo>
                  <a:lnTo>
                    <a:pt x="209" y="155"/>
                  </a:lnTo>
                  <a:lnTo>
                    <a:pt x="211" y="129"/>
                  </a:lnTo>
                  <a:lnTo>
                    <a:pt x="209" y="103"/>
                  </a:lnTo>
                  <a:lnTo>
                    <a:pt x="203" y="79"/>
                  </a:lnTo>
                  <a:lnTo>
                    <a:pt x="193" y="58"/>
                  </a:lnTo>
                  <a:lnTo>
                    <a:pt x="181" y="40"/>
                  </a:lnTo>
                  <a:lnTo>
                    <a:pt x="165" y="22"/>
                  </a:lnTo>
                  <a:lnTo>
                    <a:pt x="147" y="10"/>
                  </a:lnTo>
                  <a:lnTo>
                    <a:pt x="125" y="4"/>
                  </a:lnTo>
                  <a:lnTo>
                    <a:pt x="106" y="0"/>
                  </a:lnTo>
                  <a:lnTo>
                    <a:pt x="86" y="4"/>
                  </a:lnTo>
                  <a:lnTo>
                    <a:pt x="66" y="10"/>
                  </a:lnTo>
                  <a:lnTo>
                    <a:pt x="46" y="22"/>
                  </a:lnTo>
                  <a:lnTo>
                    <a:pt x="32" y="40"/>
                  </a:lnTo>
                  <a:lnTo>
                    <a:pt x="18" y="58"/>
                  </a:lnTo>
                  <a:lnTo>
                    <a:pt x="8" y="79"/>
                  </a:lnTo>
                  <a:lnTo>
                    <a:pt x="2" y="103"/>
                  </a:lnTo>
                  <a:lnTo>
                    <a:pt x="0" y="129"/>
                  </a:lnTo>
                  <a:close/>
                </a:path>
              </a:pathLst>
            </a:custGeom>
            <a:solidFill>
              <a:srgbClr val="88C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2" name="Freeform 25"/>
            <p:cNvSpPr>
              <a:spLocks/>
            </p:cNvSpPr>
            <p:nvPr/>
          </p:nvSpPr>
          <p:spPr bwMode="auto">
            <a:xfrm>
              <a:off x="2592" y="1541"/>
              <a:ext cx="102" cy="122"/>
            </a:xfrm>
            <a:custGeom>
              <a:avLst/>
              <a:gdLst/>
              <a:ahLst/>
              <a:cxnLst>
                <a:cxn ang="0">
                  <a:pos x="0" y="121"/>
                </a:cxn>
                <a:cxn ang="0">
                  <a:pos x="2" y="143"/>
                </a:cxn>
                <a:cxn ang="0">
                  <a:pos x="8" y="169"/>
                </a:cxn>
                <a:cxn ang="0">
                  <a:pos x="18" y="189"/>
                </a:cxn>
                <a:cxn ang="0">
                  <a:pos x="30" y="207"/>
                </a:cxn>
                <a:cxn ang="0">
                  <a:pos x="44" y="221"/>
                </a:cxn>
                <a:cxn ang="0">
                  <a:pos x="62" y="233"/>
                </a:cxn>
                <a:cxn ang="0">
                  <a:pos x="82" y="239"/>
                </a:cxn>
                <a:cxn ang="0">
                  <a:pos x="102" y="243"/>
                </a:cxn>
                <a:cxn ang="0">
                  <a:pos x="121" y="239"/>
                </a:cxn>
                <a:cxn ang="0">
                  <a:pos x="141" y="233"/>
                </a:cxn>
                <a:cxn ang="0">
                  <a:pos x="157" y="221"/>
                </a:cxn>
                <a:cxn ang="0">
                  <a:pos x="173" y="207"/>
                </a:cxn>
                <a:cxn ang="0">
                  <a:pos x="185" y="189"/>
                </a:cxn>
                <a:cxn ang="0">
                  <a:pos x="195" y="169"/>
                </a:cxn>
                <a:cxn ang="0">
                  <a:pos x="201" y="143"/>
                </a:cxn>
                <a:cxn ang="0">
                  <a:pos x="203" y="121"/>
                </a:cxn>
                <a:cxn ang="0">
                  <a:pos x="201" y="97"/>
                </a:cxn>
                <a:cxn ang="0">
                  <a:pos x="195" y="73"/>
                </a:cxn>
                <a:cxn ang="0">
                  <a:pos x="185" y="52"/>
                </a:cxn>
                <a:cxn ang="0">
                  <a:pos x="173" y="34"/>
                </a:cxn>
                <a:cxn ang="0">
                  <a:pos x="157" y="20"/>
                </a:cxn>
                <a:cxn ang="0">
                  <a:pos x="141" y="8"/>
                </a:cxn>
                <a:cxn ang="0">
                  <a:pos x="121" y="2"/>
                </a:cxn>
                <a:cxn ang="0">
                  <a:pos x="102" y="0"/>
                </a:cxn>
                <a:cxn ang="0">
                  <a:pos x="82" y="2"/>
                </a:cxn>
                <a:cxn ang="0">
                  <a:pos x="62" y="8"/>
                </a:cxn>
                <a:cxn ang="0">
                  <a:pos x="44" y="20"/>
                </a:cxn>
                <a:cxn ang="0">
                  <a:pos x="30" y="34"/>
                </a:cxn>
                <a:cxn ang="0">
                  <a:pos x="18" y="52"/>
                </a:cxn>
                <a:cxn ang="0">
                  <a:pos x="8" y="73"/>
                </a:cxn>
                <a:cxn ang="0">
                  <a:pos x="2" y="97"/>
                </a:cxn>
                <a:cxn ang="0">
                  <a:pos x="0" y="121"/>
                </a:cxn>
              </a:cxnLst>
              <a:rect l="0" t="0" r="r" b="b"/>
              <a:pathLst>
                <a:path w="203" h="243">
                  <a:moveTo>
                    <a:pt x="0" y="121"/>
                  </a:moveTo>
                  <a:lnTo>
                    <a:pt x="2" y="143"/>
                  </a:lnTo>
                  <a:lnTo>
                    <a:pt x="8" y="169"/>
                  </a:lnTo>
                  <a:lnTo>
                    <a:pt x="18" y="189"/>
                  </a:lnTo>
                  <a:lnTo>
                    <a:pt x="30" y="207"/>
                  </a:lnTo>
                  <a:lnTo>
                    <a:pt x="44" y="221"/>
                  </a:lnTo>
                  <a:lnTo>
                    <a:pt x="62" y="233"/>
                  </a:lnTo>
                  <a:lnTo>
                    <a:pt x="82" y="239"/>
                  </a:lnTo>
                  <a:lnTo>
                    <a:pt x="102" y="243"/>
                  </a:lnTo>
                  <a:lnTo>
                    <a:pt x="121" y="239"/>
                  </a:lnTo>
                  <a:lnTo>
                    <a:pt x="141" y="233"/>
                  </a:lnTo>
                  <a:lnTo>
                    <a:pt x="157" y="221"/>
                  </a:lnTo>
                  <a:lnTo>
                    <a:pt x="173" y="207"/>
                  </a:lnTo>
                  <a:lnTo>
                    <a:pt x="185" y="189"/>
                  </a:lnTo>
                  <a:lnTo>
                    <a:pt x="195" y="169"/>
                  </a:lnTo>
                  <a:lnTo>
                    <a:pt x="201" y="143"/>
                  </a:lnTo>
                  <a:lnTo>
                    <a:pt x="203" y="121"/>
                  </a:lnTo>
                  <a:lnTo>
                    <a:pt x="201" y="97"/>
                  </a:lnTo>
                  <a:lnTo>
                    <a:pt x="195" y="73"/>
                  </a:lnTo>
                  <a:lnTo>
                    <a:pt x="185" y="52"/>
                  </a:lnTo>
                  <a:lnTo>
                    <a:pt x="173" y="34"/>
                  </a:lnTo>
                  <a:lnTo>
                    <a:pt x="157" y="20"/>
                  </a:lnTo>
                  <a:lnTo>
                    <a:pt x="141" y="8"/>
                  </a:lnTo>
                  <a:lnTo>
                    <a:pt x="121" y="2"/>
                  </a:lnTo>
                  <a:lnTo>
                    <a:pt x="102" y="0"/>
                  </a:lnTo>
                  <a:lnTo>
                    <a:pt x="82" y="2"/>
                  </a:lnTo>
                  <a:lnTo>
                    <a:pt x="62" y="8"/>
                  </a:lnTo>
                  <a:lnTo>
                    <a:pt x="44" y="20"/>
                  </a:lnTo>
                  <a:lnTo>
                    <a:pt x="30" y="34"/>
                  </a:lnTo>
                  <a:lnTo>
                    <a:pt x="18" y="52"/>
                  </a:lnTo>
                  <a:lnTo>
                    <a:pt x="8" y="73"/>
                  </a:lnTo>
                  <a:lnTo>
                    <a:pt x="2" y="97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90CA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3" name="Freeform 26"/>
            <p:cNvSpPr>
              <a:spLocks/>
            </p:cNvSpPr>
            <p:nvPr/>
          </p:nvSpPr>
          <p:spPr bwMode="auto">
            <a:xfrm>
              <a:off x="2594" y="1542"/>
              <a:ext cx="97" cy="118"/>
            </a:xfrm>
            <a:custGeom>
              <a:avLst/>
              <a:gdLst/>
              <a:ahLst/>
              <a:cxnLst>
                <a:cxn ang="0">
                  <a:pos x="0" y="117"/>
                </a:cxn>
                <a:cxn ang="0">
                  <a:pos x="2" y="141"/>
                </a:cxn>
                <a:cxn ang="0">
                  <a:pos x="8" y="161"/>
                </a:cxn>
                <a:cxn ang="0">
                  <a:pos x="16" y="183"/>
                </a:cxn>
                <a:cxn ang="0">
                  <a:pos x="30" y="201"/>
                </a:cxn>
                <a:cxn ang="0">
                  <a:pos x="44" y="213"/>
                </a:cxn>
                <a:cxn ang="0">
                  <a:pos x="60" y="225"/>
                </a:cxn>
                <a:cxn ang="0">
                  <a:pos x="78" y="233"/>
                </a:cxn>
                <a:cxn ang="0">
                  <a:pos x="96" y="235"/>
                </a:cxn>
                <a:cxn ang="0">
                  <a:pos x="114" y="233"/>
                </a:cxn>
                <a:cxn ang="0">
                  <a:pos x="133" y="225"/>
                </a:cxn>
                <a:cxn ang="0">
                  <a:pos x="149" y="213"/>
                </a:cxn>
                <a:cxn ang="0">
                  <a:pos x="165" y="201"/>
                </a:cxn>
                <a:cxn ang="0">
                  <a:pos x="177" y="183"/>
                </a:cxn>
                <a:cxn ang="0">
                  <a:pos x="185" y="161"/>
                </a:cxn>
                <a:cxn ang="0">
                  <a:pos x="191" y="141"/>
                </a:cxn>
                <a:cxn ang="0">
                  <a:pos x="193" y="117"/>
                </a:cxn>
                <a:cxn ang="0">
                  <a:pos x="191" y="93"/>
                </a:cxn>
                <a:cxn ang="0">
                  <a:pos x="185" y="73"/>
                </a:cxn>
                <a:cxn ang="0">
                  <a:pos x="177" y="52"/>
                </a:cxn>
                <a:cxn ang="0">
                  <a:pos x="165" y="36"/>
                </a:cxn>
                <a:cxn ang="0">
                  <a:pos x="149" y="22"/>
                </a:cxn>
                <a:cxn ang="0">
                  <a:pos x="133" y="10"/>
                </a:cxn>
                <a:cxn ang="0">
                  <a:pos x="114" y="2"/>
                </a:cxn>
                <a:cxn ang="0">
                  <a:pos x="96" y="0"/>
                </a:cxn>
                <a:cxn ang="0">
                  <a:pos x="78" y="2"/>
                </a:cxn>
                <a:cxn ang="0">
                  <a:pos x="60" y="10"/>
                </a:cxn>
                <a:cxn ang="0">
                  <a:pos x="44" y="22"/>
                </a:cxn>
                <a:cxn ang="0">
                  <a:pos x="30" y="36"/>
                </a:cxn>
                <a:cxn ang="0">
                  <a:pos x="16" y="52"/>
                </a:cxn>
                <a:cxn ang="0">
                  <a:pos x="8" y="73"/>
                </a:cxn>
                <a:cxn ang="0">
                  <a:pos x="2" y="93"/>
                </a:cxn>
                <a:cxn ang="0">
                  <a:pos x="0" y="117"/>
                </a:cxn>
              </a:cxnLst>
              <a:rect l="0" t="0" r="r" b="b"/>
              <a:pathLst>
                <a:path w="193" h="235">
                  <a:moveTo>
                    <a:pt x="0" y="117"/>
                  </a:moveTo>
                  <a:lnTo>
                    <a:pt x="2" y="141"/>
                  </a:lnTo>
                  <a:lnTo>
                    <a:pt x="8" y="161"/>
                  </a:lnTo>
                  <a:lnTo>
                    <a:pt x="16" y="183"/>
                  </a:lnTo>
                  <a:lnTo>
                    <a:pt x="30" y="201"/>
                  </a:lnTo>
                  <a:lnTo>
                    <a:pt x="44" y="213"/>
                  </a:lnTo>
                  <a:lnTo>
                    <a:pt x="60" y="225"/>
                  </a:lnTo>
                  <a:lnTo>
                    <a:pt x="78" y="233"/>
                  </a:lnTo>
                  <a:lnTo>
                    <a:pt x="96" y="235"/>
                  </a:lnTo>
                  <a:lnTo>
                    <a:pt x="114" y="233"/>
                  </a:lnTo>
                  <a:lnTo>
                    <a:pt x="133" y="225"/>
                  </a:lnTo>
                  <a:lnTo>
                    <a:pt x="149" y="213"/>
                  </a:lnTo>
                  <a:lnTo>
                    <a:pt x="165" y="201"/>
                  </a:lnTo>
                  <a:lnTo>
                    <a:pt x="177" y="183"/>
                  </a:lnTo>
                  <a:lnTo>
                    <a:pt x="185" y="161"/>
                  </a:lnTo>
                  <a:lnTo>
                    <a:pt x="191" y="141"/>
                  </a:lnTo>
                  <a:lnTo>
                    <a:pt x="193" y="117"/>
                  </a:lnTo>
                  <a:lnTo>
                    <a:pt x="191" y="93"/>
                  </a:lnTo>
                  <a:lnTo>
                    <a:pt x="185" y="73"/>
                  </a:lnTo>
                  <a:lnTo>
                    <a:pt x="177" y="52"/>
                  </a:lnTo>
                  <a:lnTo>
                    <a:pt x="165" y="36"/>
                  </a:lnTo>
                  <a:lnTo>
                    <a:pt x="149" y="22"/>
                  </a:lnTo>
                  <a:lnTo>
                    <a:pt x="133" y="10"/>
                  </a:lnTo>
                  <a:lnTo>
                    <a:pt x="114" y="2"/>
                  </a:lnTo>
                  <a:lnTo>
                    <a:pt x="96" y="0"/>
                  </a:lnTo>
                  <a:lnTo>
                    <a:pt x="78" y="2"/>
                  </a:lnTo>
                  <a:lnTo>
                    <a:pt x="60" y="10"/>
                  </a:lnTo>
                  <a:lnTo>
                    <a:pt x="44" y="22"/>
                  </a:lnTo>
                  <a:lnTo>
                    <a:pt x="30" y="36"/>
                  </a:lnTo>
                  <a:lnTo>
                    <a:pt x="16" y="52"/>
                  </a:lnTo>
                  <a:lnTo>
                    <a:pt x="8" y="73"/>
                  </a:lnTo>
                  <a:lnTo>
                    <a:pt x="2" y="93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98CD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4" name="Freeform 27"/>
            <p:cNvSpPr>
              <a:spLocks/>
            </p:cNvSpPr>
            <p:nvPr/>
          </p:nvSpPr>
          <p:spPr bwMode="auto">
            <a:xfrm>
              <a:off x="2594" y="1545"/>
              <a:ext cx="93" cy="112"/>
            </a:xfrm>
            <a:custGeom>
              <a:avLst/>
              <a:gdLst/>
              <a:ahLst/>
              <a:cxnLst>
                <a:cxn ang="0">
                  <a:pos x="0" y="111"/>
                </a:cxn>
                <a:cxn ang="0">
                  <a:pos x="2" y="131"/>
                </a:cxn>
                <a:cxn ang="0">
                  <a:pos x="8" y="153"/>
                </a:cxn>
                <a:cxn ang="0">
                  <a:pos x="16" y="171"/>
                </a:cxn>
                <a:cxn ang="0">
                  <a:pos x="28" y="189"/>
                </a:cxn>
                <a:cxn ang="0">
                  <a:pos x="42" y="203"/>
                </a:cxn>
                <a:cxn ang="0">
                  <a:pos x="58" y="213"/>
                </a:cxn>
                <a:cxn ang="0">
                  <a:pos x="76" y="221"/>
                </a:cxn>
                <a:cxn ang="0">
                  <a:pos x="92" y="223"/>
                </a:cxn>
                <a:cxn ang="0">
                  <a:pos x="110" y="221"/>
                </a:cxn>
                <a:cxn ang="0">
                  <a:pos x="127" y="213"/>
                </a:cxn>
                <a:cxn ang="0">
                  <a:pos x="143" y="203"/>
                </a:cxn>
                <a:cxn ang="0">
                  <a:pos x="157" y="189"/>
                </a:cxn>
                <a:cxn ang="0">
                  <a:pos x="167" y="171"/>
                </a:cxn>
                <a:cxn ang="0">
                  <a:pos x="177" y="153"/>
                </a:cxn>
                <a:cxn ang="0">
                  <a:pos x="183" y="131"/>
                </a:cxn>
                <a:cxn ang="0">
                  <a:pos x="185" y="111"/>
                </a:cxn>
                <a:cxn ang="0">
                  <a:pos x="183" y="87"/>
                </a:cxn>
                <a:cxn ang="0">
                  <a:pos x="177" y="67"/>
                </a:cxn>
                <a:cxn ang="0">
                  <a:pos x="167" y="48"/>
                </a:cxn>
                <a:cxn ang="0">
                  <a:pos x="157" y="32"/>
                </a:cxn>
                <a:cxn ang="0">
                  <a:pos x="143" y="18"/>
                </a:cxn>
                <a:cxn ang="0">
                  <a:pos x="127" y="8"/>
                </a:cxn>
                <a:cxn ang="0">
                  <a:pos x="110" y="0"/>
                </a:cxn>
                <a:cxn ang="0">
                  <a:pos x="92" y="0"/>
                </a:cxn>
                <a:cxn ang="0">
                  <a:pos x="76" y="0"/>
                </a:cxn>
                <a:cxn ang="0">
                  <a:pos x="58" y="8"/>
                </a:cxn>
                <a:cxn ang="0">
                  <a:pos x="42" y="18"/>
                </a:cxn>
                <a:cxn ang="0">
                  <a:pos x="28" y="32"/>
                </a:cxn>
                <a:cxn ang="0">
                  <a:pos x="16" y="48"/>
                </a:cxn>
                <a:cxn ang="0">
                  <a:pos x="8" y="67"/>
                </a:cxn>
                <a:cxn ang="0">
                  <a:pos x="2" y="87"/>
                </a:cxn>
                <a:cxn ang="0">
                  <a:pos x="0" y="111"/>
                </a:cxn>
              </a:cxnLst>
              <a:rect l="0" t="0" r="r" b="b"/>
              <a:pathLst>
                <a:path w="185" h="223">
                  <a:moveTo>
                    <a:pt x="0" y="111"/>
                  </a:moveTo>
                  <a:lnTo>
                    <a:pt x="2" y="131"/>
                  </a:lnTo>
                  <a:lnTo>
                    <a:pt x="8" y="153"/>
                  </a:lnTo>
                  <a:lnTo>
                    <a:pt x="16" y="171"/>
                  </a:lnTo>
                  <a:lnTo>
                    <a:pt x="28" y="189"/>
                  </a:lnTo>
                  <a:lnTo>
                    <a:pt x="42" y="203"/>
                  </a:lnTo>
                  <a:lnTo>
                    <a:pt x="58" y="213"/>
                  </a:lnTo>
                  <a:lnTo>
                    <a:pt x="76" y="221"/>
                  </a:lnTo>
                  <a:lnTo>
                    <a:pt x="92" y="223"/>
                  </a:lnTo>
                  <a:lnTo>
                    <a:pt x="110" y="221"/>
                  </a:lnTo>
                  <a:lnTo>
                    <a:pt x="127" y="213"/>
                  </a:lnTo>
                  <a:lnTo>
                    <a:pt x="143" y="203"/>
                  </a:lnTo>
                  <a:lnTo>
                    <a:pt x="157" y="189"/>
                  </a:lnTo>
                  <a:lnTo>
                    <a:pt x="167" y="171"/>
                  </a:lnTo>
                  <a:lnTo>
                    <a:pt x="177" y="153"/>
                  </a:lnTo>
                  <a:lnTo>
                    <a:pt x="183" y="131"/>
                  </a:lnTo>
                  <a:lnTo>
                    <a:pt x="185" y="111"/>
                  </a:lnTo>
                  <a:lnTo>
                    <a:pt x="183" y="87"/>
                  </a:lnTo>
                  <a:lnTo>
                    <a:pt x="177" y="67"/>
                  </a:lnTo>
                  <a:lnTo>
                    <a:pt x="167" y="48"/>
                  </a:lnTo>
                  <a:lnTo>
                    <a:pt x="157" y="32"/>
                  </a:lnTo>
                  <a:lnTo>
                    <a:pt x="143" y="18"/>
                  </a:lnTo>
                  <a:lnTo>
                    <a:pt x="127" y="8"/>
                  </a:lnTo>
                  <a:lnTo>
                    <a:pt x="110" y="0"/>
                  </a:lnTo>
                  <a:lnTo>
                    <a:pt x="92" y="0"/>
                  </a:lnTo>
                  <a:lnTo>
                    <a:pt x="76" y="0"/>
                  </a:lnTo>
                  <a:lnTo>
                    <a:pt x="58" y="8"/>
                  </a:lnTo>
                  <a:lnTo>
                    <a:pt x="42" y="18"/>
                  </a:lnTo>
                  <a:lnTo>
                    <a:pt x="28" y="32"/>
                  </a:lnTo>
                  <a:lnTo>
                    <a:pt x="16" y="48"/>
                  </a:lnTo>
                  <a:lnTo>
                    <a:pt x="8" y="67"/>
                  </a:lnTo>
                  <a:lnTo>
                    <a:pt x="2" y="8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A0D1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5" name="Freeform 28"/>
            <p:cNvSpPr>
              <a:spLocks/>
            </p:cNvSpPr>
            <p:nvPr/>
          </p:nvSpPr>
          <p:spPr bwMode="auto">
            <a:xfrm>
              <a:off x="2596" y="1546"/>
              <a:ext cx="88" cy="108"/>
            </a:xfrm>
            <a:custGeom>
              <a:avLst/>
              <a:gdLst/>
              <a:ahLst/>
              <a:cxnLst>
                <a:cxn ang="0">
                  <a:pos x="0" y="107"/>
                </a:cxn>
                <a:cxn ang="0">
                  <a:pos x="2" y="129"/>
                </a:cxn>
                <a:cxn ang="0">
                  <a:pos x="6" y="149"/>
                </a:cxn>
                <a:cxn ang="0">
                  <a:pos x="14" y="167"/>
                </a:cxn>
                <a:cxn ang="0">
                  <a:pos x="26" y="183"/>
                </a:cxn>
                <a:cxn ang="0">
                  <a:pos x="38" y="197"/>
                </a:cxn>
                <a:cxn ang="0">
                  <a:pos x="54" y="207"/>
                </a:cxn>
                <a:cxn ang="0">
                  <a:pos x="70" y="213"/>
                </a:cxn>
                <a:cxn ang="0">
                  <a:pos x="88" y="215"/>
                </a:cxn>
                <a:cxn ang="0">
                  <a:pos x="104" y="213"/>
                </a:cxn>
                <a:cxn ang="0">
                  <a:pos x="121" y="207"/>
                </a:cxn>
                <a:cxn ang="0">
                  <a:pos x="135" y="197"/>
                </a:cxn>
                <a:cxn ang="0">
                  <a:pos x="149" y="183"/>
                </a:cxn>
                <a:cxn ang="0">
                  <a:pos x="159" y="167"/>
                </a:cxn>
                <a:cxn ang="0">
                  <a:pos x="169" y="149"/>
                </a:cxn>
                <a:cxn ang="0">
                  <a:pos x="173" y="129"/>
                </a:cxn>
                <a:cxn ang="0">
                  <a:pos x="175" y="107"/>
                </a:cxn>
                <a:cxn ang="0">
                  <a:pos x="173" y="85"/>
                </a:cxn>
                <a:cxn ang="0">
                  <a:pos x="169" y="67"/>
                </a:cxn>
                <a:cxn ang="0">
                  <a:pos x="159" y="50"/>
                </a:cxn>
                <a:cxn ang="0">
                  <a:pos x="149" y="32"/>
                </a:cxn>
                <a:cxn ang="0">
                  <a:pos x="135" y="18"/>
                </a:cxn>
                <a:cxn ang="0">
                  <a:pos x="121" y="8"/>
                </a:cxn>
                <a:cxn ang="0">
                  <a:pos x="104" y="2"/>
                </a:cxn>
                <a:cxn ang="0">
                  <a:pos x="88" y="0"/>
                </a:cxn>
                <a:cxn ang="0">
                  <a:pos x="70" y="2"/>
                </a:cxn>
                <a:cxn ang="0">
                  <a:pos x="54" y="8"/>
                </a:cxn>
                <a:cxn ang="0">
                  <a:pos x="38" y="18"/>
                </a:cxn>
                <a:cxn ang="0">
                  <a:pos x="26" y="32"/>
                </a:cxn>
                <a:cxn ang="0">
                  <a:pos x="14" y="50"/>
                </a:cxn>
                <a:cxn ang="0">
                  <a:pos x="6" y="67"/>
                </a:cxn>
                <a:cxn ang="0">
                  <a:pos x="2" y="85"/>
                </a:cxn>
                <a:cxn ang="0">
                  <a:pos x="0" y="107"/>
                </a:cxn>
              </a:cxnLst>
              <a:rect l="0" t="0" r="r" b="b"/>
              <a:pathLst>
                <a:path w="175" h="215">
                  <a:moveTo>
                    <a:pt x="0" y="107"/>
                  </a:moveTo>
                  <a:lnTo>
                    <a:pt x="2" y="129"/>
                  </a:lnTo>
                  <a:lnTo>
                    <a:pt x="6" y="149"/>
                  </a:lnTo>
                  <a:lnTo>
                    <a:pt x="14" y="167"/>
                  </a:lnTo>
                  <a:lnTo>
                    <a:pt x="26" y="183"/>
                  </a:lnTo>
                  <a:lnTo>
                    <a:pt x="38" y="197"/>
                  </a:lnTo>
                  <a:lnTo>
                    <a:pt x="54" y="207"/>
                  </a:lnTo>
                  <a:lnTo>
                    <a:pt x="70" y="213"/>
                  </a:lnTo>
                  <a:lnTo>
                    <a:pt x="88" y="215"/>
                  </a:lnTo>
                  <a:lnTo>
                    <a:pt x="104" y="213"/>
                  </a:lnTo>
                  <a:lnTo>
                    <a:pt x="121" y="207"/>
                  </a:lnTo>
                  <a:lnTo>
                    <a:pt x="135" y="197"/>
                  </a:lnTo>
                  <a:lnTo>
                    <a:pt x="149" y="183"/>
                  </a:lnTo>
                  <a:lnTo>
                    <a:pt x="159" y="167"/>
                  </a:lnTo>
                  <a:lnTo>
                    <a:pt x="169" y="149"/>
                  </a:lnTo>
                  <a:lnTo>
                    <a:pt x="173" y="129"/>
                  </a:lnTo>
                  <a:lnTo>
                    <a:pt x="175" y="107"/>
                  </a:lnTo>
                  <a:lnTo>
                    <a:pt x="173" y="85"/>
                  </a:lnTo>
                  <a:lnTo>
                    <a:pt x="169" y="67"/>
                  </a:lnTo>
                  <a:lnTo>
                    <a:pt x="159" y="50"/>
                  </a:lnTo>
                  <a:lnTo>
                    <a:pt x="149" y="32"/>
                  </a:lnTo>
                  <a:lnTo>
                    <a:pt x="135" y="18"/>
                  </a:lnTo>
                  <a:lnTo>
                    <a:pt x="121" y="8"/>
                  </a:lnTo>
                  <a:lnTo>
                    <a:pt x="104" y="2"/>
                  </a:lnTo>
                  <a:lnTo>
                    <a:pt x="88" y="0"/>
                  </a:lnTo>
                  <a:lnTo>
                    <a:pt x="70" y="2"/>
                  </a:lnTo>
                  <a:lnTo>
                    <a:pt x="54" y="8"/>
                  </a:lnTo>
                  <a:lnTo>
                    <a:pt x="38" y="18"/>
                  </a:lnTo>
                  <a:lnTo>
                    <a:pt x="26" y="32"/>
                  </a:lnTo>
                  <a:lnTo>
                    <a:pt x="14" y="50"/>
                  </a:lnTo>
                  <a:lnTo>
                    <a:pt x="6" y="67"/>
                  </a:lnTo>
                  <a:lnTo>
                    <a:pt x="2" y="85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A8D5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6" name="Freeform 29"/>
            <p:cNvSpPr>
              <a:spLocks/>
            </p:cNvSpPr>
            <p:nvPr/>
          </p:nvSpPr>
          <p:spPr bwMode="auto">
            <a:xfrm>
              <a:off x="2597" y="1549"/>
              <a:ext cx="83" cy="101"/>
            </a:xfrm>
            <a:custGeom>
              <a:avLst/>
              <a:gdLst/>
              <a:ahLst/>
              <a:cxnLst>
                <a:cxn ang="0">
                  <a:pos x="0" y="99"/>
                </a:cxn>
                <a:cxn ang="0">
                  <a:pos x="0" y="119"/>
                </a:cxn>
                <a:cxn ang="0">
                  <a:pos x="6" y="137"/>
                </a:cxn>
                <a:cxn ang="0">
                  <a:pos x="14" y="155"/>
                </a:cxn>
                <a:cxn ang="0">
                  <a:pos x="26" y="171"/>
                </a:cxn>
                <a:cxn ang="0">
                  <a:pos x="36" y="183"/>
                </a:cxn>
                <a:cxn ang="0">
                  <a:pos x="52" y="193"/>
                </a:cxn>
                <a:cxn ang="0">
                  <a:pos x="68" y="199"/>
                </a:cxn>
                <a:cxn ang="0">
                  <a:pos x="82" y="201"/>
                </a:cxn>
                <a:cxn ang="0">
                  <a:pos x="100" y="199"/>
                </a:cxn>
                <a:cxn ang="0">
                  <a:pos x="113" y="193"/>
                </a:cxn>
                <a:cxn ang="0">
                  <a:pos x="127" y="183"/>
                </a:cxn>
                <a:cxn ang="0">
                  <a:pos x="141" y="171"/>
                </a:cxn>
                <a:cxn ang="0">
                  <a:pos x="151" y="155"/>
                </a:cxn>
                <a:cxn ang="0">
                  <a:pos x="159" y="137"/>
                </a:cxn>
                <a:cxn ang="0">
                  <a:pos x="163" y="119"/>
                </a:cxn>
                <a:cxn ang="0">
                  <a:pos x="165" y="99"/>
                </a:cxn>
                <a:cxn ang="0">
                  <a:pos x="163" y="79"/>
                </a:cxn>
                <a:cxn ang="0">
                  <a:pos x="159" y="61"/>
                </a:cxn>
                <a:cxn ang="0">
                  <a:pos x="151" y="44"/>
                </a:cxn>
                <a:cxn ang="0">
                  <a:pos x="141" y="28"/>
                </a:cxn>
                <a:cxn ang="0">
                  <a:pos x="127" y="18"/>
                </a:cxn>
                <a:cxn ang="0">
                  <a:pos x="113" y="8"/>
                </a:cxn>
                <a:cxn ang="0">
                  <a:pos x="100" y="0"/>
                </a:cxn>
                <a:cxn ang="0">
                  <a:pos x="82" y="0"/>
                </a:cxn>
                <a:cxn ang="0">
                  <a:pos x="68" y="0"/>
                </a:cxn>
                <a:cxn ang="0">
                  <a:pos x="52" y="8"/>
                </a:cxn>
                <a:cxn ang="0">
                  <a:pos x="36" y="18"/>
                </a:cxn>
                <a:cxn ang="0">
                  <a:pos x="26" y="28"/>
                </a:cxn>
                <a:cxn ang="0">
                  <a:pos x="14" y="44"/>
                </a:cxn>
                <a:cxn ang="0">
                  <a:pos x="6" y="61"/>
                </a:cxn>
                <a:cxn ang="0">
                  <a:pos x="0" y="79"/>
                </a:cxn>
                <a:cxn ang="0">
                  <a:pos x="0" y="99"/>
                </a:cxn>
              </a:cxnLst>
              <a:rect l="0" t="0" r="r" b="b"/>
              <a:pathLst>
                <a:path w="165" h="201">
                  <a:moveTo>
                    <a:pt x="0" y="99"/>
                  </a:moveTo>
                  <a:lnTo>
                    <a:pt x="0" y="119"/>
                  </a:lnTo>
                  <a:lnTo>
                    <a:pt x="6" y="137"/>
                  </a:lnTo>
                  <a:lnTo>
                    <a:pt x="14" y="155"/>
                  </a:lnTo>
                  <a:lnTo>
                    <a:pt x="26" y="171"/>
                  </a:lnTo>
                  <a:lnTo>
                    <a:pt x="36" y="183"/>
                  </a:lnTo>
                  <a:lnTo>
                    <a:pt x="52" y="193"/>
                  </a:lnTo>
                  <a:lnTo>
                    <a:pt x="68" y="199"/>
                  </a:lnTo>
                  <a:lnTo>
                    <a:pt x="82" y="201"/>
                  </a:lnTo>
                  <a:lnTo>
                    <a:pt x="100" y="199"/>
                  </a:lnTo>
                  <a:lnTo>
                    <a:pt x="113" y="193"/>
                  </a:lnTo>
                  <a:lnTo>
                    <a:pt x="127" y="183"/>
                  </a:lnTo>
                  <a:lnTo>
                    <a:pt x="141" y="171"/>
                  </a:lnTo>
                  <a:lnTo>
                    <a:pt x="151" y="155"/>
                  </a:lnTo>
                  <a:lnTo>
                    <a:pt x="159" y="137"/>
                  </a:lnTo>
                  <a:lnTo>
                    <a:pt x="163" y="119"/>
                  </a:lnTo>
                  <a:lnTo>
                    <a:pt x="165" y="99"/>
                  </a:lnTo>
                  <a:lnTo>
                    <a:pt x="163" y="79"/>
                  </a:lnTo>
                  <a:lnTo>
                    <a:pt x="159" y="61"/>
                  </a:lnTo>
                  <a:lnTo>
                    <a:pt x="151" y="44"/>
                  </a:lnTo>
                  <a:lnTo>
                    <a:pt x="141" y="28"/>
                  </a:lnTo>
                  <a:lnTo>
                    <a:pt x="127" y="18"/>
                  </a:lnTo>
                  <a:lnTo>
                    <a:pt x="113" y="8"/>
                  </a:lnTo>
                  <a:lnTo>
                    <a:pt x="100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2" y="8"/>
                  </a:lnTo>
                  <a:lnTo>
                    <a:pt x="36" y="18"/>
                  </a:lnTo>
                  <a:lnTo>
                    <a:pt x="26" y="28"/>
                  </a:lnTo>
                  <a:lnTo>
                    <a:pt x="14" y="44"/>
                  </a:lnTo>
                  <a:lnTo>
                    <a:pt x="6" y="61"/>
                  </a:lnTo>
                  <a:lnTo>
                    <a:pt x="0" y="79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B0D9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7" name="Freeform 30"/>
            <p:cNvSpPr>
              <a:spLocks/>
            </p:cNvSpPr>
            <p:nvPr/>
          </p:nvSpPr>
          <p:spPr bwMode="auto">
            <a:xfrm>
              <a:off x="2599" y="1551"/>
              <a:ext cx="78" cy="95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2" y="113"/>
                </a:cxn>
                <a:cxn ang="0">
                  <a:pos x="6" y="131"/>
                </a:cxn>
                <a:cxn ang="0">
                  <a:pos x="12" y="147"/>
                </a:cxn>
                <a:cxn ang="0">
                  <a:pos x="22" y="163"/>
                </a:cxn>
                <a:cxn ang="0">
                  <a:pos x="36" y="173"/>
                </a:cxn>
                <a:cxn ang="0">
                  <a:pos x="48" y="181"/>
                </a:cxn>
                <a:cxn ang="0">
                  <a:pos x="62" y="189"/>
                </a:cxn>
                <a:cxn ang="0">
                  <a:pos x="78" y="189"/>
                </a:cxn>
                <a:cxn ang="0">
                  <a:pos x="94" y="189"/>
                </a:cxn>
                <a:cxn ang="0">
                  <a:pos x="107" y="181"/>
                </a:cxn>
                <a:cxn ang="0">
                  <a:pos x="119" y="173"/>
                </a:cxn>
                <a:cxn ang="0">
                  <a:pos x="133" y="163"/>
                </a:cxn>
                <a:cxn ang="0">
                  <a:pos x="143" y="147"/>
                </a:cxn>
                <a:cxn ang="0">
                  <a:pos x="149" y="131"/>
                </a:cxn>
                <a:cxn ang="0">
                  <a:pos x="155" y="113"/>
                </a:cxn>
                <a:cxn ang="0">
                  <a:pos x="155" y="95"/>
                </a:cxn>
                <a:cxn ang="0">
                  <a:pos x="155" y="77"/>
                </a:cxn>
                <a:cxn ang="0">
                  <a:pos x="149" y="59"/>
                </a:cxn>
                <a:cxn ang="0">
                  <a:pos x="143" y="44"/>
                </a:cxn>
                <a:cxn ang="0">
                  <a:pos x="133" y="28"/>
                </a:cxn>
                <a:cxn ang="0">
                  <a:pos x="119" y="16"/>
                </a:cxn>
                <a:cxn ang="0">
                  <a:pos x="107" y="8"/>
                </a:cxn>
                <a:cxn ang="0">
                  <a:pos x="94" y="2"/>
                </a:cxn>
                <a:cxn ang="0">
                  <a:pos x="78" y="0"/>
                </a:cxn>
                <a:cxn ang="0">
                  <a:pos x="62" y="2"/>
                </a:cxn>
                <a:cxn ang="0">
                  <a:pos x="48" y="8"/>
                </a:cxn>
                <a:cxn ang="0">
                  <a:pos x="36" y="16"/>
                </a:cxn>
                <a:cxn ang="0">
                  <a:pos x="22" y="28"/>
                </a:cxn>
                <a:cxn ang="0">
                  <a:pos x="12" y="44"/>
                </a:cxn>
                <a:cxn ang="0">
                  <a:pos x="6" y="59"/>
                </a:cxn>
                <a:cxn ang="0">
                  <a:pos x="2" y="77"/>
                </a:cxn>
                <a:cxn ang="0">
                  <a:pos x="0" y="95"/>
                </a:cxn>
              </a:cxnLst>
              <a:rect l="0" t="0" r="r" b="b"/>
              <a:pathLst>
                <a:path w="155" h="189">
                  <a:moveTo>
                    <a:pt x="0" y="95"/>
                  </a:moveTo>
                  <a:lnTo>
                    <a:pt x="2" y="113"/>
                  </a:lnTo>
                  <a:lnTo>
                    <a:pt x="6" y="131"/>
                  </a:lnTo>
                  <a:lnTo>
                    <a:pt x="12" y="147"/>
                  </a:lnTo>
                  <a:lnTo>
                    <a:pt x="22" y="163"/>
                  </a:lnTo>
                  <a:lnTo>
                    <a:pt x="36" y="173"/>
                  </a:lnTo>
                  <a:lnTo>
                    <a:pt x="48" y="181"/>
                  </a:lnTo>
                  <a:lnTo>
                    <a:pt x="62" y="189"/>
                  </a:lnTo>
                  <a:lnTo>
                    <a:pt x="78" y="189"/>
                  </a:lnTo>
                  <a:lnTo>
                    <a:pt x="94" y="189"/>
                  </a:lnTo>
                  <a:lnTo>
                    <a:pt x="107" y="181"/>
                  </a:lnTo>
                  <a:lnTo>
                    <a:pt x="119" y="173"/>
                  </a:lnTo>
                  <a:lnTo>
                    <a:pt x="133" y="163"/>
                  </a:lnTo>
                  <a:lnTo>
                    <a:pt x="143" y="147"/>
                  </a:lnTo>
                  <a:lnTo>
                    <a:pt x="149" y="131"/>
                  </a:lnTo>
                  <a:lnTo>
                    <a:pt x="155" y="113"/>
                  </a:lnTo>
                  <a:lnTo>
                    <a:pt x="155" y="95"/>
                  </a:lnTo>
                  <a:lnTo>
                    <a:pt x="155" y="77"/>
                  </a:lnTo>
                  <a:lnTo>
                    <a:pt x="149" y="59"/>
                  </a:lnTo>
                  <a:lnTo>
                    <a:pt x="143" y="44"/>
                  </a:lnTo>
                  <a:lnTo>
                    <a:pt x="133" y="28"/>
                  </a:lnTo>
                  <a:lnTo>
                    <a:pt x="119" y="16"/>
                  </a:lnTo>
                  <a:lnTo>
                    <a:pt x="107" y="8"/>
                  </a:lnTo>
                  <a:lnTo>
                    <a:pt x="94" y="2"/>
                  </a:lnTo>
                  <a:lnTo>
                    <a:pt x="78" y="0"/>
                  </a:lnTo>
                  <a:lnTo>
                    <a:pt x="62" y="2"/>
                  </a:lnTo>
                  <a:lnTo>
                    <a:pt x="48" y="8"/>
                  </a:lnTo>
                  <a:lnTo>
                    <a:pt x="36" y="16"/>
                  </a:lnTo>
                  <a:lnTo>
                    <a:pt x="22" y="28"/>
                  </a:lnTo>
                  <a:lnTo>
                    <a:pt x="12" y="44"/>
                  </a:lnTo>
                  <a:lnTo>
                    <a:pt x="6" y="59"/>
                  </a:lnTo>
                  <a:lnTo>
                    <a:pt x="2" y="77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B8DD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8" name="Freeform 31"/>
            <p:cNvSpPr>
              <a:spLocks/>
            </p:cNvSpPr>
            <p:nvPr/>
          </p:nvSpPr>
          <p:spPr bwMode="auto">
            <a:xfrm>
              <a:off x="2599" y="1553"/>
              <a:ext cx="75" cy="91"/>
            </a:xfrm>
            <a:custGeom>
              <a:avLst/>
              <a:gdLst/>
              <a:ahLst/>
              <a:cxnLst>
                <a:cxn ang="0">
                  <a:pos x="0" y="89"/>
                </a:cxn>
                <a:cxn ang="0">
                  <a:pos x="2" y="105"/>
                </a:cxn>
                <a:cxn ang="0">
                  <a:pos x="6" y="123"/>
                </a:cxn>
                <a:cxn ang="0">
                  <a:pos x="14" y="139"/>
                </a:cxn>
                <a:cxn ang="0">
                  <a:pos x="22" y="153"/>
                </a:cxn>
                <a:cxn ang="0">
                  <a:pos x="34" y="163"/>
                </a:cxn>
                <a:cxn ang="0">
                  <a:pos x="48" y="171"/>
                </a:cxn>
                <a:cxn ang="0">
                  <a:pos x="62" y="179"/>
                </a:cxn>
                <a:cxn ang="0">
                  <a:pos x="74" y="181"/>
                </a:cxn>
                <a:cxn ang="0">
                  <a:pos x="90" y="179"/>
                </a:cxn>
                <a:cxn ang="0">
                  <a:pos x="104" y="171"/>
                </a:cxn>
                <a:cxn ang="0">
                  <a:pos x="115" y="163"/>
                </a:cxn>
                <a:cxn ang="0">
                  <a:pos x="125" y="153"/>
                </a:cxn>
                <a:cxn ang="0">
                  <a:pos x="135" y="139"/>
                </a:cxn>
                <a:cxn ang="0">
                  <a:pos x="141" y="123"/>
                </a:cxn>
                <a:cxn ang="0">
                  <a:pos x="147" y="105"/>
                </a:cxn>
                <a:cxn ang="0">
                  <a:pos x="149" y="89"/>
                </a:cxn>
                <a:cxn ang="0">
                  <a:pos x="147" y="71"/>
                </a:cxn>
                <a:cxn ang="0">
                  <a:pos x="141" y="53"/>
                </a:cxn>
                <a:cxn ang="0">
                  <a:pos x="135" y="40"/>
                </a:cxn>
                <a:cxn ang="0">
                  <a:pos x="125" y="26"/>
                </a:cxn>
                <a:cxn ang="0">
                  <a:pos x="115" y="16"/>
                </a:cxn>
                <a:cxn ang="0">
                  <a:pos x="104" y="6"/>
                </a:cxn>
                <a:cxn ang="0">
                  <a:pos x="90" y="2"/>
                </a:cxn>
                <a:cxn ang="0">
                  <a:pos x="74" y="0"/>
                </a:cxn>
                <a:cxn ang="0">
                  <a:pos x="62" y="2"/>
                </a:cxn>
                <a:cxn ang="0">
                  <a:pos x="48" y="6"/>
                </a:cxn>
                <a:cxn ang="0">
                  <a:pos x="34" y="16"/>
                </a:cxn>
                <a:cxn ang="0">
                  <a:pos x="22" y="26"/>
                </a:cxn>
                <a:cxn ang="0">
                  <a:pos x="14" y="40"/>
                </a:cxn>
                <a:cxn ang="0">
                  <a:pos x="6" y="53"/>
                </a:cxn>
                <a:cxn ang="0">
                  <a:pos x="2" y="71"/>
                </a:cxn>
                <a:cxn ang="0">
                  <a:pos x="0" y="89"/>
                </a:cxn>
              </a:cxnLst>
              <a:rect l="0" t="0" r="r" b="b"/>
              <a:pathLst>
                <a:path w="149" h="181">
                  <a:moveTo>
                    <a:pt x="0" y="89"/>
                  </a:moveTo>
                  <a:lnTo>
                    <a:pt x="2" y="105"/>
                  </a:lnTo>
                  <a:lnTo>
                    <a:pt x="6" y="123"/>
                  </a:lnTo>
                  <a:lnTo>
                    <a:pt x="14" y="139"/>
                  </a:lnTo>
                  <a:lnTo>
                    <a:pt x="22" y="153"/>
                  </a:lnTo>
                  <a:lnTo>
                    <a:pt x="34" y="163"/>
                  </a:lnTo>
                  <a:lnTo>
                    <a:pt x="48" y="171"/>
                  </a:lnTo>
                  <a:lnTo>
                    <a:pt x="62" y="179"/>
                  </a:lnTo>
                  <a:lnTo>
                    <a:pt x="74" y="181"/>
                  </a:lnTo>
                  <a:lnTo>
                    <a:pt x="90" y="179"/>
                  </a:lnTo>
                  <a:lnTo>
                    <a:pt x="104" y="171"/>
                  </a:lnTo>
                  <a:lnTo>
                    <a:pt x="115" y="163"/>
                  </a:lnTo>
                  <a:lnTo>
                    <a:pt x="125" y="153"/>
                  </a:lnTo>
                  <a:lnTo>
                    <a:pt x="135" y="139"/>
                  </a:lnTo>
                  <a:lnTo>
                    <a:pt x="141" y="123"/>
                  </a:lnTo>
                  <a:lnTo>
                    <a:pt x="147" y="105"/>
                  </a:lnTo>
                  <a:lnTo>
                    <a:pt x="149" y="89"/>
                  </a:lnTo>
                  <a:lnTo>
                    <a:pt x="147" y="71"/>
                  </a:lnTo>
                  <a:lnTo>
                    <a:pt x="141" y="53"/>
                  </a:lnTo>
                  <a:lnTo>
                    <a:pt x="135" y="40"/>
                  </a:lnTo>
                  <a:lnTo>
                    <a:pt x="125" y="26"/>
                  </a:lnTo>
                  <a:lnTo>
                    <a:pt x="115" y="16"/>
                  </a:lnTo>
                  <a:lnTo>
                    <a:pt x="104" y="6"/>
                  </a:lnTo>
                  <a:lnTo>
                    <a:pt x="90" y="2"/>
                  </a:lnTo>
                  <a:lnTo>
                    <a:pt x="74" y="0"/>
                  </a:lnTo>
                  <a:lnTo>
                    <a:pt x="62" y="2"/>
                  </a:lnTo>
                  <a:lnTo>
                    <a:pt x="48" y="6"/>
                  </a:lnTo>
                  <a:lnTo>
                    <a:pt x="34" y="16"/>
                  </a:lnTo>
                  <a:lnTo>
                    <a:pt x="22" y="26"/>
                  </a:lnTo>
                  <a:lnTo>
                    <a:pt x="14" y="40"/>
                  </a:lnTo>
                  <a:lnTo>
                    <a:pt x="6" y="53"/>
                  </a:lnTo>
                  <a:lnTo>
                    <a:pt x="2" y="71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C0E1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09" name="Freeform 32"/>
            <p:cNvSpPr>
              <a:spLocks/>
            </p:cNvSpPr>
            <p:nvPr/>
          </p:nvSpPr>
          <p:spPr bwMode="auto">
            <a:xfrm>
              <a:off x="2601" y="1555"/>
              <a:ext cx="69" cy="86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2" y="101"/>
                </a:cxn>
                <a:cxn ang="0">
                  <a:pos x="4" y="117"/>
                </a:cxn>
                <a:cxn ang="0">
                  <a:pos x="10" y="131"/>
                </a:cxn>
                <a:cxn ang="0">
                  <a:pos x="20" y="145"/>
                </a:cxn>
                <a:cxn ang="0">
                  <a:pos x="30" y="155"/>
                </a:cxn>
                <a:cxn ang="0">
                  <a:pos x="42" y="165"/>
                </a:cxn>
                <a:cxn ang="0">
                  <a:pos x="54" y="169"/>
                </a:cxn>
                <a:cxn ang="0">
                  <a:pos x="68" y="171"/>
                </a:cxn>
                <a:cxn ang="0">
                  <a:pos x="82" y="169"/>
                </a:cxn>
                <a:cxn ang="0">
                  <a:pos x="94" y="165"/>
                </a:cxn>
                <a:cxn ang="0">
                  <a:pos x="105" y="155"/>
                </a:cxn>
                <a:cxn ang="0">
                  <a:pos x="117" y="145"/>
                </a:cxn>
                <a:cxn ang="0">
                  <a:pos x="125" y="131"/>
                </a:cxn>
                <a:cxn ang="0">
                  <a:pos x="131" y="117"/>
                </a:cxn>
                <a:cxn ang="0">
                  <a:pos x="135" y="101"/>
                </a:cxn>
                <a:cxn ang="0">
                  <a:pos x="137" y="85"/>
                </a:cxn>
                <a:cxn ang="0">
                  <a:pos x="135" y="67"/>
                </a:cxn>
                <a:cxn ang="0">
                  <a:pos x="131" y="51"/>
                </a:cxn>
                <a:cxn ang="0">
                  <a:pos x="125" y="38"/>
                </a:cxn>
                <a:cxn ang="0">
                  <a:pos x="117" y="26"/>
                </a:cxn>
                <a:cxn ang="0">
                  <a:pos x="105" y="14"/>
                </a:cxn>
                <a:cxn ang="0">
                  <a:pos x="94" y="6"/>
                </a:cxn>
                <a:cxn ang="0">
                  <a:pos x="82" y="2"/>
                </a:cxn>
                <a:cxn ang="0">
                  <a:pos x="68" y="0"/>
                </a:cxn>
                <a:cxn ang="0">
                  <a:pos x="54" y="2"/>
                </a:cxn>
                <a:cxn ang="0">
                  <a:pos x="42" y="6"/>
                </a:cxn>
                <a:cxn ang="0">
                  <a:pos x="30" y="14"/>
                </a:cxn>
                <a:cxn ang="0">
                  <a:pos x="10" y="38"/>
                </a:cxn>
                <a:cxn ang="0">
                  <a:pos x="4" y="51"/>
                </a:cxn>
                <a:cxn ang="0">
                  <a:pos x="2" y="67"/>
                </a:cxn>
                <a:cxn ang="0">
                  <a:pos x="0" y="85"/>
                </a:cxn>
              </a:cxnLst>
              <a:rect l="0" t="0" r="r" b="b"/>
              <a:pathLst>
                <a:path w="137" h="171">
                  <a:moveTo>
                    <a:pt x="0" y="85"/>
                  </a:moveTo>
                  <a:lnTo>
                    <a:pt x="2" y="101"/>
                  </a:lnTo>
                  <a:lnTo>
                    <a:pt x="4" y="117"/>
                  </a:lnTo>
                  <a:lnTo>
                    <a:pt x="10" y="131"/>
                  </a:lnTo>
                  <a:lnTo>
                    <a:pt x="20" y="145"/>
                  </a:lnTo>
                  <a:lnTo>
                    <a:pt x="30" y="155"/>
                  </a:lnTo>
                  <a:lnTo>
                    <a:pt x="42" y="165"/>
                  </a:lnTo>
                  <a:lnTo>
                    <a:pt x="54" y="169"/>
                  </a:lnTo>
                  <a:lnTo>
                    <a:pt x="68" y="171"/>
                  </a:lnTo>
                  <a:lnTo>
                    <a:pt x="82" y="169"/>
                  </a:lnTo>
                  <a:lnTo>
                    <a:pt x="94" y="165"/>
                  </a:lnTo>
                  <a:lnTo>
                    <a:pt x="105" y="155"/>
                  </a:lnTo>
                  <a:lnTo>
                    <a:pt x="117" y="145"/>
                  </a:lnTo>
                  <a:lnTo>
                    <a:pt x="125" y="131"/>
                  </a:lnTo>
                  <a:lnTo>
                    <a:pt x="131" y="117"/>
                  </a:lnTo>
                  <a:lnTo>
                    <a:pt x="135" y="101"/>
                  </a:lnTo>
                  <a:lnTo>
                    <a:pt x="137" y="85"/>
                  </a:lnTo>
                  <a:lnTo>
                    <a:pt x="135" y="67"/>
                  </a:lnTo>
                  <a:lnTo>
                    <a:pt x="131" y="51"/>
                  </a:lnTo>
                  <a:lnTo>
                    <a:pt x="125" y="38"/>
                  </a:lnTo>
                  <a:lnTo>
                    <a:pt x="117" y="26"/>
                  </a:lnTo>
                  <a:lnTo>
                    <a:pt x="105" y="14"/>
                  </a:lnTo>
                  <a:lnTo>
                    <a:pt x="94" y="6"/>
                  </a:lnTo>
                  <a:lnTo>
                    <a:pt x="82" y="2"/>
                  </a:lnTo>
                  <a:lnTo>
                    <a:pt x="68" y="0"/>
                  </a:lnTo>
                  <a:lnTo>
                    <a:pt x="54" y="2"/>
                  </a:lnTo>
                  <a:lnTo>
                    <a:pt x="42" y="6"/>
                  </a:lnTo>
                  <a:lnTo>
                    <a:pt x="30" y="14"/>
                  </a:lnTo>
                  <a:lnTo>
                    <a:pt x="10" y="38"/>
                  </a:lnTo>
                  <a:lnTo>
                    <a:pt x="4" y="51"/>
                  </a:lnTo>
                  <a:lnTo>
                    <a:pt x="2" y="67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C7E4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0" name="Freeform 33"/>
            <p:cNvSpPr>
              <a:spLocks/>
            </p:cNvSpPr>
            <p:nvPr/>
          </p:nvSpPr>
          <p:spPr bwMode="auto">
            <a:xfrm>
              <a:off x="2602" y="1557"/>
              <a:ext cx="65" cy="79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2" y="95"/>
                </a:cxn>
                <a:cxn ang="0">
                  <a:pos x="4" y="109"/>
                </a:cxn>
                <a:cxn ang="0">
                  <a:pos x="12" y="121"/>
                </a:cxn>
                <a:cxn ang="0">
                  <a:pos x="20" y="135"/>
                </a:cxn>
                <a:cxn ang="0">
                  <a:pos x="30" y="145"/>
                </a:cxn>
                <a:cxn ang="0">
                  <a:pos x="40" y="151"/>
                </a:cxn>
                <a:cxn ang="0">
                  <a:pos x="54" y="155"/>
                </a:cxn>
                <a:cxn ang="0">
                  <a:pos x="64" y="157"/>
                </a:cxn>
                <a:cxn ang="0">
                  <a:pos x="78" y="155"/>
                </a:cxn>
                <a:cxn ang="0">
                  <a:pos x="90" y="151"/>
                </a:cxn>
                <a:cxn ang="0">
                  <a:pos x="99" y="145"/>
                </a:cxn>
                <a:cxn ang="0">
                  <a:pos x="109" y="135"/>
                </a:cxn>
                <a:cxn ang="0">
                  <a:pos x="117" y="121"/>
                </a:cxn>
                <a:cxn ang="0">
                  <a:pos x="123" y="109"/>
                </a:cxn>
                <a:cxn ang="0">
                  <a:pos x="127" y="95"/>
                </a:cxn>
                <a:cxn ang="0">
                  <a:pos x="129" y="77"/>
                </a:cxn>
                <a:cxn ang="0">
                  <a:pos x="127" y="63"/>
                </a:cxn>
                <a:cxn ang="0">
                  <a:pos x="123" y="47"/>
                </a:cxn>
                <a:cxn ang="0">
                  <a:pos x="117" y="36"/>
                </a:cxn>
                <a:cxn ang="0">
                  <a:pos x="109" y="24"/>
                </a:cxn>
                <a:cxn ang="0">
                  <a:pos x="99" y="12"/>
                </a:cxn>
                <a:cxn ang="0">
                  <a:pos x="90" y="6"/>
                </a:cxn>
                <a:cxn ang="0">
                  <a:pos x="78" y="2"/>
                </a:cxn>
                <a:cxn ang="0">
                  <a:pos x="64" y="0"/>
                </a:cxn>
                <a:cxn ang="0">
                  <a:pos x="54" y="2"/>
                </a:cxn>
                <a:cxn ang="0">
                  <a:pos x="40" y="6"/>
                </a:cxn>
                <a:cxn ang="0">
                  <a:pos x="30" y="12"/>
                </a:cxn>
                <a:cxn ang="0">
                  <a:pos x="20" y="24"/>
                </a:cxn>
                <a:cxn ang="0">
                  <a:pos x="12" y="36"/>
                </a:cxn>
                <a:cxn ang="0">
                  <a:pos x="4" y="47"/>
                </a:cxn>
                <a:cxn ang="0">
                  <a:pos x="2" y="63"/>
                </a:cxn>
                <a:cxn ang="0">
                  <a:pos x="0" y="77"/>
                </a:cxn>
              </a:cxnLst>
              <a:rect l="0" t="0" r="r" b="b"/>
              <a:pathLst>
                <a:path w="129" h="157">
                  <a:moveTo>
                    <a:pt x="0" y="77"/>
                  </a:moveTo>
                  <a:lnTo>
                    <a:pt x="2" y="95"/>
                  </a:lnTo>
                  <a:lnTo>
                    <a:pt x="4" y="109"/>
                  </a:lnTo>
                  <a:lnTo>
                    <a:pt x="12" y="121"/>
                  </a:lnTo>
                  <a:lnTo>
                    <a:pt x="20" y="135"/>
                  </a:lnTo>
                  <a:lnTo>
                    <a:pt x="30" y="145"/>
                  </a:lnTo>
                  <a:lnTo>
                    <a:pt x="40" y="151"/>
                  </a:lnTo>
                  <a:lnTo>
                    <a:pt x="54" y="155"/>
                  </a:lnTo>
                  <a:lnTo>
                    <a:pt x="64" y="157"/>
                  </a:lnTo>
                  <a:lnTo>
                    <a:pt x="78" y="155"/>
                  </a:lnTo>
                  <a:lnTo>
                    <a:pt x="90" y="151"/>
                  </a:lnTo>
                  <a:lnTo>
                    <a:pt x="99" y="145"/>
                  </a:lnTo>
                  <a:lnTo>
                    <a:pt x="109" y="135"/>
                  </a:lnTo>
                  <a:lnTo>
                    <a:pt x="117" y="121"/>
                  </a:lnTo>
                  <a:lnTo>
                    <a:pt x="123" y="109"/>
                  </a:lnTo>
                  <a:lnTo>
                    <a:pt x="127" y="95"/>
                  </a:lnTo>
                  <a:lnTo>
                    <a:pt x="129" y="77"/>
                  </a:lnTo>
                  <a:lnTo>
                    <a:pt x="127" y="63"/>
                  </a:lnTo>
                  <a:lnTo>
                    <a:pt x="123" y="47"/>
                  </a:lnTo>
                  <a:lnTo>
                    <a:pt x="117" y="36"/>
                  </a:lnTo>
                  <a:lnTo>
                    <a:pt x="109" y="24"/>
                  </a:lnTo>
                  <a:lnTo>
                    <a:pt x="99" y="12"/>
                  </a:lnTo>
                  <a:lnTo>
                    <a:pt x="90" y="6"/>
                  </a:lnTo>
                  <a:lnTo>
                    <a:pt x="78" y="2"/>
                  </a:lnTo>
                  <a:lnTo>
                    <a:pt x="64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4"/>
                  </a:lnTo>
                  <a:lnTo>
                    <a:pt x="12" y="36"/>
                  </a:lnTo>
                  <a:lnTo>
                    <a:pt x="4" y="47"/>
                  </a:lnTo>
                  <a:lnTo>
                    <a:pt x="2" y="63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CF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1" name="Freeform 34"/>
            <p:cNvSpPr>
              <a:spLocks/>
            </p:cNvSpPr>
            <p:nvPr/>
          </p:nvSpPr>
          <p:spPr bwMode="auto">
            <a:xfrm>
              <a:off x="2603" y="1559"/>
              <a:ext cx="60" cy="74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0" y="87"/>
                </a:cxn>
                <a:cxn ang="0">
                  <a:pos x="4" y="103"/>
                </a:cxn>
                <a:cxn ang="0">
                  <a:pos x="10" y="115"/>
                </a:cxn>
                <a:cxn ang="0">
                  <a:pos x="26" y="135"/>
                </a:cxn>
                <a:cxn ang="0">
                  <a:pos x="34" y="141"/>
                </a:cxn>
                <a:cxn ang="0">
                  <a:pos x="46" y="147"/>
                </a:cxn>
                <a:cxn ang="0">
                  <a:pos x="60" y="147"/>
                </a:cxn>
                <a:cxn ang="0">
                  <a:pos x="70" y="147"/>
                </a:cxn>
                <a:cxn ang="0">
                  <a:pos x="82" y="141"/>
                </a:cxn>
                <a:cxn ang="0">
                  <a:pos x="92" y="135"/>
                </a:cxn>
                <a:cxn ang="0">
                  <a:pos x="101" y="125"/>
                </a:cxn>
                <a:cxn ang="0">
                  <a:pos x="109" y="115"/>
                </a:cxn>
                <a:cxn ang="0">
                  <a:pos x="113" y="103"/>
                </a:cxn>
                <a:cxn ang="0">
                  <a:pos x="117" y="87"/>
                </a:cxn>
                <a:cxn ang="0">
                  <a:pos x="119" y="73"/>
                </a:cxn>
                <a:cxn ang="0">
                  <a:pos x="117" y="61"/>
                </a:cxn>
                <a:cxn ang="0">
                  <a:pos x="113" y="45"/>
                </a:cxn>
                <a:cxn ang="0">
                  <a:pos x="109" y="34"/>
                </a:cxn>
                <a:cxn ang="0">
                  <a:pos x="101" y="22"/>
                </a:cxn>
                <a:cxn ang="0">
                  <a:pos x="92" y="12"/>
                </a:cxn>
                <a:cxn ang="0">
                  <a:pos x="82" y="6"/>
                </a:cxn>
                <a:cxn ang="0">
                  <a:pos x="70" y="2"/>
                </a:cxn>
                <a:cxn ang="0">
                  <a:pos x="60" y="0"/>
                </a:cxn>
                <a:cxn ang="0">
                  <a:pos x="46" y="2"/>
                </a:cxn>
                <a:cxn ang="0">
                  <a:pos x="34" y="6"/>
                </a:cxn>
                <a:cxn ang="0">
                  <a:pos x="26" y="12"/>
                </a:cxn>
                <a:cxn ang="0">
                  <a:pos x="18" y="22"/>
                </a:cxn>
                <a:cxn ang="0">
                  <a:pos x="10" y="34"/>
                </a:cxn>
                <a:cxn ang="0">
                  <a:pos x="4" y="45"/>
                </a:cxn>
                <a:cxn ang="0">
                  <a:pos x="0" y="61"/>
                </a:cxn>
                <a:cxn ang="0">
                  <a:pos x="0" y="73"/>
                </a:cxn>
              </a:cxnLst>
              <a:rect l="0" t="0" r="r" b="b"/>
              <a:pathLst>
                <a:path w="119" h="147">
                  <a:moveTo>
                    <a:pt x="0" y="73"/>
                  </a:moveTo>
                  <a:lnTo>
                    <a:pt x="0" y="87"/>
                  </a:lnTo>
                  <a:lnTo>
                    <a:pt x="4" y="103"/>
                  </a:lnTo>
                  <a:lnTo>
                    <a:pt x="10" y="115"/>
                  </a:lnTo>
                  <a:lnTo>
                    <a:pt x="26" y="135"/>
                  </a:lnTo>
                  <a:lnTo>
                    <a:pt x="34" y="141"/>
                  </a:lnTo>
                  <a:lnTo>
                    <a:pt x="46" y="147"/>
                  </a:lnTo>
                  <a:lnTo>
                    <a:pt x="60" y="147"/>
                  </a:lnTo>
                  <a:lnTo>
                    <a:pt x="70" y="147"/>
                  </a:lnTo>
                  <a:lnTo>
                    <a:pt x="82" y="141"/>
                  </a:lnTo>
                  <a:lnTo>
                    <a:pt x="92" y="135"/>
                  </a:lnTo>
                  <a:lnTo>
                    <a:pt x="101" y="125"/>
                  </a:lnTo>
                  <a:lnTo>
                    <a:pt x="109" y="115"/>
                  </a:lnTo>
                  <a:lnTo>
                    <a:pt x="113" y="103"/>
                  </a:lnTo>
                  <a:lnTo>
                    <a:pt x="117" y="87"/>
                  </a:lnTo>
                  <a:lnTo>
                    <a:pt x="119" y="73"/>
                  </a:lnTo>
                  <a:lnTo>
                    <a:pt x="117" y="61"/>
                  </a:lnTo>
                  <a:lnTo>
                    <a:pt x="113" y="45"/>
                  </a:lnTo>
                  <a:lnTo>
                    <a:pt x="109" y="34"/>
                  </a:lnTo>
                  <a:lnTo>
                    <a:pt x="101" y="22"/>
                  </a:lnTo>
                  <a:lnTo>
                    <a:pt x="92" y="12"/>
                  </a:lnTo>
                  <a:lnTo>
                    <a:pt x="82" y="6"/>
                  </a:lnTo>
                  <a:lnTo>
                    <a:pt x="70" y="2"/>
                  </a:lnTo>
                  <a:lnTo>
                    <a:pt x="60" y="0"/>
                  </a:lnTo>
                  <a:lnTo>
                    <a:pt x="46" y="2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18" y="22"/>
                  </a:lnTo>
                  <a:lnTo>
                    <a:pt x="10" y="34"/>
                  </a:lnTo>
                  <a:lnTo>
                    <a:pt x="4" y="45"/>
                  </a:lnTo>
                  <a:lnTo>
                    <a:pt x="0" y="61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D7EC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2" name="Freeform 35"/>
            <p:cNvSpPr>
              <a:spLocks/>
            </p:cNvSpPr>
            <p:nvPr/>
          </p:nvSpPr>
          <p:spPr bwMode="auto">
            <a:xfrm>
              <a:off x="2604" y="1560"/>
              <a:ext cx="56" cy="71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2" y="83"/>
                </a:cxn>
                <a:cxn ang="0">
                  <a:pos x="4" y="97"/>
                </a:cxn>
                <a:cxn ang="0">
                  <a:pos x="16" y="119"/>
                </a:cxn>
                <a:cxn ang="0">
                  <a:pos x="36" y="135"/>
                </a:cxn>
                <a:cxn ang="0">
                  <a:pos x="46" y="139"/>
                </a:cxn>
                <a:cxn ang="0">
                  <a:pos x="56" y="141"/>
                </a:cxn>
                <a:cxn ang="0">
                  <a:pos x="66" y="139"/>
                </a:cxn>
                <a:cxn ang="0">
                  <a:pos x="76" y="135"/>
                </a:cxn>
                <a:cxn ang="0">
                  <a:pos x="95" y="119"/>
                </a:cxn>
                <a:cxn ang="0">
                  <a:pos x="105" y="97"/>
                </a:cxn>
                <a:cxn ang="0">
                  <a:pos x="109" y="83"/>
                </a:cxn>
                <a:cxn ang="0">
                  <a:pos x="111" y="69"/>
                </a:cxn>
                <a:cxn ang="0">
                  <a:pos x="109" y="55"/>
                </a:cxn>
                <a:cxn ang="0">
                  <a:pos x="105" y="43"/>
                </a:cxn>
                <a:cxn ang="0">
                  <a:pos x="95" y="22"/>
                </a:cxn>
                <a:cxn ang="0">
                  <a:pos x="86" y="14"/>
                </a:cxn>
                <a:cxn ang="0">
                  <a:pos x="76" y="6"/>
                </a:cxn>
                <a:cxn ang="0">
                  <a:pos x="66" y="2"/>
                </a:cxn>
                <a:cxn ang="0">
                  <a:pos x="56" y="0"/>
                </a:cxn>
                <a:cxn ang="0">
                  <a:pos x="46" y="2"/>
                </a:cxn>
                <a:cxn ang="0">
                  <a:pos x="36" y="6"/>
                </a:cxn>
                <a:cxn ang="0">
                  <a:pos x="26" y="14"/>
                </a:cxn>
                <a:cxn ang="0">
                  <a:pos x="16" y="22"/>
                </a:cxn>
                <a:cxn ang="0">
                  <a:pos x="4" y="43"/>
                </a:cxn>
                <a:cxn ang="0">
                  <a:pos x="2" y="55"/>
                </a:cxn>
                <a:cxn ang="0">
                  <a:pos x="0" y="69"/>
                </a:cxn>
              </a:cxnLst>
              <a:rect l="0" t="0" r="r" b="b"/>
              <a:pathLst>
                <a:path w="111" h="141">
                  <a:moveTo>
                    <a:pt x="0" y="69"/>
                  </a:moveTo>
                  <a:lnTo>
                    <a:pt x="2" y="83"/>
                  </a:lnTo>
                  <a:lnTo>
                    <a:pt x="4" y="97"/>
                  </a:lnTo>
                  <a:lnTo>
                    <a:pt x="16" y="119"/>
                  </a:lnTo>
                  <a:lnTo>
                    <a:pt x="36" y="135"/>
                  </a:lnTo>
                  <a:lnTo>
                    <a:pt x="46" y="139"/>
                  </a:lnTo>
                  <a:lnTo>
                    <a:pt x="56" y="141"/>
                  </a:lnTo>
                  <a:lnTo>
                    <a:pt x="66" y="139"/>
                  </a:lnTo>
                  <a:lnTo>
                    <a:pt x="76" y="135"/>
                  </a:lnTo>
                  <a:lnTo>
                    <a:pt x="95" y="119"/>
                  </a:lnTo>
                  <a:lnTo>
                    <a:pt x="105" y="97"/>
                  </a:lnTo>
                  <a:lnTo>
                    <a:pt x="109" y="83"/>
                  </a:lnTo>
                  <a:lnTo>
                    <a:pt x="111" y="69"/>
                  </a:lnTo>
                  <a:lnTo>
                    <a:pt x="109" y="55"/>
                  </a:lnTo>
                  <a:lnTo>
                    <a:pt x="105" y="43"/>
                  </a:lnTo>
                  <a:lnTo>
                    <a:pt x="95" y="22"/>
                  </a:lnTo>
                  <a:lnTo>
                    <a:pt x="86" y="14"/>
                  </a:lnTo>
                  <a:lnTo>
                    <a:pt x="76" y="6"/>
                  </a:lnTo>
                  <a:lnTo>
                    <a:pt x="66" y="2"/>
                  </a:lnTo>
                  <a:lnTo>
                    <a:pt x="56" y="0"/>
                  </a:lnTo>
                  <a:lnTo>
                    <a:pt x="46" y="2"/>
                  </a:lnTo>
                  <a:lnTo>
                    <a:pt x="36" y="6"/>
                  </a:lnTo>
                  <a:lnTo>
                    <a:pt x="26" y="14"/>
                  </a:lnTo>
                  <a:lnTo>
                    <a:pt x="16" y="22"/>
                  </a:lnTo>
                  <a:lnTo>
                    <a:pt x="4" y="43"/>
                  </a:lnTo>
                  <a:lnTo>
                    <a:pt x="2" y="55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DFF0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3" name="Freeform 36"/>
            <p:cNvSpPr>
              <a:spLocks/>
            </p:cNvSpPr>
            <p:nvPr/>
          </p:nvSpPr>
          <p:spPr bwMode="auto">
            <a:xfrm>
              <a:off x="2605" y="1563"/>
              <a:ext cx="51" cy="64"/>
            </a:xfrm>
            <a:custGeom>
              <a:avLst/>
              <a:gdLst/>
              <a:ahLst/>
              <a:cxnLst>
                <a:cxn ang="0">
                  <a:pos x="0" y="63"/>
                </a:cxn>
                <a:cxn ang="0">
                  <a:pos x="2" y="75"/>
                </a:cxn>
                <a:cxn ang="0">
                  <a:pos x="4" y="87"/>
                </a:cxn>
                <a:cxn ang="0">
                  <a:pos x="16" y="109"/>
                </a:cxn>
                <a:cxn ang="0">
                  <a:pos x="32" y="123"/>
                </a:cxn>
                <a:cxn ang="0">
                  <a:pos x="42" y="125"/>
                </a:cxn>
                <a:cxn ang="0">
                  <a:pos x="50" y="127"/>
                </a:cxn>
                <a:cxn ang="0">
                  <a:pos x="60" y="125"/>
                </a:cxn>
                <a:cxn ang="0">
                  <a:pos x="70" y="123"/>
                </a:cxn>
                <a:cxn ang="0">
                  <a:pos x="86" y="109"/>
                </a:cxn>
                <a:cxn ang="0">
                  <a:pos x="97" y="87"/>
                </a:cxn>
                <a:cxn ang="0">
                  <a:pos x="101" y="63"/>
                </a:cxn>
                <a:cxn ang="0">
                  <a:pos x="97" y="37"/>
                </a:cxn>
                <a:cxn ang="0">
                  <a:pos x="86" y="20"/>
                </a:cxn>
                <a:cxn ang="0">
                  <a:pos x="78" y="12"/>
                </a:cxn>
                <a:cxn ang="0">
                  <a:pos x="70" y="4"/>
                </a:cxn>
                <a:cxn ang="0">
                  <a:pos x="60" y="2"/>
                </a:cxn>
                <a:cxn ang="0">
                  <a:pos x="50" y="0"/>
                </a:cxn>
                <a:cxn ang="0">
                  <a:pos x="42" y="2"/>
                </a:cxn>
                <a:cxn ang="0">
                  <a:pos x="32" y="4"/>
                </a:cxn>
                <a:cxn ang="0">
                  <a:pos x="16" y="20"/>
                </a:cxn>
                <a:cxn ang="0">
                  <a:pos x="4" y="37"/>
                </a:cxn>
                <a:cxn ang="0">
                  <a:pos x="0" y="63"/>
                </a:cxn>
              </a:cxnLst>
              <a:rect l="0" t="0" r="r" b="b"/>
              <a:pathLst>
                <a:path w="101" h="127">
                  <a:moveTo>
                    <a:pt x="0" y="63"/>
                  </a:moveTo>
                  <a:lnTo>
                    <a:pt x="2" y="75"/>
                  </a:lnTo>
                  <a:lnTo>
                    <a:pt x="4" y="87"/>
                  </a:lnTo>
                  <a:lnTo>
                    <a:pt x="16" y="109"/>
                  </a:lnTo>
                  <a:lnTo>
                    <a:pt x="32" y="123"/>
                  </a:lnTo>
                  <a:lnTo>
                    <a:pt x="42" y="125"/>
                  </a:lnTo>
                  <a:lnTo>
                    <a:pt x="50" y="127"/>
                  </a:lnTo>
                  <a:lnTo>
                    <a:pt x="60" y="125"/>
                  </a:lnTo>
                  <a:lnTo>
                    <a:pt x="70" y="123"/>
                  </a:lnTo>
                  <a:lnTo>
                    <a:pt x="86" y="109"/>
                  </a:lnTo>
                  <a:lnTo>
                    <a:pt x="97" y="87"/>
                  </a:lnTo>
                  <a:lnTo>
                    <a:pt x="101" y="63"/>
                  </a:lnTo>
                  <a:lnTo>
                    <a:pt x="97" y="37"/>
                  </a:lnTo>
                  <a:lnTo>
                    <a:pt x="86" y="20"/>
                  </a:lnTo>
                  <a:lnTo>
                    <a:pt x="78" y="12"/>
                  </a:lnTo>
                  <a:lnTo>
                    <a:pt x="70" y="4"/>
                  </a:lnTo>
                  <a:lnTo>
                    <a:pt x="60" y="2"/>
                  </a:lnTo>
                  <a:lnTo>
                    <a:pt x="50" y="0"/>
                  </a:lnTo>
                  <a:lnTo>
                    <a:pt x="42" y="2"/>
                  </a:lnTo>
                  <a:lnTo>
                    <a:pt x="32" y="4"/>
                  </a:lnTo>
                  <a:lnTo>
                    <a:pt x="16" y="20"/>
                  </a:lnTo>
                  <a:lnTo>
                    <a:pt x="4" y="37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E7F4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4" name="Freeform 37"/>
            <p:cNvSpPr>
              <a:spLocks/>
            </p:cNvSpPr>
            <p:nvPr/>
          </p:nvSpPr>
          <p:spPr bwMode="auto">
            <a:xfrm>
              <a:off x="2607" y="1564"/>
              <a:ext cx="46" cy="59"/>
            </a:xfrm>
            <a:custGeom>
              <a:avLst/>
              <a:gdLst/>
              <a:ahLst/>
              <a:cxnLst>
                <a:cxn ang="0">
                  <a:pos x="0" y="57"/>
                </a:cxn>
                <a:cxn ang="0">
                  <a:pos x="4" y="81"/>
                </a:cxn>
                <a:cxn ang="0">
                  <a:pos x="14" y="99"/>
                </a:cxn>
                <a:cxn ang="0">
                  <a:pos x="28" y="111"/>
                </a:cxn>
                <a:cxn ang="0">
                  <a:pos x="38" y="115"/>
                </a:cxn>
                <a:cxn ang="0">
                  <a:pos x="46" y="117"/>
                </a:cxn>
                <a:cxn ang="0">
                  <a:pos x="54" y="115"/>
                </a:cxn>
                <a:cxn ang="0">
                  <a:pos x="62" y="111"/>
                </a:cxn>
                <a:cxn ang="0">
                  <a:pos x="78" y="99"/>
                </a:cxn>
                <a:cxn ang="0">
                  <a:pos x="88" y="81"/>
                </a:cxn>
                <a:cxn ang="0">
                  <a:pos x="91" y="57"/>
                </a:cxn>
                <a:cxn ang="0">
                  <a:pos x="88" y="35"/>
                </a:cxn>
                <a:cxn ang="0">
                  <a:pos x="78" y="18"/>
                </a:cxn>
                <a:cxn ang="0">
                  <a:pos x="62" y="4"/>
                </a:cxn>
                <a:cxn ang="0">
                  <a:pos x="54" y="0"/>
                </a:cxn>
                <a:cxn ang="0">
                  <a:pos x="46" y="0"/>
                </a:cxn>
                <a:cxn ang="0">
                  <a:pos x="38" y="0"/>
                </a:cxn>
                <a:cxn ang="0">
                  <a:pos x="28" y="4"/>
                </a:cxn>
                <a:cxn ang="0">
                  <a:pos x="14" y="18"/>
                </a:cxn>
                <a:cxn ang="0">
                  <a:pos x="4" y="35"/>
                </a:cxn>
                <a:cxn ang="0">
                  <a:pos x="0" y="57"/>
                </a:cxn>
              </a:cxnLst>
              <a:rect l="0" t="0" r="r" b="b"/>
              <a:pathLst>
                <a:path w="91" h="117">
                  <a:moveTo>
                    <a:pt x="0" y="57"/>
                  </a:moveTo>
                  <a:lnTo>
                    <a:pt x="4" y="81"/>
                  </a:lnTo>
                  <a:lnTo>
                    <a:pt x="14" y="99"/>
                  </a:lnTo>
                  <a:lnTo>
                    <a:pt x="28" y="111"/>
                  </a:lnTo>
                  <a:lnTo>
                    <a:pt x="38" y="115"/>
                  </a:lnTo>
                  <a:lnTo>
                    <a:pt x="46" y="117"/>
                  </a:lnTo>
                  <a:lnTo>
                    <a:pt x="54" y="115"/>
                  </a:lnTo>
                  <a:lnTo>
                    <a:pt x="62" y="111"/>
                  </a:lnTo>
                  <a:lnTo>
                    <a:pt x="78" y="99"/>
                  </a:lnTo>
                  <a:lnTo>
                    <a:pt x="88" y="81"/>
                  </a:lnTo>
                  <a:lnTo>
                    <a:pt x="91" y="57"/>
                  </a:lnTo>
                  <a:lnTo>
                    <a:pt x="88" y="35"/>
                  </a:lnTo>
                  <a:lnTo>
                    <a:pt x="78" y="18"/>
                  </a:lnTo>
                  <a:lnTo>
                    <a:pt x="62" y="4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14" y="18"/>
                  </a:lnTo>
                  <a:lnTo>
                    <a:pt x="4" y="35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EFF7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5" name="Freeform 38"/>
            <p:cNvSpPr>
              <a:spLocks/>
            </p:cNvSpPr>
            <p:nvPr/>
          </p:nvSpPr>
          <p:spPr bwMode="auto">
            <a:xfrm>
              <a:off x="2608" y="1567"/>
              <a:ext cx="42" cy="53"/>
            </a:xfrm>
            <a:custGeom>
              <a:avLst/>
              <a:gdLst/>
              <a:ahLst/>
              <a:cxnLst>
                <a:cxn ang="0">
                  <a:pos x="0" y="51"/>
                </a:cxn>
                <a:cxn ang="0">
                  <a:pos x="2" y="73"/>
                </a:cxn>
                <a:cxn ang="0">
                  <a:pos x="10" y="89"/>
                </a:cxn>
                <a:cxn ang="0">
                  <a:pos x="24" y="101"/>
                </a:cxn>
                <a:cxn ang="0">
                  <a:pos x="42" y="105"/>
                </a:cxn>
                <a:cxn ang="0">
                  <a:pos x="58" y="101"/>
                </a:cxn>
                <a:cxn ang="0">
                  <a:pos x="72" y="89"/>
                </a:cxn>
                <a:cxn ang="0">
                  <a:pos x="80" y="73"/>
                </a:cxn>
                <a:cxn ang="0">
                  <a:pos x="84" y="51"/>
                </a:cxn>
                <a:cxn ang="0">
                  <a:pos x="80" y="33"/>
                </a:cxn>
                <a:cxn ang="0">
                  <a:pos x="72" y="16"/>
                </a:cxn>
                <a:cxn ang="0">
                  <a:pos x="58" y="4"/>
                </a:cxn>
                <a:cxn ang="0">
                  <a:pos x="42" y="0"/>
                </a:cxn>
                <a:cxn ang="0">
                  <a:pos x="24" y="4"/>
                </a:cxn>
                <a:cxn ang="0">
                  <a:pos x="10" y="16"/>
                </a:cxn>
                <a:cxn ang="0">
                  <a:pos x="2" y="33"/>
                </a:cxn>
                <a:cxn ang="0">
                  <a:pos x="0" y="51"/>
                </a:cxn>
              </a:cxnLst>
              <a:rect l="0" t="0" r="r" b="b"/>
              <a:pathLst>
                <a:path w="84" h="105">
                  <a:moveTo>
                    <a:pt x="0" y="51"/>
                  </a:moveTo>
                  <a:lnTo>
                    <a:pt x="2" y="73"/>
                  </a:lnTo>
                  <a:lnTo>
                    <a:pt x="10" y="89"/>
                  </a:lnTo>
                  <a:lnTo>
                    <a:pt x="24" y="101"/>
                  </a:lnTo>
                  <a:lnTo>
                    <a:pt x="42" y="105"/>
                  </a:lnTo>
                  <a:lnTo>
                    <a:pt x="58" y="101"/>
                  </a:lnTo>
                  <a:lnTo>
                    <a:pt x="72" y="89"/>
                  </a:lnTo>
                  <a:lnTo>
                    <a:pt x="80" y="73"/>
                  </a:lnTo>
                  <a:lnTo>
                    <a:pt x="84" y="51"/>
                  </a:lnTo>
                  <a:lnTo>
                    <a:pt x="80" y="33"/>
                  </a:lnTo>
                  <a:lnTo>
                    <a:pt x="72" y="16"/>
                  </a:lnTo>
                  <a:lnTo>
                    <a:pt x="58" y="4"/>
                  </a:lnTo>
                  <a:lnTo>
                    <a:pt x="42" y="0"/>
                  </a:lnTo>
                  <a:lnTo>
                    <a:pt x="24" y="4"/>
                  </a:lnTo>
                  <a:lnTo>
                    <a:pt x="10" y="16"/>
                  </a:lnTo>
                  <a:lnTo>
                    <a:pt x="2" y="33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rgbClr val="F7FB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6" name="Oval 39"/>
            <p:cNvSpPr>
              <a:spLocks noChangeArrowheads="1"/>
            </p:cNvSpPr>
            <p:nvPr/>
          </p:nvSpPr>
          <p:spPr bwMode="auto">
            <a:xfrm>
              <a:off x="2609" y="1568"/>
              <a:ext cx="42" cy="53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7" name="Freeform 40"/>
            <p:cNvSpPr>
              <a:spLocks/>
            </p:cNvSpPr>
            <p:nvPr/>
          </p:nvSpPr>
          <p:spPr bwMode="auto">
            <a:xfrm>
              <a:off x="3064" y="1570"/>
              <a:ext cx="51" cy="192"/>
            </a:xfrm>
            <a:custGeom>
              <a:avLst/>
              <a:gdLst/>
              <a:ahLst/>
              <a:cxnLst>
                <a:cxn ang="0">
                  <a:pos x="6" y="191"/>
                </a:cxn>
                <a:cxn ang="0">
                  <a:pos x="28" y="167"/>
                </a:cxn>
                <a:cxn ang="0">
                  <a:pos x="48" y="141"/>
                </a:cxn>
                <a:cxn ang="0">
                  <a:pos x="64" y="111"/>
                </a:cxn>
                <a:cxn ang="0">
                  <a:pos x="78" y="81"/>
                </a:cxn>
                <a:cxn ang="0">
                  <a:pos x="94" y="41"/>
                </a:cxn>
                <a:cxn ang="0">
                  <a:pos x="102" y="0"/>
                </a:cxn>
                <a:cxn ang="0">
                  <a:pos x="102" y="93"/>
                </a:cxn>
                <a:cxn ang="0">
                  <a:pos x="100" y="191"/>
                </a:cxn>
                <a:cxn ang="0">
                  <a:pos x="100" y="201"/>
                </a:cxn>
                <a:cxn ang="0">
                  <a:pos x="98" y="211"/>
                </a:cxn>
                <a:cxn ang="0">
                  <a:pos x="88" y="247"/>
                </a:cxn>
                <a:cxn ang="0">
                  <a:pos x="76" y="283"/>
                </a:cxn>
                <a:cxn ang="0">
                  <a:pos x="62" y="311"/>
                </a:cxn>
                <a:cxn ang="0">
                  <a:pos x="44" y="337"/>
                </a:cxn>
                <a:cxn ang="0">
                  <a:pos x="24" y="361"/>
                </a:cxn>
                <a:cxn ang="0">
                  <a:pos x="0" y="383"/>
                </a:cxn>
                <a:cxn ang="0">
                  <a:pos x="6" y="191"/>
                </a:cxn>
              </a:cxnLst>
              <a:rect l="0" t="0" r="r" b="b"/>
              <a:pathLst>
                <a:path w="102" h="383">
                  <a:moveTo>
                    <a:pt x="6" y="191"/>
                  </a:moveTo>
                  <a:lnTo>
                    <a:pt x="28" y="167"/>
                  </a:lnTo>
                  <a:lnTo>
                    <a:pt x="48" y="141"/>
                  </a:lnTo>
                  <a:lnTo>
                    <a:pt x="64" y="111"/>
                  </a:lnTo>
                  <a:lnTo>
                    <a:pt x="78" y="81"/>
                  </a:lnTo>
                  <a:lnTo>
                    <a:pt x="94" y="41"/>
                  </a:lnTo>
                  <a:lnTo>
                    <a:pt x="102" y="0"/>
                  </a:lnTo>
                  <a:lnTo>
                    <a:pt x="102" y="93"/>
                  </a:lnTo>
                  <a:lnTo>
                    <a:pt x="100" y="191"/>
                  </a:lnTo>
                  <a:lnTo>
                    <a:pt x="100" y="201"/>
                  </a:lnTo>
                  <a:lnTo>
                    <a:pt x="98" y="211"/>
                  </a:lnTo>
                  <a:lnTo>
                    <a:pt x="88" y="247"/>
                  </a:lnTo>
                  <a:lnTo>
                    <a:pt x="76" y="283"/>
                  </a:lnTo>
                  <a:lnTo>
                    <a:pt x="62" y="311"/>
                  </a:lnTo>
                  <a:lnTo>
                    <a:pt x="44" y="337"/>
                  </a:lnTo>
                  <a:lnTo>
                    <a:pt x="24" y="361"/>
                  </a:lnTo>
                  <a:lnTo>
                    <a:pt x="0" y="383"/>
                  </a:lnTo>
                  <a:lnTo>
                    <a:pt x="6" y="191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8" name="Freeform 41"/>
            <p:cNvSpPr>
              <a:spLocks/>
            </p:cNvSpPr>
            <p:nvPr/>
          </p:nvSpPr>
          <p:spPr bwMode="auto">
            <a:xfrm>
              <a:off x="3061" y="1576"/>
              <a:ext cx="51" cy="186"/>
            </a:xfrm>
            <a:custGeom>
              <a:avLst/>
              <a:gdLst/>
              <a:ahLst/>
              <a:cxnLst>
                <a:cxn ang="0">
                  <a:pos x="6" y="185"/>
                </a:cxn>
                <a:cxn ang="0">
                  <a:pos x="28" y="161"/>
                </a:cxn>
                <a:cxn ang="0">
                  <a:pos x="46" y="135"/>
                </a:cxn>
                <a:cxn ang="0">
                  <a:pos x="64" y="107"/>
                </a:cxn>
                <a:cxn ang="0">
                  <a:pos x="80" y="77"/>
                </a:cxn>
                <a:cxn ang="0">
                  <a:pos x="94" y="37"/>
                </a:cxn>
                <a:cxn ang="0">
                  <a:pos x="102" y="0"/>
                </a:cxn>
                <a:cxn ang="0">
                  <a:pos x="102" y="191"/>
                </a:cxn>
                <a:cxn ang="0">
                  <a:pos x="100" y="201"/>
                </a:cxn>
                <a:cxn ang="0">
                  <a:pos x="96" y="209"/>
                </a:cxn>
                <a:cxn ang="0">
                  <a:pos x="88" y="245"/>
                </a:cxn>
                <a:cxn ang="0">
                  <a:pos x="74" y="279"/>
                </a:cxn>
                <a:cxn ang="0">
                  <a:pos x="60" y="305"/>
                </a:cxn>
                <a:cxn ang="0">
                  <a:pos x="42" y="331"/>
                </a:cxn>
                <a:cxn ang="0">
                  <a:pos x="22" y="351"/>
                </a:cxn>
                <a:cxn ang="0">
                  <a:pos x="0" y="371"/>
                </a:cxn>
                <a:cxn ang="0">
                  <a:pos x="6" y="185"/>
                </a:cxn>
              </a:cxnLst>
              <a:rect l="0" t="0" r="r" b="b"/>
              <a:pathLst>
                <a:path w="102" h="371">
                  <a:moveTo>
                    <a:pt x="6" y="185"/>
                  </a:moveTo>
                  <a:lnTo>
                    <a:pt x="28" y="161"/>
                  </a:lnTo>
                  <a:lnTo>
                    <a:pt x="46" y="135"/>
                  </a:lnTo>
                  <a:lnTo>
                    <a:pt x="64" y="107"/>
                  </a:lnTo>
                  <a:lnTo>
                    <a:pt x="80" y="77"/>
                  </a:lnTo>
                  <a:lnTo>
                    <a:pt x="94" y="37"/>
                  </a:lnTo>
                  <a:lnTo>
                    <a:pt x="102" y="0"/>
                  </a:lnTo>
                  <a:lnTo>
                    <a:pt x="102" y="191"/>
                  </a:lnTo>
                  <a:lnTo>
                    <a:pt x="100" y="201"/>
                  </a:lnTo>
                  <a:lnTo>
                    <a:pt x="96" y="209"/>
                  </a:lnTo>
                  <a:lnTo>
                    <a:pt x="88" y="245"/>
                  </a:lnTo>
                  <a:lnTo>
                    <a:pt x="74" y="279"/>
                  </a:lnTo>
                  <a:lnTo>
                    <a:pt x="60" y="305"/>
                  </a:lnTo>
                  <a:lnTo>
                    <a:pt x="42" y="331"/>
                  </a:lnTo>
                  <a:lnTo>
                    <a:pt x="22" y="351"/>
                  </a:lnTo>
                  <a:lnTo>
                    <a:pt x="0" y="371"/>
                  </a:lnTo>
                  <a:lnTo>
                    <a:pt x="6" y="185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19" name="Freeform 42"/>
            <p:cNvSpPr>
              <a:spLocks/>
            </p:cNvSpPr>
            <p:nvPr/>
          </p:nvSpPr>
          <p:spPr bwMode="auto">
            <a:xfrm>
              <a:off x="3059" y="1581"/>
              <a:ext cx="51" cy="181"/>
            </a:xfrm>
            <a:custGeom>
              <a:avLst/>
              <a:gdLst/>
              <a:ahLst/>
              <a:cxnLst>
                <a:cxn ang="0">
                  <a:pos x="4" y="180"/>
                </a:cxn>
                <a:cxn ang="0">
                  <a:pos x="24" y="156"/>
                </a:cxn>
                <a:cxn ang="0">
                  <a:pos x="46" y="132"/>
                </a:cxn>
                <a:cxn ang="0">
                  <a:pos x="62" y="104"/>
                </a:cxn>
                <a:cxn ang="0">
                  <a:pos x="80" y="76"/>
                </a:cxn>
                <a:cxn ang="0">
                  <a:pos x="96" y="36"/>
                </a:cxn>
                <a:cxn ang="0">
                  <a:pos x="100" y="18"/>
                </a:cxn>
                <a:cxn ang="0">
                  <a:pos x="102" y="0"/>
                </a:cxn>
                <a:cxn ang="0">
                  <a:pos x="102" y="144"/>
                </a:cxn>
                <a:cxn ang="0">
                  <a:pos x="100" y="192"/>
                </a:cxn>
                <a:cxn ang="0">
                  <a:pos x="100" y="202"/>
                </a:cxn>
                <a:cxn ang="0">
                  <a:pos x="98" y="210"/>
                </a:cxn>
                <a:cxn ang="0">
                  <a:pos x="88" y="244"/>
                </a:cxn>
                <a:cxn ang="0">
                  <a:pos x="74" y="278"/>
                </a:cxn>
                <a:cxn ang="0">
                  <a:pos x="60" y="304"/>
                </a:cxn>
                <a:cxn ang="0">
                  <a:pos x="42" y="328"/>
                </a:cxn>
                <a:cxn ang="0">
                  <a:pos x="20" y="348"/>
                </a:cxn>
                <a:cxn ang="0">
                  <a:pos x="0" y="362"/>
                </a:cxn>
                <a:cxn ang="0">
                  <a:pos x="4" y="180"/>
                </a:cxn>
              </a:cxnLst>
              <a:rect l="0" t="0" r="r" b="b"/>
              <a:pathLst>
                <a:path w="102" h="362">
                  <a:moveTo>
                    <a:pt x="4" y="180"/>
                  </a:moveTo>
                  <a:lnTo>
                    <a:pt x="24" y="156"/>
                  </a:lnTo>
                  <a:lnTo>
                    <a:pt x="46" y="132"/>
                  </a:lnTo>
                  <a:lnTo>
                    <a:pt x="62" y="104"/>
                  </a:lnTo>
                  <a:lnTo>
                    <a:pt x="80" y="76"/>
                  </a:lnTo>
                  <a:lnTo>
                    <a:pt x="96" y="36"/>
                  </a:lnTo>
                  <a:lnTo>
                    <a:pt x="100" y="18"/>
                  </a:lnTo>
                  <a:lnTo>
                    <a:pt x="102" y="0"/>
                  </a:lnTo>
                  <a:lnTo>
                    <a:pt x="102" y="144"/>
                  </a:lnTo>
                  <a:lnTo>
                    <a:pt x="100" y="192"/>
                  </a:lnTo>
                  <a:lnTo>
                    <a:pt x="100" y="202"/>
                  </a:lnTo>
                  <a:lnTo>
                    <a:pt x="98" y="210"/>
                  </a:lnTo>
                  <a:lnTo>
                    <a:pt x="88" y="244"/>
                  </a:lnTo>
                  <a:lnTo>
                    <a:pt x="74" y="278"/>
                  </a:lnTo>
                  <a:lnTo>
                    <a:pt x="60" y="304"/>
                  </a:lnTo>
                  <a:lnTo>
                    <a:pt x="42" y="328"/>
                  </a:lnTo>
                  <a:lnTo>
                    <a:pt x="20" y="348"/>
                  </a:lnTo>
                  <a:lnTo>
                    <a:pt x="0" y="362"/>
                  </a:lnTo>
                  <a:lnTo>
                    <a:pt x="4" y="180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0" name="Freeform 43"/>
            <p:cNvSpPr>
              <a:spLocks/>
            </p:cNvSpPr>
            <p:nvPr/>
          </p:nvSpPr>
          <p:spPr bwMode="auto">
            <a:xfrm>
              <a:off x="3056" y="1586"/>
              <a:ext cx="52" cy="176"/>
            </a:xfrm>
            <a:custGeom>
              <a:avLst/>
              <a:gdLst/>
              <a:ahLst/>
              <a:cxnLst>
                <a:cxn ang="0">
                  <a:pos x="4" y="172"/>
                </a:cxn>
                <a:cxn ang="0">
                  <a:pos x="24" y="152"/>
                </a:cxn>
                <a:cxn ang="0">
                  <a:pos x="44" y="128"/>
                </a:cxn>
                <a:cxn ang="0">
                  <a:pos x="62" y="102"/>
                </a:cxn>
                <a:cxn ang="0">
                  <a:pos x="78" y="74"/>
                </a:cxn>
                <a:cxn ang="0">
                  <a:pos x="88" y="54"/>
                </a:cxn>
                <a:cxn ang="0">
                  <a:pos x="96" y="34"/>
                </a:cxn>
                <a:cxn ang="0">
                  <a:pos x="100" y="16"/>
                </a:cxn>
                <a:cxn ang="0">
                  <a:pos x="104" y="0"/>
                </a:cxn>
                <a:cxn ang="0">
                  <a:pos x="104" y="42"/>
                </a:cxn>
                <a:cxn ang="0">
                  <a:pos x="102" y="92"/>
                </a:cxn>
                <a:cxn ang="0">
                  <a:pos x="102" y="146"/>
                </a:cxn>
                <a:cxn ang="0">
                  <a:pos x="100" y="194"/>
                </a:cxn>
                <a:cxn ang="0">
                  <a:pos x="98" y="204"/>
                </a:cxn>
                <a:cxn ang="0">
                  <a:pos x="98" y="212"/>
                </a:cxn>
                <a:cxn ang="0">
                  <a:pos x="94" y="226"/>
                </a:cxn>
                <a:cxn ang="0">
                  <a:pos x="90" y="242"/>
                </a:cxn>
                <a:cxn ang="0">
                  <a:pos x="72" y="276"/>
                </a:cxn>
                <a:cxn ang="0">
                  <a:pos x="58" y="300"/>
                </a:cxn>
                <a:cxn ang="0">
                  <a:pos x="40" y="320"/>
                </a:cxn>
                <a:cxn ang="0">
                  <a:pos x="20" y="338"/>
                </a:cxn>
                <a:cxn ang="0">
                  <a:pos x="0" y="352"/>
                </a:cxn>
                <a:cxn ang="0">
                  <a:pos x="4" y="172"/>
                </a:cxn>
              </a:cxnLst>
              <a:rect l="0" t="0" r="r" b="b"/>
              <a:pathLst>
                <a:path w="104" h="352">
                  <a:moveTo>
                    <a:pt x="4" y="172"/>
                  </a:moveTo>
                  <a:lnTo>
                    <a:pt x="24" y="152"/>
                  </a:lnTo>
                  <a:lnTo>
                    <a:pt x="44" y="128"/>
                  </a:lnTo>
                  <a:lnTo>
                    <a:pt x="62" y="102"/>
                  </a:lnTo>
                  <a:lnTo>
                    <a:pt x="78" y="74"/>
                  </a:lnTo>
                  <a:lnTo>
                    <a:pt x="88" y="54"/>
                  </a:lnTo>
                  <a:lnTo>
                    <a:pt x="96" y="34"/>
                  </a:lnTo>
                  <a:lnTo>
                    <a:pt x="100" y="16"/>
                  </a:lnTo>
                  <a:lnTo>
                    <a:pt x="104" y="0"/>
                  </a:lnTo>
                  <a:lnTo>
                    <a:pt x="104" y="42"/>
                  </a:lnTo>
                  <a:lnTo>
                    <a:pt x="102" y="92"/>
                  </a:lnTo>
                  <a:lnTo>
                    <a:pt x="102" y="146"/>
                  </a:lnTo>
                  <a:lnTo>
                    <a:pt x="100" y="194"/>
                  </a:lnTo>
                  <a:lnTo>
                    <a:pt x="98" y="204"/>
                  </a:lnTo>
                  <a:lnTo>
                    <a:pt x="98" y="212"/>
                  </a:lnTo>
                  <a:lnTo>
                    <a:pt x="94" y="226"/>
                  </a:lnTo>
                  <a:lnTo>
                    <a:pt x="90" y="242"/>
                  </a:lnTo>
                  <a:lnTo>
                    <a:pt x="72" y="276"/>
                  </a:lnTo>
                  <a:lnTo>
                    <a:pt x="58" y="300"/>
                  </a:lnTo>
                  <a:lnTo>
                    <a:pt x="40" y="320"/>
                  </a:lnTo>
                  <a:lnTo>
                    <a:pt x="20" y="338"/>
                  </a:lnTo>
                  <a:lnTo>
                    <a:pt x="0" y="352"/>
                  </a:lnTo>
                  <a:lnTo>
                    <a:pt x="4" y="172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1" name="Freeform 44"/>
            <p:cNvSpPr>
              <a:spLocks/>
            </p:cNvSpPr>
            <p:nvPr/>
          </p:nvSpPr>
          <p:spPr bwMode="auto">
            <a:xfrm>
              <a:off x="3053" y="1592"/>
              <a:ext cx="53" cy="170"/>
            </a:xfrm>
            <a:custGeom>
              <a:avLst/>
              <a:gdLst/>
              <a:ahLst/>
              <a:cxnLst>
                <a:cxn ang="0">
                  <a:pos x="6" y="164"/>
                </a:cxn>
                <a:cxn ang="0">
                  <a:pos x="24" y="144"/>
                </a:cxn>
                <a:cxn ang="0">
                  <a:pos x="44" y="122"/>
                </a:cxn>
                <a:cxn ang="0">
                  <a:pos x="64" y="96"/>
                </a:cxn>
                <a:cxn ang="0">
                  <a:pos x="80" y="70"/>
                </a:cxn>
                <a:cxn ang="0">
                  <a:pos x="90" y="50"/>
                </a:cxn>
                <a:cxn ang="0">
                  <a:pos x="98" y="32"/>
                </a:cxn>
                <a:cxn ang="0">
                  <a:pos x="102" y="16"/>
                </a:cxn>
                <a:cxn ang="0">
                  <a:pos x="106" y="0"/>
                </a:cxn>
                <a:cxn ang="0">
                  <a:pos x="106" y="40"/>
                </a:cxn>
                <a:cxn ang="0">
                  <a:pos x="104" y="90"/>
                </a:cxn>
                <a:cxn ang="0">
                  <a:pos x="102" y="144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0" y="212"/>
                </a:cxn>
                <a:cxn ang="0">
                  <a:pos x="92" y="240"/>
                </a:cxn>
                <a:cxn ang="0">
                  <a:pos x="74" y="272"/>
                </a:cxn>
                <a:cxn ang="0">
                  <a:pos x="60" y="294"/>
                </a:cxn>
                <a:cxn ang="0">
                  <a:pos x="40" y="316"/>
                </a:cxn>
                <a:cxn ang="0">
                  <a:pos x="22" y="330"/>
                </a:cxn>
                <a:cxn ang="0">
                  <a:pos x="0" y="340"/>
                </a:cxn>
                <a:cxn ang="0">
                  <a:pos x="6" y="164"/>
                </a:cxn>
              </a:cxnLst>
              <a:rect l="0" t="0" r="r" b="b"/>
              <a:pathLst>
                <a:path w="106" h="340">
                  <a:moveTo>
                    <a:pt x="6" y="164"/>
                  </a:moveTo>
                  <a:lnTo>
                    <a:pt x="24" y="144"/>
                  </a:lnTo>
                  <a:lnTo>
                    <a:pt x="44" y="122"/>
                  </a:lnTo>
                  <a:lnTo>
                    <a:pt x="64" y="96"/>
                  </a:lnTo>
                  <a:lnTo>
                    <a:pt x="80" y="70"/>
                  </a:lnTo>
                  <a:lnTo>
                    <a:pt x="90" y="50"/>
                  </a:lnTo>
                  <a:lnTo>
                    <a:pt x="98" y="32"/>
                  </a:lnTo>
                  <a:lnTo>
                    <a:pt x="102" y="16"/>
                  </a:lnTo>
                  <a:lnTo>
                    <a:pt x="106" y="0"/>
                  </a:lnTo>
                  <a:lnTo>
                    <a:pt x="106" y="40"/>
                  </a:lnTo>
                  <a:lnTo>
                    <a:pt x="104" y="90"/>
                  </a:lnTo>
                  <a:lnTo>
                    <a:pt x="102" y="144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0" y="212"/>
                  </a:lnTo>
                  <a:lnTo>
                    <a:pt x="92" y="240"/>
                  </a:lnTo>
                  <a:lnTo>
                    <a:pt x="74" y="272"/>
                  </a:lnTo>
                  <a:lnTo>
                    <a:pt x="60" y="294"/>
                  </a:lnTo>
                  <a:lnTo>
                    <a:pt x="40" y="316"/>
                  </a:lnTo>
                  <a:lnTo>
                    <a:pt x="22" y="330"/>
                  </a:lnTo>
                  <a:lnTo>
                    <a:pt x="0" y="340"/>
                  </a:lnTo>
                  <a:lnTo>
                    <a:pt x="6" y="164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2" name="Freeform 45"/>
            <p:cNvSpPr>
              <a:spLocks/>
            </p:cNvSpPr>
            <p:nvPr/>
          </p:nvSpPr>
          <p:spPr bwMode="auto">
            <a:xfrm>
              <a:off x="3050" y="1597"/>
              <a:ext cx="53" cy="165"/>
            </a:xfrm>
            <a:custGeom>
              <a:avLst/>
              <a:gdLst/>
              <a:ahLst/>
              <a:cxnLst>
                <a:cxn ang="0">
                  <a:pos x="6" y="156"/>
                </a:cxn>
                <a:cxn ang="0">
                  <a:pos x="24" y="138"/>
                </a:cxn>
                <a:cxn ang="0">
                  <a:pos x="42" y="116"/>
                </a:cxn>
                <a:cxn ang="0">
                  <a:pos x="62" y="92"/>
                </a:cxn>
                <a:cxn ang="0">
                  <a:pos x="78" y="66"/>
                </a:cxn>
                <a:cxn ang="0">
                  <a:pos x="90" y="48"/>
                </a:cxn>
                <a:cxn ang="0">
                  <a:pos x="98" y="30"/>
                </a:cxn>
                <a:cxn ang="0">
                  <a:pos x="102" y="14"/>
                </a:cxn>
                <a:cxn ang="0">
                  <a:pos x="106" y="0"/>
                </a:cxn>
                <a:cxn ang="0">
                  <a:pos x="106" y="36"/>
                </a:cxn>
                <a:cxn ang="0">
                  <a:pos x="104" y="88"/>
                </a:cxn>
                <a:cxn ang="0">
                  <a:pos x="104" y="144"/>
                </a:cxn>
                <a:cxn ang="0">
                  <a:pos x="102" y="170"/>
                </a:cxn>
                <a:cxn ang="0">
                  <a:pos x="102" y="192"/>
                </a:cxn>
                <a:cxn ang="0">
                  <a:pos x="102" y="202"/>
                </a:cxn>
                <a:cxn ang="0">
                  <a:pos x="100" y="210"/>
                </a:cxn>
                <a:cxn ang="0">
                  <a:pos x="96" y="222"/>
                </a:cxn>
                <a:cxn ang="0">
                  <a:pos x="92" y="236"/>
                </a:cxn>
                <a:cxn ang="0">
                  <a:pos x="74" y="268"/>
                </a:cxn>
                <a:cxn ang="0">
                  <a:pos x="58" y="290"/>
                </a:cxn>
                <a:cxn ang="0">
                  <a:pos x="40" y="308"/>
                </a:cxn>
                <a:cxn ang="0">
                  <a:pos x="20" y="322"/>
                </a:cxn>
                <a:cxn ang="0">
                  <a:pos x="0" y="330"/>
                </a:cxn>
                <a:cxn ang="0">
                  <a:pos x="6" y="156"/>
                </a:cxn>
              </a:cxnLst>
              <a:rect l="0" t="0" r="r" b="b"/>
              <a:pathLst>
                <a:path w="106" h="330">
                  <a:moveTo>
                    <a:pt x="6" y="156"/>
                  </a:moveTo>
                  <a:lnTo>
                    <a:pt x="24" y="138"/>
                  </a:lnTo>
                  <a:lnTo>
                    <a:pt x="42" y="116"/>
                  </a:lnTo>
                  <a:lnTo>
                    <a:pt x="62" y="92"/>
                  </a:lnTo>
                  <a:lnTo>
                    <a:pt x="78" y="66"/>
                  </a:lnTo>
                  <a:lnTo>
                    <a:pt x="90" y="48"/>
                  </a:lnTo>
                  <a:lnTo>
                    <a:pt x="98" y="30"/>
                  </a:lnTo>
                  <a:lnTo>
                    <a:pt x="102" y="14"/>
                  </a:lnTo>
                  <a:lnTo>
                    <a:pt x="106" y="0"/>
                  </a:lnTo>
                  <a:lnTo>
                    <a:pt x="106" y="36"/>
                  </a:lnTo>
                  <a:lnTo>
                    <a:pt x="104" y="88"/>
                  </a:lnTo>
                  <a:lnTo>
                    <a:pt x="104" y="144"/>
                  </a:lnTo>
                  <a:lnTo>
                    <a:pt x="102" y="170"/>
                  </a:lnTo>
                  <a:lnTo>
                    <a:pt x="102" y="192"/>
                  </a:lnTo>
                  <a:lnTo>
                    <a:pt x="102" y="202"/>
                  </a:lnTo>
                  <a:lnTo>
                    <a:pt x="100" y="210"/>
                  </a:lnTo>
                  <a:lnTo>
                    <a:pt x="96" y="222"/>
                  </a:lnTo>
                  <a:lnTo>
                    <a:pt x="92" y="236"/>
                  </a:lnTo>
                  <a:lnTo>
                    <a:pt x="74" y="268"/>
                  </a:lnTo>
                  <a:lnTo>
                    <a:pt x="58" y="290"/>
                  </a:lnTo>
                  <a:lnTo>
                    <a:pt x="40" y="308"/>
                  </a:lnTo>
                  <a:lnTo>
                    <a:pt x="20" y="322"/>
                  </a:lnTo>
                  <a:lnTo>
                    <a:pt x="0" y="330"/>
                  </a:lnTo>
                  <a:lnTo>
                    <a:pt x="6" y="156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3" name="Freeform 46"/>
            <p:cNvSpPr>
              <a:spLocks/>
            </p:cNvSpPr>
            <p:nvPr/>
          </p:nvSpPr>
          <p:spPr bwMode="auto">
            <a:xfrm>
              <a:off x="3048" y="1603"/>
              <a:ext cx="53" cy="159"/>
            </a:xfrm>
            <a:custGeom>
              <a:avLst/>
              <a:gdLst/>
              <a:ahLst/>
              <a:cxnLst>
                <a:cxn ang="0">
                  <a:pos x="4" y="148"/>
                </a:cxn>
                <a:cxn ang="0">
                  <a:pos x="20" y="132"/>
                </a:cxn>
                <a:cxn ang="0">
                  <a:pos x="40" y="110"/>
                </a:cxn>
                <a:cxn ang="0">
                  <a:pos x="60" y="88"/>
                </a:cxn>
                <a:cxn ang="0">
                  <a:pos x="78" y="64"/>
                </a:cxn>
                <a:cxn ang="0">
                  <a:pos x="88" y="46"/>
                </a:cxn>
                <a:cxn ang="0">
                  <a:pos x="96" y="28"/>
                </a:cxn>
                <a:cxn ang="0">
                  <a:pos x="102" y="12"/>
                </a:cxn>
                <a:cxn ang="0">
                  <a:pos x="106" y="0"/>
                </a:cxn>
                <a:cxn ang="0">
                  <a:pos x="106" y="36"/>
                </a:cxn>
                <a:cxn ang="0">
                  <a:pos x="104" y="60"/>
                </a:cxn>
                <a:cxn ang="0">
                  <a:pos x="104" y="88"/>
                </a:cxn>
                <a:cxn ang="0">
                  <a:pos x="102" y="144"/>
                </a:cxn>
                <a:cxn ang="0">
                  <a:pos x="102" y="194"/>
                </a:cxn>
                <a:cxn ang="0">
                  <a:pos x="100" y="212"/>
                </a:cxn>
                <a:cxn ang="0">
                  <a:pos x="96" y="220"/>
                </a:cxn>
                <a:cxn ang="0">
                  <a:pos x="90" y="234"/>
                </a:cxn>
                <a:cxn ang="0">
                  <a:pos x="70" y="264"/>
                </a:cxn>
                <a:cxn ang="0">
                  <a:pos x="54" y="286"/>
                </a:cxn>
                <a:cxn ang="0">
                  <a:pos x="36" y="302"/>
                </a:cxn>
                <a:cxn ang="0">
                  <a:pos x="18" y="314"/>
                </a:cxn>
                <a:cxn ang="0">
                  <a:pos x="0" y="318"/>
                </a:cxn>
                <a:cxn ang="0">
                  <a:pos x="4" y="148"/>
                </a:cxn>
              </a:cxnLst>
              <a:rect l="0" t="0" r="r" b="b"/>
              <a:pathLst>
                <a:path w="106" h="318">
                  <a:moveTo>
                    <a:pt x="4" y="148"/>
                  </a:moveTo>
                  <a:lnTo>
                    <a:pt x="20" y="132"/>
                  </a:lnTo>
                  <a:lnTo>
                    <a:pt x="40" y="110"/>
                  </a:lnTo>
                  <a:lnTo>
                    <a:pt x="60" y="88"/>
                  </a:lnTo>
                  <a:lnTo>
                    <a:pt x="78" y="64"/>
                  </a:lnTo>
                  <a:lnTo>
                    <a:pt x="88" y="46"/>
                  </a:lnTo>
                  <a:lnTo>
                    <a:pt x="96" y="28"/>
                  </a:lnTo>
                  <a:lnTo>
                    <a:pt x="102" y="12"/>
                  </a:lnTo>
                  <a:lnTo>
                    <a:pt x="106" y="0"/>
                  </a:lnTo>
                  <a:lnTo>
                    <a:pt x="106" y="36"/>
                  </a:lnTo>
                  <a:lnTo>
                    <a:pt x="104" y="60"/>
                  </a:lnTo>
                  <a:lnTo>
                    <a:pt x="104" y="88"/>
                  </a:lnTo>
                  <a:lnTo>
                    <a:pt x="102" y="144"/>
                  </a:lnTo>
                  <a:lnTo>
                    <a:pt x="102" y="194"/>
                  </a:lnTo>
                  <a:lnTo>
                    <a:pt x="100" y="212"/>
                  </a:lnTo>
                  <a:lnTo>
                    <a:pt x="96" y="220"/>
                  </a:lnTo>
                  <a:lnTo>
                    <a:pt x="90" y="234"/>
                  </a:lnTo>
                  <a:lnTo>
                    <a:pt x="70" y="264"/>
                  </a:lnTo>
                  <a:lnTo>
                    <a:pt x="54" y="286"/>
                  </a:lnTo>
                  <a:lnTo>
                    <a:pt x="36" y="302"/>
                  </a:lnTo>
                  <a:lnTo>
                    <a:pt x="18" y="314"/>
                  </a:lnTo>
                  <a:lnTo>
                    <a:pt x="0" y="318"/>
                  </a:lnTo>
                  <a:lnTo>
                    <a:pt x="4" y="148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4" name="Freeform 47"/>
            <p:cNvSpPr>
              <a:spLocks/>
            </p:cNvSpPr>
            <p:nvPr/>
          </p:nvSpPr>
          <p:spPr bwMode="auto">
            <a:xfrm>
              <a:off x="3046" y="1609"/>
              <a:ext cx="53" cy="153"/>
            </a:xfrm>
            <a:custGeom>
              <a:avLst/>
              <a:gdLst/>
              <a:ahLst/>
              <a:cxnLst>
                <a:cxn ang="0">
                  <a:pos x="4" y="140"/>
                </a:cxn>
                <a:cxn ang="0">
                  <a:pos x="20" y="126"/>
                </a:cxn>
                <a:cxn ang="0">
                  <a:pos x="38" y="106"/>
                </a:cxn>
                <a:cxn ang="0">
                  <a:pos x="58" y="84"/>
                </a:cxn>
                <a:cxn ang="0">
                  <a:pos x="76" y="60"/>
                </a:cxn>
                <a:cxn ang="0">
                  <a:pos x="88" y="42"/>
                </a:cxn>
                <a:cxn ang="0">
                  <a:pos x="98" y="26"/>
                </a:cxn>
                <a:cxn ang="0">
                  <a:pos x="104" y="10"/>
                </a:cxn>
                <a:cxn ang="0">
                  <a:pos x="106" y="0"/>
                </a:cxn>
                <a:cxn ang="0">
                  <a:pos x="106" y="34"/>
                </a:cxn>
                <a:cxn ang="0">
                  <a:pos x="106" y="58"/>
                </a:cxn>
                <a:cxn ang="0">
                  <a:pos x="104" y="86"/>
                </a:cxn>
                <a:cxn ang="0">
                  <a:pos x="102" y="144"/>
                </a:cxn>
                <a:cxn ang="0">
                  <a:pos x="100" y="170"/>
                </a:cxn>
                <a:cxn ang="0">
                  <a:pos x="100" y="192"/>
                </a:cxn>
                <a:cxn ang="0">
                  <a:pos x="100" y="202"/>
                </a:cxn>
                <a:cxn ang="0">
                  <a:pos x="98" y="208"/>
                </a:cxn>
                <a:cxn ang="0">
                  <a:pos x="96" y="218"/>
                </a:cxn>
                <a:cxn ang="0">
                  <a:pos x="90" y="232"/>
                </a:cxn>
                <a:cxn ang="0">
                  <a:pos x="82" y="246"/>
                </a:cxn>
                <a:cxn ang="0">
                  <a:pos x="72" y="260"/>
                </a:cxn>
                <a:cxn ang="0">
                  <a:pos x="54" y="280"/>
                </a:cxn>
                <a:cxn ang="0">
                  <a:pos x="36" y="296"/>
                </a:cxn>
                <a:cxn ang="0">
                  <a:pos x="18" y="304"/>
                </a:cxn>
                <a:cxn ang="0">
                  <a:pos x="0" y="306"/>
                </a:cxn>
                <a:cxn ang="0">
                  <a:pos x="4" y="140"/>
                </a:cxn>
              </a:cxnLst>
              <a:rect l="0" t="0" r="r" b="b"/>
              <a:pathLst>
                <a:path w="106" h="306">
                  <a:moveTo>
                    <a:pt x="4" y="140"/>
                  </a:moveTo>
                  <a:lnTo>
                    <a:pt x="20" y="126"/>
                  </a:lnTo>
                  <a:lnTo>
                    <a:pt x="38" y="106"/>
                  </a:lnTo>
                  <a:lnTo>
                    <a:pt x="58" y="84"/>
                  </a:lnTo>
                  <a:lnTo>
                    <a:pt x="76" y="60"/>
                  </a:lnTo>
                  <a:lnTo>
                    <a:pt x="88" y="42"/>
                  </a:lnTo>
                  <a:lnTo>
                    <a:pt x="98" y="26"/>
                  </a:lnTo>
                  <a:lnTo>
                    <a:pt x="104" y="10"/>
                  </a:lnTo>
                  <a:lnTo>
                    <a:pt x="106" y="0"/>
                  </a:lnTo>
                  <a:lnTo>
                    <a:pt x="106" y="34"/>
                  </a:lnTo>
                  <a:lnTo>
                    <a:pt x="106" y="58"/>
                  </a:lnTo>
                  <a:lnTo>
                    <a:pt x="104" y="86"/>
                  </a:lnTo>
                  <a:lnTo>
                    <a:pt x="102" y="144"/>
                  </a:lnTo>
                  <a:lnTo>
                    <a:pt x="100" y="170"/>
                  </a:lnTo>
                  <a:lnTo>
                    <a:pt x="100" y="192"/>
                  </a:lnTo>
                  <a:lnTo>
                    <a:pt x="100" y="202"/>
                  </a:lnTo>
                  <a:lnTo>
                    <a:pt x="98" y="208"/>
                  </a:lnTo>
                  <a:lnTo>
                    <a:pt x="96" y="218"/>
                  </a:lnTo>
                  <a:lnTo>
                    <a:pt x="90" y="232"/>
                  </a:lnTo>
                  <a:lnTo>
                    <a:pt x="82" y="246"/>
                  </a:lnTo>
                  <a:lnTo>
                    <a:pt x="72" y="260"/>
                  </a:lnTo>
                  <a:lnTo>
                    <a:pt x="54" y="280"/>
                  </a:lnTo>
                  <a:lnTo>
                    <a:pt x="36" y="296"/>
                  </a:lnTo>
                  <a:lnTo>
                    <a:pt x="18" y="304"/>
                  </a:lnTo>
                  <a:lnTo>
                    <a:pt x="0" y="306"/>
                  </a:lnTo>
                  <a:lnTo>
                    <a:pt x="4" y="140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5" name="Freeform 48"/>
            <p:cNvSpPr>
              <a:spLocks/>
            </p:cNvSpPr>
            <p:nvPr/>
          </p:nvSpPr>
          <p:spPr bwMode="auto">
            <a:xfrm>
              <a:off x="3042" y="1615"/>
              <a:ext cx="55" cy="148"/>
            </a:xfrm>
            <a:custGeom>
              <a:avLst/>
              <a:gdLst/>
              <a:ahLst/>
              <a:cxnLst>
                <a:cxn ang="0">
                  <a:pos x="6" y="132"/>
                </a:cxn>
                <a:cxn ang="0">
                  <a:pos x="20" y="120"/>
                </a:cxn>
                <a:cxn ang="0">
                  <a:pos x="40" y="102"/>
                </a:cxn>
                <a:cxn ang="0">
                  <a:pos x="62" y="80"/>
                </a:cxn>
                <a:cxn ang="0">
                  <a:pos x="80" y="58"/>
                </a:cxn>
                <a:cxn ang="0">
                  <a:pos x="90" y="40"/>
                </a:cxn>
                <a:cxn ang="0">
                  <a:pos x="100" y="24"/>
                </a:cxn>
                <a:cxn ang="0">
                  <a:pos x="106" y="10"/>
                </a:cxn>
                <a:cxn ang="0">
                  <a:pos x="110" y="0"/>
                </a:cxn>
                <a:cxn ang="0">
                  <a:pos x="110" y="32"/>
                </a:cxn>
                <a:cxn ang="0">
                  <a:pos x="108" y="58"/>
                </a:cxn>
                <a:cxn ang="0">
                  <a:pos x="108" y="86"/>
                </a:cxn>
                <a:cxn ang="0">
                  <a:pos x="106" y="144"/>
                </a:cxn>
                <a:cxn ang="0">
                  <a:pos x="106" y="192"/>
                </a:cxn>
                <a:cxn ang="0">
                  <a:pos x="104" y="202"/>
                </a:cxn>
                <a:cxn ang="0">
                  <a:pos x="102" y="208"/>
                </a:cxn>
                <a:cxn ang="0">
                  <a:pos x="98" y="218"/>
                </a:cxn>
                <a:cxn ang="0">
                  <a:pos x="92" y="230"/>
                </a:cxn>
                <a:cxn ang="0">
                  <a:pos x="84" y="242"/>
                </a:cxn>
                <a:cxn ang="0">
                  <a:pos x="72" y="258"/>
                </a:cxn>
                <a:cxn ang="0">
                  <a:pos x="56" y="274"/>
                </a:cxn>
                <a:cxn ang="0">
                  <a:pos x="38" y="288"/>
                </a:cxn>
                <a:cxn ang="0">
                  <a:pos x="18" y="296"/>
                </a:cxn>
                <a:cxn ang="0">
                  <a:pos x="8" y="296"/>
                </a:cxn>
                <a:cxn ang="0">
                  <a:pos x="0" y="294"/>
                </a:cxn>
                <a:cxn ang="0">
                  <a:pos x="6" y="132"/>
                </a:cxn>
              </a:cxnLst>
              <a:rect l="0" t="0" r="r" b="b"/>
              <a:pathLst>
                <a:path w="110" h="296">
                  <a:moveTo>
                    <a:pt x="6" y="132"/>
                  </a:moveTo>
                  <a:lnTo>
                    <a:pt x="20" y="120"/>
                  </a:lnTo>
                  <a:lnTo>
                    <a:pt x="40" y="102"/>
                  </a:lnTo>
                  <a:lnTo>
                    <a:pt x="62" y="80"/>
                  </a:lnTo>
                  <a:lnTo>
                    <a:pt x="80" y="58"/>
                  </a:lnTo>
                  <a:lnTo>
                    <a:pt x="90" y="40"/>
                  </a:lnTo>
                  <a:lnTo>
                    <a:pt x="100" y="24"/>
                  </a:lnTo>
                  <a:lnTo>
                    <a:pt x="106" y="10"/>
                  </a:lnTo>
                  <a:lnTo>
                    <a:pt x="110" y="0"/>
                  </a:lnTo>
                  <a:lnTo>
                    <a:pt x="110" y="32"/>
                  </a:lnTo>
                  <a:lnTo>
                    <a:pt x="108" y="58"/>
                  </a:lnTo>
                  <a:lnTo>
                    <a:pt x="108" y="86"/>
                  </a:lnTo>
                  <a:lnTo>
                    <a:pt x="106" y="144"/>
                  </a:lnTo>
                  <a:lnTo>
                    <a:pt x="106" y="192"/>
                  </a:lnTo>
                  <a:lnTo>
                    <a:pt x="104" y="202"/>
                  </a:lnTo>
                  <a:lnTo>
                    <a:pt x="102" y="208"/>
                  </a:lnTo>
                  <a:lnTo>
                    <a:pt x="98" y="218"/>
                  </a:lnTo>
                  <a:lnTo>
                    <a:pt x="92" y="230"/>
                  </a:lnTo>
                  <a:lnTo>
                    <a:pt x="84" y="242"/>
                  </a:lnTo>
                  <a:lnTo>
                    <a:pt x="72" y="258"/>
                  </a:lnTo>
                  <a:lnTo>
                    <a:pt x="56" y="274"/>
                  </a:lnTo>
                  <a:lnTo>
                    <a:pt x="38" y="288"/>
                  </a:lnTo>
                  <a:lnTo>
                    <a:pt x="18" y="296"/>
                  </a:lnTo>
                  <a:lnTo>
                    <a:pt x="8" y="296"/>
                  </a:lnTo>
                  <a:lnTo>
                    <a:pt x="0" y="294"/>
                  </a:lnTo>
                  <a:lnTo>
                    <a:pt x="6" y="132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6" name="Freeform 49"/>
            <p:cNvSpPr>
              <a:spLocks/>
            </p:cNvSpPr>
            <p:nvPr/>
          </p:nvSpPr>
          <p:spPr bwMode="auto">
            <a:xfrm>
              <a:off x="3040" y="1620"/>
              <a:ext cx="54" cy="145"/>
            </a:xfrm>
            <a:custGeom>
              <a:avLst/>
              <a:gdLst/>
              <a:ahLst/>
              <a:cxnLst>
                <a:cxn ang="0">
                  <a:pos x="6" y="126"/>
                </a:cxn>
                <a:cxn ang="0">
                  <a:pos x="10" y="122"/>
                </a:cxn>
                <a:cxn ang="0">
                  <a:pos x="18" y="114"/>
                </a:cxn>
                <a:cxn ang="0">
                  <a:pos x="36" y="98"/>
                </a:cxn>
                <a:cxn ang="0">
                  <a:pos x="58" y="76"/>
                </a:cxn>
                <a:cxn ang="0">
                  <a:pos x="78" y="56"/>
                </a:cxn>
                <a:cxn ang="0">
                  <a:pos x="88" y="38"/>
                </a:cxn>
                <a:cxn ang="0">
                  <a:pos x="98" y="22"/>
                </a:cxn>
                <a:cxn ang="0">
                  <a:pos x="104" y="10"/>
                </a:cxn>
                <a:cxn ang="0">
                  <a:pos x="108" y="0"/>
                </a:cxn>
                <a:cxn ang="0">
                  <a:pos x="108" y="30"/>
                </a:cxn>
                <a:cxn ang="0">
                  <a:pos x="106" y="56"/>
                </a:cxn>
                <a:cxn ang="0">
                  <a:pos x="104" y="84"/>
                </a:cxn>
                <a:cxn ang="0">
                  <a:pos x="104" y="144"/>
                </a:cxn>
                <a:cxn ang="0">
                  <a:pos x="102" y="170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0" y="208"/>
                </a:cxn>
                <a:cxn ang="0">
                  <a:pos x="98" y="216"/>
                </a:cxn>
                <a:cxn ang="0">
                  <a:pos x="92" y="228"/>
                </a:cxn>
                <a:cxn ang="0">
                  <a:pos x="82" y="240"/>
                </a:cxn>
                <a:cxn ang="0">
                  <a:pos x="70" y="256"/>
                </a:cxn>
                <a:cxn ang="0">
                  <a:pos x="54" y="272"/>
                </a:cxn>
                <a:cxn ang="0">
                  <a:pos x="34" y="284"/>
                </a:cxn>
                <a:cxn ang="0">
                  <a:pos x="16" y="290"/>
                </a:cxn>
                <a:cxn ang="0">
                  <a:pos x="8" y="288"/>
                </a:cxn>
                <a:cxn ang="0">
                  <a:pos x="0" y="284"/>
                </a:cxn>
                <a:cxn ang="0">
                  <a:pos x="6" y="126"/>
                </a:cxn>
              </a:cxnLst>
              <a:rect l="0" t="0" r="r" b="b"/>
              <a:pathLst>
                <a:path w="108" h="290">
                  <a:moveTo>
                    <a:pt x="6" y="126"/>
                  </a:moveTo>
                  <a:lnTo>
                    <a:pt x="10" y="122"/>
                  </a:lnTo>
                  <a:lnTo>
                    <a:pt x="18" y="114"/>
                  </a:lnTo>
                  <a:lnTo>
                    <a:pt x="36" y="98"/>
                  </a:lnTo>
                  <a:lnTo>
                    <a:pt x="58" y="76"/>
                  </a:lnTo>
                  <a:lnTo>
                    <a:pt x="78" y="56"/>
                  </a:lnTo>
                  <a:lnTo>
                    <a:pt x="88" y="38"/>
                  </a:lnTo>
                  <a:lnTo>
                    <a:pt x="98" y="22"/>
                  </a:lnTo>
                  <a:lnTo>
                    <a:pt x="104" y="10"/>
                  </a:lnTo>
                  <a:lnTo>
                    <a:pt x="108" y="0"/>
                  </a:lnTo>
                  <a:lnTo>
                    <a:pt x="108" y="30"/>
                  </a:lnTo>
                  <a:lnTo>
                    <a:pt x="106" y="56"/>
                  </a:lnTo>
                  <a:lnTo>
                    <a:pt x="104" y="84"/>
                  </a:lnTo>
                  <a:lnTo>
                    <a:pt x="104" y="144"/>
                  </a:lnTo>
                  <a:lnTo>
                    <a:pt x="102" y="170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0" y="208"/>
                  </a:lnTo>
                  <a:lnTo>
                    <a:pt x="98" y="216"/>
                  </a:lnTo>
                  <a:lnTo>
                    <a:pt x="92" y="228"/>
                  </a:lnTo>
                  <a:lnTo>
                    <a:pt x="82" y="240"/>
                  </a:lnTo>
                  <a:lnTo>
                    <a:pt x="70" y="256"/>
                  </a:lnTo>
                  <a:lnTo>
                    <a:pt x="54" y="272"/>
                  </a:lnTo>
                  <a:lnTo>
                    <a:pt x="34" y="284"/>
                  </a:lnTo>
                  <a:lnTo>
                    <a:pt x="16" y="290"/>
                  </a:lnTo>
                  <a:lnTo>
                    <a:pt x="8" y="288"/>
                  </a:lnTo>
                  <a:lnTo>
                    <a:pt x="0" y="284"/>
                  </a:lnTo>
                  <a:lnTo>
                    <a:pt x="6" y="126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7" name="Freeform 50"/>
            <p:cNvSpPr>
              <a:spLocks/>
            </p:cNvSpPr>
            <p:nvPr/>
          </p:nvSpPr>
          <p:spPr bwMode="auto">
            <a:xfrm>
              <a:off x="3037" y="1626"/>
              <a:ext cx="55" cy="141"/>
            </a:xfrm>
            <a:custGeom>
              <a:avLst/>
              <a:gdLst/>
              <a:ahLst/>
              <a:cxnLst>
                <a:cxn ang="0">
                  <a:pos x="6" y="120"/>
                </a:cxn>
                <a:cxn ang="0">
                  <a:pos x="10" y="114"/>
                </a:cxn>
                <a:cxn ang="0">
                  <a:pos x="16" y="108"/>
                </a:cxn>
                <a:cxn ang="0">
                  <a:pos x="26" y="102"/>
                </a:cxn>
                <a:cxn ang="0">
                  <a:pos x="36" y="92"/>
                </a:cxn>
                <a:cxn ang="0">
                  <a:pos x="58" y="74"/>
                </a:cxn>
                <a:cxn ang="0">
                  <a:pos x="78" y="52"/>
                </a:cxn>
                <a:cxn ang="0">
                  <a:pos x="92" y="36"/>
                </a:cxn>
                <a:cxn ang="0">
                  <a:pos x="102" y="20"/>
                </a:cxn>
                <a:cxn ang="0">
                  <a:pos x="106" y="8"/>
                </a:cxn>
                <a:cxn ang="0">
                  <a:pos x="110" y="0"/>
                </a:cxn>
                <a:cxn ang="0">
                  <a:pos x="110" y="30"/>
                </a:cxn>
                <a:cxn ang="0">
                  <a:pos x="108" y="56"/>
                </a:cxn>
                <a:cxn ang="0">
                  <a:pos x="106" y="84"/>
                </a:cxn>
                <a:cxn ang="0">
                  <a:pos x="104" y="146"/>
                </a:cxn>
                <a:cxn ang="0">
                  <a:pos x="102" y="172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2" y="208"/>
                </a:cxn>
                <a:cxn ang="0">
                  <a:pos x="98" y="214"/>
                </a:cxn>
                <a:cxn ang="0">
                  <a:pos x="92" y="226"/>
                </a:cxn>
                <a:cxn ang="0">
                  <a:pos x="82" y="240"/>
                </a:cxn>
                <a:cxn ang="0">
                  <a:pos x="70" y="252"/>
                </a:cxn>
                <a:cxn ang="0">
                  <a:pos x="54" y="266"/>
                </a:cxn>
                <a:cxn ang="0">
                  <a:pos x="36" y="278"/>
                </a:cxn>
                <a:cxn ang="0">
                  <a:pos x="16" y="282"/>
                </a:cxn>
                <a:cxn ang="0">
                  <a:pos x="8" y="278"/>
                </a:cxn>
                <a:cxn ang="0">
                  <a:pos x="0" y="274"/>
                </a:cxn>
                <a:cxn ang="0">
                  <a:pos x="6" y="120"/>
                </a:cxn>
              </a:cxnLst>
              <a:rect l="0" t="0" r="r" b="b"/>
              <a:pathLst>
                <a:path w="110" h="282">
                  <a:moveTo>
                    <a:pt x="6" y="120"/>
                  </a:moveTo>
                  <a:lnTo>
                    <a:pt x="10" y="114"/>
                  </a:lnTo>
                  <a:lnTo>
                    <a:pt x="16" y="108"/>
                  </a:lnTo>
                  <a:lnTo>
                    <a:pt x="26" y="102"/>
                  </a:lnTo>
                  <a:lnTo>
                    <a:pt x="36" y="92"/>
                  </a:lnTo>
                  <a:lnTo>
                    <a:pt x="58" y="74"/>
                  </a:lnTo>
                  <a:lnTo>
                    <a:pt x="78" y="52"/>
                  </a:lnTo>
                  <a:lnTo>
                    <a:pt x="92" y="36"/>
                  </a:lnTo>
                  <a:lnTo>
                    <a:pt x="102" y="20"/>
                  </a:lnTo>
                  <a:lnTo>
                    <a:pt x="106" y="8"/>
                  </a:lnTo>
                  <a:lnTo>
                    <a:pt x="110" y="0"/>
                  </a:lnTo>
                  <a:lnTo>
                    <a:pt x="110" y="30"/>
                  </a:lnTo>
                  <a:lnTo>
                    <a:pt x="108" y="56"/>
                  </a:lnTo>
                  <a:lnTo>
                    <a:pt x="106" y="84"/>
                  </a:lnTo>
                  <a:lnTo>
                    <a:pt x="104" y="146"/>
                  </a:lnTo>
                  <a:lnTo>
                    <a:pt x="102" y="172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2" y="208"/>
                  </a:lnTo>
                  <a:lnTo>
                    <a:pt x="98" y="214"/>
                  </a:lnTo>
                  <a:lnTo>
                    <a:pt x="92" y="226"/>
                  </a:lnTo>
                  <a:lnTo>
                    <a:pt x="82" y="240"/>
                  </a:lnTo>
                  <a:lnTo>
                    <a:pt x="70" y="252"/>
                  </a:lnTo>
                  <a:lnTo>
                    <a:pt x="54" y="266"/>
                  </a:lnTo>
                  <a:lnTo>
                    <a:pt x="36" y="278"/>
                  </a:lnTo>
                  <a:lnTo>
                    <a:pt x="16" y="282"/>
                  </a:lnTo>
                  <a:lnTo>
                    <a:pt x="8" y="278"/>
                  </a:lnTo>
                  <a:lnTo>
                    <a:pt x="0" y="274"/>
                  </a:lnTo>
                  <a:lnTo>
                    <a:pt x="6" y="120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8" name="Freeform 51"/>
            <p:cNvSpPr>
              <a:spLocks/>
            </p:cNvSpPr>
            <p:nvPr/>
          </p:nvSpPr>
          <p:spPr bwMode="auto">
            <a:xfrm>
              <a:off x="3034" y="1632"/>
              <a:ext cx="56" cy="136"/>
            </a:xfrm>
            <a:custGeom>
              <a:avLst/>
              <a:gdLst/>
              <a:ahLst/>
              <a:cxnLst>
                <a:cxn ang="0">
                  <a:pos x="6" y="112"/>
                </a:cxn>
                <a:cxn ang="0">
                  <a:pos x="10" y="108"/>
                </a:cxn>
                <a:cxn ang="0">
                  <a:pos x="18" y="102"/>
                </a:cxn>
                <a:cxn ang="0">
                  <a:pos x="36" y="88"/>
                </a:cxn>
                <a:cxn ang="0">
                  <a:pos x="58" y="70"/>
                </a:cxn>
                <a:cxn ang="0">
                  <a:pos x="78" y="48"/>
                </a:cxn>
                <a:cxn ang="0">
                  <a:pos x="92" y="32"/>
                </a:cxn>
                <a:cxn ang="0">
                  <a:pos x="102" y="18"/>
                </a:cxn>
                <a:cxn ang="0">
                  <a:pos x="108" y="6"/>
                </a:cxn>
                <a:cxn ang="0">
                  <a:pos x="112" y="0"/>
                </a:cxn>
                <a:cxn ang="0">
                  <a:pos x="112" y="10"/>
                </a:cxn>
                <a:cxn ang="0">
                  <a:pos x="110" y="28"/>
                </a:cxn>
                <a:cxn ang="0">
                  <a:pos x="110" y="54"/>
                </a:cxn>
                <a:cxn ang="0">
                  <a:pos x="108" y="82"/>
                </a:cxn>
                <a:cxn ang="0">
                  <a:pos x="106" y="144"/>
                </a:cxn>
                <a:cxn ang="0">
                  <a:pos x="106" y="172"/>
                </a:cxn>
                <a:cxn ang="0">
                  <a:pos x="104" y="194"/>
                </a:cxn>
                <a:cxn ang="0">
                  <a:pos x="104" y="202"/>
                </a:cxn>
                <a:cxn ang="0">
                  <a:pos x="102" y="208"/>
                </a:cxn>
                <a:cxn ang="0">
                  <a:pos x="100" y="214"/>
                </a:cxn>
                <a:cxn ang="0">
                  <a:pos x="94" y="224"/>
                </a:cxn>
                <a:cxn ang="0">
                  <a:pos x="84" y="236"/>
                </a:cxn>
                <a:cxn ang="0">
                  <a:pos x="72" y="248"/>
                </a:cxn>
                <a:cxn ang="0">
                  <a:pos x="54" y="264"/>
                </a:cxn>
                <a:cxn ang="0">
                  <a:pos x="34" y="272"/>
                </a:cxn>
                <a:cxn ang="0">
                  <a:pos x="24" y="272"/>
                </a:cxn>
                <a:cxn ang="0">
                  <a:pos x="14" y="272"/>
                </a:cxn>
                <a:cxn ang="0">
                  <a:pos x="6" y="270"/>
                </a:cxn>
                <a:cxn ang="0">
                  <a:pos x="0" y="264"/>
                </a:cxn>
                <a:cxn ang="0">
                  <a:pos x="6" y="112"/>
                </a:cxn>
              </a:cxnLst>
              <a:rect l="0" t="0" r="r" b="b"/>
              <a:pathLst>
                <a:path w="112" h="272">
                  <a:moveTo>
                    <a:pt x="6" y="112"/>
                  </a:moveTo>
                  <a:lnTo>
                    <a:pt x="10" y="108"/>
                  </a:lnTo>
                  <a:lnTo>
                    <a:pt x="18" y="102"/>
                  </a:lnTo>
                  <a:lnTo>
                    <a:pt x="36" y="88"/>
                  </a:lnTo>
                  <a:lnTo>
                    <a:pt x="58" y="70"/>
                  </a:lnTo>
                  <a:lnTo>
                    <a:pt x="78" y="48"/>
                  </a:lnTo>
                  <a:lnTo>
                    <a:pt x="92" y="32"/>
                  </a:lnTo>
                  <a:lnTo>
                    <a:pt x="102" y="18"/>
                  </a:lnTo>
                  <a:lnTo>
                    <a:pt x="108" y="6"/>
                  </a:lnTo>
                  <a:lnTo>
                    <a:pt x="112" y="0"/>
                  </a:lnTo>
                  <a:lnTo>
                    <a:pt x="112" y="10"/>
                  </a:lnTo>
                  <a:lnTo>
                    <a:pt x="110" y="28"/>
                  </a:lnTo>
                  <a:lnTo>
                    <a:pt x="110" y="54"/>
                  </a:lnTo>
                  <a:lnTo>
                    <a:pt x="108" y="82"/>
                  </a:lnTo>
                  <a:lnTo>
                    <a:pt x="106" y="144"/>
                  </a:lnTo>
                  <a:lnTo>
                    <a:pt x="106" y="172"/>
                  </a:lnTo>
                  <a:lnTo>
                    <a:pt x="104" y="194"/>
                  </a:lnTo>
                  <a:lnTo>
                    <a:pt x="104" y="202"/>
                  </a:lnTo>
                  <a:lnTo>
                    <a:pt x="102" y="208"/>
                  </a:lnTo>
                  <a:lnTo>
                    <a:pt x="100" y="214"/>
                  </a:lnTo>
                  <a:lnTo>
                    <a:pt x="94" y="224"/>
                  </a:lnTo>
                  <a:lnTo>
                    <a:pt x="84" y="236"/>
                  </a:lnTo>
                  <a:lnTo>
                    <a:pt x="72" y="248"/>
                  </a:lnTo>
                  <a:lnTo>
                    <a:pt x="54" y="264"/>
                  </a:lnTo>
                  <a:lnTo>
                    <a:pt x="34" y="272"/>
                  </a:lnTo>
                  <a:lnTo>
                    <a:pt x="24" y="272"/>
                  </a:lnTo>
                  <a:lnTo>
                    <a:pt x="14" y="272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112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29" name="Freeform 52"/>
            <p:cNvSpPr>
              <a:spLocks/>
            </p:cNvSpPr>
            <p:nvPr/>
          </p:nvSpPr>
          <p:spPr bwMode="auto">
            <a:xfrm>
              <a:off x="3032" y="1637"/>
              <a:ext cx="55" cy="134"/>
            </a:xfrm>
            <a:custGeom>
              <a:avLst/>
              <a:gdLst/>
              <a:ahLst/>
              <a:cxnLst>
                <a:cxn ang="0">
                  <a:pos x="6" y="104"/>
                </a:cxn>
                <a:cxn ang="0">
                  <a:pos x="8" y="100"/>
                </a:cxn>
                <a:cxn ang="0">
                  <a:pos x="16" y="96"/>
                </a:cxn>
                <a:cxn ang="0">
                  <a:pos x="24" y="90"/>
                </a:cxn>
                <a:cxn ang="0">
                  <a:pos x="34" y="82"/>
                </a:cxn>
                <a:cxn ang="0">
                  <a:pos x="58" y="66"/>
                </a:cxn>
                <a:cxn ang="0">
                  <a:pos x="68" y="56"/>
                </a:cxn>
                <a:cxn ang="0">
                  <a:pos x="76" y="48"/>
                </a:cxn>
                <a:cxn ang="0">
                  <a:pos x="92" y="30"/>
                </a:cxn>
                <a:cxn ang="0">
                  <a:pos x="102" y="16"/>
                </a:cxn>
                <a:cxn ang="0">
                  <a:pos x="108" y="4"/>
                </a:cxn>
                <a:cxn ang="0">
                  <a:pos x="110" y="0"/>
                </a:cxn>
                <a:cxn ang="0">
                  <a:pos x="110" y="28"/>
                </a:cxn>
                <a:cxn ang="0">
                  <a:pos x="108" y="52"/>
                </a:cxn>
                <a:cxn ang="0">
                  <a:pos x="106" y="82"/>
                </a:cxn>
                <a:cxn ang="0">
                  <a:pos x="104" y="146"/>
                </a:cxn>
                <a:cxn ang="0">
                  <a:pos x="102" y="174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2" y="208"/>
                </a:cxn>
                <a:cxn ang="0">
                  <a:pos x="100" y="212"/>
                </a:cxn>
                <a:cxn ang="0">
                  <a:pos x="94" y="222"/>
                </a:cxn>
                <a:cxn ang="0">
                  <a:pos x="84" y="234"/>
                </a:cxn>
                <a:cxn ang="0">
                  <a:pos x="70" y="246"/>
                </a:cxn>
                <a:cxn ang="0">
                  <a:pos x="52" y="260"/>
                </a:cxn>
                <a:cxn ang="0">
                  <a:pos x="34" y="266"/>
                </a:cxn>
                <a:cxn ang="0">
                  <a:pos x="22" y="268"/>
                </a:cxn>
                <a:cxn ang="0">
                  <a:pos x="14" y="266"/>
                </a:cxn>
                <a:cxn ang="0">
                  <a:pos x="6" y="262"/>
                </a:cxn>
                <a:cxn ang="0">
                  <a:pos x="0" y="254"/>
                </a:cxn>
                <a:cxn ang="0">
                  <a:pos x="6" y="104"/>
                </a:cxn>
              </a:cxnLst>
              <a:rect l="0" t="0" r="r" b="b"/>
              <a:pathLst>
                <a:path w="110" h="268">
                  <a:moveTo>
                    <a:pt x="6" y="104"/>
                  </a:moveTo>
                  <a:lnTo>
                    <a:pt x="8" y="100"/>
                  </a:lnTo>
                  <a:lnTo>
                    <a:pt x="16" y="96"/>
                  </a:lnTo>
                  <a:lnTo>
                    <a:pt x="24" y="90"/>
                  </a:lnTo>
                  <a:lnTo>
                    <a:pt x="34" y="82"/>
                  </a:lnTo>
                  <a:lnTo>
                    <a:pt x="58" y="66"/>
                  </a:lnTo>
                  <a:lnTo>
                    <a:pt x="68" y="56"/>
                  </a:lnTo>
                  <a:lnTo>
                    <a:pt x="76" y="48"/>
                  </a:lnTo>
                  <a:lnTo>
                    <a:pt x="92" y="30"/>
                  </a:lnTo>
                  <a:lnTo>
                    <a:pt x="102" y="16"/>
                  </a:lnTo>
                  <a:lnTo>
                    <a:pt x="108" y="4"/>
                  </a:lnTo>
                  <a:lnTo>
                    <a:pt x="110" y="0"/>
                  </a:lnTo>
                  <a:lnTo>
                    <a:pt x="110" y="28"/>
                  </a:lnTo>
                  <a:lnTo>
                    <a:pt x="108" y="52"/>
                  </a:lnTo>
                  <a:lnTo>
                    <a:pt x="106" y="82"/>
                  </a:lnTo>
                  <a:lnTo>
                    <a:pt x="104" y="146"/>
                  </a:lnTo>
                  <a:lnTo>
                    <a:pt x="102" y="174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2" y="208"/>
                  </a:lnTo>
                  <a:lnTo>
                    <a:pt x="100" y="212"/>
                  </a:lnTo>
                  <a:lnTo>
                    <a:pt x="94" y="222"/>
                  </a:lnTo>
                  <a:lnTo>
                    <a:pt x="84" y="234"/>
                  </a:lnTo>
                  <a:lnTo>
                    <a:pt x="70" y="246"/>
                  </a:lnTo>
                  <a:lnTo>
                    <a:pt x="52" y="260"/>
                  </a:lnTo>
                  <a:lnTo>
                    <a:pt x="34" y="266"/>
                  </a:lnTo>
                  <a:lnTo>
                    <a:pt x="22" y="268"/>
                  </a:lnTo>
                  <a:lnTo>
                    <a:pt x="14" y="266"/>
                  </a:lnTo>
                  <a:lnTo>
                    <a:pt x="6" y="262"/>
                  </a:lnTo>
                  <a:lnTo>
                    <a:pt x="0" y="254"/>
                  </a:lnTo>
                  <a:lnTo>
                    <a:pt x="6" y="104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0" name="Oval 53"/>
            <p:cNvSpPr>
              <a:spLocks noChangeArrowheads="1"/>
            </p:cNvSpPr>
            <p:nvPr/>
          </p:nvSpPr>
          <p:spPr bwMode="auto">
            <a:xfrm>
              <a:off x="2689" y="1528"/>
              <a:ext cx="408" cy="222"/>
            </a:xfrm>
            <a:prstGeom prst="ellipse">
              <a:avLst/>
            </a:prstGeom>
            <a:solidFill>
              <a:srgbClr val="80C2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1" name="Freeform 54"/>
            <p:cNvSpPr>
              <a:spLocks/>
            </p:cNvSpPr>
            <p:nvPr/>
          </p:nvSpPr>
          <p:spPr bwMode="auto">
            <a:xfrm>
              <a:off x="2697" y="1535"/>
              <a:ext cx="392" cy="211"/>
            </a:xfrm>
            <a:custGeom>
              <a:avLst/>
              <a:gdLst/>
              <a:ahLst/>
              <a:cxnLst>
                <a:cxn ang="0">
                  <a:pos x="0" y="229"/>
                </a:cxn>
                <a:cxn ang="0">
                  <a:pos x="18" y="271"/>
                </a:cxn>
                <a:cxn ang="0">
                  <a:pos x="46" y="309"/>
                </a:cxn>
                <a:cxn ang="0">
                  <a:pos x="88" y="343"/>
                </a:cxn>
                <a:cxn ang="0">
                  <a:pos x="142" y="373"/>
                </a:cxn>
                <a:cxn ang="0">
                  <a:pos x="204" y="395"/>
                </a:cxn>
                <a:cxn ang="0">
                  <a:pos x="276" y="411"/>
                </a:cxn>
                <a:cxn ang="0">
                  <a:pos x="352" y="419"/>
                </a:cxn>
                <a:cxn ang="0">
                  <a:pos x="432" y="419"/>
                </a:cxn>
                <a:cxn ang="0">
                  <a:pos x="510" y="411"/>
                </a:cxn>
                <a:cxn ang="0">
                  <a:pos x="579" y="395"/>
                </a:cxn>
                <a:cxn ang="0">
                  <a:pos x="641" y="373"/>
                </a:cxn>
                <a:cxn ang="0">
                  <a:pos x="695" y="343"/>
                </a:cxn>
                <a:cxn ang="0">
                  <a:pos x="737" y="309"/>
                </a:cxn>
                <a:cxn ang="0">
                  <a:pos x="767" y="271"/>
                </a:cxn>
                <a:cxn ang="0">
                  <a:pos x="783" y="229"/>
                </a:cxn>
                <a:cxn ang="0">
                  <a:pos x="783" y="189"/>
                </a:cxn>
                <a:cxn ang="0">
                  <a:pos x="767" y="147"/>
                </a:cxn>
                <a:cxn ang="0">
                  <a:pos x="737" y="109"/>
                </a:cxn>
                <a:cxn ang="0">
                  <a:pos x="695" y="76"/>
                </a:cxn>
                <a:cxn ang="0">
                  <a:pos x="641" y="48"/>
                </a:cxn>
                <a:cxn ang="0">
                  <a:pos x="579" y="26"/>
                </a:cxn>
                <a:cxn ang="0">
                  <a:pos x="510" y="10"/>
                </a:cxn>
                <a:cxn ang="0">
                  <a:pos x="432" y="2"/>
                </a:cxn>
                <a:cxn ang="0">
                  <a:pos x="352" y="2"/>
                </a:cxn>
                <a:cxn ang="0">
                  <a:pos x="276" y="10"/>
                </a:cxn>
                <a:cxn ang="0">
                  <a:pos x="204" y="26"/>
                </a:cxn>
                <a:cxn ang="0">
                  <a:pos x="142" y="48"/>
                </a:cxn>
                <a:cxn ang="0">
                  <a:pos x="88" y="76"/>
                </a:cxn>
                <a:cxn ang="0">
                  <a:pos x="46" y="109"/>
                </a:cxn>
                <a:cxn ang="0">
                  <a:pos x="18" y="147"/>
                </a:cxn>
                <a:cxn ang="0">
                  <a:pos x="0" y="189"/>
                </a:cxn>
              </a:cxnLst>
              <a:rect l="0" t="0" r="r" b="b"/>
              <a:pathLst>
                <a:path w="785" h="421">
                  <a:moveTo>
                    <a:pt x="0" y="209"/>
                  </a:moveTo>
                  <a:lnTo>
                    <a:pt x="0" y="229"/>
                  </a:lnTo>
                  <a:lnTo>
                    <a:pt x="8" y="251"/>
                  </a:lnTo>
                  <a:lnTo>
                    <a:pt x="18" y="271"/>
                  </a:lnTo>
                  <a:lnTo>
                    <a:pt x="30" y="291"/>
                  </a:lnTo>
                  <a:lnTo>
                    <a:pt x="46" y="309"/>
                  </a:lnTo>
                  <a:lnTo>
                    <a:pt x="66" y="327"/>
                  </a:lnTo>
                  <a:lnTo>
                    <a:pt x="88" y="343"/>
                  </a:lnTo>
                  <a:lnTo>
                    <a:pt x="114" y="359"/>
                  </a:lnTo>
                  <a:lnTo>
                    <a:pt x="142" y="373"/>
                  </a:lnTo>
                  <a:lnTo>
                    <a:pt x="174" y="385"/>
                  </a:lnTo>
                  <a:lnTo>
                    <a:pt x="204" y="395"/>
                  </a:lnTo>
                  <a:lnTo>
                    <a:pt x="240" y="405"/>
                  </a:lnTo>
                  <a:lnTo>
                    <a:pt x="276" y="411"/>
                  </a:lnTo>
                  <a:lnTo>
                    <a:pt x="312" y="417"/>
                  </a:lnTo>
                  <a:lnTo>
                    <a:pt x="352" y="419"/>
                  </a:lnTo>
                  <a:lnTo>
                    <a:pt x="392" y="421"/>
                  </a:lnTo>
                  <a:lnTo>
                    <a:pt x="432" y="419"/>
                  </a:lnTo>
                  <a:lnTo>
                    <a:pt x="472" y="417"/>
                  </a:lnTo>
                  <a:lnTo>
                    <a:pt x="510" y="411"/>
                  </a:lnTo>
                  <a:lnTo>
                    <a:pt x="543" y="405"/>
                  </a:lnTo>
                  <a:lnTo>
                    <a:pt x="579" y="395"/>
                  </a:lnTo>
                  <a:lnTo>
                    <a:pt x="611" y="385"/>
                  </a:lnTo>
                  <a:lnTo>
                    <a:pt x="641" y="373"/>
                  </a:lnTo>
                  <a:lnTo>
                    <a:pt x="669" y="359"/>
                  </a:lnTo>
                  <a:lnTo>
                    <a:pt x="695" y="343"/>
                  </a:lnTo>
                  <a:lnTo>
                    <a:pt x="717" y="327"/>
                  </a:lnTo>
                  <a:lnTo>
                    <a:pt x="737" y="309"/>
                  </a:lnTo>
                  <a:lnTo>
                    <a:pt x="753" y="291"/>
                  </a:lnTo>
                  <a:lnTo>
                    <a:pt x="767" y="271"/>
                  </a:lnTo>
                  <a:lnTo>
                    <a:pt x="777" y="251"/>
                  </a:lnTo>
                  <a:lnTo>
                    <a:pt x="783" y="229"/>
                  </a:lnTo>
                  <a:lnTo>
                    <a:pt x="785" y="209"/>
                  </a:lnTo>
                  <a:lnTo>
                    <a:pt x="783" y="189"/>
                  </a:lnTo>
                  <a:lnTo>
                    <a:pt x="777" y="167"/>
                  </a:lnTo>
                  <a:lnTo>
                    <a:pt x="767" y="147"/>
                  </a:lnTo>
                  <a:lnTo>
                    <a:pt x="753" y="127"/>
                  </a:lnTo>
                  <a:lnTo>
                    <a:pt x="737" y="109"/>
                  </a:lnTo>
                  <a:lnTo>
                    <a:pt x="717" y="91"/>
                  </a:lnTo>
                  <a:lnTo>
                    <a:pt x="695" y="76"/>
                  </a:lnTo>
                  <a:lnTo>
                    <a:pt x="669" y="62"/>
                  </a:lnTo>
                  <a:lnTo>
                    <a:pt x="641" y="48"/>
                  </a:lnTo>
                  <a:lnTo>
                    <a:pt x="611" y="36"/>
                  </a:lnTo>
                  <a:lnTo>
                    <a:pt x="579" y="26"/>
                  </a:lnTo>
                  <a:lnTo>
                    <a:pt x="543" y="16"/>
                  </a:lnTo>
                  <a:lnTo>
                    <a:pt x="510" y="10"/>
                  </a:lnTo>
                  <a:lnTo>
                    <a:pt x="472" y="4"/>
                  </a:lnTo>
                  <a:lnTo>
                    <a:pt x="432" y="2"/>
                  </a:lnTo>
                  <a:lnTo>
                    <a:pt x="392" y="0"/>
                  </a:lnTo>
                  <a:lnTo>
                    <a:pt x="352" y="2"/>
                  </a:lnTo>
                  <a:lnTo>
                    <a:pt x="312" y="4"/>
                  </a:lnTo>
                  <a:lnTo>
                    <a:pt x="276" y="10"/>
                  </a:lnTo>
                  <a:lnTo>
                    <a:pt x="240" y="16"/>
                  </a:lnTo>
                  <a:lnTo>
                    <a:pt x="204" y="26"/>
                  </a:lnTo>
                  <a:lnTo>
                    <a:pt x="174" y="36"/>
                  </a:lnTo>
                  <a:lnTo>
                    <a:pt x="142" y="48"/>
                  </a:lnTo>
                  <a:lnTo>
                    <a:pt x="114" y="62"/>
                  </a:lnTo>
                  <a:lnTo>
                    <a:pt x="88" y="76"/>
                  </a:lnTo>
                  <a:lnTo>
                    <a:pt x="66" y="91"/>
                  </a:lnTo>
                  <a:lnTo>
                    <a:pt x="46" y="109"/>
                  </a:lnTo>
                  <a:lnTo>
                    <a:pt x="30" y="127"/>
                  </a:lnTo>
                  <a:lnTo>
                    <a:pt x="18" y="147"/>
                  </a:lnTo>
                  <a:lnTo>
                    <a:pt x="8" y="167"/>
                  </a:lnTo>
                  <a:lnTo>
                    <a:pt x="0" y="189"/>
                  </a:lnTo>
                  <a:lnTo>
                    <a:pt x="0" y="209"/>
                  </a:lnTo>
                  <a:close/>
                </a:path>
              </a:pathLst>
            </a:custGeom>
            <a:solidFill>
              <a:srgbClr val="78BE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2" name="Freeform 55"/>
            <p:cNvSpPr>
              <a:spLocks/>
            </p:cNvSpPr>
            <p:nvPr/>
          </p:nvSpPr>
          <p:spPr bwMode="auto">
            <a:xfrm>
              <a:off x="2706" y="1542"/>
              <a:ext cx="380" cy="204"/>
            </a:xfrm>
            <a:custGeom>
              <a:avLst/>
              <a:gdLst/>
              <a:ahLst/>
              <a:cxnLst>
                <a:cxn ang="0">
                  <a:pos x="0" y="203"/>
                </a:cxn>
                <a:cxn ang="0">
                  <a:pos x="2" y="223"/>
                </a:cxn>
                <a:cxn ang="0">
                  <a:pos x="8" y="243"/>
                </a:cxn>
                <a:cxn ang="0">
                  <a:pos x="18" y="263"/>
                </a:cxn>
                <a:cxn ang="0">
                  <a:pos x="28" y="281"/>
                </a:cxn>
                <a:cxn ang="0">
                  <a:pos x="44" y="299"/>
                </a:cxn>
                <a:cxn ang="0">
                  <a:pos x="64" y="317"/>
                </a:cxn>
                <a:cxn ang="0">
                  <a:pos x="88" y="333"/>
                </a:cxn>
                <a:cxn ang="0">
                  <a:pos x="112" y="347"/>
                </a:cxn>
                <a:cxn ang="0">
                  <a:pos x="138" y="361"/>
                </a:cxn>
                <a:cxn ang="0">
                  <a:pos x="200" y="383"/>
                </a:cxn>
                <a:cxn ang="0">
                  <a:pos x="232" y="391"/>
                </a:cxn>
                <a:cxn ang="0">
                  <a:pos x="268" y="399"/>
                </a:cxn>
                <a:cxn ang="0">
                  <a:pos x="304" y="403"/>
                </a:cxn>
                <a:cxn ang="0">
                  <a:pos x="342" y="407"/>
                </a:cxn>
                <a:cxn ang="0">
                  <a:pos x="382" y="407"/>
                </a:cxn>
                <a:cxn ang="0">
                  <a:pos x="420" y="407"/>
                </a:cxn>
                <a:cxn ang="0">
                  <a:pos x="458" y="403"/>
                </a:cxn>
                <a:cxn ang="0">
                  <a:pos x="494" y="399"/>
                </a:cxn>
                <a:cxn ang="0">
                  <a:pos x="527" y="391"/>
                </a:cxn>
                <a:cxn ang="0">
                  <a:pos x="563" y="383"/>
                </a:cxn>
                <a:cxn ang="0">
                  <a:pos x="593" y="373"/>
                </a:cxn>
                <a:cxn ang="0">
                  <a:pos x="623" y="361"/>
                </a:cxn>
                <a:cxn ang="0">
                  <a:pos x="649" y="347"/>
                </a:cxn>
                <a:cxn ang="0">
                  <a:pos x="675" y="333"/>
                </a:cxn>
                <a:cxn ang="0">
                  <a:pos x="697" y="317"/>
                </a:cxn>
                <a:cxn ang="0">
                  <a:pos x="715" y="299"/>
                </a:cxn>
                <a:cxn ang="0">
                  <a:pos x="731" y="281"/>
                </a:cxn>
                <a:cxn ang="0">
                  <a:pos x="743" y="263"/>
                </a:cxn>
                <a:cxn ang="0">
                  <a:pos x="753" y="243"/>
                </a:cxn>
                <a:cxn ang="0">
                  <a:pos x="761" y="223"/>
                </a:cxn>
                <a:cxn ang="0">
                  <a:pos x="761" y="203"/>
                </a:cxn>
                <a:cxn ang="0">
                  <a:pos x="761" y="183"/>
                </a:cxn>
                <a:cxn ang="0">
                  <a:pos x="753" y="163"/>
                </a:cxn>
                <a:cxn ang="0">
                  <a:pos x="743" y="143"/>
                </a:cxn>
                <a:cxn ang="0">
                  <a:pos x="731" y="123"/>
                </a:cxn>
                <a:cxn ang="0">
                  <a:pos x="715" y="105"/>
                </a:cxn>
                <a:cxn ang="0">
                  <a:pos x="697" y="89"/>
                </a:cxn>
                <a:cxn ang="0">
                  <a:pos x="675" y="73"/>
                </a:cxn>
                <a:cxn ang="0">
                  <a:pos x="649" y="60"/>
                </a:cxn>
                <a:cxn ang="0">
                  <a:pos x="623" y="46"/>
                </a:cxn>
                <a:cxn ang="0">
                  <a:pos x="593" y="36"/>
                </a:cxn>
                <a:cxn ang="0">
                  <a:pos x="563" y="24"/>
                </a:cxn>
                <a:cxn ang="0">
                  <a:pos x="527" y="16"/>
                </a:cxn>
                <a:cxn ang="0">
                  <a:pos x="494" y="10"/>
                </a:cxn>
                <a:cxn ang="0">
                  <a:pos x="458" y="4"/>
                </a:cxn>
                <a:cxn ang="0">
                  <a:pos x="420" y="2"/>
                </a:cxn>
                <a:cxn ang="0">
                  <a:pos x="382" y="0"/>
                </a:cxn>
                <a:cxn ang="0">
                  <a:pos x="342" y="2"/>
                </a:cxn>
                <a:cxn ang="0">
                  <a:pos x="304" y="4"/>
                </a:cxn>
                <a:cxn ang="0">
                  <a:pos x="268" y="10"/>
                </a:cxn>
                <a:cxn ang="0">
                  <a:pos x="232" y="16"/>
                </a:cxn>
                <a:cxn ang="0">
                  <a:pos x="200" y="24"/>
                </a:cxn>
                <a:cxn ang="0">
                  <a:pos x="138" y="46"/>
                </a:cxn>
                <a:cxn ang="0">
                  <a:pos x="112" y="60"/>
                </a:cxn>
                <a:cxn ang="0">
                  <a:pos x="88" y="73"/>
                </a:cxn>
                <a:cxn ang="0">
                  <a:pos x="64" y="89"/>
                </a:cxn>
                <a:cxn ang="0">
                  <a:pos x="44" y="105"/>
                </a:cxn>
                <a:cxn ang="0">
                  <a:pos x="28" y="123"/>
                </a:cxn>
                <a:cxn ang="0">
                  <a:pos x="18" y="143"/>
                </a:cxn>
                <a:cxn ang="0">
                  <a:pos x="8" y="163"/>
                </a:cxn>
                <a:cxn ang="0">
                  <a:pos x="2" y="183"/>
                </a:cxn>
                <a:cxn ang="0">
                  <a:pos x="0" y="203"/>
                </a:cxn>
              </a:cxnLst>
              <a:rect l="0" t="0" r="r" b="b"/>
              <a:pathLst>
                <a:path w="761" h="407">
                  <a:moveTo>
                    <a:pt x="0" y="203"/>
                  </a:moveTo>
                  <a:lnTo>
                    <a:pt x="2" y="223"/>
                  </a:lnTo>
                  <a:lnTo>
                    <a:pt x="8" y="243"/>
                  </a:lnTo>
                  <a:lnTo>
                    <a:pt x="18" y="263"/>
                  </a:lnTo>
                  <a:lnTo>
                    <a:pt x="28" y="281"/>
                  </a:lnTo>
                  <a:lnTo>
                    <a:pt x="44" y="299"/>
                  </a:lnTo>
                  <a:lnTo>
                    <a:pt x="64" y="317"/>
                  </a:lnTo>
                  <a:lnTo>
                    <a:pt x="88" y="333"/>
                  </a:lnTo>
                  <a:lnTo>
                    <a:pt x="112" y="347"/>
                  </a:lnTo>
                  <a:lnTo>
                    <a:pt x="138" y="361"/>
                  </a:lnTo>
                  <a:lnTo>
                    <a:pt x="200" y="383"/>
                  </a:lnTo>
                  <a:lnTo>
                    <a:pt x="232" y="391"/>
                  </a:lnTo>
                  <a:lnTo>
                    <a:pt x="268" y="399"/>
                  </a:lnTo>
                  <a:lnTo>
                    <a:pt x="304" y="403"/>
                  </a:lnTo>
                  <a:lnTo>
                    <a:pt x="342" y="407"/>
                  </a:lnTo>
                  <a:lnTo>
                    <a:pt x="382" y="407"/>
                  </a:lnTo>
                  <a:lnTo>
                    <a:pt x="420" y="407"/>
                  </a:lnTo>
                  <a:lnTo>
                    <a:pt x="458" y="403"/>
                  </a:lnTo>
                  <a:lnTo>
                    <a:pt x="494" y="399"/>
                  </a:lnTo>
                  <a:lnTo>
                    <a:pt x="527" y="391"/>
                  </a:lnTo>
                  <a:lnTo>
                    <a:pt x="563" y="383"/>
                  </a:lnTo>
                  <a:lnTo>
                    <a:pt x="593" y="373"/>
                  </a:lnTo>
                  <a:lnTo>
                    <a:pt x="623" y="361"/>
                  </a:lnTo>
                  <a:lnTo>
                    <a:pt x="649" y="347"/>
                  </a:lnTo>
                  <a:lnTo>
                    <a:pt x="675" y="333"/>
                  </a:lnTo>
                  <a:lnTo>
                    <a:pt x="697" y="317"/>
                  </a:lnTo>
                  <a:lnTo>
                    <a:pt x="715" y="299"/>
                  </a:lnTo>
                  <a:lnTo>
                    <a:pt x="731" y="281"/>
                  </a:lnTo>
                  <a:lnTo>
                    <a:pt x="743" y="263"/>
                  </a:lnTo>
                  <a:lnTo>
                    <a:pt x="753" y="243"/>
                  </a:lnTo>
                  <a:lnTo>
                    <a:pt x="761" y="223"/>
                  </a:lnTo>
                  <a:lnTo>
                    <a:pt x="761" y="203"/>
                  </a:lnTo>
                  <a:lnTo>
                    <a:pt x="761" y="183"/>
                  </a:lnTo>
                  <a:lnTo>
                    <a:pt x="753" y="163"/>
                  </a:lnTo>
                  <a:lnTo>
                    <a:pt x="743" y="143"/>
                  </a:lnTo>
                  <a:lnTo>
                    <a:pt x="731" y="123"/>
                  </a:lnTo>
                  <a:lnTo>
                    <a:pt x="715" y="105"/>
                  </a:lnTo>
                  <a:lnTo>
                    <a:pt x="697" y="89"/>
                  </a:lnTo>
                  <a:lnTo>
                    <a:pt x="675" y="73"/>
                  </a:lnTo>
                  <a:lnTo>
                    <a:pt x="649" y="60"/>
                  </a:lnTo>
                  <a:lnTo>
                    <a:pt x="623" y="46"/>
                  </a:lnTo>
                  <a:lnTo>
                    <a:pt x="593" y="36"/>
                  </a:lnTo>
                  <a:lnTo>
                    <a:pt x="563" y="24"/>
                  </a:lnTo>
                  <a:lnTo>
                    <a:pt x="527" y="16"/>
                  </a:lnTo>
                  <a:lnTo>
                    <a:pt x="494" y="10"/>
                  </a:lnTo>
                  <a:lnTo>
                    <a:pt x="458" y="4"/>
                  </a:lnTo>
                  <a:lnTo>
                    <a:pt x="420" y="2"/>
                  </a:lnTo>
                  <a:lnTo>
                    <a:pt x="382" y="0"/>
                  </a:lnTo>
                  <a:lnTo>
                    <a:pt x="342" y="2"/>
                  </a:lnTo>
                  <a:lnTo>
                    <a:pt x="304" y="4"/>
                  </a:lnTo>
                  <a:lnTo>
                    <a:pt x="268" y="10"/>
                  </a:lnTo>
                  <a:lnTo>
                    <a:pt x="232" y="16"/>
                  </a:lnTo>
                  <a:lnTo>
                    <a:pt x="200" y="24"/>
                  </a:lnTo>
                  <a:lnTo>
                    <a:pt x="138" y="46"/>
                  </a:lnTo>
                  <a:lnTo>
                    <a:pt x="112" y="60"/>
                  </a:lnTo>
                  <a:lnTo>
                    <a:pt x="88" y="73"/>
                  </a:lnTo>
                  <a:lnTo>
                    <a:pt x="64" y="89"/>
                  </a:lnTo>
                  <a:lnTo>
                    <a:pt x="44" y="105"/>
                  </a:lnTo>
                  <a:lnTo>
                    <a:pt x="28" y="123"/>
                  </a:lnTo>
                  <a:lnTo>
                    <a:pt x="18" y="143"/>
                  </a:lnTo>
                  <a:lnTo>
                    <a:pt x="8" y="163"/>
                  </a:lnTo>
                  <a:lnTo>
                    <a:pt x="2" y="183"/>
                  </a:lnTo>
                  <a:lnTo>
                    <a:pt x="0" y="203"/>
                  </a:lnTo>
                  <a:close/>
                </a:path>
              </a:pathLst>
            </a:custGeom>
            <a:solidFill>
              <a:srgbClr val="70BA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3" name="Freeform 56"/>
            <p:cNvSpPr>
              <a:spLocks/>
            </p:cNvSpPr>
            <p:nvPr/>
          </p:nvSpPr>
          <p:spPr bwMode="auto">
            <a:xfrm>
              <a:off x="2714" y="1548"/>
              <a:ext cx="368" cy="197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" y="217"/>
                </a:cxn>
                <a:cxn ang="0">
                  <a:pos x="8" y="235"/>
                </a:cxn>
                <a:cxn ang="0">
                  <a:pos x="16" y="255"/>
                </a:cxn>
                <a:cxn ang="0">
                  <a:pos x="28" y="273"/>
                </a:cxn>
                <a:cxn ang="0">
                  <a:pos x="46" y="289"/>
                </a:cxn>
                <a:cxn ang="0">
                  <a:pos x="64" y="305"/>
                </a:cxn>
                <a:cxn ang="0">
                  <a:pos x="84" y="321"/>
                </a:cxn>
                <a:cxn ang="0">
                  <a:pos x="108" y="337"/>
                </a:cxn>
                <a:cxn ang="0">
                  <a:pos x="134" y="347"/>
                </a:cxn>
                <a:cxn ang="0">
                  <a:pos x="162" y="359"/>
                </a:cxn>
                <a:cxn ang="0">
                  <a:pos x="194" y="369"/>
                </a:cxn>
                <a:cxn ang="0">
                  <a:pos x="226" y="379"/>
                </a:cxn>
                <a:cxn ang="0">
                  <a:pos x="296" y="391"/>
                </a:cxn>
                <a:cxn ang="0">
                  <a:pos x="370" y="393"/>
                </a:cxn>
                <a:cxn ang="0">
                  <a:pos x="444" y="391"/>
                </a:cxn>
                <a:cxn ang="0">
                  <a:pos x="511" y="379"/>
                </a:cxn>
                <a:cxn ang="0">
                  <a:pos x="545" y="369"/>
                </a:cxn>
                <a:cxn ang="0">
                  <a:pos x="575" y="359"/>
                </a:cxn>
                <a:cxn ang="0">
                  <a:pos x="603" y="347"/>
                </a:cxn>
                <a:cxn ang="0">
                  <a:pos x="629" y="337"/>
                </a:cxn>
                <a:cxn ang="0">
                  <a:pos x="653" y="321"/>
                </a:cxn>
                <a:cxn ang="0">
                  <a:pos x="675" y="305"/>
                </a:cxn>
                <a:cxn ang="0">
                  <a:pos x="693" y="289"/>
                </a:cxn>
                <a:cxn ang="0">
                  <a:pos x="709" y="273"/>
                </a:cxn>
                <a:cxn ang="0">
                  <a:pos x="721" y="255"/>
                </a:cxn>
                <a:cxn ang="0">
                  <a:pos x="729" y="235"/>
                </a:cxn>
                <a:cxn ang="0">
                  <a:pos x="737" y="217"/>
                </a:cxn>
                <a:cxn ang="0">
                  <a:pos x="737" y="195"/>
                </a:cxn>
                <a:cxn ang="0">
                  <a:pos x="737" y="177"/>
                </a:cxn>
                <a:cxn ang="0">
                  <a:pos x="729" y="157"/>
                </a:cxn>
                <a:cxn ang="0">
                  <a:pos x="721" y="139"/>
                </a:cxn>
                <a:cxn ang="0">
                  <a:pos x="709" y="121"/>
                </a:cxn>
                <a:cxn ang="0">
                  <a:pos x="693" y="103"/>
                </a:cxn>
                <a:cxn ang="0">
                  <a:pos x="675" y="87"/>
                </a:cxn>
                <a:cxn ang="0">
                  <a:pos x="653" y="71"/>
                </a:cxn>
                <a:cxn ang="0">
                  <a:pos x="629" y="58"/>
                </a:cxn>
                <a:cxn ang="0">
                  <a:pos x="603" y="46"/>
                </a:cxn>
                <a:cxn ang="0">
                  <a:pos x="575" y="34"/>
                </a:cxn>
                <a:cxn ang="0">
                  <a:pos x="545" y="24"/>
                </a:cxn>
                <a:cxn ang="0">
                  <a:pos x="511" y="16"/>
                </a:cxn>
                <a:cxn ang="0">
                  <a:pos x="444" y="2"/>
                </a:cxn>
                <a:cxn ang="0">
                  <a:pos x="370" y="0"/>
                </a:cxn>
                <a:cxn ang="0">
                  <a:pos x="296" y="2"/>
                </a:cxn>
                <a:cxn ang="0">
                  <a:pos x="226" y="16"/>
                </a:cxn>
                <a:cxn ang="0">
                  <a:pos x="194" y="24"/>
                </a:cxn>
                <a:cxn ang="0">
                  <a:pos x="162" y="34"/>
                </a:cxn>
                <a:cxn ang="0">
                  <a:pos x="134" y="46"/>
                </a:cxn>
                <a:cxn ang="0">
                  <a:pos x="108" y="58"/>
                </a:cxn>
                <a:cxn ang="0">
                  <a:pos x="84" y="71"/>
                </a:cxn>
                <a:cxn ang="0">
                  <a:pos x="64" y="87"/>
                </a:cxn>
                <a:cxn ang="0">
                  <a:pos x="46" y="103"/>
                </a:cxn>
                <a:cxn ang="0">
                  <a:pos x="28" y="121"/>
                </a:cxn>
                <a:cxn ang="0">
                  <a:pos x="16" y="139"/>
                </a:cxn>
                <a:cxn ang="0">
                  <a:pos x="8" y="157"/>
                </a:cxn>
                <a:cxn ang="0">
                  <a:pos x="2" y="177"/>
                </a:cxn>
                <a:cxn ang="0">
                  <a:pos x="0" y="195"/>
                </a:cxn>
              </a:cxnLst>
              <a:rect l="0" t="0" r="r" b="b"/>
              <a:pathLst>
                <a:path w="737" h="393">
                  <a:moveTo>
                    <a:pt x="0" y="195"/>
                  </a:moveTo>
                  <a:lnTo>
                    <a:pt x="2" y="217"/>
                  </a:lnTo>
                  <a:lnTo>
                    <a:pt x="8" y="235"/>
                  </a:lnTo>
                  <a:lnTo>
                    <a:pt x="16" y="255"/>
                  </a:lnTo>
                  <a:lnTo>
                    <a:pt x="28" y="273"/>
                  </a:lnTo>
                  <a:lnTo>
                    <a:pt x="46" y="289"/>
                  </a:lnTo>
                  <a:lnTo>
                    <a:pt x="64" y="305"/>
                  </a:lnTo>
                  <a:lnTo>
                    <a:pt x="84" y="321"/>
                  </a:lnTo>
                  <a:lnTo>
                    <a:pt x="108" y="337"/>
                  </a:lnTo>
                  <a:lnTo>
                    <a:pt x="134" y="347"/>
                  </a:lnTo>
                  <a:lnTo>
                    <a:pt x="162" y="359"/>
                  </a:lnTo>
                  <a:lnTo>
                    <a:pt x="194" y="369"/>
                  </a:lnTo>
                  <a:lnTo>
                    <a:pt x="226" y="379"/>
                  </a:lnTo>
                  <a:lnTo>
                    <a:pt x="296" y="391"/>
                  </a:lnTo>
                  <a:lnTo>
                    <a:pt x="370" y="393"/>
                  </a:lnTo>
                  <a:lnTo>
                    <a:pt x="444" y="391"/>
                  </a:lnTo>
                  <a:lnTo>
                    <a:pt x="511" y="379"/>
                  </a:lnTo>
                  <a:lnTo>
                    <a:pt x="545" y="369"/>
                  </a:lnTo>
                  <a:lnTo>
                    <a:pt x="575" y="359"/>
                  </a:lnTo>
                  <a:lnTo>
                    <a:pt x="603" y="347"/>
                  </a:lnTo>
                  <a:lnTo>
                    <a:pt x="629" y="337"/>
                  </a:lnTo>
                  <a:lnTo>
                    <a:pt x="653" y="321"/>
                  </a:lnTo>
                  <a:lnTo>
                    <a:pt x="675" y="305"/>
                  </a:lnTo>
                  <a:lnTo>
                    <a:pt x="693" y="289"/>
                  </a:lnTo>
                  <a:lnTo>
                    <a:pt x="709" y="273"/>
                  </a:lnTo>
                  <a:lnTo>
                    <a:pt x="721" y="255"/>
                  </a:lnTo>
                  <a:lnTo>
                    <a:pt x="729" y="235"/>
                  </a:lnTo>
                  <a:lnTo>
                    <a:pt x="737" y="217"/>
                  </a:lnTo>
                  <a:lnTo>
                    <a:pt x="737" y="195"/>
                  </a:lnTo>
                  <a:lnTo>
                    <a:pt x="737" y="177"/>
                  </a:lnTo>
                  <a:lnTo>
                    <a:pt x="729" y="157"/>
                  </a:lnTo>
                  <a:lnTo>
                    <a:pt x="721" y="139"/>
                  </a:lnTo>
                  <a:lnTo>
                    <a:pt x="709" y="121"/>
                  </a:lnTo>
                  <a:lnTo>
                    <a:pt x="693" y="103"/>
                  </a:lnTo>
                  <a:lnTo>
                    <a:pt x="675" y="87"/>
                  </a:lnTo>
                  <a:lnTo>
                    <a:pt x="653" y="71"/>
                  </a:lnTo>
                  <a:lnTo>
                    <a:pt x="629" y="58"/>
                  </a:lnTo>
                  <a:lnTo>
                    <a:pt x="603" y="46"/>
                  </a:lnTo>
                  <a:lnTo>
                    <a:pt x="575" y="34"/>
                  </a:lnTo>
                  <a:lnTo>
                    <a:pt x="545" y="24"/>
                  </a:lnTo>
                  <a:lnTo>
                    <a:pt x="511" y="16"/>
                  </a:lnTo>
                  <a:lnTo>
                    <a:pt x="444" y="2"/>
                  </a:lnTo>
                  <a:lnTo>
                    <a:pt x="370" y="0"/>
                  </a:lnTo>
                  <a:lnTo>
                    <a:pt x="296" y="2"/>
                  </a:lnTo>
                  <a:lnTo>
                    <a:pt x="226" y="16"/>
                  </a:lnTo>
                  <a:lnTo>
                    <a:pt x="194" y="24"/>
                  </a:lnTo>
                  <a:lnTo>
                    <a:pt x="162" y="34"/>
                  </a:lnTo>
                  <a:lnTo>
                    <a:pt x="134" y="46"/>
                  </a:lnTo>
                  <a:lnTo>
                    <a:pt x="108" y="58"/>
                  </a:lnTo>
                  <a:lnTo>
                    <a:pt x="84" y="71"/>
                  </a:lnTo>
                  <a:lnTo>
                    <a:pt x="64" y="87"/>
                  </a:lnTo>
                  <a:lnTo>
                    <a:pt x="46" y="103"/>
                  </a:lnTo>
                  <a:lnTo>
                    <a:pt x="28" y="121"/>
                  </a:lnTo>
                  <a:lnTo>
                    <a:pt x="16" y="139"/>
                  </a:lnTo>
                  <a:lnTo>
                    <a:pt x="8" y="157"/>
                  </a:lnTo>
                  <a:lnTo>
                    <a:pt x="2" y="177"/>
                  </a:lnTo>
                  <a:lnTo>
                    <a:pt x="0" y="195"/>
                  </a:lnTo>
                  <a:close/>
                </a:path>
              </a:pathLst>
            </a:custGeom>
            <a:solidFill>
              <a:srgbClr val="68B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4" name="Freeform 57"/>
            <p:cNvSpPr>
              <a:spLocks/>
            </p:cNvSpPr>
            <p:nvPr/>
          </p:nvSpPr>
          <p:spPr bwMode="auto">
            <a:xfrm>
              <a:off x="2722" y="1555"/>
              <a:ext cx="356" cy="190"/>
            </a:xfrm>
            <a:custGeom>
              <a:avLst/>
              <a:gdLst/>
              <a:ahLst/>
              <a:cxnLst>
                <a:cxn ang="0">
                  <a:pos x="0" y="189"/>
                </a:cxn>
                <a:cxn ang="0">
                  <a:pos x="2" y="207"/>
                </a:cxn>
                <a:cxn ang="0">
                  <a:pos x="6" y="227"/>
                </a:cxn>
                <a:cxn ang="0">
                  <a:pos x="16" y="245"/>
                </a:cxn>
                <a:cxn ang="0">
                  <a:pos x="28" y="263"/>
                </a:cxn>
                <a:cxn ang="0">
                  <a:pos x="44" y="279"/>
                </a:cxn>
                <a:cxn ang="0">
                  <a:pos x="62" y="295"/>
                </a:cxn>
                <a:cxn ang="0">
                  <a:pos x="82" y="309"/>
                </a:cxn>
                <a:cxn ang="0">
                  <a:pos x="130" y="335"/>
                </a:cxn>
                <a:cxn ang="0">
                  <a:pos x="158" y="347"/>
                </a:cxn>
                <a:cxn ang="0">
                  <a:pos x="220" y="365"/>
                </a:cxn>
                <a:cxn ang="0">
                  <a:pos x="286" y="377"/>
                </a:cxn>
                <a:cxn ang="0">
                  <a:pos x="358" y="379"/>
                </a:cxn>
                <a:cxn ang="0">
                  <a:pos x="428" y="377"/>
                </a:cxn>
                <a:cxn ang="0">
                  <a:pos x="495" y="365"/>
                </a:cxn>
                <a:cxn ang="0">
                  <a:pos x="527" y="357"/>
                </a:cxn>
                <a:cxn ang="0">
                  <a:pos x="557" y="347"/>
                </a:cxn>
                <a:cxn ang="0">
                  <a:pos x="583" y="335"/>
                </a:cxn>
                <a:cxn ang="0">
                  <a:pos x="609" y="323"/>
                </a:cxn>
                <a:cxn ang="0">
                  <a:pos x="633" y="309"/>
                </a:cxn>
                <a:cxn ang="0">
                  <a:pos x="653" y="295"/>
                </a:cxn>
                <a:cxn ang="0">
                  <a:pos x="671" y="279"/>
                </a:cxn>
                <a:cxn ang="0">
                  <a:pos x="685" y="263"/>
                </a:cxn>
                <a:cxn ang="0">
                  <a:pos x="697" y="245"/>
                </a:cxn>
                <a:cxn ang="0">
                  <a:pos x="707" y="227"/>
                </a:cxn>
                <a:cxn ang="0">
                  <a:pos x="711" y="207"/>
                </a:cxn>
                <a:cxn ang="0">
                  <a:pos x="713" y="189"/>
                </a:cxn>
                <a:cxn ang="0">
                  <a:pos x="711" y="171"/>
                </a:cxn>
                <a:cxn ang="0">
                  <a:pos x="707" y="151"/>
                </a:cxn>
                <a:cxn ang="0">
                  <a:pos x="697" y="133"/>
                </a:cxn>
                <a:cxn ang="0">
                  <a:pos x="685" y="115"/>
                </a:cxn>
                <a:cxn ang="0">
                  <a:pos x="671" y="99"/>
                </a:cxn>
                <a:cxn ang="0">
                  <a:pos x="653" y="83"/>
                </a:cxn>
                <a:cxn ang="0">
                  <a:pos x="633" y="69"/>
                </a:cxn>
                <a:cxn ang="0">
                  <a:pos x="609" y="55"/>
                </a:cxn>
                <a:cxn ang="0">
                  <a:pos x="583" y="44"/>
                </a:cxn>
                <a:cxn ang="0">
                  <a:pos x="557" y="32"/>
                </a:cxn>
                <a:cxn ang="0">
                  <a:pos x="527" y="22"/>
                </a:cxn>
                <a:cxn ang="0">
                  <a:pos x="495" y="14"/>
                </a:cxn>
                <a:cxn ang="0">
                  <a:pos x="428" y="2"/>
                </a:cxn>
                <a:cxn ang="0">
                  <a:pos x="358" y="0"/>
                </a:cxn>
                <a:cxn ang="0">
                  <a:pos x="286" y="2"/>
                </a:cxn>
                <a:cxn ang="0">
                  <a:pos x="220" y="14"/>
                </a:cxn>
                <a:cxn ang="0">
                  <a:pos x="158" y="32"/>
                </a:cxn>
                <a:cxn ang="0">
                  <a:pos x="130" y="44"/>
                </a:cxn>
                <a:cxn ang="0">
                  <a:pos x="82" y="69"/>
                </a:cxn>
                <a:cxn ang="0">
                  <a:pos x="62" y="83"/>
                </a:cxn>
                <a:cxn ang="0">
                  <a:pos x="44" y="99"/>
                </a:cxn>
                <a:cxn ang="0">
                  <a:pos x="28" y="115"/>
                </a:cxn>
                <a:cxn ang="0">
                  <a:pos x="16" y="133"/>
                </a:cxn>
                <a:cxn ang="0">
                  <a:pos x="6" y="151"/>
                </a:cxn>
                <a:cxn ang="0">
                  <a:pos x="2" y="171"/>
                </a:cxn>
                <a:cxn ang="0">
                  <a:pos x="0" y="189"/>
                </a:cxn>
              </a:cxnLst>
              <a:rect l="0" t="0" r="r" b="b"/>
              <a:pathLst>
                <a:path w="713" h="379">
                  <a:moveTo>
                    <a:pt x="0" y="189"/>
                  </a:moveTo>
                  <a:lnTo>
                    <a:pt x="2" y="207"/>
                  </a:lnTo>
                  <a:lnTo>
                    <a:pt x="6" y="227"/>
                  </a:lnTo>
                  <a:lnTo>
                    <a:pt x="16" y="245"/>
                  </a:lnTo>
                  <a:lnTo>
                    <a:pt x="28" y="263"/>
                  </a:lnTo>
                  <a:lnTo>
                    <a:pt x="44" y="279"/>
                  </a:lnTo>
                  <a:lnTo>
                    <a:pt x="62" y="295"/>
                  </a:lnTo>
                  <a:lnTo>
                    <a:pt x="82" y="309"/>
                  </a:lnTo>
                  <a:lnTo>
                    <a:pt x="130" y="335"/>
                  </a:lnTo>
                  <a:lnTo>
                    <a:pt x="158" y="347"/>
                  </a:lnTo>
                  <a:lnTo>
                    <a:pt x="220" y="365"/>
                  </a:lnTo>
                  <a:lnTo>
                    <a:pt x="286" y="377"/>
                  </a:lnTo>
                  <a:lnTo>
                    <a:pt x="358" y="379"/>
                  </a:lnTo>
                  <a:lnTo>
                    <a:pt x="428" y="377"/>
                  </a:lnTo>
                  <a:lnTo>
                    <a:pt x="495" y="365"/>
                  </a:lnTo>
                  <a:lnTo>
                    <a:pt x="527" y="357"/>
                  </a:lnTo>
                  <a:lnTo>
                    <a:pt x="557" y="347"/>
                  </a:lnTo>
                  <a:lnTo>
                    <a:pt x="583" y="335"/>
                  </a:lnTo>
                  <a:lnTo>
                    <a:pt x="609" y="323"/>
                  </a:lnTo>
                  <a:lnTo>
                    <a:pt x="633" y="309"/>
                  </a:lnTo>
                  <a:lnTo>
                    <a:pt x="653" y="295"/>
                  </a:lnTo>
                  <a:lnTo>
                    <a:pt x="671" y="279"/>
                  </a:lnTo>
                  <a:lnTo>
                    <a:pt x="685" y="263"/>
                  </a:lnTo>
                  <a:lnTo>
                    <a:pt x="697" y="245"/>
                  </a:lnTo>
                  <a:lnTo>
                    <a:pt x="707" y="227"/>
                  </a:lnTo>
                  <a:lnTo>
                    <a:pt x="711" y="207"/>
                  </a:lnTo>
                  <a:lnTo>
                    <a:pt x="713" y="189"/>
                  </a:lnTo>
                  <a:lnTo>
                    <a:pt x="711" y="171"/>
                  </a:lnTo>
                  <a:lnTo>
                    <a:pt x="707" y="151"/>
                  </a:lnTo>
                  <a:lnTo>
                    <a:pt x="697" y="133"/>
                  </a:lnTo>
                  <a:lnTo>
                    <a:pt x="685" y="115"/>
                  </a:lnTo>
                  <a:lnTo>
                    <a:pt x="671" y="99"/>
                  </a:lnTo>
                  <a:lnTo>
                    <a:pt x="653" y="83"/>
                  </a:lnTo>
                  <a:lnTo>
                    <a:pt x="633" y="69"/>
                  </a:lnTo>
                  <a:lnTo>
                    <a:pt x="609" y="55"/>
                  </a:lnTo>
                  <a:lnTo>
                    <a:pt x="583" y="44"/>
                  </a:lnTo>
                  <a:lnTo>
                    <a:pt x="557" y="32"/>
                  </a:lnTo>
                  <a:lnTo>
                    <a:pt x="527" y="22"/>
                  </a:lnTo>
                  <a:lnTo>
                    <a:pt x="495" y="14"/>
                  </a:lnTo>
                  <a:lnTo>
                    <a:pt x="428" y="2"/>
                  </a:lnTo>
                  <a:lnTo>
                    <a:pt x="358" y="0"/>
                  </a:lnTo>
                  <a:lnTo>
                    <a:pt x="286" y="2"/>
                  </a:lnTo>
                  <a:lnTo>
                    <a:pt x="220" y="14"/>
                  </a:lnTo>
                  <a:lnTo>
                    <a:pt x="158" y="32"/>
                  </a:lnTo>
                  <a:lnTo>
                    <a:pt x="130" y="44"/>
                  </a:lnTo>
                  <a:lnTo>
                    <a:pt x="82" y="69"/>
                  </a:lnTo>
                  <a:lnTo>
                    <a:pt x="62" y="83"/>
                  </a:lnTo>
                  <a:lnTo>
                    <a:pt x="44" y="99"/>
                  </a:lnTo>
                  <a:lnTo>
                    <a:pt x="28" y="115"/>
                  </a:lnTo>
                  <a:lnTo>
                    <a:pt x="16" y="133"/>
                  </a:lnTo>
                  <a:lnTo>
                    <a:pt x="6" y="151"/>
                  </a:lnTo>
                  <a:lnTo>
                    <a:pt x="2" y="171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rgbClr val="60B2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5" name="Freeform 58"/>
            <p:cNvSpPr>
              <a:spLocks/>
            </p:cNvSpPr>
            <p:nvPr/>
          </p:nvSpPr>
          <p:spPr bwMode="auto">
            <a:xfrm>
              <a:off x="2730" y="1561"/>
              <a:ext cx="345" cy="184"/>
            </a:xfrm>
            <a:custGeom>
              <a:avLst/>
              <a:gdLst/>
              <a:ahLst/>
              <a:cxnLst>
                <a:cxn ang="0">
                  <a:pos x="0" y="183"/>
                </a:cxn>
                <a:cxn ang="0">
                  <a:pos x="0" y="201"/>
                </a:cxn>
                <a:cxn ang="0">
                  <a:pos x="6" y="219"/>
                </a:cxn>
                <a:cxn ang="0">
                  <a:pos x="16" y="237"/>
                </a:cxn>
                <a:cxn ang="0">
                  <a:pos x="26" y="253"/>
                </a:cxn>
                <a:cxn ang="0">
                  <a:pos x="42" y="269"/>
                </a:cxn>
                <a:cxn ang="0">
                  <a:pos x="58" y="287"/>
                </a:cxn>
                <a:cxn ang="0">
                  <a:pos x="78" y="301"/>
                </a:cxn>
                <a:cxn ang="0">
                  <a:pos x="100" y="313"/>
                </a:cxn>
                <a:cxn ang="0">
                  <a:pos x="124" y="325"/>
                </a:cxn>
                <a:cxn ang="0">
                  <a:pos x="152" y="337"/>
                </a:cxn>
                <a:cxn ang="0">
                  <a:pos x="210" y="353"/>
                </a:cxn>
                <a:cxn ang="0">
                  <a:pos x="276" y="365"/>
                </a:cxn>
                <a:cxn ang="0">
                  <a:pos x="346" y="367"/>
                </a:cxn>
                <a:cxn ang="0">
                  <a:pos x="414" y="365"/>
                </a:cxn>
                <a:cxn ang="0">
                  <a:pos x="479" y="353"/>
                </a:cxn>
                <a:cxn ang="0">
                  <a:pos x="537" y="337"/>
                </a:cxn>
                <a:cxn ang="0">
                  <a:pos x="565" y="325"/>
                </a:cxn>
                <a:cxn ang="0">
                  <a:pos x="589" y="313"/>
                </a:cxn>
                <a:cxn ang="0">
                  <a:pos x="611" y="301"/>
                </a:cxn>
                <a:cxn ang="0">
                  <a:pos x="631" y="287"/>
                </a:cxn>
                <a:cxn ang="0">
                  <a:pos x="647" y="269"/>
                </a:cxn>
                <a:cxn ang="0">
                  <a:pos x="663" y="253"/>
                </a:cxn>
                <a:cxn ang="0">
                  <a:pos x="673" y="237"/>
                </a:cxn>
                <a:cxn ang="0">
                  <a:pos x="683" y="219"/>
                </a:cxn>
                <a:cxn ang="0">
                  <a:pos x="689" y="201"/>
                </a:cxn>
                <a:cxn ang="0">
                  <a:pos x="691" y="183"/>
                </a:cxn>
                <a:cxn ang="0">
                  <a:pos x="689" y="165"/>
                </a:cxn>
                <a:cxn ang="0">
                  <a:pos x="683" y="147"/>
                </a:cxn>
                <a:cxn ang="0">
                  <a:pos x="673" y="129"/>
                </a:cxn>
                <a:cxn ang="0">
                  <a:pos x="663" y="113"/>
                </a:cxn>
                <a:cxn ang="0">
                  <a:pos x="647" y="97"/>
                </a:cxn>
                <a:cxn ang="0">
                  <a:pos x="631" y="79"/>
                </a:cxn>
                <a:cxn ang="0">
                  <a:pos x="611" y="65"/>
                </a:cxn>
                <a:cxn ang="0">
                  <a:pos x="589" y="53"/>
                </a:cxn>
                <a:cxn ang="0">
                  <a:pos x="565" y="41"/>
                </a:cxn>
                <a:cxn ang="0">
                  <a:pos x="537" y="30"/>
                </a:cxn>
                <a:cxn ang="0">
                  <a:pos x="479" y="14"/>
                </a:cxn>
                <a:cxn ang="0">
                  <a:pos x="414" y="2"/>
                </a:cxn>
                <a:cxn ang="0">
                  <a:pos x="346" y="0"/>
                </a:cxn>
                <a:cxn ang="0">
                  <a:pos x="276" y="2"/>
                </a:cxn>
                <a:cxn ang="0">
                  <a:pos x="210" y="14"/>
                </a:cxn>
                <a:cxn ang="0">
                  <a:pos x="152" y="30"/>
                </a:cxn>
                <a:cxn ang="0">
                  <a:pos x="124" y="41"/>
                </a:cxn>
                <a:cxn ang="0">
                  <a:pos x="100" y="53"/>
                </a:cxn>
                <a:cxn ang="0">
                  <a:pos x="78" y="65"/>
                </a:cxn>
                <a:cxn ang="0">
                  <a:pos x="58" y="79"/>
                </a:cxn>
                <a:cxn ang="0">
                  <a:pos x="42" y="97"/>
                </a:cxn>
                <a:cxn ang="0">
                  <a:pos x="26" y="113"/>
                </a:cxn>
                <a:cxn ang="0">
                  <a:pos x="16" y="129"/>
                </a:cxn>
                <a:cxn ang="0">
                  <a:pos x="6" y="147"/>
                </a:cxn>
                <a:cxn ang="0">
                  <a:pos x="0" y="165"/>
                </a:cxn>
                <a:cxn ang="0">
                  <a:pos x="0" y="183"/>
                </a:cxn>
              </a:cxnLst>
              <a:rect l="0" t="0" r="r" b="b"/>
              <a:pathLst>
                <a:path w="691" h="367">
                  <a:moveTo>
                    <a:pt x="0" y="183"/>
                  </a:moveTo>
                  <a:lnTo>
                    <a:pt x="0" y="201"/>
                  </a:lnTo>
                  <a:lnTo>
                    <a:pt x="6" y="219"/>
                  </a:lnTo>
                  <a:lnTo>
                    <a:pt x="16" y="237"/>
                  </a:lnTo>
                  <a:lnTo>
                    <a:pt x="26" y="253"/>
                  </a:lnTo>
                  <a:lnTo>
                    <a:pt x="42" y="269"/>
                  </a:lnTo>
                  <a:lnTo>
                    <a:pt x="58" y="287"/>
                  </a:lnTo>
                  <a:lnTo>
                    <a:pt x="78" y="301"/>
                  </a:lnTo>
                  <a:lnTo>
                    <a:pt x="100" y="313"/>
                  </a:lnTo>
                  <a:lnTo>
                    <a:pt x="124" y="325"/>
                  </a:lnTo>
                  <a:lnTo>
                    <a:pt x="152" y="337"/>
                  </a:lnTo>
                  <a:lnTo>
                    <a:pt x="210" y="353"/>
                  </a:lnTo>
                  <a:lnTo>
                    <a:pt x="276" y="365"/>
                  </a:lnTo>
                  <a:lnTo>
                    <a:pt x="346" y="367"/>
                  </a:lnTo>
                  <a:lnTo>
                    <a:pt x="414" y="365"/>
                  </a:lnTo>
                  <a:lnTo>
                    <a:pt x="479" y="353"/>
                  </a:lnTo>
                  <a:lnTo>
                    <a:pt x="537" y="337"/>
                  </a:lnTo>
                  <a:lnTo>
                    <a:pt x="565" y="325"/>
                  </a:lnTo>
                  <a:lnTo>
                    <a:pt x="589" y="313"/>
                  </a:lnTo>
                  <a:lnTo>
                    <a:pt x="611" y="301"/>
                  </a:lnTo>
                  <a:lnTo>
                    <a:pt x="631" y="287"/>
                  </a:lnTo>
                  <a:lnTo>
                    <a:pt x="647" y="269"/>
                  </a:lnTo>
                  <a:lnTo>
                    <a:pt x="663" y="253"/>
                  </a:lnTo>
                  <a:lnTo>
                    <a:pt x="673" y="237"/>
                  </a:lnTo>
                  <a:lnTo>
                    <a:pt x="683" y="219"/>
                  </a:lnTo>
                  <a:lnTo>
                    <a:pt x="689" y="201"/>
                  </a:lnTo>
                  <a:lnTo>
                    <a:pt x="691" y="183"/>
                  </a:lnTo>
                  <a:lnTo>
                    <a:pt x="689" y="165"/>
                  </a:lnTo>
                  <a:lnTo>
                    <a:pt x="683" y="147"/>
                  </a:lnTo>
                  <a:lnTo>
                    <a:pt x="673" y="129"/>
                  </a:lnTo>
                  <a:lnTo>
                    <a:pt x="663" y="113"/>
                  </a:lnTo>
                  <a:lnTo>
                    <a:pt x="647" y="97"/>
                  </a:lnTo>
                  <a:lnTo>
                    <a:pt x="631" y="79"/>
                  </a:lnTo>
                  <a:lnTo>
                    <a:pt x="611" y="65"/>
                  </a:lnTo>
                  <a:lnTo>
                    <a:pt x="589" y="53"/>
                  </a:lnTo>
                  <a:lnTo>
                    <a:pt x="565" y="41"/>
                  </a:lnTo>
                  <a:lnTo>
                    <a:pt x="537" y="30"/>
                  </a:lnTo>
                  <a:lnTo>
                    <a:pt x="479" y="14"/>
                  </a:lnTo>
                  <a:lnTo>
                    <a:pt x="414" y="2"/>
                  </a:lnTo>
                  <a:lnTo>
                    <a:pt x="346" y="0"/>
                  </a:lnTo>
                  <a:lnTo>
                    <a:pt x="276" y="2"/>
                  </a:lnTo>
                  <a:lnTo>
                    <a:pt x="210" y="14"/>
                  </a:lnTo>
                  <a:lnTo>
                    <a:pt x="152" y="30"/>
                  </a:lnTo>
                  <a:lnTo>
                    <a:pt x="124" y="41"/>
                  </a:lnTo>
                  <a:lnTo>
                    <a:pt x="100" y="53"/>
                  </a:lnTo>
                  <a:lnTo>
                    <a:pt x="78" y="65"/>
                  </a:lnTo>
                  <a:lnTo>
                    <a:pt x="58" y="79"/>
                  </a:lnTo>
                  <a:lnTo>
                    <a:pt x="42" y="97"/>
                  </a:lnTo>
                  <a:lnTo>
                    <a:pt x="26" y="113"/>
                  </a:lnTo>
                  <a:lnTo>
                    <a:pt x="16" y="129"/>
                  </a:lnTo>
                  <a:lnTo>
                    <a:pt x="6" y="147"/>
                  </a:lnTo>
                  <a:lnTo>
                    <a:pt x="0" y="165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58AD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6" name="Freeform 59"/>
            <p:cNvSpPr>
              <a:spLocks/>
            </p:cNvSpPr>
            <p:nvPr/>
          </p:nvSpPr>
          <p:spPr bwMode="auto">
            <a:xfrm>
              <a:off x="2738" y="1568"/>
              <a:ext cx="333" cy="177"/>
            </a:xfrm>
            <a:custGeom>
              <a:avLst/>
              <a:gdLst/>
              <a:ahLst/>
              <a:cxnLst>
                <a:cxn ang="0">
                  <a:pos x="0" y="175"/>
                </a:cxn>
                <a:cxn ang="0">
                  <a:pos x="2" y="193"/>
                </a:cxn>
                <a:cxn ang="0">
                  <a:pos x="6" y="211"/>
                </a:cxn>
                <a:cxn ang="0">
                  <a:pos x="16" y="229"/>
                </a:cxn>
                <a:cxn ang="0">
                  <a:pos x="26" y="245"/>
                </a:cxn>
                <a:cxn ang="0">
                  <a:pos x="42" y="261"/>
                </a:cxn>
                <a:cxn ang="0">
                  <a:pos x="58" y="275"/>
                </a:cxn>
                <a:cxn ang="0">
                  <a:pos x="76" y="289"/>
                </a:cxn>
                <a:cxn ang="0">
                  <a:pos x="98" y="301"/>
                </a:cxn>
                <a:cxn ang="0">
                  <a:pos x="122" y="313"/>
                </a:cxn>
                <a:cxn ang="0">
                  <a:pos x="146" y="323"/>
                </a:cxn>
                <a:cxn ang="0">
                  <a:pos x="204" y="339"/>
                </a:cxn>
                <a:cxn ang="0">
                  <a:pos x="266" y="351"/>
                </a:cxn>
                <a:cxn ang="0">
                  <a:pos x="334" y="353"/>
                </a:cxn>
                <a:cxn ang="0">
                  <a:pos x="402" y="351"/>
                </a:cxn>
                <a:cxn ang="0">
                  <a:pos x="463" y="339"/>
                </a:cxn>
                <a:cxn ang="0">
                  <a:pos x="519" y="323"/>
                </a:cxn>
                <a:cxn ang="0">
                  <a:pos x="545" y="313"/>
                </a:cxn>
                <a:cxn ang="0">
                  <a:pos x="569" y="301"/>
                </a:cxn>
                <a:cxn ang="0">
                  <a:pos x="591" y="289"/>
                </a:cxn>
                <a:cxn ang="0">
                  <a:pos x="611" y="275"/>
                </a:cxn>
                <a:cxn ang="0">
                  <a:pos x="627" y="261"/>
                </a:cxn>
                <a:cxn ang="0">
                  <a:pos x="641" y="245"/>
                </a:cxn>
                <a:cxn ang="0">
                  <a:pos x="653" y="229"/>
                </a:cxn>
                <a:cxn ang="0">
                  <a:pos x="661" y="211"/>
                </a:cxn>
                <a:cxn ang="0">
                  <a:pos x="665" y="193"/>
                </a:cxn>
                <a:cxn ang="0">
                  <a:pos x="667" y="175"/>
                </a:cxn>
                <a:cxn ang="0">
                  <a:pos x="665" y="159"/>
                </a:cxn>
                <a:cxn ang="0">
                  <a:pos x="661" y="141"/>
                </a:cxn>
                <a:cxn ang="0">
                  <a:pos x="653" y="123"/>
                </a:cxn>
                <a:cxn ang="0">
                  <a:pos x="641" y="107"/>
                </a:cxn>
                <a:cxn ang="0">
                  <a:pos x="627" y="91"/>
                </a:cxn>
                <a:cxn ang="0">
                  <a:pos x="611" y="77"/>
                </a:cxn>
                <a:cxn ang="0">
                  <a:pos x="591" y="63"/>
                </a:cxn>
                <a:cxn ang="0">
                  <a:pos x="569" y="51"/>
                </a:cxn>
                <a:cxn ang="0">
                  <a:pos x="545" y="39"/>
                </a:cxn>
                <a:cxn ang="0">
                  <a:pos x="519" y="29"/>
                </a:cxn>
                <a:cxn ang="0">
                  <a:pos x="463" y="14"/>
                </a:cxn>
                <a:cxn ang="0">
                  <a:pos x="402" y="2"/>
                </a:cxn>
                <a:cxn ang="0">
                  <a:pos x="334" y="0"/>
                </a:cxn>
                <a:cxn ang="0">
                  <a:pos x="266" y="2"/>
                </a:cxn>
                <a:cxn ang="0">
                  <a:pos x="204" y="14"/>
                </a:cxn>
                <a:cxn ang="0">
                  <a:pos x="146" y="29"/>
                </a:cxn>
                <a:cxn ang="0">
                  <a:pos x="122" y="39"/>
                </a:cxn>
                <a:cxn ang="0">
                  <a:pos x="98" y="51"/>
                </a:cxn>
                <a:cxn ang="0">
                  <a:pos x="76" y="63"/>
                </a:cxn>
                <a:cxn ang="0">
                  <a:pos x="58" y="77"/>
                </a:cxn>
                <a:cxn ang="0">
                  <a:pos x="42" y="91"/>
                </a:cxn>
                <a:cxn ang="0">
                  <a:pos x="26" y="107"/>
                </a:cxn>
                <a:cxn ang="0">
                  <a:pos x="16" y="123"/>
                </a:cxn>
                <a:cxn ang="0">
                  <a:pos x="6" y="141"/>
                </a:cxn>
                <a:cxn ang="0">
                  <a:pos x="2" y="159"/>
                </a:cxn>
                <a:cxn ang="0">
                  <a:pos x="0" y="175"/>
                </a:cxn>
              </a:cxnLst>
              <a:rect l="0" t="0" r="r" b="b"/>
              <a:pathLst>
                <a:path w="667" h="353">
                  <a:moveTo>
                    <a:pt x="0" y="175"/>
                  </a:moveTo>
                  <a:lnTo>
                    <a:pt x="2" y="193"/>
                  </a:lnTo>
                  <a:lnTo>
                    <a:pt x="6" y="211"/>
                  </a:lnTo>
                  <a:lnTo>
                    <a:pt x="16" y="229"/>
                  </a:lnTo>
                  <a:lnTo>
                    <a:pt x="26" y="245"/>
                  </a:lnTo>
                  <a:lnTo>
                    <a:pt x="42" y="261"/>
                  </a:lnTo>
                  <a:lnTo>
                    <a:pt x="58" y="275"/>
                  </a:lnTo>
                  <a:lnTo>
                    <a:pt x="76" y="289"/>
                  </a:lnTo>
                  <a:lnTo>
                    <a:pt x="98" y="301"/>
                  </a:lnTo>
                  <a:lnTo>
                    <a:pt x="122" y="313"/>
                  </a:lnTo>
                  <a:lnTo>
                    <a:pt x="146" y="323"/>
                  </a:lnTo>
                  <a:lnTo>
                    <a:pt x="204" y="339"/>
                  </a:lnTo>
                  <a:lnTo>
                    <a:pt x="266" y="351"/>
                  </a:lnTo>
                  <a:lnTo>
                    <a:pt x="334" y="353"/>
                  </a:lnTo>
                  <a:lnTo>
                    <a:pt x="402" y="351"/>
                  </a:lnTo>
                  <a:lnTo>
                    <a:pt x="463" y="339"/>
                  </a:lnTo>
                  <a:lnTo>
                    <a:pt x="519" y="323"/>
                  </a:lnTo>
                  <a:lnTo>
                    <a:pt x="545" y="313"/>
                  </a:lnTo>
                  <a:lnTo>
                    <a:pt x="569" y="301"/>
                  </a:lnTo>
                  <a:lnTo>
                    <a:pt x="591" y="289"/>
                  </a:lnTo>
                  <a:lnTo>
                    <a:pt x="611" y="275"/>
                  </a:lnTo>
                  <a:lnTo>
                    <a:pt x="627" y="261"/>
                  </a:lnTo>
                  <a:lnTo>
                    <a:pt x="641" y="245"/>
                  </a:lnTo>
                  <a:lnTo>
                    <a:pt x="653" y="229"/>
                  </a:lnTo>
                  <a:lnTo>
                    <a:pt x="661" y="211"/>
                  </a:lnTo>
                  <a:lnTo>
                    <a:pt x="665" y="193"/>
                  </a:lnTo>
                  <a:lnTo>
                    <a:pt x="667" y="175"/>
                  </a:lnTo>
                  <a:lnTo>
                    <a:pt x="665" y="159"/>
                  </a:lnTo>
                  <a:lnTo>
                    <a:pt x="661" y="141"/>
                  </a:lnTo>
                  <a:lnTo>
                    <a:pt x="653" y="123"/>
                  </a:lnTo>
                  <a:lnTo>
                    <a:pt x="641" y="107"/>
                  </a:lnTo>
                  <a:lnTo>
                    <a:pt x="627" y="91"/>
                  </a:lnTo>
                  <a:lnTo>
                    <a:pt x="611" y="77"/>
                  </a:lnTo>
                  <a:lnTo>
                    <a:pt x="591" y="63"/>
                  </a:lnTo>
                  <a:lnTo>
                    <a:pt x="569" y="51"/>
                  </a:lnTo>
                  <a:lnTo>
                    <a:pt x="545" y="39"/>
                  </a:lnTo>
                  <a:lnTo>
                    <a:pt x="519" y="29"/>
                  </a:lnTo>
                  <a:lnTo>
                    <a:pt x="463" y="14"/>
                  </a:lnTo>
                  <a:lnTo>
                    <a:pt x="402" y="2"/>
                  </a:lnTo>
                  <a:lnTo>
                    <a:pt x="334" y="0"/>
                  </a:lnTo>
                  <a:lnTo>
                    <a:pt x="266" y="2"/>
                  </a:lnTo>
                  <a:lnTo>
                    <a:pt x="204" y="14"/>
                  </a:lnTo>
                  <a:lnTo>
                    <a:pt x="146" y="29"/>
                  </a:lnTo>
                  <a:lnTo>
                    <a:pt x="122" y="39"/>
                  </a:lnTo>
                  <a:lnTo>
                    <a:pt x="98" y="51"/>
                  </a:lnTo>
                  <a:lnTo>
                    <a:pt x="76" y="63"/>
                  </a:lnTo>
                  <a:lnTo>
                    <a:pt x="58" y="77"/>
                  </a:lnTo>
                  <a:lnTo>
                    <a:pt x="42" y="91"/>
                  </a:lnTo>
                  <a:lnTo>
                    <a:pt x="26" y="107"/>
                  </a:lnTo>
                  <a:lnTo>
                    <a:pt x="16" y="123"/>
                  </a:lnTo>
                  <a:lnTo>
                    <a:pt x="6" y="141"/>
                  </a:lnTo>
                  <a:lnTo>
                    <a:pt x="2" y="159"/>
                  </a:lnTo>
                  <a:lnTo>
                    <a:pt x="0" y="175"/>
                  </a:lnTo>
                  <a:close/>
                </a:path>
              </a:pathLst>
            </a:custGeom>
            <a:solidFill>
              <a:srgbClr val="50A9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7" name="Freeform 60"/>
            <p:cNvSpPr>
              <a:spLocks/>
            </p:cNvSpPr>
            <p:nvPr/>
          </p:nvSpPr>
          <p:spPr bwMode="auto">
            <a:xfrm>
              <a:off x="2746" y="1574"/>
              <a:ext cx="321" cy="171"/>
            </a:xfrm>
            <a:custGeom>
              <a:avLst/>
              <a:gdLst/>
              <a:ahLst/>
              <a:cxnLst>
                <a:cxn ang="0">
                  <a:pos x="0" y="169"/>
                </a:cxn>
                <a:cxn ang="0">
                  <a:pos x="2" y="187"/>
                </a:cxn>
                <a:cxn ang="0">
                  <a:pos x="6" y="205"/>
                </a:cxn>
                <a:cxn ang="0">
                  <a:pos x="14" y="221"/>
                </a:cxn>
                <a:cxn ang="0">
                  <a:pos x="24" y="237"/>
                </a:cxn>
                <a:cxn ang="0">
                  <a:pos x="38" y="251"/>
                </a:cxn>
                <a:cxn ang="0">
                  <a:pos x="54" y="265"/>
                </a:cxn>
                <a:cxn ang="0">
                  <a:pos x="72" y="279"/>
                </a:cxn>
                <a:cxn ang="0">
                  <a:pos x="94" y="291"/>
                </a:cxn>
                <a:cxn ang="0">
                  <a:pos x="116" y="301"/>
                </a:cxn>
                <a:cxn ang="0">
                  <a:pos x="142" y="311"/>
                </a:cxn>
                <a:cxn ang="0">
                  <a:pos x="196" y="327"/>
                </a:cxn>
                <a:cxn ang="0">
                  <a:pos x="256" y="337"/>
                </a:cxn>
                <a:cxn ang="0">
                  <a:pos x="322" y="341"/>
                </a:cxn>
                <a:cxn ang="0">
                  <a:pos x="386" y="337"/>
                </a:cxn>
                <a:cxn ang="0">
                  <a:pos x="447" y="327"/>
                </a:cxn>
                <a:cxn ang="0">
                  <a:pos x="501" y="311"/>
                </a:cxn>
                <a:cxn ang="0">
                  <a:pos x="527" y="301"/>
                </a:cxn>
                <a:cxn ang="0">
                  <a:pos x="549" y="291"/>
                </a:cxn>
                <a:cxn ang="0">
                  <a:pos x="571" y="279"/>
                </a:cxn>
                <a:cxn ang="0">
                  <a:pos x="589" y="265"/>
                </a:cxn>
                <a:cxn ang="0">
                  <a:pos x="605" y="251"/>
                </a:cxn>
                <a:cxn ang="0">
                  <a:pos x="617" y="237"/>
                </a:cxn>
                <a:cxn ang="0">
                  <a:pos x="629" y="221"/>
                </a:cxn>
                <a:cxn ang="0">
                  <a:pos x="637" y="205"/>
                </a:cxn>
                <a:cxn ang="0">
                  <a:pos x="641" y="187"/>
                </a:cxn>
                <a:cxn ang="0">
                  <a:pos x="643" y="169"/>
                </a:cxn>
                <a:cxn ang="0">
                  <a:pos x="641" y="155"/>
                </a:cxn>
                <a:cxn ang="0">
                  <a:pos x="637" y="137"/>
                </a:cxn>
                <a:cxn ang="0">
                  <a:pos x="629" y="119"/>
                </a:cxn>
                <a:cxn ang="0">
                  <a:pos x="617" y="105"/>
                </a:cxn>
                <a:cxn ang="0">
                  <a:pos x="605" y="89"/>
                </a:cxn>
                <a:cxn ang="0">
                  <a:pos x="589" y="77"/>
                </a:cxn>
                <a:cxn ang="0">
                  <a:pos x="571" y="61"/>
                </a:cxn>
                <a:cxn ang="0">
                  <a:pos x="549" y="51"/>
                </a:cxn>
                <a:cxn ang="0">
                  <a:pos x="527" y="39"/>
                </a:cxn>
                <a:cxn ang="0">
                  <a:pos x="501" y="29"/>
                </a:cxn>
                <a:cxn ang="0">
                  <a:pos x="447" y="13"/>
                </a:cxn>
                <a:cxn ang="0">
                  <a:pos x="386" y="4"/>
                </a:cxn>
                <a:cxn ang="0">
                  <a:pos x="322" y="0"/>
                </a:cxn>
                <a:cxn ang="0">
                  <a:pos x="256" y="4"/>
                </a:cxn>
                <a:cxn ang="0">
                  <a:pos x="196" y="13"/>
                </a:cxn>
                <a:cxn ang="0">
                  <a:pos x="142" y="29"/>
                </a:cxn>
                <a:cxn ang="0">
                  <a:pos x="116" y="39"/>
                </a:cxn>
                <a:cxn ang="0">
                  <a:pos x="94" y="51"/>
                </a:cxn>
                <a:cxn ang="0">
                  <a:pos x="72" y="61"/>
                </a:cxn>
                <a:cxn ang="0">
                  <a:pos x="54" y="77"/>
                </a:cxn>
                <a:cxn ang="0">
                  <a:pos x="38" y="89"/>
                </a:cxn>
                <a:cxn ang="0">
                  <a:pos x="24" y="105"/>
                </a:cxn>
                <a:cxn ang="0">
                  <a:pos x="14" y="119"/>
                </a:cxn>
                <a:cxn ang="0">
                  <a:pos x="6" y="137"/>
                </a:cxn>
                <a:cxn ang="0">
                  <a:pos x="2" y="155"/>
                </a:cxn>
                <a:cxn ang="0">
                  <a:pos x="0" y="169"/>
                </a:cxn>
              </a:cxnLst>
              <a:rect l="0" t="0" r="r" b="b"/>
              <a:pathLst>
                <a:path w="643" h="341">
                  <a:moveTo>
                    <a:pt x="0" y="169"/>
                  </a:moveTo>
                  <a:lnTo>
                    <a:pt x="2" y="187"/>
                  </a:lnTo>
                  <a:lnTo>
                    <a:pt x="6" y="205"/>
                  </a:lnTo>
                  <a:lnTo>
                    <a:pt x="14" y="221"/>
                  </a:lnTo>
                  <a:lnTo>
                    <a:pt x="24" y="237"/>
                  </a:lnTo>
                  <a:lnTo>
                    <a:pt x="38" y="251"/>
                  </a:lnTo>
                  <a:lnTo>
                    <a:pt x="54" y="265"/>
                  </a:lnTo>
                  <a:lnTo>
                    <a:pt x="72" y="279"/>
                  </a:lnTo>
                  <a:lnTo>
                    <a:pt x="94" y="291"/>
                  </a:lnTo>
                  <a:lnTo>
                    <a:pt x="116" y="301"/>
                  </a:lnTo>
                  <a:lnTo>
                    <a:pt x="142" y="311"/>
                  </a:lnTo>
                  <a:lnTo>
                    <a:pt x="196" y="327"/>
                  </a:lnTo>
                  <a:lnTo>
                    <a:pt x="256" y="337"/>
                  </a:lnTo>
                  <a:lnTo>
                    <a:pt x="322" y="341"/>
                  </a:lnTo>
                  <a:lnTo>
                    <a:pt x="386" y="337"/>
                  </a:lnTo>
                  <a:lnTo>
                    <a:pt x="447" y="327"/>
                  </a:lnTo>
                  <a:lnTo>
                    <a:pt x="501" y="311"/>
                  </a:lnTo>
                  <a:lnTo>
                    <a:pt x="527" y="301"/>
                  </a:lnTo>
                  <a:lnTo>
                    <a:pt x="549" y="291"/>
                  </a:lnTo>
                  <a:lnTo>
                    <a:pt x="571" y="279"/>
                  </a:lnTo>
                  <a:lnTo>
                    <a:pt x="589" y="265"/>
                  </a:lnTo>
                  <a:lnTo>
                    <a:pt x="605" y="251"/>
                  </a:lnTo>
                  <a:lnTo>
                    <a:pt x="617" y="237"/>
                  </a:lnTo>
                  <a:lnTo>
                    <a:pt x="629" y="221"/>
                  </a:lnTo>
                  <a:lnTo>
                    <a:pt x="637" y="205"/>
                  </a:lnTo>
                  <a:lnTo>
                    <a:pt x="641" y="187"/>
                  </a:lnTo>
                  <a:lnTo>
                    <a:pt x="643" y="169"/>
                  </a:lnTo>
                  <a:lnTo>
                    <a:pt x="641" y="155"/>
                  </a:lnTo>
                  <a:lnTo>
                    <a:pt x="637" y="137"/>
                  </a:lnTo>
                  <a:lnTo>
                    <a:pt x="629" y="119"/>
                  </a:lnTo>
                  <a:lnTo>
                    <a:pt x="617" y="105"/>
                  </a:lnTo>
                  <a:lnTo>
                    <a:pt x="605" y="89"/>
                  </a:lnTo>
                  <a:lnTo>
                    <a:pt x="589" y="77"/>
                  </a:lnTo>
                  <a:lnTo>
                    <a:pt x="571" y="61"/>
                  </a:lnTo>
                  <a:lnTo>
                    <a:pt x="549" y="51"/>
                  </a:lnTo>
                  <a:lnTo>
                    <a:pt x="527" y="39"/>
                  </a:lnTo>
                  <a:lnTo>
                    <a:pt x="501" y="29"/>
                  </a:lnTo>
                  <a:lnTo>
                    <a:pt x="447" y="13"/>
                  </a:lnTo>
                  <a:lnTo>
                    <a:pt x="386" y="4"/>
                  </a:lnTo>
                  <a:lnTo>
                    <a:pt x="322" y="0"/>
                  </a:lnTo>
                  <a:lnTo>
                    <a:pt x="256" y="4"/>
                  </a:lnTo>
                  <a:lnTo>
                    <a:pt x="196" y="13"/>
                  </a:lnTo>
                  <a:lnTo>
                    <a:pt x="142" y="29"/>
                  </a:lnTo>
                  <a:lnTo>
                    <a:pt x="116" y="39"/>
                  </a:lnTo>
                  <a:lnTo>
                    <a:pt x="94" y="51"/>
                  </a:lnTo>
                  <a:lnTo>
                    <a:pt x="72" y="61"/>
                  </a:lnTo>
                  <a:lnTo>
                    <a:pt x="54" y="77"/>
                  </a:lnTo>
                  <a:lnTo>
                    <a:pt x="38" y="89"/>
                  </a:lnTo>
                  <a:lnTo>
                    <a:pt x="24" y="105"/>
                  </a:lnTo>
                  <a:lnTo>
                    <a:pt x="14" y="119"/>
                  </a:lnTo>
                  <a:lnTo>
                    <a:pt x="6" y="137"/>
                  </a:lnTo>
                  <a:lnTo>
                    <a:pt x="2" y="155"/>
                  </a:lnTo>
                  <a:lnTo>
                    <a:pt x="0" y="169"/>
                  </a:lnTo>
                  <a:close/>
                </a:path>
              </a:pathLst>
            </a:custGeom>
            <a:solidFill>
              <a:srgbClr val="48A5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8" name="Freeform 61"/>
            <p:cNvSpPr>
              <a:spLocks/>
            </p:cNvSpPr>
            <p:nvPr/>
          </p:nvSpPr>
          <p:spPr bwMode="auto">
            <a:xfrm>
              <a:off x="2754" y="1581"/>
              <a:ext cx="309" cy="164"/>
            </a:xfrm>
            <a:custGeom>
              <a:avLst/>
              <a:gdLst/>
              <a:ahLst/>
              <a:cxnLst>
                <a:cxn ang="0">
                  <a:pos x="0" y="164"/>
                </a:cxn>
                <a:cxn ang="0">
                  <a:pos x="2" y="180"/>
                </a:cxn>
                <a:cxn ang="0">
                  <a:pos x="6" y="196"/>
                </a:cxn>
                <a:cxn ang="0">
                  <a:pos x="14" y="212"/>
                </a:cxn>
                <a:cxn ang="0">
                  <a:pos x="24" y="226"/>
                </a:cxn>
                <a:cxn ang="0">
                  <a:pos x="38" y="242"/>
                </a:cxn>
                <a:cxn ang="0">
                  <a:pos x="54" y="256"/>
                </a:cxn>
                <a:cxn ang="0">
                  <a:pos x="72" y="268"/>
                </a:cxn>
                <a:cxn ang="0">
                  <a:pos x="90" y="280"/>
                </a:cxn>
                <a:cxn ang="0">
                  <a:pos x="136" y="300"/>
                </a:cxn>
                <a:cxn ang="0">
                  <a:pos x="190" y="314"/>
                </a:cxn>
                <a:cxn ang="0">
                  <a:pos x="248" y="324"/>
                </a:cxn>
                <a:cxn ang="0">
                  <a:pos x="310" y="328"/>
                </a:cxn>
                <a:cxn ang="0">
                  <a:pos x="374" y="324"/>
                </a:cxn>
                <a:cxn ang="0">
                  <a:pos x="431" y="314"/>
                </a:cxn>
                <a:cxn ang="0">
                  <a:pos x="483" y="300"/>
                </a:cxn>
                <a:cxn ang="0">
                  <a:pos x="529" y="280"/>
                </a:cxn>
                <a:cxn ang="0">
                  <a:pos x="549" y="268"/>
                </a:cxn>
                <a:cxn ang="0">
                  <a:pos x="567" y="256"/>
                </a:cxn>
                <a:cxn ang="0">
                  <a:pos x="581" y="242"/>
                </a:cxn>
                <a:cxn ang="0">
                  <a:pos x="595" y="226"/>
                </a:cxn>
                <a:cxn ang="0">
                  <a:pos x="605" y="212"/>
                </a:cxn>
                <a:cxn ang="0">
                  <a:pos x="613" y="196"/>
                </a:cxn>
                <a:cxn ang="0">
                  <a:pos x="617" y="180"/>
                </a:cxn>
                <a:cxn ang="0">
                  <a:pos x="619" y="164"/>
                </a:cxn>
                <a:cxn ang="0">
                  <a:pos x="617" y="150"/>
                </a:cxn>
                <a:cxn ang="0">
                  <a:pos x="613" y="132"/>
                </a:cxn>
                <a:cxn ang="0">
                  <a:pos x="605" y="116"/>
                </a:cxn>
                <a:cxn ang="0">
                  <a:pos x="595" y="100"/>
                </a:cxn>
                <a:cxn ang="0">
                  <a:pos x="581" y="88"/>
                </a:cxn>
                <a:cxn ang="0">
                  <a:pos x="567" y="72"/>
                </a:cxn>
                <a:cxn ang="0">
                  <a:pos x="549" y="60"/>
                </a:cxn>
                <a:cxn ang="0">
                  <a:pos x="529" y="48"/>
                </a:cxn>
                <a:cxn ang="0">
                  <a:pos x="483" y="28"/>
                </a:cxn>
                <a:cxn ang="0">
                  <a:pos x="431" y="12"/>
                </a:cxn>
                <a:cxn ang="0">
                  <a:pos x="374" y="2"/>
                </a:cxn>
                <a:cxn ang="0">
                  <a:pos x="310" y="0"/>
                </a:cxn>
                <a:cxn ang="0">
                  <a:pos x="248" y="2"/>
                </a:cxn>
                <a:cxn ang="0">
                  <a:pos x="190" y="12"/>
                </a:cxn>
                <a:cxn ang="0">
                  <a:pos x="136" y="28"/>
                </a:cxn>
                <a:cxn ang="0">
                  <a:pos x="90" y="48"/>
                </a:cxn>
                <a:cxn ang="0">
                  <a:pos x="72" y="60"/>
                </a:cxn>
                <a:cxn ang="0">
                  <a:pos x="54" y="72"/>
                </a:cxn>
                <a:cxn ang="0">
                  <a:pos x="38" y="88"/>
                </a:cxn>
                <a:cxn ang="0">
                  <a:pos x="24" y="100"/>
                </a:cxn>
                <a:cxn ang="0">
                  <a:pos x="14" y="116"/>
                </a:cxn>
                <a:cxn ang="0">
                  <a:pos x="6" y="132"/>
                </a:cxn>
                <a:cxn ang="0">
                  <a:pos x="2" y="150"/>
                </a:cxn>
                <a:cxn ang="0">
                  <a:pos x="0" y="164"/>
                </a:cxn>
              </a:cxnLst>
              <a:rect l="0" t="0" r="r" b="b"/>
              <a:pathLst>
                <a:path w="619" h="328">
                  <a:moveTo>
                    <a:pt x="0" y="164"/>
                  </a:moveTo>
                  <a:lnTo>
                    <a:pt x="2" y="180"/>
                  </a:lnTo>
                  <a:lnTo>
                    <a:pt x="6" y="196"/>
                  </a:lnTo>
                  <a:lnTo>
                    <a:pt x="14" y="212"/>
                  </a:lnTo>
                  <a:lnTo>
                    <a:pt x="24" y="226"/>
                  </a:lnTo>
                  <a:lnTo>
                    <a:pt x="38" y="242"/>
                  </a:lnTo>
                  <a:lnTo>
                    <a:pt x="54" y="256"/>
                  </a:lnTo>
                  <a:lnTo>
                    <a:pt x="72" y="268"/>
                  </a:lnTo>
                  <a:lnTo>
                    <a:pt x="90" y="280"/>
                  </a:lnTo>
                  <a:lnTo>
                    <a:pt x="136" y="300"/>
                  </a:lnTo>
                  <a:lnTo>
                    <a:pt x="190" y="314"/>
                  </a:lnTo>
                  <a:lnTo>
                    <a:pt x="248" y="324"/>
                  </a:lnTo>
                  <a:lnTo>
                    <a:pt x="310" y="328"/>
                  </a:lnTo>
                  <a:lnTo>
                    <a:pt x="374" y="324"/>
                  </a:lnTo>
                  <a:lnTo>
                    <a:pt x="431" y="314"/>
                  </a:lnTo>
                  <a:lnTo>
                    <a:pt x="483" y="300"/>
                  </a:lnTo>
                  <a:lnTo>
                    <a:pt x="529" y="280"/>
                  </a:lnTo>
                  <a:lnTo>
                    <a:pt x="549" y="268"/>
                  </a:lnTo>
                  <a:lnTo>
                    <a:pt x="567" y="256"/>
                  </a:lnTo>
                  <a:lnTo>
                    <a:pt x="581" y="242"/>
                  </a:lnTo>
                  <a:lnTo>
                    <a:pt x="595" y="226"/>
                  </a:lnTo>
                  <a:lnTo>
                    <a:pt x="605" y="212"/>
                  </a:lnTo>
                  <a:lnTo>
                    <a:pt x="613" y="196"/>
                  </a:lnTo>
                  <a:lnTo>
                    <a:pt x="617" y="180"/>
                  </a:lnTo>
                  <a:lnTo>
                    <a:pt x="619" y="164"/>
                  </a:lnTo>
                  <a:lnTo>
                    <a:pt x="617" y="150"/>
                  </a:lnTo>
                  <a:lnTo>
                    <a:pt x="613" y="132"/>
                  </a:lnTo>
                  <a:lnTo>
                    <a:pt x="605" y="116"/>
                  </a:lnTo>
                  <a:lnTo>
                    <a:pt x="595" y="100"/>
                  </a:lnTo>
                  <a:lnTo>
                    <a:pt x="581" y="88"/>
                  </a:lnTo>
                  <a:lnTo>
                    <a:pt x="567" y="72"/>
                  </a:lnTo>
                  <a:lnTo>
                    <a:pt x="549" y="60"/>
                  </a:lnTo>
                  <a:lnTo>
                    <a:pt x="529" y="48"/>
                  </a:lnTo>
                  <a:lnTo>
                    <a:pt x="483" y="28"/>
                  </a:lnTo>
                  <a:lnTo>
                    <a:pt x="431" y="12"/>
                  </a:lnTo>
                  <a:lnTo>
                    <a:pt x="374" y="2"/>
                  </a:lnTo>
                  <a:lnTo>
                    <a:pt x="310" y="0"/>
                  </a:lnTo>
                  <a:lnTo>
                    <a:pt x="248" y="2"/>
                  </a:lnTo>
                  <a:lnTo>
                    <a:pt x="190" y="12"/>
                  </a:lnTo>
                  <a:lnTo>
                    <a:pt x="136" y="28"/>
                  </a:lnTo>
                  <a:lnTo>
                    <a:pt x="90" y="48"/>
                  </a:lnTo>
                  <a:lnTo>
                    <a:pt x="72" y="60"/>
                  </a:lnTo>
                  <a:lnTo>
                    <a:pt x="54" y="72"/>
                  </a:lnTo>
                  <a:lnTo>
                    <a:pt x="38" y="88"/>
                  </a:lnTo>
                  <a:lnTo>
                    <a:pt x="24" y="100"/>
                  </a:lnTo>
                  <a:lnTo>
                    <a:pt x="14" y="116"/>
                  </a:lnTo>
                  <a:lnTo>
                    <a:pt x="6" y="132"/>
                  </a:lnTo>
                  <a:lnTo>
                    <a:pt x="2" y="150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40A1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39" name="Freeform 62"/>
            <p:cNvSpPr>
              <a:spLocks/>
            </p:cNvSpPr>
            <p:nvPr/>
          </p:nvSpPr>
          <p:spPr bwMode="auto">
            <a:xfrm>
              <a:off x="2762" y="1587"/>
              <a:ext cx="298" cy="158"/>
            </a:xfrm>
            <a:custGeom>
              <a:avLst/>
              <a:gdLst/>
              <a:ahLst/>
              <a:cxnLst>
                <a:cxn ang="0">
                  <a:pos x="0" y="158"/>
                </a:cxn>
                <a:cxn ang="0">
                  <a:pos x="2" y="174"/>
                </a:cxn>
                <a:cxn ang="0">
                  <a:pos x="6" y="190"/>
                </a:cxn>
                <a:cxn ang="0">
                  <a:pos x="14" y="206"/>
                </a:cxn>
                <a:cxn ang="0">
                  <a:pos x="22" y="220"/>
                </a:cxn>
                <a:cxn ang="0">
                  <a:pos x="36" y="232"/>
                </a:cxn>
                <a:cxn ang="0">
                  <a:pos x="50" y="246"/>
                </a:cxn>
                <a:cxn ang="0">
                  <a:pos x="68" y="258"/>
                </a:cxn>
                <a:cxn ang="0">
                  <a:pos x="88" y="270"/>
                </a:cxn>
                <a:cxn ang="0">
                  <a:pos x="132" y="290"/>
                </a:cxn>
                <a:cxn ang="0">
                  <a:pos x="182" y="302"/>
                </a:cxn>
                <a:cxn ang="0">
                  <a:pos x="238" y="312"/>
                </a:cxn>
                <a:cxn ang="0">
                  <a:pos x="300" y="316"/>
                </a:cxn>
                <a:cxn ang="0">
                  <a:pos x="360" y="312"/>
                </a:cxn>
                <a:cxn ang="0">
                  <a:pos x="413" y="302"/>
                </a:cxn>
                <a:cxn ang="0">
                  <a:pos x="465" y="290"/>
                </a:cxn>
                <a:cxn ang="0">
                  <a:pos x="509" y="270"/>
                </a:cxn>
                <a:cxn ang="0">
                  <a:pos x="529" y="258"/>
                </a:cxn>
                <a:cxn ang="0">
                  <a:pos x="561" y="232"/>
                </a:cxn>
                <a:cxn ang="0">
                  <a:pos x="573" y="220"/>
                </a:cxn>
                <a:cxn ang="0">
                  <a:pos x="583" y="206"/>
                </a:cxn>
                <a:cxn ang="0">
                  <a:pos x="591" y="190"/>
                </a:cxn>
                <a:cxn ang="0">
                  <a:pos x="595" y="174"/>
                </a:cxn>
                <a:cxn ang="0">
                  <a:pos x="597" y="158"/>
                </a:cxn>
                <a:cxn ang="0">
                  <a:pos x="595" y="142"/>
                </a:cxn>
                <a:cxn ang="0">
                  <a:pos x="591" y="126"/>
                </a:cxn>
                <a:cxn ang="0">
                  <a:pos x="583" y="110"/>
                </a:cxn>
                <a:cxn ang="0">
                  <a:pos x="573" y="96"/>
                </a:cxn>
                <a:cxn ang="0">
                  <a:pos x="561" y="84"/>
                </a:cxn>
                <a:cxn ang="0">
                  <a:pos x="529" y="58"/>
                </a:cxn>
                <a:cxn ang="0">
                  <a:pos x="509" y="46"/>
                </a:cxn>
                <a:cxn ang="0">
                  <a:pos x="465" y="26"/>
                </a:cxn>
                <a:cxn ang="0">
                  <a:pos x="413" y="14"/>
                </a:cxn>
                <a:cxn ang="0">
                  <a:pos x="360" y="4"/>
                </a:cxn>
                <a:cxn ang="0">
                  <a:pos x="300" y="0"/>
                </a:cxn>
                <a:cxn ang="0">
                  <a:pos x="238" y="4"/>
                </a:cxn>
                <a:cxn ang="0">
                  <a:pos x="182" y="14"/>
                </a:cxn>
                <a:cxn ang="0">
                  <a:pos x="132" y="26"/>
                </a:cxn>
                <a:cxn ang="0">
                  <a:pos x="88" y="46"/>
                </a:cxn>
                <a:cxn ang="0">
                  <a:pos x="68" y="58"/>
                </a:cxn>
                <a:cxn ang="0">
                  <a:pos x="50" y="70"/>
                </a:cxn>
                <a:cxn ang="0">
                  <a:pos x="36" y="84"/>
                </a:cxn>
                <a:cxn ang="0">
                  <a:pos x="22" y="96"/>
                </a:cxn>
                <a:cxn ang="0">
                  <a:pos x="14" y="110"/>
                </a:cxn>
                <a:cxn ang="0">
                  <a:pos x="6" y="126"/>
                </a:cxn>
                <a:cxn ang="0">
                  <a:pos x="2" y="142"/>
                </a:cxn>
                <a:cxn ang="0">
                  <a:pos x="0" y="158"/>
                </a:cxn>
              </a:cxnLst>
              <a:rect l="0" t="0" r="r" b="b"/>
              <a:pathLst>
                <a:path w="597" h="316">
                  <a:moveTo>
                    <a:pt x="0" y="158"/>
                  </a:moveTo>
                  <a:lnTo>
                    <a:pt x="2" y="174"/>
                  </a:lnTo>
                  <a:lnTo>
                    <a:pt x="6" y="190"/>
                  </a:lnTo>
                  <a:lnTo>
                    <a:pt x="14" y="206"/>
                  </a:lnTo>
                  <a:lnTo>
                    <a:pt x="22" y="220"/>
                  </a:lnTo>
                  <a:lnTo>
                    <a:pt x="36" y="232"/>
                  </a:lnTo>
                  <a:lnTo>
                    <a:pt x="50" y="246"/>
                  </a:lnTo>
                  <a:lnTo>
                    <a:pt x="68" y="258"/>
                  </a:lnTo>
                  <a:lnTo>
                    <a:pt x="88" y="270"/>
                  </a:lnTo>
                  <a:lnTo>
                    <a:pt x="132" y="290"/>
                  </a:lnTo>
                  <a:lnTo>
                    <a:pt x="182" y="302"/>
                  </a:lnTo>
                  <a:lnTo>
                    <a:pt x="238" y="312"/>
                  </a:lnTo>
                  <a:lnTo>
                    <a:pt x="300" y="316"/>
                  </a:lnTo>
                  <a:lnTo>
                    <a:pt x="360" y="312"/>
                  </a:lnTo>
                  <a:lnTo>
                    <a:pt x="413" y="302"/>
                  </a:lnTo>
                  <a:lnTo>
                    <a:pt x="465" y="290"/>
                  </a:lnTo>
                  <a:lnTo>
                    <a:pt x="509" y="270"/>
                  </a:lnTo>
                  <a:lnTo>
                    <a:pt x="529" y="258"/>
                  </a:lnTo>
                  <a:lnTo>
                    <a:pt x="561" y="232"/>
                  </a:lnTo>
                  <a:lnTo>
                    <a:pt x="573" y="220"/>
                  </a:lnTo>
                  <a:lnTo>
                    <a:pt x="583" y="206"/>
                  </a:lnTo>
                  <a:lnTo>
                    <a:pt x="591" y="190"/>
                  </a:lnTo>
                  <a:lnTo>
                    <a:pt x="595" y="174"/>
                  </a:lnTo>
                  <a:lnTo>
                    <a:pt x="597" y="158"/>
                  </a:lnTo>
                  <a:lnTo>
                    <a:pt x="595" y="142"/>
                  </a:lnTo>
                  <a:lnTo>
                    <a:pt x="591" y="126"/>
                  </a:lnTo>
                  <a:lnTo>
                    <a:pt x="583" y="110"/>
                  </a:lnTo>
                  <a:lnTo>
                    <a:pt x="573" y="96"/>
                  </a:lnTo>
                  <a:lnTo>
                    <a:pt x="561" y="84"/>
                  </a:lnTo>
                  <a:lnTo>
                    <a:pt x="529" y="58"/>
                  </a:lnTo>
                  <a:lnTo>
                    <a:pt x="509" y="46"/>
                  </a:lnTo>
                  <a:lnTo>
                    <a:pt x="465" y="26"/>
                  </a:lnTo>
                  <a:lnTo>
                    <a:pt x="413" y="14"/>
                  </a:lnTo>
                  <a:lnTo>
                    <a:pt x="360" y="4"/>
                  </a:lnTo>
                  <a:lnTo>
                    <a:pt x="300" y="0"/>
                  </a:lnTo>
                  <a:lnTo>
                    <a:pt x="238" y="4"/>
                  </a:lnTo>
                  <a:lnTo>
                    <a:pt x="182" y="14"/>
                  </a:lnTo>
                  <a:lnTo>
                    <a:pt x="132" y="26"/>
                  </a:lnTo>
                  <a:lnTo>
                    <a:pt x="88" y="46"/>
                  </a:lnTo>
                  <a:lnTo>
                    <a:pt x="68" y="58"/>
                  </a:lnTo>
                  <a:lnTo>
                    <a:pt x="50" y="70"/>
                  </a:lnTo>
                  <a:lnTo>
                    <a:pt x="36" y="84"/>
                  </a:lnTo>
                  <a:lnTo>
                    <a:pt x="22" y="96"/>
                  </a:lnTo>
                  <a:lnTo>
                    <a:pt x="14" y="110"/>
                  </a:lnTo>
                  <a:lnTo>
                    <a:pt x="6" y="126"/>
                  </a:lnTo>
                  <a:lnTo>
                    <a:pt x="2" y="142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389D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0" name="Freeform 63"/>
            <p:cNvSpPr>
              <a:spLocks/>
            </p:cNvSpPr>
            <p:nvPr/>
          </p:nvSpPr>
          <p:spPr bwMode="auto">
            <a:xfrm>
              <a:off x="2770" y="1593"/>
              <a:ext cx="286" cy="152"/>
            </a:xfrm>
            <a:custGeom>
              <a:avLst/>
              <a:gdLst/>
              <a:ahLst/>
              <a:cxnLst>
                <a:cxn ang="0">
                  <a:pos x="0" y="150"/>
                </a:cxn>
                <a:cxn ang="0">
                  <a:pos x="2" y="168"/>
                </a:cxn>
                <a:cxn ang="0">
                  <a:pos x="6" y="182"/>
                </a:cxn>
                <a:cxn ang="0">
                  <a:pos x="14" y="196"/>
                </a:cxn>
                <a:cxn ang="0">
                  <a:pos x="24" y="212"/>
                </a:cxn>
                <a:cxn ang="0">
                  <a:pos x="34" y="224"/>
                </a:cxn>
                <a:cxn ang="0">
                  <a:pos x="50" y="238"/>
                </a:cxn>
                <a:cxn ang="0">
                  <a:pos x="84" y="260"/>
                </a:cxn>
                <a:cxn ang="0">
                  <a:pos x="128" y="278"/>
                </a:cxn>
                <a:cxn ang="0">
                  <a:pos x="176" y="292"/>
                </a:cxn>
                <a:cxn ang="0">
                  <a:pos x="230" y="300"/>
                </a:cxn>
                <a:cxn ang="0">
                  <a:pos x="286" y="304"/>
                </a:cxn>
                <a:cxn ang="0">
                  <a:pos x="344" y="300"/>
                </a:cxn>
                <a:cxn ang="0">
                  <a:pos x="397" y="292"/>
                </a:cxn>
                <a:cxn ang="0">
                  <a:pos x="447" y="278"/>
                </a:cxn>
                <a:cxn ang="0">
                  <a:pos x="489" y="260"/>
                </a:cxn>
                <a:cxn ang="0">
                  <a:pos x="525" y="238"/>
                </a:cxn>
                <a:cxn ang="0">
                  <a:pos x="539" y="224"/>
                </a:cxn>
                <a:cxn ang="0">
                  <a:pos x="549" y="212"/>
                </a:cxn>
                <a:cxn ang="0">
                  <a:pos x="559" y="196"/>
                </a:cxn>
                <a:cxn ang="0">
                  <a:pos x="567" y="182"/>
                </a:cxn>
                <a:cxn ang="0">
                  <a:pos x="571" y="168"/>
                </a:cxn>
                <a:cxn ang="0">
                  <a:pos x="573" y="150"/>
                </a:cxn>
                <a:cxn ang="0">
                  <a:pos x="571" y="136"/>
                </a:cxn>
                <a:cxn ang="0">
                  <a:pos x="567" y="118"/>
                </a:cxn>
                <a:cxn ang="0">
                  <a:pos x="559" y="106"/>
                </a:cxn>
                <a:cxn ang="0">
                  <a:pos x="549" y="92"/>
                </a:cxn>
                <a:cxn ang="0">
                  <a:pos x="539" y="78"/>
                </a:cxn>
                <a:cxn ang="0">
                  <a:pos x="525" y="66"/>
                </a:cxn>
                <a:cxn ang="0">
                  <a:pos x="489" y="44"/>
                </a:cxn>
                <a:cxn ang="0">
                  <a:pos x="447" y="26"/>
                </a:cxn>
                <a:cxn ang="0">
                  <a:pos x="397" y="12"/>
                </a:cxn>
                <a:cxn ang="0">
                  <a:pos x="344" y="4"/>
                </a:cxn>
                <a:cxn ang="0">
                  <a:pos x="286" y="0"/>
                </a:cxn>
                <a:cxn ang="0">
                  <a:pos x="230" y="4"/>
                </a:cxn>
                <a:cxn ang="0">
                  <a:pos x="176" y="12"/>
                </a:cxn>
                <a:cxn ang="0">
                  <a:pos x="128" y="26"/>
                </a:cxn>
                <a:cxn ang="0">
                  <a:pos x="84" y="44"/>
                </a:cxn>
                <a:cxn ang="0">
                  <a:pos x="50" y="66"/>
                </a:cxn>
                <a:cxn ang="0">
                  <a:pos x="34" y="78"/>
                </a:cxn>
                <a:cxn ang="0">
                  <a:pos x="24" y="92"/>
                </a:cxn>
                <a:cxn ang="0">
                  <a:pos x="14" y="106"/>
                </a:cxn>
                <a:cxn ang="0">
                  <a:pos x="6" y="118"/>
                </a:cxn>
                <a:cxn ang="0">
                  <a:pos x="2" y="136"/>
                </a:cxn>
                <a:cxn ang="0">
                  <a:pos x="0" y="150"/>
                </a:cxn>
              </a:cxnLst>
              <a:rect l="0" t="0" r="r" b="b"/>
              <a:pathLst>
                <a:path w="573" h="304">
                  <a:moveTo>
                    <a:pt x="0" y="150"/>
                  </a:moveTo>
                  <a:lnTo>
                    <a:pt x="2" y="168"/>
                  </a:lnTo>
                  <a:lnTo>
                    <a:pt x="6" y="182"/>
                  </a:lnTo>
                  <a:lnTo>
                    <a:pt x="14" y="196"/>
                  </a:lnTo>
                  <a:lnTo>
                    <a:pt x="24" y="212"/>
                  </a:lnTo>
                  <a:lnTo>
                    <a:pt x="34" y="224"/>
                  </a:lnTo>
                  <a:lnTo>
                    <a:pt x="50" y="238"/>
                  </a:lnTo>
                  <a:lnTo>
                    <a:pt x="84" y="260"/>
                  </a:lnTo>
                  <a:lnTo>
                    <a:pt x="128" y="278"/>
                  </a:lnTo>
                  <a:lnTo>
                    <a:pt x="176" y="292"/>
                  </a:lnTo>
                  <a:lnTo>
                    <a:pt x="230" y="300"/>
                  </a:lnTo>
                  <a:lnTo>
                    <a:pt x="286" y="304"/>
                  </a:lnTo>
                  <a:lnTo>
                    <a:pt x="344" y="300"/>
                  </a:lnTo>
                  <a:lnTo>
                    <a:pt x="397" y="292"/>
                  </a:lnTo>
                  <a:lnTo>
                    <a:pt x="447" y="278"/>
                  </a:lnTo>
                  <a:lnTo>
                    <a:pt x="489" y="260"/>
                  </a:lnTo>
                  <a:lnTo>
                    <a:pt x="525" y="238"/>
                  </a:lnTo>
                  <a:lnTo>
                    <a:pt x="539" y="224"/>
                  </a:lnTo>
                  <a:lnTo>
                    <a:pt x="549" y="212"/>
                  </a:lnTo>
                  <a:lnTo>
                    <a:pt x="559" y="196"/>
                  </a:lnTo>
                  <a:lnTo>
                    <a:pt x="567" y="182"/>
                  </a:lnTo>
                  <a:lnTo>
                    <a:pt x="571" y="168"/>
                  </a:lnTo>
                  <a:lnTo>
                    <a:pt x="573" y="150"/>
                  </a:lnTo>
                  <a:lnTo>
                    <a:pt x="571" y="136"/>
                  </a:lnTo>
                  <a:lnTo>
                    <a:pt x="567" y="118"/>
                  </a:lnTo>
                  <a:lnTo>
                    <a:pt x="559" y="106"/>
                  </a:lnTo>
                  <a:lnTo>
                    <a:pt x="549" y="92"/>
                  </a:lnTo>
                  <a:lnTo>
                    <a:pt x="539" y="78"/>
                  </a:lnTo>
                  <a:lnTo>
                    <a:pt x="525" y="66"/>
                  </a:lnTo>
                  <a:lnTo>
                    <a:pt x="489" y="44"/>
                  </a:lnTo>
                  <a:lnTo>
                    <a:pt x="447" y="26"/>
                  </a:lnTo>
                  <a:lnTo>
                    <a:pt x="397" y="12"/>
                  </a:lnTo>
                  <a:lnTo>
                    <a:pt x="344" y="4"/>
                  </a:lnTo>
                  <a:lnTo>
                    <a:pt x="286" y="0"/>
                  </a:lnTo>
                  <a:lnTo>
                    <a:pt x="230" y="4"/>
                  </a:lnTo>
                  <a:lnTo>
                    <a:pt x="176" y="12"/>
                  </a:lnTo>
                  <a:lnTo>
                    <a:pt x="128" y="26"/>
                  </a:lnTo>
                  <a:lnTo>
                    <a:pt x="84" y="44"/>
                  </a:lnTo>
                  <a:lnTo>
                    <a:pt x="50" y="66"/>
                  </a:lnTo>
                  <a:lnTo>
                    <a:pt x="34" y="78"/>
                  </a:lnTo>
                  <a:lnTo>
                    <a:pt x="24" y="92"/>
                  </a:lnTo>
                  <a:lnTo>
                    <a:pt x="14" y="106"/>
                  </a:lnTo>
                  <a:lnTo>
                    <a:pt x="6" y="118"/>
                  </a:lnTo>
                  <a:lnTo>
                    <a:pt x="2" y="136"/>
                  </a:lnTo>
                  <a:lnTo>
                    <a:pt x="0" y="150"/>
                  </a:lnTo>
                  <a:close/>
                </a:path>
              </a:pathLst>
            </a:custGeom>
            <a:solidFill>
              <a:srgbClr val="3099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1" name="Freeform 64"/>
            <p:cNvSpPr>
              <a:spLocks/>
            </p:cNvSpPr>
            <p:nvPr/>
          </p:nvSpPr>
          <p:spPr bwMode="auto">
            <a:xfrm>
              <a:off x="2779" y="1600"/>
              <a:ext cx="273" cy="144"/>
            </a:xfrm>
            <a:custGeom>
              <a:avLst/>
              <a:gdLst/>
              <a:ahLst/>
              <a:cxnLst>
                <a:cxn ang="0">
                  <a:pos x="0" y="142"/>
                </a:cxn>
                <a:cxn ang="0">
                  <a:pos x="2" y="156"/>
                </a:cxn>
                <a:cxn ang="0">
                  <a:pos x="4" y="172"/>
                </a:cxn>
                <a:cxn ang="0">
                  <a:pos x="12" y="184"/>
                </a:cxn>
                <a:cxn ang="0">
                  <a:pos x="20" y="200"/>
                </a:cxn>
                <a:cxn ang="0">
                  <a:pos x="32" y="210"/>
                </a:cxn>
                <a:cxn ang="0">
                  <a:pos x="46" y="224"/>
                </a:cxn>
                <a:cxn ang="0">
                  <a:pos x="80" y="244"/>
                </a:cxn>
                <a:cxn ang="0">
                  <a:pos x="120" y="262"/>
                </a:cxn>
                <a:cxn ang="0">
                  <a:pos x="166" y="276"/>
                </a:cxn>
                <a:cxn ang="0">
                  <a:pos x="218" y="284"/>
                </a:cxn>
                <a:cxn ang="0">
                  <a:pos x="274" y="288"/>
                </a:cxn>
                <a:cxn ang="0">
                  <a:pos x="330" y="284"/>
                </a:cxn>
                <a:cxn ang="0">
                  <a:pos x="381" y="276"/>
                </a:cxn>
                <a:cxn ang="0">
                  <a:pos x="427" y="262"/>
                </a:cxn>
                <a:cxn ang="0">
                  <a:pos x="469" y="244"/>
                </a:cxn>
                <a:cxn ang="0">
                  <a:pos x="501" y="224"/>
                </a:cxn>
                <a:cxn ang="0">
                  <a:pos x="515" y="210"/>
                </a:cxn>
                <a:cxn ang="0">
                  <a:pos x="527" y="200"/>
                </a:cxn>
                <a:cxn ang="0">
                  <a:pos x="535" y="184"/>
                </a:cxn>
                <a:cxn ang="0">
                  <a:pos x="543" y="172"/>
                </a:cxn>
                <a:cxn ang="0">
                  <a:pos x="545" y="156"/>
                </a:cxn>
                <a:cxn ang="0">
                  <a:pos x="547" y="142"/>
                </a:cxn>
                <a:cxn ang="0">
                  <a:pos x="545" y="128"/>
                </a:cxn>
                <a:cxn ang="0">
                  <a:pos x="543" y="114"/>
                </a:cxn>
                <a:cxn ang="0">
                  <a:pos x="527" y="88"/>
                </a:cxn>
                <a:cxn ang="0">
                  <a:pos x="515" y="74"/>
                </a:cxn>
                <a:cxn ang="0">
                  <a:pos x="501" y="62"/>
                </a:cxn>
                <a:cxn ang="0">
                  <a:pos x="469" y="42"/>
                </a:cxn>
                <a:cxn ang="0">
                  <a:pos x="427" y="24"/>
                </a:cxn>
                <a:cxn ang="0">
                  <a:pos x="381" y="10"/>
                </a:cxn>
                <a:cxn ang="0">
                  <a:pos x="330" y="2"/>
                </a:cxn>
                <a:cxn ang="0">
                  <a:pos x="274" y="0"/>
                </a:cxn>
                <a:cxn ang="0">
                  <a:pos x="218" y="2"/>
                </a:cxn>
                <a:cxn ang="0">
                  <a:pos x="166" y="10"/>
                </a:cxn>
                <a:cxn ang="0">
                  <a:pos x="120" y="24"/>
                </a:cxn>
                <a:cxn ang="0">
                  <a:pos x="80" y="42"/>
                </a:cxn>
                <a:cxn ang="0">
                  <a:pos x="46" y="62"/>
                </a:cxn>
                <a:cxn ang="0">
                  <a:pos x="32" y="74"/>
                </a:cxn>
                <a:cxn ang="0">
                  <a:pos x="20" y="88"/>
                </a:cxn>
                <a:cxn ang="0">
                  <a:pos x="4" y="114"/>
                </a:cxn>
                <a:cxn ang="0">
                  <a:pos x="2" y="128"/>
                </a:cxn>
                <a:cxn ang="0">
                  <a:pos x="0" y="142"/>
                </a:cxn>
              </a:cxnLst>
              <a:rect l="0" t="0" r="r" b="b"/>
              <a:pathLst>
                <a:path w="547" h="288">
                  <a:moveTo>
                    <a:pt x="0" y="142"/>
                  </a:moveTo>
                  <a:lnTo>
                    <a:pt x="2" y="156"/>
                  </a:lnTo>
                  <a:lnTo>
                    <a:pt x="4" y="172"/>
                  </a:lnTo>
                  <a:lnTo>
                    <a:pt x="12" y="184"/>
                  </a:lnTo>
                  <a:lnTo>
                    <a:pt x="20" y="200"/>
                  </a:lnTo>
                  <a:lnTo>
                    <a:pt x="32" y="210"/>
                  </a:lnTo>
                  <a:lnTo>
                    <a:pt x="46" y="224"/>
                  </a:lnTo>
                  <a:lnTo>
                    <a:pt x="80" y="244"/>
                  </a:lnTo>
                  <a:lnTo>
                    <a:pt x="120" y="262"/>
                  </a:lnTo>
                  <a:lnTo>
                    <a:pt x="166" y="276"/>
                  </a:lnTo>
                  <a:lnTo>
                    <a:pt x="218" y="284"/>
                  </a:lnTo>
                  <a:lnTo>
                    <a:pt x="274" y="288"/>
                  </a:lnTo>
                  <a:lnTo>
                    <a:pt x="330" y="284"/>
                  </a:lnTo>
                  <a:lnTo>
                    <a:pt x="381" y="276"/>
                  </a:lnTo>
                  <a:lnTo>
                    <a:pt x="427" y="262"/>
                  </a:lnTo>
                  <a:lnTo>
                    <a:pt x="469" y="244"/>
                  </a:lnTo>
                  <a:lnTo>
                    <a:pt x="501" y="224"/>
                  </a:lnTo>
                  <a:lnTo>
                    <a:pt x="515" y="210"/>
                  </a:lnTo>
                  <a:lnTo>
                    <a:pt x="527" y="200"/>
                  </a:lnTo>
                  <a:lnTo>
                    <a:pt x="535" y="184"/>
                  </a:lnTo>
                  <a:lnTo>
                    <a:pt x="543" y="172"/>
                  </a:lnTo>
                  <a:lnTo>
                    <a:pt x="545" y="156"/>
                  </a:lnTo>
                  <a:lnTo>
                    <a:pt x="547" y="142"/>
                  </a:lnTo>
                  <a:lnTo>
                    <a:pt x="545" y="128"/>
                  </a:lnTo>
                  <a:lnTo>
                    <a:pt x="543" y="114"/>
                  </a:lnTo>
                  <a:lnTo>
                    <a:pt x="527" y="88"/>
                  </a:lnTo>
                  <a:lnTo>
                    <a:pt x="515" y="74"/>
                  </a:lnTo>
                  <a:lnTo>
                    <a:pt x="501" y="62"/>
                  </a:lnTo>
                  <a:lnTo>
                    <a:pt x="469" y="42"/>
                  </a:lnTo>
                  <a:lnTo>
                    <a:pt x="427" y="24"/>
                  </a:lnTo>
                  <a:lnTo>
                    <a:pt x="381" y="10"/>
                  </a:lnTo>
                  <a:lnTo>
                    <a:pt x="330" y="2"/>
                  </a:lnTo>
                  <a:lnTo>
                    <a:pt x="274" y="0"/>
                  </a:lnTo>
                  <a:lnTo>
                    <a:pt x="218" y="2"/>
                  </a:lnTo>
                  <a:lnTo>
                    <a:pt x="166" y="10"/>
                  </a:lnTo>
                  <a:lnTo>
                    <a:pt x="120" y="24"/>
                  </a:lnTo>
                  <a:lnTo>
                    <a:pt x="80" y="42"/>
                  </a:lnTo>
                  <a:lnTo>
                    <a:pt x="46" y="62"/>
                  </a:lnTo>
                  <a:lnTo>
                    <a:pt x="32" y="74"/>
                  </a:lnTo>
                  <a:lnTo>
                    <a:pt x="20" y="88"/>
                  </a:lnTo>
                  <a:lnTo>
                    <a:pt x="4" y="114"/>
                  </a:lnTo>
                  <a:lnTo>
                    <a:pt x="2" y="12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2895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2" name="Freeform 65"/>
            <p:cNvSpPr>
              <a:spLocks/>
            </p:cNvSpPr>
            <p:nvPr/>
          </p:nvSpPr>
          <p:spPr bwMode="auto">
            <a:xfrm>
              <a:off x="2787" y="1606"/>
              <a:ext cx="262" cy="138"/>
            </a:xfrm>
            <a:custGeom>
              <a:avLst/>
              <a:gdLst/>
              <a:ahLst/>
              <a:cxnLst>
                <a:cxn ang="0">
                  <a:pos x="0" y="136"/>
                </a:cxn>
                <a:cxn ang="0">
                  <a:pos x="2" y="152"/>
                </a:cxn>
                <a:cxn ang="0">
                  <a:pos x="4" y="164"/>
                </a:cxn>
                <a:cxn ang="0">
                  <a:pos x="12" y="178"/>
                </a:cxn>
                <a:cxn ang="0">
                  <a:pos x="22" y="190"/>
                </a:cxn>
                <a:cxn ang="0">
                  <a:pos x="46" y="214"/>
                </a:cxn>
                <a:cxn ang="0">
                  <a:pos x="78" y="234"/>
                </a:cxn>
                <a:cxn ang="0">
                  <a:pos x="116" y="250"/>
                </a:cxn>
                <a:cxn ang="0">
                  <a:pos x="160" y="264"/>
                </a:cxn>
                <a:cxn ang="0">
                  <a:pos x="210" y="272"/>
                </a:cxn>
                <a:cxn ang="0">
                  <a:pos x="264" y="276"/>
                </a:cxn>
                <a:cxn ang="0">
                  <a:pos x="316" y="272"/>
                </a:cxn>
                <a:cxn ang="0">
                  <a:pos x="365" y="264"/>
                </a:cxn>
                <a:cxn ang="0">
                  <a:pos x="409" y="250"/>
                </a:cxn>
                <a:cxn ang="0">
                  <a:pos x="447" y="234"/>
                </a:cxn>
                <a:cxn ang="0">
                  <a:pos x="479" y="214"/>
                </a:cxn>
                <a:cxn ang="0">
                  <a:pos x="503" y="190"/>
                </a:cxn>
                <a:cxn ang="0">
                  <a:pos x="513" y="178"/>
                </a:cxn>
                <a:cxn ang="0">
                  <a:pos x="521" y="164"/>
                </a:cxn>
                <a:cxn ang="0">
                  <a:pos x="523" y="152"/>
                </a:cxn>
                <a:cxn ang="0">
                  <a:pos x="525" y="136"/>
                </a:cxn>
                <a:cxn ang="0">
                  <a:pos x="523" y="122"/>
                </a:cxn>
                <a:cxn ang="0">
                  <a:pos x="521" y="110"/>
                </a:cxn>
                <a:cxn ang="0">
                  <a:pos x="513" y="96"/>
                </a:cxn>
                <a:cxn ang="0">
                  <a:pos x="503" y="84"/>
                </a:cxn>
                <a:cxn ang="0">
                  <a:pos x="479" y="60"/>
                </a:cxn>
                <a:cxn ang="0">
                  <a:pos x="447" y="40"/>
                </a:cxn>
                <a:cxn ang="0">
                  <a:pos x="409" y="24"/>
                </a:cxn>
                <a:cxn ang="0">
                  <a:pos x="365" y="12"/>
                </a:cxn>
                <a:cxn ang="0">
                  <a:pos x="316" y="4"/>
                </a:cxn>
                <a:cxn ang="0">
                  <a:pos x="264" y="0"/>
                </a:cxn>
                <a:cxn ang="0">
                  <a:pos x="210" y="4"/>
                </a:cxn>
                <a:cxn ang="0">
                  <a:pos x="160" y="12"/>
                </a:cxn>
                <a:cxn ang="0">
                  <a:pos x="116" y="24"/>
                </a:cxn>
                <a:cxn ang="0">
                  <a:pos x="78" y="40"/>
                </a:cxn>
                <a:cxn ang="0">
                  <a:pos x="46" y="60"/>
                </a:cxn>
                <a:cxn ang="0">
                  <a:pos x="22" y="84"/>
                </a:cxn>
                <a:cxn ang="0">
                  <a:pos x="12" y="96"/>
                </a:cxn>
                <a:cxn ang="0">
                  <a:pos x="4" y="110"/>
                </a:cxn>
                <a:cxn ang="0">
                  <a:pos x="2" y="122"/>
                </a:cxn>
                <a:cxn ang="0">
                  <a:pos x="0" y="136"/>
                </a:cxn>
              </a:cxnLst>
              <a:rect l="0" t="0" r="r" b="b"/>
              <a:pathLst>
                <a:path w="525" h="276">
                  <a:moveTo>
                    <a:pt x="0" y="136"/>
                  </a:moveTo>
                  <a:lnTo>
                    <a:pt x="2" y="152"/>
                  </a:lnTo>
                  <a:lnTo>
                    <a:pt x="4" y="164"/>
                  </a:lnTo>
                  <a:lnTo>
                    <a:pt x="12" y="178"/>
                  </a:lnTo>
                  <a:lnTo>
                    <a:pt x="22" y="190"/>
                  </a:lnTo>
                  <a:lnTo>
                    <a:pt x="46" y="214"/>
                  </a:lnTo>
                  <a:lnTo>
                    <a:pt x="78" y="234"/>
                  </a:lnTo>
                  <a:lnTo>
                    <a:pt x="116" y="250"/>
                  </a:lnTo>
                  <a:lnTo>
                    <a:pt x="160" y="264"/>
                  </a:lnTo>
                  <a:lnTo>
                    <a:pt x="210" y="272"/>
                  </a:lnTo>
                  <a:lnTo>
                    <a:pt x="264" y="276"/>
                  </a:lnTo>
                  <a:lnTo>
                    <a:pt x="316" y="272"/>
                  </a:lnTo>
                  <a:lnTo>
                    <a:pt x="365" y="264"/>
                  </a:lnTo>
                  <a:lnTo>
                    <a:pt x="409" y="250"/>
                  </a:lnTo>
                  <a:lnTo>
                    <a:pt x="447" y="234"/>
                  </a:lnTo>
                  <a:lnTo>
                    <a:pt x="479" y="214"/>
                  </a:lnTo>
                  <a:lnTo>
                    <a:pt x="503" y="190"/>
                  </a:lnTo>
                  <a:lnTo>
                    <a:pt x="513" y="178"/>
                  </a:lnTo>
                  <a:lnTo>
                    <a:pt x="521" y="164"/>
                  </a:lnTo>
                  <a:lnTo>
                    <a:pt x="523" y="152"/>
                  </a:lnTo>
                  <a:lnTo>
                    <a:pt x="525" y="136"/>
                  </a:lnTo>
                  <a:lnTo>
                    <a:pt x="523" y="122"/>
                  </a:lnTo>
                  <a:lnTo>
                    <a:pt x="521" y="110"/>
                  </a:lnTo>
                  <a:lnTo>
                    <a:pt x="513" y="96"/>
                  </a:lnTo>
                  <a:lnTo>
                    <a:pt x="503" y="84"/>
                  </a:lnTo>
                  <a:lnTo>
                    <a:pt x="479" y="60"/>
                  </a:lnTo>
                  <a:lnTo>
                    <a:pt x="447" y="40"/>
                  </a:lnTo>
                  <a:lnTo>
                    <a:pt x="409" y="24"/>
                  </a:lnTo>
                  <a:lnTo>
                    <a:pt x="365" y="12"/>
                  </a:lnTo>
                  <a:lnTo>
                    <a:pt x="316" y="4"/>
                  </a:lnTo>
                  <a:lnTo>
                    <a:pt x="264" y="0"/>
                  </a:lnTo>
                  <a:lnTo>
                    <a:pt x="210" y="4"/>
                  </a:lnTo>
                  <a:lnTo>
                    <a:pt x="160" y="12"/>
                  </a:lnTo>
                  <a:lnTo>
                    <a:pt x="116" y="24"/>
                  </a:lnTo>
                  <a:lnTo>
                    <a:pt x="78" y="40"/>
                  </a:lnTo>
                  <a:lnTo>
                    <a:pt x="46" y="60"/>
                  </a:lnTo>
                  <a:lnTo>
                    <a:pt x="22" y="84"/>
                  </a:lnTo>
                  <a:lnTo>
                    <a:pt x="12" y="96"/>
                  </a:lnTo>
                  <a:lnTo>
                    <a:pt x="4" y="110"/>
                  </a:lnTo>
                  <a:lnTo>
                    <a:pt x="2" y="122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2091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3" name="Freeform 66"/>
            <p:cNvSpPr>
              <a:spLocks/>
            </p:cNvSpPr>
            <p:nvPr/>
          </p:nvSpPr>
          <p:spPr bwMode="auto">
            <a:xfrm>
              <a:off x="2795" y="1613"/>
              <a:ext cx="251" cy="130"/>
            </a:xfrm>
            <a:custGeom>
              <a:avLst/>
              <a:gdLst/>
              <a:ahLst/>
              <a:cxnLst>
                <a:cxn ang="0">
                  <a:pos x="0" y="130"/>
                </a:cxn>
                <a:cxn ang="0">
                  <a:pos x="2" y="144"/>
                </a:cxn>
                <a:cxn ang="0">
                  <a:pos x="6" y="158"/>
                </a:cxn>
                <a:cxn ang="0">
                  <a:pos x="12" y="170"/>
                </a:cxn>
                <a:cxn ang="0">
                  <a:pos x="20" y="182"/>
                </a:cxn>
                <a:cxn ang="0">
                  <a:pos x="42" y="202"/>
                </a:cxn>
                <a:cxn ang="0">
                  <a:pos x="74" y="222"/>
                </a:cxn>
                <a:cxn ang="0">
                  <a:pos x="110" y="238"/>
                </a:cxn>
                <a:cxn ang="0">
                  <a:pos x="154" y="250"/>
                </a:cxn>
                <a:cxn ang="0">
                  <a:pos x="202" y="256"/>
                </a:cxn>
                <a:cxn ang="0">
                  <a:pos x="252" y="260"/>
                </a:cxn>
                <a:cxn ang="0">
                  <a:pos x="302" y="256"/>
                </a:cxn>
                <a:cxn ang="0">
                  <a:pos x="349" y="250"/>
                </a:cxn>
                <a:cxn ang="0">
                  <a:pos x="391" y="238"/>
                </a:cxn>
                <a:cxn ang="0">
                  <a:pos x="427" y="222"/>
                </a:cxn>
                <a:cxn ang="0">
                  <a:pos x="459" y="202"/>
                </a:cxn>
                <a:cxn ang="0">
                  <a:pos x="483" y="182"/>
                </a:cxn>
                <a:cxn ang="0">
                  <a:pos x="491" y="170"/>
                </a:cxn>
                <a:cxn ang="0">
                  <a:pos x="497" y="158"/>
                </a:cxn>
                <a:cxn ang="0">
                  <a:pos x="501" y="144"/>
                </a:cxn>
                <a:cxn ang="0">
                  <a:pos x="503" y="130"/>
                </a:cxn>
                <a:cxn ang="0">
                  <a:pos x="501" y="118"/>
                </a:cxn>
                <a:cxn ang="0">
                  <a:pos x="497" y="104"/>
                </a:cxn>
                <a:cxn ang="0">
                  <a:pos x="491" y="92"/>
                </a:cxn>
                <a:cxn ang="0">
                  <a:pos x="483" y="78"/>
                </a:cxn>
                <a:cxn ang="0">
                  <a:pos x="459" y="58"/>
                </a:cxn>
                <a:cxn ang="0">
                  <a:pos x="427" y="38"/>
                </a:cxn>
                <a:cxn ang="0">
                  <a:pos x="391" y="22"/>
                </a:cxn>
                <a:cxn ang="0">
                  <a:pos x="349" y="10"/>
                </a:cxn>
                <a:cxn ang="0">
                  <a:pos x="302" y="2"/>
                </a:cxn>
                <a:cxn ang="0">
                  <a:pos x="252" y="0"/>
                </a:cxn>
                <a:cxn ang="0">
                  <a:pos x="202" y="2"/>
                </a:cxn>
                <a:cxn ang="0">
                  <a:pos x="154" y="10"/>
                </a:cxn>
                <a:cxn ang="0">
                  <a:pos x="110" y="22"/>
                </a:cxn>
                <a:cxn ang="0">
                  <a:pos x="74" y="38"/>
                </a:cxn>
                <a:cxn ang="0">
                  <a:pos x="42" y="58"/>
                </a:cxn>
                <a:cxn ang="0">
                  <a:pos x="20" y="78"/>
                </a:cxn>
                <a:cxn ang="0">
                  <a:pos x="12" y="92"/>
                </a:cxn>
                <a:cxn ang="0">
                  <a:pos x="6" y="104"/>
                </a:cxn>
                <a:cxn ang="0">
                  <a:pos x="2" y="118"/>
                </a:cxn>
                <a:cxn ang="0">
                  <a:pos x="0" y="130"/>
                </a:cxn>
              </a:cxnLst>
              <a:rect l="0" t="0" r="r" b="b"/>
              <a:pathLst>
                <a:path w="503" h="260">
                  <a:moveTo>
                    <a:pt x="0" y="130"/>
                  </a:moveTo>
                  <a:lnTo>
                    <a:pt x="2" y="144"/>
                  </a:lnTo>
                  <a:lnTo>
                    <a:pt x="6" y="158"/>
                  </a:lnTo>
                  <a:lnTo>
                    <a:pt x="12" y="170"/>
                  </a:lnTo>
                  <a:lnTo>
                    <a:pt x="20" y="182"/>
                  </a:lnTo>
                  <a:lnTo>
                    <a:pt x="42" y="202"/>
                  </a:lnTo>
                  <a:lnTo>
                    <a:pt x="74" y="222"/>
                  </a:lnTo>
                  <a:lnTo>
                    <a:pt x="110" y="238"/>
                  </a:lnTo>
                  <a:lnTo>
                    <a:pt x="154" y="250"/>
                  </a:lnTo>
                  <a:lnTo>
                    <a:pt x="202" y="256"/>
                  </a:lnTo>
                  <a:lnTo>
                    <a:pt x="252" y="260"/>
                  </a:lnTo>
                  <a:lnTo>
                    <a:pt x="302" y="256"/>
                  </a:lnTo>
                  <a:lnTo>
                    <a:pt x="349" y="250"/>
                  </a:lnTo>
                  <a:lnTo>
                    <a:pt x="391" y="238"/>
                  </a:lnTo>
                  <a:lnTo>
                    <a:pt x="427" y="222"/>
                  </a:lnTo>
                  <a:lnTo>
                    <a:pt x="459" y="202"/>
                  </a:lnTo>
                  <a:lnTo>
                    <a:pt x="483" y="182"/>
                  </a:lnTo>
                  <a:lnTo>
                    <a:pt x="491" y="170"/>
                  </a:lnTo>
                  <a:lnTo>
                    <a:pt x="497" y="158"/>
                  </a:lnTo>
                  <a:lnTo>
                    <a:pt x="501" y="144"/>
                  </a:lnTo>
                  <a:lnTo>
                    <a:pt x="503" y="130"/>
                  </a:lnTo>
                  <a:lnTo>
                    <a:pt x="501" y="118"/>
                  </a:lnTo>
                  <a:lnTo>
                    <a:pt x="497" y="104"/>
                  </a:lnTo>
                  <a:lnTo>
                    <a:pt x="491" y="92"/>
                  </a:lnTo>
                  <a:lnTo>
                    <a:pt x="483" y="78"/>
                  </a:lnTo>
                  <a:lnTo>
                    <a:pt x="459" y="58"/>
                  </a:lnTo>
                  <a:lnTo>
                    <a:pt x="427" y="38"/>
                  </a:lnTo>
                  <a:lnTo>
                    <a:pt x="391" y="22"/>
                  </a:lnTo>
                  <a:lnTo>
                    <a:pt x="349" y="10"/>
                  </a:lnTo>
                  <a:lnTo>
                    <a:pt x="302" y="2"/>
                  </a:lnTo>
                  <a:lnTo>
                    <a:pt x="252" y="0"/>
                  </a:lnTo>
                  <a:lnTo>
                    <a:pt x="202" y="2"/>
                  </a:lnTo>
                  <a:lnTo>
                    <a:pt x="154" y="10"/>
                  </a:lnTo>
                  <a:lnTo>
                    <a:pt x="110" y="22"/>
                  </a:lnTo>
                  <a:lnTo>
                    <a:pt x="74" y="38"/>
                  </a:lnTo>
                  <a:lnTo>
                    <a:pt x="42" y="58"/>
                  </a:lnTo>
                  <a:lnTo>
                    <a:pt x="20" y="78"/>
                  </a:lnTo>
                  <a:lnTo>
                    <a:pt x="12" y="92"/>
                  </a:lnTo>
                  <a:lnTo>
                    <a:pt x="6" y="104"/>
                  </a:lnTo>
                  <a:lnTo>
                    <a:pt x="2" y="118"/>
                  </a:lnTo>
                  <a:lnTo>
                    <a:pt x="0" y="130"/>
                  </a:lnTo>
                  <a:close/>
                </a:path>
              </a:pathLst>
            </a:custGeom>
            <a:solidFill>
              <a:srgbClr val="188C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4" name="Freeform 67"/>
            <p:cNvSpPr>
              <a:spLocks/>
            </p:cNvSpPr>
            <p:nvPr/>
          </p:nvSpPr>
          <p:spPr bwMode="auto">
            <a:xfrm>
              <a:off x="2803" y="1619"/>
              <a:ext cx="238" cy="124"/>
            </a:xfrm>
            <a:custGeom>
              <a:avLst/>
              <a:gdLst/>
              <a:ahLst/>
              <a:cxnLst>
                <a:cxn ang="0">
                  <a:pos x="0" y="124"/>
                </a:cxn>
                <a:cxn ang="0">
                  <a:pos x="2" y="136"/>
                </a:cxn>
                <a:cxn ang="0">
                  <a:pos x="4" y="148"/>
                </a:cxn>
                <a:cxn ang="0">
                  <a:pos x="18" y="172"/>
                </a:cxn>
                <a:cxn ang="0">
                  <a:pos x="40" y="194"/>
                </a:cxn>
                <a:cxn ang="0">
                  <a:pos x="70" y="212"/>
                </a:cxn>
                <a:cxn ang="0">
                  <a:pos x="104" y="226"/>
                </a:cxn>
                <a:cxn ang="0">
                  <a:pos x="146" y="238"/>
                </a:cxn>
                <a:cxn ang="0">
                  <a:pos x="190" y="244"/>
                </a:cxn>
                <a:cxn ang="0">
                  <a:pos x="238" y="248"/>
                </a:cxn>
                <a:cxn ang="0">
                  <a:pos x="286" y="244"/>
                </a:cxn>
                <a:cxn ang="0">
                  <a:pos x="329" y="238"/>
                </a:cxn>
                <a:cxn ang="0">
                  <a:pos x="371" y="226"/>
                </a:cxn>
                <a:cxn ang="0">
                  <a:pos x="407" y="212"/>
                </a:cxn>
                <a:cxn ang="0">
                  <a:pos x="437" y="194"/>
                </a:cxn>
                <a:cxn ang="0">
                  <a:pos x="459" y="172"/>
                </a:cxn>
                <a:cxn ang="0">
                  <a:pos x="473" y="148"/>
                </a:cxn>
                <a:cxn ang="0">
                  <a:pos x="475" y="136"/>
                </a:cxn>
                <a:cxn ang="0">
                  <a:pos x="477" y="124"/>
                </a:cxn>
                <a:cxn ang="0">
                  <a:pos x="475" y="110"/>
                </a:cxn>
                <a:cxn ang="0">
                  <a:pos x="473" y="100"/>
                </a:cxn>
                <a:cxn ang="0">
                  <a:pos x="459" y="76"/>
                </a:cxn>
                <a:cxn ang="0">
                  <a:pos x="437" y="54"/>
                </a:cxn>
                <a:cxn ang="0">
                  <a:pos x="407" y="36"/>
                </a:cxn>
                <a:cxn ang="0">
                  <a:pos x="371" y="22"/>
                </a:cxn>
                <a:cxn ang="0">
                  <a:pos x="329" y="10"/>
                </a:cxn>
                <a:cxn ang="0">
                  <a:pos x="286" y="4"/>
                </a:cxn>
                <a:cxn ang="0">
                  <a:pos x="238" y="0"/>
                </a:cxn>
                <a:cxn ang="0">
                  <a:pos x="190" y="4"/>
                </a:cxn>
                <a:cxn ang="0">
                  <a:pos x="146" y="10"/>
                </a:cxn>
                <a:cxn ang="0">
                  <a:pos x="104" y="22"/>
                </a:cxn>
                <a:cxn ang="0">
                  <a:pos x="70" y="36"/>
                </a:cxn>
                <a:cxn ang="0">
                  <a:pos x="40" y="54"/>
                </a:cxn>
                <a:cxn ang="0">
                  <a:pos x="18" y="76"/>
                </a:cxn>
                <a:cxn ang="0">
                  <a:pos x="4" y="100"/>
                </a:cxn>
                <a:cxn ang="0">
                  <a:pos x="2" y="110"/>
                </a:cxn>
                <a:cxn ang="0">
                  <a:pos x="0" y="124"/>
                </a:cxn>
              </a:cxnLst>
              <a:rect l="0" t="0" r="r" b="b"/>
              <a:pathLst>
                <a:path w="477" h="248">
                  <a:moveTo>
                    <a:pt x="0" y="124"/>
                  </a:moveTo>
                  <a:lnTo>
                    <a:pt x="2" y="136"/>
                  </a:lnTo>
                  <a:lnTo>
                    <a:pt x="4" y="148"/>
                  </a:lnTo>
                  <a:lnTo>
                    <a:pt x="18" y="172"/>
                  </a:lnTo>
                  <a:lnTo>
                    <a:pt x="40" y="194"/>
                  </a:lnTo>
                  <a:lnTo>
                    <a:pt x="70" y="212"/>
                  </a:lnTo>
                  <a:lnTo>
                    <a:pt x="104" y="226"/>
                  </a:lnTo>
                  <a:lnTo>
                    <a:pt x="146" y="238"/>
                  </a:lnTo>
                  <a:lnTo>
                    <a:pt x="190" y="244"/>
                  </a:lnTo>
                  <a:lnTo>
                    <a:pt x="238" y="248"/>
                  </a:lnTo>
                  <a:lnTo>
                    <a:pt x="286" y="244"/>
                  </a:lnTo>
                  <a:lnTo>
                    <a:pt x="329" y="238"/>
                  </a:lnTo>
                  <a:lnTo>
                    <a:pt x="371" y="226"/>
                  </a:lnTo>
                  <a:lnTo>
                    <a:pt x="407" y="212"/>
                  </a:lnTo>
                  <a:lnTo>
                    <a:pt x="437" y="194"/>
                  </a:lnTo>
                  <a:lnTo>
                    <a:pt x="459" y="172"/>
                  </a:lnTo>
                  <a:lnTo>
                    <a:pt x="473" y="148"/>
                  </a:lnTo>
                  <a:lnTo>
                    <a:pt x="475" y="136"/>
                  </a:lnTo>
                  <a:lnTo>
                    <a:pt x="477" y="124"/>
                  </a:lnTo>
                  <a:lnTo>
                    <a:pt x="475" y="110"/>
                  </a:lnTo>
                  <a:lnTo>
                    <a:pt x="473" y="100"/>
                  </a:lnTo>
                  <a:lnTo>
                    <a:pt x="459" y="76"/>
                  </a:lnTo>
                  <a:lnTo>
                    <a:pt x="437" y="54"/>
                  </a:lnTo>
                  <a:lnTo>
                    <a:pt x="407" y="36"/>
                  </a:lnTo>
                  <a:lnTo>
                    <a:pt x="371" y="22"/>
                  </a:lnTo>
                  <a:lnTo>
                    <a:pt x="329" y="10"/>
                  </a:lnTo>
                  <a:lnTo>
                    <a:pt x="286" y="4"/>
                  </a:lnTo>
                  <a:lnTo>
                    <a:pt x="238" y="0"/>
                  </a:lnTo>
                  <a:lnTo>
                    <a:pt x="190" y="4"/>
                  </a:lnTo>
                  <a:lnTo>
                    <a:pt x="146" y="10"/>
                  </a:lnTo>
                  <a:lnTo>
                    <a:pt x="104" y="22"/>
                  </a:lnTo>
                  <a:lnTo>
                    <a:pt x="70" y="36"/>
                  </a:lnTo>
                  <a:lnTo>
                    <a:pt x="40" y="54"/>
                  </a:lnTo>
                  <a:lnTo>
                    <a:pt x="18" y="76"/>
                  </a:lnTo>
                  <a:lnTo>
                    <a:pt x="4" y="100"/>
                  </a:lnTo>
                  <a:lnTo>
                    <a:pt x="2" y="110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108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5" name="Freeform 68"/>
            <p:cNvSpPr>
              <a:spLocks/>
            </p:cNvSpPr>
            <p:nvPr/>
          </p:nvSpPr>
          <p:spPr bwMode="auto">
            <a:xfrm>
              <a:off x="2810" y="1626"/>
              <a:ext cx="227" cy="117"/>
            </a:xfrm>
            <a:custGeom>
              <a:avLst/>
              <a:gdLst/>
              <a:ahLst/>
              <a:cxnLst>
                <a:cxn ang="0">
                  <a:pos x="0" y="116"/>
                </a:cxn>
                <a:cxn ang="0">
                  <a:pos x="4" y="140"/>
                </a:cxn>
                <a:cxn ang="0">
                  <a:pos x="18" y="162"/>
                </a:cxn>
                <a:cxn ang="0">
                  <a:pos x="38" y="182"/>
                </a:cxn>
                <a:cxn ang="0">
                  <a:pos x="66" y="200"/>
                </a:cxn>
                <a:cxn ang="0">
                  <a:pos x="98" y="214"/>
                </a:cxn>
                <a:cxn ang="0">
                  <a:pos x="138" y="224"/>
                </a:cxn>
                <a:cxn ang="0">
                  <a:pos x="182" y="232"/>
                </a:cxn>
                <a:cxn ang="0">
                  <a:pos x="228" y="234"/>
                </a:cxn>
                <a:cxn ang="0">
                  <a:pos x="272" y="232"/>
                </a:cxn>
                <a:cxn ang="0">
                  <a:pos x="313" y="224"/>
                </a:cxn>
                <a:cxn ang="0">
                  <a:pos x="353" y="214"/>
                </a:cxn>
                <a:cxn ang="0">
                  <a:pos x="387" y="200"/>
                </a:cxn>
                <a:cxn ang="0">
                  <a:pos x="415" y="182"/>
                </a:cxn>
                <a:cxn ang="0">
                  <a:pos x="435" y="162"/>
                </a:cxn>
                <a:cxn ang="0">
                  <a:pos x="449" y="140"/>
                </a:cxn>
                <a:cxn ang="0">
                  <a:pos x="451" y="128"/>
                </a:cxn>
                <a:cxn ang="0">
                  <a:pos x="453" y="116"/>
                </a:cxn>
                <a:cxn ang="0">
                  <a:pos x="449" y="94"/>
                </a:cxn>
                <a:cxn ang="0">
                  <a:pos x="435" y="70"/>
                </a:cxn>
                <a:cxn ang="0">
                  <a:pos x="415" y="52"/>
                </a:cxn>
                <a:cxn ang="0">
                  <a:pos x="387" y="34"/>
                </a:cxn>
                <a:cxn ang="0">
                  <a:pos x="353" y="18"/>
                </a:cxn>
                <a:cxn ang="0">
                  <a:pos x="313" y="10"/>
                </a:cxn>
                <a:cxn ang="0">
                  <a:pos x="272" y="0"/>
                </a:cxn>
                <a:cxn ang="0">
                  <a:pos x="228" y="0"/>
                </a:cxn>
                <a:cxn ang="0">
                  <a:pos x="182" y="0"/>
                </a:cxn>
                <a:cxn ang="0">
                  <a:pos x="138" y="10"/>
                </a:cxn>
                <a:cxn ang="0">
                  <a:pos x="98" y="18"/>
                </a:cxn>
                <a:cxn ang="0">
                  <a:pos x="66" y="34"/>
                </a:cxn>
                <a:cxn ang="0">
                  <a:pos x="38" y="52"/>
                </a:cxn>
                <a:cxn ang="0">
                  <a:pos x="18" y="70"/>
                </a:cxn>
                <a:cxn ang="0">
                  <a:pos x="4" y="94"/>
                </a:cxn>
                <a:cxn ang="0">
                  <a:pos x="0" y="116"/>
                </a:cxn>
              </a:cxnLst>
              <a:rect l="0" t="0" r="r" b="b"/>
              <a:pathLst>
                <a:path w="453" h="234">
                  <a:moveTo>
                    <a:pt x="0" y="116"/>
                  </a:moveTo>
                  <a:lnTo>
                    <a:pt x="4" y="140"/>
                  </a:lnTo>
                  <a:lnTo>
                    <a:pt x="18" y="162"/>
                  </a:lnTo>
                  <a:lnTo>
                    <a:pt x="38" y="182"/>
                  </a:lnTo>
                  <a:lnTo>
                    <a:pt x="66" y="200"/>
                  </a:lnTo>
                  <a:lnTo>
                    <a:pt x="98" y="214"/>
                  </a:lnTo>
                  <a:lnTo>
                    <a:pt x="138" y="224"/>
                  </a:lnTo>
                  <a:lnTo>
                    <a:pt x="182" y="232"/>
                  </a:lnTo>
                  <a:lnTo>
                    <a:pt x="228" y="234"/>
                  </a:lnTo>
                  <a:lnTo>
                    <a:pt x="272" y="232"/>
                  </a:lnTo>
                  <a:lnTo>
                    <a:pt x="313" y="224"/>
                  </a:lnTo>
                  <a:lnTo>
                    <a:pt x="353" y="214"/>
                  </a:lnTo>
                  <a:lnTo>
                    <a:pt x="387" y="200"/>
                  </a:lnTo>
                  <a:lnTo>
                    <a:pt x="415" y="182"/>
                  </a:lnTo>
                  <a:lnTo>
                    <a:pt x="435" y="162"/>
                  </a:lnTo>
                  <a:lnTo>
                    <a:pt x="449" y="140"/>
                  </a:lnTo>
                  <a:lnTo>
                    <a:pt x="451" y="128"/>
                  </a:lnTo>
                  <a:lnTo>
                    <a:pt x="453" y="116"/>
                  </a:lnTo>
                  <a:lnTo>
                    <a:pt x="449" y="94"/>
                  </a:lnTo>
                  <a:lnTo>
                    <a:pt x="435" y="70"/>
                  </a:lnTo>
                  <a:lnTo>
                    <a:pt x="415" y="52"/>
                  </a:lnTo>
                  <a:lnTo>
                    <a:pt x="387" y="34"/>
                  </a:lnTo>
                  <a:lnTo>
                    <a:pt x="353" y="18"/>
                  </a:lnTo>
                  <a:lnTo>
                    <a:pt x="313" y="10"/>
                  </a:lnTo>
                  <a:lnTo>
                    <a:pt x="272" y="0"/>
                  </a:lnTo>
                  <a:lnTo>
                    <a:pt x="228" y="0"/>
                  </a:lnTo>
                  <a:lnTo>
                    <a:pt x="182" y="0"/>
                  </a:lnTo>
                  <a:lnTo>
                    <a:pt x="138" y="10"/>
                  </a:lnTo>
                  <a:lnTo>
                    <a:pt x="98" y="18"/>
                  </a:lnTo>
                  <a:lnTo>
                    <a:pt x="66" y="34"/>
                  </a:lnTo>
                  <a:lnTo>
                    <a:pt x="38" y="52"/>
                  </a:lnTo>
                  <a:lnTo>
                    <a:pt x="18" y="70"/>
                  </a:lnTo>
                  <a:lnTo>
                    <a:pt x="4" y="94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0884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6" name="Oval 69"/>
            <p:cNvSpPr>
              <a:spLocks noChangeArrowheads="1"/>
            </p:cNvSpPr>
            <p:nvPr/>
          </p:nvSpPr>
          <p:spPr bwMode="auto">
            <a:xfrm>
              <a:off x="2818" y="1632"/>
              <a:ext cx="220" cy="115"/>
            </a:xfrm>
            <a:prstGeom prst="ellipse">
              <a:avLst/>
            </a:prstGeom>
            <a:solidFill>
              <a:srgbClr val="0080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7" name="Freeform 70"/>
            <p:cNvSpPr>
              <a:spLocks/>
            </p:cNvSpPr>
            <p:nvPr/>
          </p:nvSpPr>
          <p:spPr bwMode="auto">
            <a:xfrm>
              <a:off x="2578" y="1568"/>
              <a:ext cx="64" cy="19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17"/>
                </a:cxn>
                <a:cxn ang="0">
                  <a:pos x="0" y="219"/>
                </a:cxn>
                <a:cxn ang="0">
                  <a:pos x="2" y="223"/>
                </a:cxn>
                <a:cxn ang="0">
                  <a:pos x="4" y="231"/>
                </a:cxn>
                <a:cxn ang="0">
                  <a:pos x="6" y="239"/>
                </a:cxn>
                <a:cxn ang="0">
                  <a:pos x="16" y="261"/>
                </a:cxn>
                <a:cxn ang="0">
                  <a:pos x="32" y="287"/>
                </a:cxn>
                <a:cxn ang="0">
                  <a:pos x="52" y="313"/>
                </a:cxn>
                <a:cxn ang="0">
                  <a:pos x="68" y="337"/>
                </a:cxn>
                <a:cxn ang="0">
                  <a:pos x="98" y="379"/>
                </a:cxn>
                <a:cxn ang="0">
                  <a:pos x="108" y="317"/>
                </a:cxn>
                <a:cxn ang="0">
                  <a:pos x="114" y="289"/>
                </a:cxn>
                <a:cxn ang="0">
                  <a:pos x="118" y="265"/>
                </a:cxn>
                <a:cxn ang="0">
                  <a:pos x="122" y="243"/>
                </a:cxn>
                <a:cxn ang="0">
                  <a:pos x="124" y="227"/>
                </a:cxn>
                <a:cxn ang="0">
                  <a:pos x="128" y="217"/>
                </a:cxn>
                <a:cxn ang="0">
                  <a:pos x="128" y="215"/>
                </a:cxn>
                <a:cxn ang="0">
                  <a:pos x="126" y="213"/>
                </a:cxn>
                <a:cxn ang="0">
                  <a:pos x="120" y="207"/>
                </a:cxn>
                <a:cxn ang="0">
                  <a:pos x="110" y="197"/>
                </a:cxn>
                <a:cxn ang="0">
                  <a:pos x="98" y="187"/>
                </a:cxn>
                <a:cxn ang="0">
                  <a:pos x="72" y="161"/>
                </a:cxn>
                <a:cxn ang="0">
                  <a:pos x="62" y="149"/>
                </a:cxn>
                <a:cxn ang="0">
                  <a:pos x="54" y="139"/>
                </a:cxn>
                <a:cxn ang="0">
                  <a:pos x="46" y="125"/>
                </a:cxn>
                <a:cxn ang="0">
                  <a:pos x="38" y="105"/>
                </a:cxn>
                <a:cxn ang="0">
                  <a:pos x="20" y="59"/>
                </a:cxn>
                <a:cxn ang="0">
                  <a:pos x="12" y="37"/>
                </a:cxn>
                <a:cxn ang="0">
                  <a:pos x="6" y="18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28" h="379">
                  <a:moveTo>
                    <a:pt x="0" y="0"/>
                  </a:moveTo>
                  <a:lnTo>
                    <a:pt x="0" y="217"/>
                  </a:lnTo>
                  <a:lnTo>
                    <a:pt x="0" y="219"/>
                  </a:lnTo>
                  <a:lnTo>
                    <a:pt x="2" y="223"/>
                  </a:lnTo>
                  <a:lnTo>
                    <a:pt x="4" y="231"/>
                  </a:lnTo>
                  <a:lnTo>
                    <a:pt x="6" y="239"/>
                  </a:lnTo>
                  <a:lnTo>
                    <a:pt x="16" y="261"/>
                  </a:lnTo>
                  <a:lnTo>
                    <a:pt x="32" y="287"/>
                  </a:lnTo>
                  <a:lnTo>
                    <a:pt x="52" y="313"/>
                  </a:lnTo>
                  <a:lnTo>
                    <a:pt x="68" y="337"/>
                  </a:lnTo>
                  <a:lnTo>
                    <a:pt x="98" y="379"/>
                  </a:lnTo>
                  <a:lnTo>
                    <a:pt x="108" y="317"/>
                  </a:lnTo>
                  <a:lnTo>
                    <a:pt x="114" y="289"/>
                  </a:lnTo>
                  <a:lnTo>
                    <a:pt x="118" y="265"/>
                  </a:lnTo>
                  <a:lnTo>
                    <a:pt x="122" y="243"/>
                  </a:lnTo>
                  <a:lnTo>
                    <a:pt x="124" y="227"/>
                  </a:lnTo>
                  <a:lnTo>
                    <a:pt x="128" y="217"/>
                  </a:lnTo>
                  <a:lnTo>
                    <a:pt x="128" y="215"/>
                  </a:lnTo>
                  <a:lnTo>
                    <a:pt x="126" y="213"/>
                  </a:lnTo>
                  <a:lnTo>
                    <a:pt x="120" y="207"/>
                  </a:lnTo>
                  <a:lnTo>
                    <a:pt x="110" y="197"/>
                  </a:lnTo>
                  <a:lnTo>
                    <a:pt x="98" y="187"/>
                  </a:lnTo>
                  <a:lnTo>
                    <a:pt x="72" y="161"/>
                  </a:lnTo>
                  <a:lnTo>
                    <a:pt x="62" y="149"/>
                  </a:lnTo>
                  <a:lnTo>
                    <a:pt x="54" y="139"/>
                  </a:lnTo>
                  <a:lnTo>
                    <a:pt x="46" y="125"/>
                  </a:lnTo>
                  <a:lnTo>
                    <a:pt x="38" y="105"/>
                  </a:lnTo>
                  <a:lnTo>
                    <a:pt x="20" y="59"/>
                  </a:lnTo>
                  <a:lnTo>
                    <a:pt x="12" y="37"/>
                  </a:lnTo>
                  <a:lnTo>
                    <a:pt x="6" y="18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8" name="Freeform 71"/>
            <p:cNvSpPr>
              <a:spLocks/>
            </p:cNvSpPr>
            <p:nvPr/>
          </p:nvSpPr>
          <p:spPr bwMode="auto">
            <a:xfrm>
              <a:off x="2629" y="1664"/>
              <a:ext cx="441" cy="168"/>
            </a:xfrm>
            <a:custGeom>
              <a:avLst/>
              <a:gdLst/>
              <a:ahLst/>
              <a:cxnLst>
                <a:cxn ang="0">
                  <a:pos x="826" y="44"/>
                </a:cxn>
                <a:cxn ang="0">
                  <a:pos x="786" y="68"/>
                </a:cxn>
                <a:cxn ang="0">
                  <a:pos x="740" y="88"/>
                </a:cxn>
                <a:cxn ang="0">
                  <a:pos x="688" y="106"/>
                </a:cxn>
                <a:cxn ang="0">
                  <a:pos x="629" y="122"/>
                </a:cxn>
                <a:cxn ang="0">
                  <a:pos x="583" y="130"/>
                </a:cxn>
                <a:cxn ang="0">
                  <a:pos x="539" y="136"/>
                </a:cxn>
                <a:cxn ang="0">
                  <a:pos x="495" y="140"/>
                </a:cxn>
                <a:cxn ang="0">
                  <a:pos x="449" y="142"/>
                </a:cxn>
                <a:cxn ang="0">
                  <a:pos x="405" y="140"/>
                </a:cxn>
                <a:cxn ang="0">
                  <a:pos x="363" y="138"/>
                </a:cxn>
                <a:cxn ang="0">
                  <a:pos x="319" y="134"/>
                </a:cxn>
                <a:cxn ang="0">
                  <a:pos x="279" y="126"/>
                </a:cxn>
                <a:cxn ang="0">
                  <a:pos x="237" y="116"/>
                </a:cxn>
                <a:cxn ang="0">
                  <a:pos x="199" y="106"/>
                </a:cxn>
                <a:cxn ang="0">
                  <a:pos x="161" y="94"/>
                </a:cxn>
                <a:cxn ang="0">
                  <a:pos x="125" y="78"/>
                </a:cxn>
                <a:cxn ang="0">
                  <a:pos x="91" y="60"/>
                </a:cxn>
                <a:cxn ang="0">
                  <a:pos x="59" y="44"/>
                </a:cxn>
                <a:cxn ang="0">
                  <a:pos x="30" y="22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30" y="216"/>
                </a:cxn>
                <a:cxn ang="0">
                  <a:pos x="59" y="236"/>
                </a:cxn>
                <a:cxn ang="0">
                  <a:pos x="91" y="256"/>
                </a:cxn>
                <a:cxn ang="0">
                  <a:pos x="125" y="272"/>
                </a:cxn>
                <a:cxn ang="0">
                  <a:pos x="161" y="286"/>
                </a:cxn>
                <a:cxn ang="0">
                  <a:pos x="199" y="300"/>
                </a:cxn>
                <a:cxn ang="0">
                  <a:pos x="237" y="312"/>
                </a:cxn>
                <a:cxn ang="0">
                  <a:pos x="279" y="320"/>
                </a:cxn>
                <a:cxn ang="0">
                  <a:pos x="319" y="328"/>
                </a:cxn>
                <a:cxn ang="0">
                  <a:pos x="363" y="332"/>
                </a:cxn>
                <a:cxn ang="0">
                  <a:pos x="405" y="336"/>
                </a:cxn>
                <a:cxn ang="0">
                  <a:pos x="449" y="336"/>
                </a:cxn>
                <a:cxn ang="0">
                  <a:pos x="495" y="334"/>
                </a:cxn>
                <a:cxn ang="0">
                  <a:pos x="539" y="330"/>
                </a:cxn>
                <a:cxn ang="0">
                  <a:pos x="583" y="324"/>
                </a:cxn>
                <a:cxn ang="0">
                  <a:pos x="629" y="316"/>
                </a:cxn>
                <a:cxn ang="0">
                  <a:pos x="671" y="306"/>
                </a:cxn>
                <a:cxn ang="0">
                  <a:pos x="710" y="294"/>
                </a:cxn>
                <a:cxn ang="0">
                  <a:pos x="744" y="280"/>
                </a:cxn>
                <a:cxn ang="0">
                  <a:pos x="780" y="266"/>
                </a:cxn>
                <a:cxn ang="0">
                  <a:pos x="808" y="250"/>
                </a:cxn>
                <a:cxn ang="0">
                  <a:pos x="836" y="234"/>
                </a:cxn>
                <a:cxn ang="0">
                  <a:pos x="860" y="214"/>
                </a:cxn>
                <a:cxn ang="0">
                  <a:pos x="882" y="194"/>
                </a:cxn>
                <a:cxn ang="0">
                  <a:pos x="826" y="44"/>
                </a:cxn>
              </a:cxnLst>
              <a:rect l="0" t="0" r="r" b="b"/>
              <a:pathLst>
                <a:path w="882" h="336">
                  <a:moveTo>
                    <a:pt x="826" y="44"/>
                  </a:moveTo>
                  <a:lnTo>
                    <a:pt x="786" y="68"/>
                  </a:lnTo>
                  <a:lnTo>
                    <a:pt x="740" y="88"/>
                  </a:lnTo>
                  <a:lnTo>
                    <a:pt x="688" y="106"/>
                  </a:lnTo>
                  <a:lnTo>
                    <a:pt x="629" y="122"/>
                  </a:lnTo>
                  <a:lnTo>
                    <a:pt x="583" y="130"/>
                  </a:lnTo>
                  <a:lnTo>
                    <a:pt x="539" y="136"/>
                  </a:lnTo>
                  <a:lnTo>
                    <a:pt x="495" y="140"/>
                  </a:lnTo>
                  <a:lnTo>
                    <a:pt x="449" y="142"/>
                  </a:lnTo>
                  <a:lnTo>
                    <a:pt x="405" y="140"/>
                  </a:lnTo>
                  <a:lnTo>
                    <a:pt x="363" y="138"/>
                  </a:lnTo>
                  <a:lnTo>
                    <a:pt x="319" y="134"/>
                  </a:lnTo>
                  <a:lnTo>
                    <a:pt x="279" y="126"/>
                  </a:lnTo>
                  <a:lnTo>
                    <a:pt x="237" y="116"/>
                  </a:lnTo>
                  <a:lnTo>
                    <a:pt x="199" y="106"/>
                  </a:lnTo>
                  <a:lnTo>
                    <a:pt x="161" y="94"/>
                  </a:lnTo>
                  <a:lnTo>
                    <a:pt x="125" y="78"/>
                  </a:lnTo>
                  <a:lnTo>
                    <a:pt x="91" y="60"/>
                  </a:lnTo>
                  <a:lnTo>
                    <a:pt x="59" y="44"/>
                  </a:lnTo>
                  <a:lnTo>
                    <a:pt x="30" y="22"/>
                  </a:lnTo>
                  <a:lnTo>
                    <a:pt x="0" y="0"/>
                  </a:lnTo>
                  <a:lnTo>
                    <a:pt x="0" y="194"/>
                  </a:lnTo>
                  <a:lnTo>
                    <a:pt x="30" y="216"/>
                  </a:lnTo>
                  <a:lnTo>
                    <a:pt x="59" y="236"/>
                  </a:lnTo>
                  <a:lnTo>
                    <a:pt x="91" y="256"/>
                  </a:lnTo>
                  <a:lnTo>
                    <a:pt x="125" y="272"/>
                  </a:lnTo>
                  <a:lnTo>
                    <a:pt x="161" y="286"/>
                  </a:lnTo>
                  <a:lnTo>
                    <a:pt x="199" y="300"/>
                  </a:lnTo>
                  <a:lnTo>
                    <a:pt x="237" y="312"/>
                  </a:lnTo>
                  <a:lnTo>
                    <a:pt x="279" y="320"/>
                  </a:lnTo>
                  <a:lnTo>
                    <a:pt x="319" y="328"/>
                  </a:lnTo>
                  <a:lnTo>
                    <a:pt x="363" y="332"/>
                  </a:lnTo>
                  <a:lnTo>
                    <a:pt x="405" y="336"/>
                  </a:lnTo>
                  <a:lnTo>
                    <a:pt x="449" y="336"/>
                  </a:lnTo>
                  <a:lnTo>
                    <a:pt x="495" y="334"/>
                  </a:lnTo>
                  <a:lnTo>
                    <a:pt x="539" y="330"/>
                  </a:lnTo>
                  <a:lnTo>
                    <a:pt x="583" y="324"/>
                  </a:lnTo>
                  <a:lnTo>
                    <a:pt x="629" y="316"/>
                  </a:lnTo>
                  <a:lnTo>
                    <a:pt x="671" y="306"/>
                  </a:lnTo>
                  <a:lnTo>
                    <a:pt x="710" y="294"/>
                  </a:lnTo>
                  <a:lnTo>
                    <a:pt x="744" y="280"/>
                  </a:lnTo>
                  <a:lnTo>
                    <a:pt x="780" y="266"/>
                  </a:lnTo>
                  <a:lnTo>
                    <a:pt x="808" y="250"/>
                  </a:lnTo>
                  <a:lnTo>
                    <a:pt x="836" y="234"/>
                  </a:lnTo>
                  <a:lnTo>
                    <a:pt x="860" y="214"/>
                  </a:lnTo>
                  <a:lnTo>
                    <a:pt x="882" y="194"/>
                  </a:lnTo>
                  <a:lnTo>
                    <a:pt x="826" y="44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49" name="Freeform 72"/>
            <p:cNvSpPr>
              <a:spLocks/>
            </p:cNvSpPr>
            <p:nvPr/>
          </p:nvSpPr>
          <p:spPr bwMode="auto">
            <a:xfrm>
              <a:off x="3070" y="1559"/>
              <a:ext cx="49" cy="202"/>
            </a:xfrm>
            <a:custGeom>
              <a:avLst/>
              <a:gdLst/>
              <a:ahLst/>
              <a:cxnLst>
                <a:cxn ang="0">
                  <a:pos x="4" y="205"/>
                </a:cxn>
                <a:cxn ang="0">
                  <a:pos x="24" y="185"/>
                </a:cxn>
                <a:cxn ang="0">
                  <a:pos x="40" y="161"/>
                </a:cxn>
                <a:cxn ang="0">
                  <a:pos x="54" y="135"/>
                </a:cxn>
                <a:cxn ang="0">
                  <a:pos x="68" y="111"/>
                </a:cxn>
                <a:cxn ang="0">
                  <a:pos x="88" y="55"/>
                </a:cxn>
                <a:cxn ang="0">
                  <a:pos x="98" y="0"/>
                </a:cxn>
                <a:cxn ang="0">
                  <a:pos x="98" y="193"/>
                </a:cxn>
                <a:cxn ang="0">
                  <a:pos x="86" y="251"/>
                </a:cxn>
                <a:cxn ang="0">
                  <a:pos x="66" y="305"/>
                </a:cxn>
                <a:cxn ang="0">
                  <a:pos x="52" y="331"/>
                </a:cxn>
                <a:cxn ang="0">
                  <a:pos x="38" y="357"/>
                </a:cxn>
                <a:cxn ang="0">
                  <a:pos x="20" y="381"/>
                </a:cxn>
                <a:cxn ang="0">
                  <a:pos x="0" y="403"/>
                </a:cxn>
                <a:cxn ang="0">
                  <a:pos x="4" y="205"/>
                </a:cxn>
              </a:cxnLst>
              <a:rect l="0" t="0" r="r" b="b"/>
              <a:pathLst>
                <a:path w="98" h="403">
                  <a:moveTo>
                    <a:pt x="4" y="205"/>
                  </a:moveTo>
                  <a:lnTo>
                    <a:pt x="24" y="185"/>
                  </a:lnTo>
                  <a:lnTo>
                    <a:pt x="40" y="161"/>
                  </a:lnTo>
                  <a:lnTo>
                    <a:pt x="54" y="135"/>
                  </a:lnTo>
                  <a:lnTo>
                    <a:pt x="68" y="111"/>
                  </a:lnTo>
                  <a:lnTo>
                    <a:pt x="88" y="55"/>
                  </a:lnTo>
                  <a:lnTo>
                    <a:pt x="98" y="0"/>
                  </a:lnTo>
                  <a:lnTo>
                    <a:pt x="98" y="193"/>
                  </a:lnTo>
                  <a:lnTo>
                    <a:pt x="86" y="251"/>
                  </a:lnTo>
                  <a:lnTo>
                    <a:pt x="66" y="305"/>
                  </a:lnTo>
                  <a:lnTo>
                    <a:pt x="52" y="331"/>
                  </a:lnTo>
                  <a:lnTo>
                    <a:pt x="38" y="357"/>
                  </a:lnTo>
                  <a:lnTo>
                    <a:pt x="20" y="381"/>
                  </a:lnTo>
                  <a:lnTo>
                    <a:pt x="0" y="403"/>
                  </a:lnTo>
                  <a:lnTo>
                    <a:pt x="4" y="205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0" name="Freeform 73"/>
            <p:cNvSpPr>
              <a:spLocks/>
            </p:cNvSpPr>
            <p:nvPr/>
          </p:nvSpPr>
          <p:spPr bwMode="auto">
            <a:xfrm>
              <a:off x="2827" y="1733"/>
              <a:ext cx="174" cy="9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8"/>
                </a:cxn>
                <a:cxn ang="0">
                  <a:pos x="2" y="142"/>
                </a:cxn>
                <a:cxn ang="0">
                  <a:pos x="6" y="154"/>
                </a:cxn>
                <a:cxn ang="0">
                  <a:pos x="12" y="162"/>
                </a:cxn>
                <a:cxn ang="0">
                  <a:pos x="30" y="176"/>
                </a:cxn>
                <a:cxn ang="0">
                  <a:pos x="54" y="184"/>
                </a:cxn>
                <a:cxn ang="0">
                  <a:pos x="82" y="188"/>
                </a:cxn>
                <a:cxn ang="0">
                  <a:pos x="116" y="188"/>
                </a:cxn>
                <a:cxn ang="0">
                  <a:pos x="184" y="182"/>
                </a:cxn>
                <a:cxn ang="0">
                  <a:pos x="218" y="174"/>
                </a:cxn>
                <a:cxn ang="0">
                  <a:pos x="252" y="166"/>
                </a:cxn>
                <a:cxn ang="0">
                  <a:pos x="279" y="154"/>
                </a:cxn>
                <a:cxn ang="0">
                  <a:pos x="303" y="140"/>
                </a:cxn>
                <a:cxn ang="0">
                  <a:pos x="321" y="124"/>
                </a:cxn>
                <a:cxn ang="0">
                  <a:pos x="337" y="106"/>
                </a:cxn>
                <a:cxn ang="0">
                  <a:pos x="345" y="88"/>
                </a:cxn>
                <a:cxn ang="0">
                  <a:pos x="347" y="70"/>
                </a:cxn>
                <a:cxn ang="0">
                  <a:pos x="339" y="52"/>
                </a:cxn>
                <a:cxn ang="0">
                  <a:pos x="329" y="38"/>
                </a:cxn>
                <a:cxn ang="0">
                  <a:pos x="311" y="26"/>
                </a:cxn>
                <a:cxn ang="0">
                  <a:pos x="287" y="14"/>
                </a:cxn>
                <a:cxn ang="0">
                  <a:pos x="262" y="6"/>
                </a:cxn>
                <a:cxn ang="0">
                  <a:pos x="230" y="0"/>
                </a:cxn>
                <a:cxn ang="0">
                  <a:pos x="198" y="0"/>
                </a:cxn>
                <a:cxn ang="0">
                  <a:pos x="162" y="2"/>
                </a:cxn>
                <a:cxn ang="0">
                  <a:pos x="128" y="8"/>
                </a:cxn>
                <a:cxn ang="0">
                  <a:pos x="98" y="12"/>
                </a:cxn>
                <a:cxn ang="0">
                  <a:pos x="70" y="20"/>
                </a:cxn>
                <a:cxn ang="0">
                  <a:pos x="46" y="30"/>
                </a:cxn>
                <a:cxn ang="0">
                  <a:pos x="28" y="44"/>
                </a:cxn>
                <a:cxn ang="0">
                  <a:pos x="14" y="62"/>
                </a:cxn>
                <a:cxn ang="0">
                  <a:pos x="4" y="84"/>
                </a:cxn>
                <a:cxn ang="0">
                  <a:pos x="0" y="114"/>
                </a:cxn>
              </a:cxnLst>
              <a:rect l="0" t="0" r="r" b="b"/>
              <a:pathLst>
                <a:path w="347" h="188">
                  <a:moveTo>
                    <a:pt x="0" y="114"/>
                  </a:moveTo>
                  <a:lnTo>
                    <a:pt x="0" y="128"/>
                  </a:lnTo>
                  <a:lnTo>
                    <a:pt x="2" y="142"/>
                  </a:lnTo>
                  <a:lnTo>
                    <a:pt x="6" y="154"/>
                  </a:lnTo>
                  <a:lnTo>
                    <a:pt x="12" y="162"/>
                  </a:lnTo>
                  <a:lnTo>
                    <a:pt x="30" y="176"/>
                  </a:lnTo>
                  <a:lnTo>
                    <a:pt x="54" y="184"/>
                  </a:lnTo>
                  <a:lnTo>
                    <a:pt x="82" y="188"/>
                  </a:lnTo>
                  <a:lnTo>
                    <a:pt x="116" y="188"/>
                  </a:lnTo>
                  <a:lnTo>
                    <a:pt x="184" y="182"/>
                  </a:lnTo>
                  <a:lnTo>
                    <a:pt x="218" y="174"/>
                  </a:lnTo>
                  <a:lnTo>
                    <a:pt x="252" y="166"/>
                  </a:lnTo>
                  <a:lnTo>
                    <a:pt x="279" y="154"/>
                  </a:lnTo>
                  <a:lnTo>
                    <a:pt x="303" y="140"/>
                  </a:lnTo>
                  <a:lnTo>
                    <a:pt x="321" y="124"/>
                  </a:lnTo>
                  <a:lnTo>
                    <a:pt x="337" y="106"/>
                  </a:lnTo>
                  <a:lnTo>
                    <a:pt x="345" y="88"/>
                  </a:lnTo>
                  <a:lnTo>
                    <a:pt x="347" y="70"/>
                  </a:lnTo>
                  <a:lnTo>
                    <a:pt x="339" y="52"/>
                  </a:lnTo>
                  <a:lnTo>
                    <a:pt x="329" y="38"/>
                  </a:lnTo>
                  <a:lnTo>
                    <a:pt x="311" y="26"/>
                  </a:lnTo>
                  <a:lnTo>
                    <a:pt x="287" y="14"/>
                  </a:lnTo>
                  <a:lnTo>
                    <a:pt x="262" y="6"/>
                  </a:lnTo>
                  <a:lnTo>
                    <a:pt x="230" y="0"/>
                  </a:lnTo>
                  <a:lnTo>
                    <a:pt x="198" y="0"/>
                  </a:lnTo>
                  <a:lnTo>
                    <a:pt x="162" y="2"/>
                  </a:lnTo>
                  <a:lnTo>
                    <a:pt x="128" y="8"/>
                  </a:lnTo>
                  <a:lnTo>
                    <a:pt x="98" y="12"/>
                  </a:lnTo>
                  <a:lnTo>
                    <a:pt x="70" y="20"/>
                  </a:lnTo>
                  <a:lnTo>
                    <a:pt x="46" y="30"/>
                  </a:lnTo>
                  <a:lnTo>
                    <a:pt x="28" y="44"/>
                  </a:lnTo>
                  <a:lnTo>
                    <a:pt x="14" y="62"/>
                  </a:lnTo>
                  <a:lnTo>
                    <a:pt x="4" y="8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1" name="Freeform 74"/>
            <p:cNvSpPr>
              <a:spLocks/>
            </p:cNvSpPr>
            <p:nvPr/>
          </p:nvSpPr>
          <p:spPr bwMode="auto">
            <a:xfrm>
              <a:off x="2829" y="1737"/>
              <a:ext cx="166" cy="90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0" y="122"/>
                </a:cxn>
                <a:cxn ang="0">
                  <a:pos x="2" y="134"/>
                </a:cxn>
                <a:cxn ang="0">
                  <a:pos x="6" y="146"/>
                </a:cxn>
                <a:cxn ang="0">
                  <a:pos x="12" y="154"/>
                </a:cxn>
                <a:cxn ang="0">
                  <a:pos x="30" y="168"/>
                </a:cxn>
                <a:cxn ang="0">
                  <a:pos x="52" y="176"/>
                </a:cxn>
                <a:cxn ang="0">
                  <a:pos x="78" y="180"/>
                </a:cxn>
                <a:cxn ang="0">
                  <a:pos x="108" y="180"/>
                </a:cxn>
                <a:cxn ang="0">
                  <a:pos x="176" y="174"/>
                </a:cxn>
                <a:cxn ang="0">
                  <a:pos x="210" y="168"/>
                </a:cxn>
                <a:cxn ang="0">
                  <a:pos x="240" y="158"/>
                </a:cxn>
                <a:cxn ang="0">
                  <a:pos x="268" y="148"/>
                </a:cxn>
                <a:cxn ang="0">
                  <a:pos x="289" y="134"/>
                </a:cxn>
                <a:cxn ang="0">
                  <a:pos x="309" y="120"/>
                </a:cxn>
                <a:cxn ang="0">
                  <a:pos x="323" y="104"/>
                </a:cxn>
                <a:cxn ang="0">
                  <a:pos x="331" y="84"/>
                </a:cxn>
                <a:cxn ang="0">
                  <a:pos x="331" y="66"/>
                </a:cxn>
                <a:cxn ang="0">
                  <a:pos x="325" y="50"/>
                </a:cxn>
                <a:cxn ang="0">
                  <a:pos x="315" y="36"/>
                </a:cxn>
                <a:cxn ang="0">
                  <a:pos x="297" y="22"/>
                </a:cxn>
                <a:cxn ang="0">
                  <a:pos x="275" y="14"/>
                </a:cxn>
                <a:cxn ang="0">
                  <a:pos x="250" y="4"/>
                </a:cxn>
                <a:cxn ang="0">
                  <a:pos x="220" y="0"/>
                </a:cxn>
                <a:cxn ang="0">
                  <a:pos x="190" y="0"/>
                </a:cxn>
                <a:cxn ang="0">
                  <a:pos x="156" y="2"/>
                </a:cxn>
                <a:cxn ang="0">
                  <a:pos x="124" y="4"/>
                </a:cxn>
                <a:cxn ang="0">
                  <a:pos x="92" y="10"/>
                </a:cxn>
                <a:cxn ang="0">
                  <a:pos x="66" y="16"/>
                </a:cxn>
                <a:cxn ang="0">
                  <a:pos x="46" y="26"/>
                </a:cxn>
                <a:cxn ang="0">
                  <a:pos x="28" y="40"/>
                </a:cxn>
                <a:cxn ang="0">
                  <a:pos x="12" y="56"/>
                </a:cxn>
                <a:cxn ang="0">
                  <a:pos x="4" y="78"/>
                </a:cxn>
                <a:cxn ang="0">
                  <a:pos x="0" y="106"/>
                </a:cxn>
              </a:cxnLst>
              <a:rect l="0" t="0" r="r" b="b"/>
              <a:pathLst>
                <a:path w="331" h="180">
                  <a:moveTo>
                    <a:pt x="0" y="106"/>
                  </a:moveTo>
                  <a:lnTo>
                    <a:pt x="0" y="122"/>
                  </a:lnTo>
                  <a:lnTo>
                    <a:pt x="2" y="134"/>
                  </a:lnTo>
                  <a:lnTo>
                    <a:pt x="6" y="146"/>
                  </a:lnTo>
                  <a:lnTo>
                    <a:pt x="12" y="154"/>
                  </a:lnTo>
                  <a:lnTo>
                    <a:pt x="30" y="168"/>
                  </a:lnTo>
                  <a:lnTo>
                    <a:pt x="52" y="176"/>
                  </a:lnTo>
                  <a:lnTo>
                    <a:pt x="78" y="180"/>
                  </a:lnTo>
                  <a:lnTo>
                    <a:pt x="108" y="180"/>
                  </a:lnTo>
                  <a:lnTo>
                    <a:pt x="176" y="174"/>
                  </a:lnTo>
                  <a:lnTo>
                    <a:pt x="210" y="168"/>
                  </a:lnTo>
                  <a:lnTo>
                    <a:pt x="240" y="158"/>
                  </a:lnTo>
                  <a:lnTo>
                    <a:pt x="268" y="148"/>
                  </a:lnTo>
                  <a:lnTo>
                    <a:pt x="289" y="134"/>
                  </a:lnTo>
                  <a:lnTo>
                    <a:pt x="309" y="120"/>
                  </a:lnTo>
                  <a:lnTo>
                    <a:pt x="323" y="104"/>
                  </a:lnTo>
                  <a:lnTo>
                    <a:pt x="331" y="84"/>
                  </a:lnTo>
                  <a:lnTo>
                    <a:pt x="331" y="66"/>
                  </a:lnTo>
                  <a:lnTo>
                    <a:pt x="325" y="50"/>
                  </a:lnTo>
                  <a:lnTo>
                    <a:pt x="315" y="36"/>
                  </a:lnTo>
                  <a:lnTo>
                    <a:pt x="297" y="22"/>
                  </a:lnTo>
                  <a:lnTo>
                    <a:pt x="275" y="14"/>
                  </a:lnTo>
                  <a:lnTo>
                    <a:pt x="250" y="4"/>
                  </a:lnTo>
                  <a:lnTo>
                    <a:pt x="220" y="0"/>
                  </a:lnTo>
                  <a:lnTo>
                    <a:pt x="190" y="0"/>
                  </a:lnTo>
                  <a:lnTo>
                    <a:pt x="156" y="2"/>
                  </a:lnTo>
                  <a:lnTo>
                    <a:pt x="124" y="4"/>
                  </a:lnTo>
                  <a:lnTo>
                    <a:pt x="92" y="10"/>
                  </a:lnTo>
                  <a:lnTo>
                    <a:pt x="66" y="16"/>
                  </a:lnTo>
                  <a:lnTo>
                    <a:pt x="46" y="26"/>
                  </a:lnTo>
                  <a:lnTo>
                    <a:pt x="28" y="40"/>
                  </a:lnTo>
                  <a:lnTo>
                    <a:pt x="12" y="56"/>
                  </a:lnTo>
                  <a:lnTo>
                    <a:pt x="4" y="78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FF8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2" name="Freeform 75"/>
            <p:cNvSpPr>
              <a:spLocks/>
            </p:cNvSpPr>
            <p:nvPr/>
          </p:nvSpPr>
          <p:spPr bwMode="auto">
            <a:xfrm>
              <a:off x="2830" y="1741"/>
              <a:ext cx="160" cy="86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0" y="116"/>
                </a:cxn>
                <a:cxn ang="0">
                  <a:pos x="2" y="128"/>
                </a:cxn>
                <a:cxn ang="0">
                  <a:pos x="10" y="148"/>
                </a:cxn>
                <a:cxn ang="0">
                  <a:pos x="28" y="160"/>
                </a:cxn>
                <a:cxn ang="0">
                  <a:pos x="50" y="168"/>
                </a:cxn>
                <a:cxn ang="0">
                  <a:pos x="76" y="172"/>
                </a:cxn>
                <a:cxn ang="0">
                  <a:pos x="106" y="172"/>
                </a:cxn>
                <a:cxn ang="0">
                  <a:pos x="170" y="166"/>
                </a:cxn>
                <a:cxn ang="0">
                  <a:pos x="202" y="160"/>
                </a:cxn>
                <a:cxn ang="0">
                  <a:pos x="232" y="152"/>
                </a:cxn>
                <a:cxn ang="0">
                  <a:pos x="258" y="142"/>
                </a:cxn>
                <a:cxn ang="0">
                  <a:pos x="277" y="130"/>
                </a:cxn>
                <a:cxn ang="0">
                  <a:pos x="295" y="114"/>
                </a:cxn>
                <a:cxn ang="0">
                  <a:pos x="309" y="98"/>
                </a:cxn>
                <a:cxn ang="0">
                  <a:pos x="317" y="82"/>
                </a:cxn>
                <a:cxn ang="0">
                  <a:pos x="319" y="64"/>
                </a:cxn>
                <a:cxn ang="0">
                  <a:pos x="313" y="48"/>
                </a:cxn>
                <a:cxn ang="0">
                  <a:pos x="303" y="34"/>
                </a:cxn>
                <a:cxn ang="0">
                  <a:pos x="287" y="22"/>
                </a:cxn>
                <a:cxn ang="0">
                  <a:pos x="266" y="12"/>
                </a:cxn>
                <a:cxn ang="0">
                  <a:pos x="242" y="4"/>
                </a:cxn>
                <a:cxn ang="0">
                  <a:pos x="214" y="2"/>
                </a:cxn>
                <a:cxn ang="0">
                  <a:pos x="184" y="0"/>
                </a:cxn>
                <a:cxn ang="0">
                  <a:pos x="150" y="2"/>
                </a:cxn>
                <a:cxn ang="0">
                  <a:pos x="118" y="4"/>
                </a:cxn>
                <a:cxn ang="0">
                  <a:pos x="90" y="10"/>
                </a:cxn>
                <a:cxn ang="0">
                  <a:pos x="64" y="18"/>
                </a:cxn>
                <a:cxn ang="0">
                  <a:pos x="44" y="26"/>
                </a:cxn>
                <a:cxn ang="0">
                  <a:pos x="28" y="38"/>
                </a:cxn>
                <a:cxn ang="0">
                  <a:pos x="12" y="54"/>
                </a:cxn>
                <a:cxn ang="0">
                  <a:pos x="4" y="76"/>
                </a:cxn>
                <a:cxn ang="0">
                  <a:pos x="0" y="102"/>
                </a:cxn>
              </a:cxnLst>
              <a:rect l="0" t="0" r="r" b="b"/>
              <a:pathLst>
                <a:path w="319" h="172">
                  <a:moveTo>
                    <a:pt x="0" y="102"/>
                  </a:moveTo>
                  <a:lnTo>
                    <a:pt x="0" y="116"/>
                  </a:lnTo>
                  <a:lnTo>
                    <a:pt x="2" y="128"/>
                  </a:lnTo>
                  <a:lnTo>
                    <a:pt x="10" y="148"/>
                  </a:lnTo>
                  <a:lnTo>
                    <a:pt x="28" y="160"/>
                  </a:lnTo>
                  <a:lnTo>
                    <a:pt x="50" y="168"/>
                  </a:lnTo>
                  <a:lnTo>
                    <a:pt x="76" y="172"/>
                  </a:lnTo>
                  <a:lnTo>
                    <a:pt x="106" y="172"/>
                  </a:lnTo>
                  <a:lnTo>
                    <a:pt x="170" y="166"/>
                  </a:lnTo>
                  <a:lnTo>
                    <a:pt x="202" y="160"/>
                  </a:lnTo>
                  <a:lnTo>
                    <a:pt x="232" y="152"/>
                  </a:lnTo>
                  <a:lnTo>
                    <a:pt x="258" y="142"/>
                  </a:lnTo>
                  <a:lnTo>
                    <a:pt x="277" y="130"/>
                  </a:lnTo>
                  <a:lnTo>
                    <a:pt x="295" y="114"/>
                  </a:lnTo>
                  <a:lnTo>
                    <a:pt x="309" y="98"/>
                  </a:lnTo>
                  <a:lnTo>
                    <a:pt x="317" y="82"/>
                  </a:lnTo>
                  <a:lnTo>
                    <a:pt x="319" y="64"/>
                  </a:lnTo>
                  <a:lnTo>
                    <a:pt x="313" y="48"/>
                  </a:lnTo>
                  <a:lnTo>
                    <a:pt x="303" y="34"/>
                  </a:lnTo>
                  <a:lnTo>
                    <a:pt x="287" y="22"/>
                  </a:lnTo>
                  <a:lnTo>
                    <a:pt x="266" y="12"/>
                  </a:lnTo>
                  <a:lnTo>
                    <a:pt x="242" y="4"/>
                  </a:lnTo>
                  <a:lnTo>
                    <a:pt x="214" y="2"/>
                  </a:lnTo>
                  <a:lnTo>
                    <a:pt x="184" y="0"/>
                  </a:lnTo>
                  <a:lnTo>
                    <a:pt x="150" y="2"/>
                  </a:lnTo>
                  <a:lnTo>
                    <a:pt x="118" y="4"/>
                  </a:lnTo>
                  <a:lnTo>
                    <a:pt x="90" y="10"/>
                  </a:lnTo>
                  <a:lnTo>
                    <a:pt x="64" y="18"/>
                  </a:lnTo>
                  <a:lnTo>
                    <a:pt x="44" y="26"/>
                  </a:lnTo>
                  <a:lnTo>
                    <a:pt x="28" y="38"/>
                  </a:lnTo>
                  <a:lnTo>
                    <a:pt x="12" y="54"/>
                  </a:lnTo>
                  <a:lnTo>
                    <a:pt x="4" y="76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FF9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3" name="Freeform 76"/>
            <p:cNvSpPr>
              <a:spLocks/>
            </p:cNvSpPr>
            <p:nvPr/>
          </p:nvSpPr>
          <p:spPr bwMode="auto">
            <a:xfrm>
              <a:off x="2831" y="1745"/>
              <a:ext cx="153" cy="82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0" y="110"/>
                </a:cxn>
                <a:cxn ang="0">
                  <a:pos x="2" y="122"/>
                </a:cxn>
                <a:cxn ang="0">
                  <a:pos x="12" y="140"/>
                </a:cxn>
                <a:cxn ang="0">
                  <a:pos x="26" y="152"/>
                </a:cxn>
                <a:cxn ang="0">
                  <a:pos x="46" y="160"/>
                </a:cxn>
                <a:cxn ang="0">
                  <a:pos x="72" y="164"/>
                </a:cxn>
                <a:cxn ang="0">
                  <a:pos x="98" y="164"/>
                </a:cxn>
                <a:cxn ang="0">
                  <a:pos x="160" y="158"/>
                </a:cxn>
                <a:cxn ang="0">
                  <a:pos x="192" y="154"/>
                </a:cxn>
                <a:cxn ang="0">
                  <a:pos x="220" y="146"/>
                </a:cxn>
                <a:cxn ang="0">
                  <a:pos x="246" y="136"/>
                </a:cxn>
                <a:cxn ang="0">
                  <a:pos x="266" y="124"/>
                </a:cxn>
                <a:cxn ang="0">
                  <a:pos x="283" y="110"/>
                </a:cxn>
                <a:cxn ang="0">
                  <a:pos x="297" y="96"/>
                </a:cxn>
                <a:cxn ang="0">
                  <a:pos x="303" y="80"/>
                </a:cxn>
                <a:cxn ang="0">
                  <a:pos x="305" y="64"/>
                </a:cxn>
                <a:cxn ang="0">
                  <a:pos x="299" y="46"/>
                </a:cxn>
                <a:cxn ang="0">
                  <a:pos x="289" y="34"/>
                </a:cxn>
                <a:cxn ang="0">
                  <a:pos x="273" y="22"/>
                </a:cxn>
                <a:cxn ang="0">
                  <a:pos x="254" y="12"/>
                </a:cxn>
                <a:cxn ang="0">
                  <a:pos x="230" y="4"/>
                </a:cxn>
                <a:cxn ang="0">
                  <a:pos x="204" y="2"/>
                </a:cxn>
                <a:cxn ang="0">
                  <a:pos x="174" y="0"/>
                </a:cxn>
                <a:cxn ang="0">
                  <a:pos x="142" y="2"/>
                </a:cxn>
                <a:cxn ang="0">
                  <a:pos x="112" y="4"/>
                </a:cxn>
                <a:cxn ang="0">
                  <a:pos x="86" y="10"/>
                </a:cxn>
                <a:cxn ang="0">
                  <a:pos x="62" y="16"/>
                </a:cxn>
                <a:cxn ang="0">
                  <a:pos x="42" y="24"/>
                </a:cxn>
                <a:cxn ang="0">
                  <a:pos x="24" y="36"/>
                </a:cxn>
                <a:cxn ang="0">
                  <a:pos x="12" y="52"/>
                </a:cxn>
                <a:cxn ang="0">
                  <a:pos x="4" y="72"/>
                </a:cxn>
                <a:cxn ang="0">
                  <a:pos x="0" y="98"/>
                </a:cxn>
              </a:cxnLst>
              <a:rect l="0" t="0" r="r" b="b"/>
              <a:pathLst>
                <a:path w="305" h="164">
                  <a:moveTo>
                    <a:pt x="0" y="98"/>
                  </a:moveTo>
                  <a:lnTo>
                    <a:pt x="0" y="110"/>
                  </a:lnTo>
                  <a:lnTo>
                    <a:pt x="2" y="122"/>
                  </a:lnTo>
                  <a:lnTo>
                    <a:pt x="12" y="140"/>
                  </a:lnTo>
                  <a:lnTo>
                    <a:pt x="26" y="152"/>
                  </a:lnTo>
                  <a:lnTo>
                    <a:pt x="46" y="160"/>
                  </a:lnTo>
                  <a:lnTo>
                    <a:pt x="72" y="164"/>
                  </a:lnTo>
                  <a:lnTo>
                    <a:pt x="98" y="164"/>
                  </a:lnTo>
                  <a:lnTo>
                    <a:pt x="160" y="158"/>
                  </a:lnTo>
                  <a:lnTo>
                    <a:pt x="192" y="154"/>
                  </a:lnTo>
                  <a:lnTo>
                    <a:pt x="220" y="146"/>
                  </a:lnTo>
                  <a:lnTo>
                    <a:pt x="246" y="136"/>
                  </a:lnTo>
                  <a:lnTo>
                    <a:pt x="266" y="124"/>
                  </a:lnTo>
                  <a:lnTo>
                    <a:pt x="283" y="110"/>
                  </a:lnTo>
                  <a:lnTo>
                    <a:pt x="297" y="96"/>
                  </a:lnTo>
                  <a:lnTo>
                    <a:pt x="303" y="80"/>
                  </a:lnTo>
                  <a:lnTo>
                    <a:pt x="305" y="64"/>
                  </a:lnTo>
                  <a:lnTo>
                    <a:pt x="299" y="46"/>
                  </a:lnTo>
                  <a:lnTo>
                    <a:pt x="289" y="34"/>
                  </a:lnTo>
                  <a:lnTo>
                    <a:pt x="273" y="22"/>
                  </a:lnTo>
                  <a:lnTo>
                    <a:pt x="254" y="12"/>
                  </a:lnTo>
                  <a:lnTo>
                    <a:pt x="230" y="4"/>
                  </a:lnTo>
                  <a:lnTo>
                    <a:pt x="204" y="2"/>
                  </a:lnTo>
                  <a:lnTo>
                    <a:pt x="174" y="0"/>
                  </a:lnTo>
                  <a:lnTo>
                    <a:pt x="142" y="2"/>
                  </a:lnTo>
                  <a:lnTo>
                    <a:pt x="112" y="4"/>
                  </a:lnTo>
                  <a:lnTo>
                    <a:pt x="86" y="10"/>
                  </a:lnTo>
                  <a:lnTo>
                    <a:pt x="62" y="16"/>
                  </a:lnTo>
                  <a:lnTo>
                    <a:pt x="42" y="24"/>
                  </a:lnTo>
                  <a:lnTo>
                    <a:pt x="24" y="36"/>
                  </a:lnTo>
                  <a:lnTo>
                    <a:pt x="12" y="52"/>
                  </a:lnTo>
                  <a:lnTo>
                    <a:pt x="4" y="72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FF9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4" name="Freeform 77"/>
            <p:cNvSpPr>
              <a:spLocks/>
            </p:cNvSpPr>
            <p:nvPr/>
          </p:nvSpPr>
          <p:spPr bwMode="auto">
            <a:xfrm>
              <a:off x="2833" y="1748"/>
              <a:ext cx="145" cy="79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0" y="106"/>
                </a:cxn>
                <a:cxn ang="0">
                  <a:pos x="0" y="116"/>
                </a:cxn>
                <a:cxn ang="0">
                  <a:pos x="10" y="134"/>
                </a:cxn>
                <a:cxn ang="0">
                  <a:pos x="26" y="146"/>
                </a:cxn>
                <a:cxn ang="0">
                  <a:pos x="44" y="152"/>
                </a:cxn>
                <a:cxn ang="0">
                  <a:pos x="68" y="158"/>
                </a:cxn>
                <a:cxn ang="0">
                  <a:pos x="94" y="158"/>
                </a:cxn>
                <a:cxn ang="0">
                  <a:pos x="152" y="152"/>
                </a:cxn>
                <a:cxn ang="0">
                  <a:pos x="182" y="148"/>
                </a:cxn>
                <a:cxn ang="0">
                  <a:pos x="208" y="142"/>
                </a:cxn>
                <a:cxn ang="0">
                  <a:pos x="232" y="132"/>
                </a:cxn>
                <a:cxn ang="0">
                  <a:pos x="252" y="120"/>
                </a:cxn>
                <a:cxn ang="0">
                  <a:pos x="269" y="106"/>
                </a:cxn>
                <a:cxn ang="0">
                  <a:pos x="281" y="92"/>
                </a:cxn>
                <a:cxn ang="0">
                  <a:pos x="287" y="76"/>
                </a:cxn>
                <a:cxn ang="0">
                  <a:pos x="289" y="62"/>
                </a:cxn>
                <a:cxn ang="0">
                  <a:pos x="283" y="48"/>
                </a:cxn>
                <a:cxn ang="0">
                  <a:pos x="275" y="34"/>
                </a:cxn>
                <a:cxn ang="0">
                  <a:pos x="260" y="22"/>
                </a:cxn>
                <a:cxn ang="0">
                  <a:pos x="242" y="14"/>
                </a:cxn>
                <a:cxn ang="0">
                  <a:pos x="218" y="6"/>
                </a:cxn>
                <a:cxn ang="0">
                  <a:pos x="194" y="2"/>
                </a:cxn>
                <a:cxn ang="0">
                  <a:pos x="164" y="0"/>
                </a:cxn>
                <a:cxn ang="0">
                  <a:pos x="136" y="2"/>
                </a:cxn>
                <a:cxn ang="0">
                  <a:pos x="106" y="6"/>
                </a:cxn>
                <a:cxn ang="0">
                  <a:pos x="80" y="10"/>
                </a:cxn>
                <a:cxn ang="0">
                  <a:pos x="58" y="16"/>
                </a:cxn>
                <a:cxn ang="0">
                  <a:pos x="38" y="24"/>
                </a:cxn>
                <a:cxn ang="0">
                  <a:pos x="22" y="36"/>
                </a:cxn>
                <a:cxn ang="0">
                  <a:pos x="10" y="50"/>
                </a:cxn>
                <a:cxn ang="0">
                  <a:pos x="2" y="68"/>
                </a:cxn>
                <a:cxn ang="0">
                  <a:pos x="0" y="92"/>
                </a:cxn>
              </a:cxnLst>
              <a:rect l="0" t="0" r="r" b="b"/>
              <a:pathLst>
                <a:path w="289" h="158">
                  <a:moveTo>
                    <a:pt x="0" y="92"/>
                  </a:moveTo>
                  <a:lnTo>
                    <a:pt x="0" y="106"/>
                  </a:lnTo>
                  <a:lnTo>
                    <a:pt x="0" y="116"/>
                  </a:lnTo>
                  <a:lnTo>
                    <a:pt x="10" y="134"/>
                  </a:lnTo>
                  <a:lnTo>
                    <a:pt x="26" y="146"/>
                  </a:lnTo>
                  <a:lnTo>
                    <a:pt x="44" y="152"/>
                  </a:lnTo>
                  <a:lnTo>
                    <a:pt x="68" y="158"/>
                  </a:lnTo>
                  <a:lnTo>
                    <a:pt x="94" y="158"/>
                  </a:lnTo>
                  <a:lnTo>
                    <a:pt x="152" y="152"/>
                  </a:lnTo>
                  <a:lnTo>
                    <a:pt x="182" y="148"/>
                  </a:lnTo>
                  <a:lnTo>
                    <a:pt x="208" y="142"/>
                  </a:lnTo>
                  <a:lnTo>
                    <a:pt x="232" y="132"/>
                  </a:lnTo>
                  <a:lnTo>
                    <a:pt x="252" y="120"/>
                  </a:lnTo>
                  <a:lnTo>
                    <a:pt x="269" y="106"/>
                  </a:lnTo>
                  <a:lnTo>
                    <a:pt x="281" y="92"/>
                  </a:lnTo>
                  <a:lnTo>
                    <a:pt x="287" y="76"/>
                  </a:lnTo>
                  <a:lnTo>
                    <a:pt x="289" y="62"/>
                  </a:lnTo>
                  <a:lnTo>
                    <a:pt x="283" y="48"/>
                  </a:lnTo>
                  <a:lnTo>
                    <a:pt x="275" y="34"/>
                  </a:lnTo>
                  <a:lnTo>
                    <a:pt x="260" y="22"/>
                  </a:lnTo>
                  <a:lnTo>
                    <a:pt x="242" y="14"/>
                  </a:lnTo>
                  <a:lnTo>
                    <a:pt x="218" y="6"/>
                  </a:lnTo>
                  <a:lnTo>
                    <a:pt x="194" y="2"/>
                  </a:lnTo>
                  <a:lnTo>
                    <a:pt x="164" y="0"/>
                  </a:lnTo>
                  <a:lnTo>
                    <a:pt x="136" y="2"/>
                  </a:lnTo>
                  <a:lnTo>
                    <a:pt x="106" y="6"/>
                  </a:lnTo>
                  <a:lnTo>
                    <a:pt x="80" y="10"/>
                  </a:lnTo>
                  <a:lnTo>
                    <a:pt x="58" y="16"/>
                  </a:lnTo>
                  <a:lnTo>
                    <a:pt x="38" y="24"/>
                  </a:lnTo>
                  <a:lnTo>
                    <a:pt x="22" y="36"/>
                  </a:lnTo>
                  <a:lnTo>
                    <a:pt x="10" y="50"/>
                  </a:lnTo>
                  <a:lnTo>
                    <a:pt x="2" y="68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FFA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5" name="Freeform 78"/>
            <p:cNvSpPr>
              <a:spLocks/>
            </p:cNvSpPr>
            <p:nvPr/>
          </p:nvSpPr>
          <p:spPr bwMode="auto">
            <a:xfrm>
              <a:off x="2834" y="1752"/>
              <a:ext cx="138" cy="74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2" y="108"/>
                </a:cxn>
                <a:cxn ang="0">
                  <a:pos x="12" y="124"/>
                </a:cxn>
                <a:cxn ang="0">
                  <a:pos x="24" y="136"/>
                </a:cxn>
                <a:cxn ang="0">
                  <a:pos x="44" y="144"/>
                </a:cxn>
                <a:cxn ang="0">
                  <a:pos x="64" y="148"/>
                </a:cxn>
                <a:cxn ang="0">
                  <a:pos x="90" y="148"/>
                </a:cxn>
                <a:cxn ang="0">
                  <a:pos x="144" y="144"/>
                </a:cxn>
                <a:cxn ang="0">
                  <a:pos x="172" y="140"/>
                </a:cxn>
                <a:cxn ang="0">
                  <a:pos x="198" y="134"/>
                </a:cxn>
                <a:cxn ang="0">
                  <a:pos x="222" y="124"/>
                </a:cxn>
                <a:cxn ang="0">
                  <a:pos x="240" y="114"/>
                </a:cxn>
                <a:cxn ang="0">
                  <a:pos x="256" y="102"/>
                </a:cxn>
                <a:cxn ang="0">
                  <a:pos x="267" y="88"/>
                </a:cxn>
                <a:cxn ang="0">
                  <a:pos x="273" y="72"/>
                </a:cxn>
                <a:cxn ang="0">
                  <a:pos x="275" y="58"/>
                </a:cxn>
                <a:cxn ang="0">
                  <a:pos x="271" y="44"/>
                </a:cxn>
                <a:cxn ang="0">
                  <a:pos x="261" y="32"/>
                </a:cxn>
                <a:cxn ang="0">
                  <a:pos x="248" y="20"/>
                </a:cxn>
                <a:cxn ang="0">
                  <a:pos x="230" y="12"/>
                </a:cxn>
                <a:cxn ang="0">
                  <a:pos x="208" y="6"/>
                </a:cxn>
                <a:cxn ang="0">
                  <a:pos x="184" y="0"/>
                </a:cxn>
                <a:cxn ang="0">
                  <a:pos x="158" y="0"/>
                </a:cxn>
                <a:cxn ang="0">
                  <a:pos x="132" y="0"/>
                </a:cxn>
                <a:cxn ang="0">
                  <a:pos x="104" y="4"/>
                </a:cxn>
                <a:cxn ang="0">
                  <a:pos x="80" y="8"/>
                </a:cxn>
                <a:cxn ang="0">
                  <a:pos x="58" y="14"/>
                </a:cxn>
                <a:cxn ang="0">
                  <a:pos x="38" y="22"/>
                </a:cxn>
                <a:cxn ang="0">
                  <a:pos x="24" y="32"/>
                </a:cxn>
                <a:cxn ang="0">
                  <a:pos x="12" y="46"/>
                </a:cxn>
                <a:cxn ang="0">
                  <a:pos x="2" y="64"/>
                </a:cxn>
                <a:cxn ang="0">
                  <a:pos x="0" y="88"/>
                </a:cxn>
              </a:cxnLst>
              <a:rect l="0" t="0" r="r" b="b"/>
              <a:pathLst>
                <a:path w="275" h="148">
                  <a:moveTo>
                    <a:pt x="0" y="88"/>
                  </a:moveTo>
                  <a:lnTo>
                    <a:pt x="2" y="108"/>
                  </a:lnTo>
                  <a:lnTo>
                    <a:pt x="12" y="124"/>
                  </a:lnTo>
                  <a:lnTo>
                    <a:pt x="24" y="136"/>
                  </a:lnTo>
                  <a:lnTo>
                    <a:pt x="44" y="144"/>
                  </a:lnTo>
                  <a:lnTo>
                    <a:pt x="64" y="148"/>
                  </a:lnTo>
                  <a:lnTo>
                    <a:pt x="90" y="148"/>
                  </a:lnTo>
                  <a:lnTo>
                    <a:pt x="144" y="144"/>
                  </a:lnTo>
                  <a:lnTo>
                    <a:pt x="172" y="140"/>
                  </a:lnTo>
                  <a:lnTo>
                    <a:pt x="198" y="134"/>
                  </a:lnTo>
                  <a:lnTo>
                    <a:pt x="222" y="124"/>
                  </a:lnTo>
                  <a:lnTo>
                    <a:pt x="240" y="114"/>
                  </a:lnTo>
                  <a:lnTo>
                    <a:pt x="256" y="102"/>
                  </a:lnTo>
                  <a:lnTo>
                    <a:pt x="267" y="88"/>
                  </a:lnTo>
                  <a:lnTo>
                    <a:pt x="273" y="72"/>
                  </a:lnTo>
                  <a:lnTo>
                    <a:pt x="275" y="58"/>
                  </a:lnTo>
                  <a:lnTo>
                    <a:pt x="271" y="44"/>
                  </a:lnTo>
                  <a:lnTo>
                    <a:pt x="261" y="32"/>
                  </a:lnTo>
                  <a:lnTo>
                    <a:pt x="248" y="20"/>
                  </a:lnTo>
                  <a:lnTo>
                    <a:pt x="230" y="12"/>
                  </a:lnTo>
                  <a:lnTo>
                    <a:pt x="208" y="6"/>
                  </a:lnTo>
                  <a:lnTo>
                    <a:pt x="184" y="0"/>
                  </a:lnTo>
                  <a:lnTo>
                    <a:pt x="158" y="0"/>
                  </a:lnTo>
                  <a:lnTo>
                    <a:pt x="132" y="0"/>
                  </a:lnTo>
                  <a:lnTo>
                    <a:pt x="104" y="4"/>
                  </a:lnTo>
                  <a:lnTo>
                    <a:pt x="80" y="8"/>
                  </a:lnTo>
                  <a:lnTo>
                    <a:pt x="58" y="14"/>
                  </a:lnTo>
                  <a:lnTo>
                    <a:pt x="38" y="22"/>
                  </a:lnTo>
                  <a:lnTo>
                    <a:pt x="24" y="32"/>
                  </a:lnTo>
                  <a:lnTo>
                    <a:pt x="12" y="46"/>
                  </a:lnTo>
                  <a:lnTo>
                    <a:pt x="2" y="64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FFA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6" name="Freeform 79"/>
            <p:cNvSpPr>
              <a:spLocks/>
            </p:cNvSpPr>
            <p:nvPr/>
          </p:nvSpPr>
          <p:spPr bwMode="auto">
            <a:xfrm>
              <a:off x="2834" y="1755"/>
              <a:ext cx="133" cy="72"/>
            </a:xfrm>
            <a:custGeom>
              <a:avLst/>
              <a:gdLst/>
              <a:ahLst/>
              <a:cxnLst>
                <a:cxn ang="0">
                  <a:pos x="0" y="86"/>
                </a:cxn>
                <a:cxn ang="0">
                  <a:pos x="2" y="106"/>
                </a:cxn>
                <a:cxn ang="0">
                  <a:pos x="10" y="122"/>
                </a:cxn>
                <a:cxn ang="0">
                  <a:pos x="24" y="132"/>
                </a:cxn>
                <a:cxn ang="0">
                  <a:pos x="40" y="138"/>
                </a:cxn>
                <a:cxn ang="0">
                  <a:pos x="62" y="142"/>
                </a:cxn>
                <a:cxn ang="0">
                  <a:pos x="86" y="144"/>
                </a:cxn>
                <a:cxn ang="0">
                  <a:pos x="140" y="140"/>
                </a:cxn>
                <a:cxn ang="0">
                  <a:pos x="166" y="136"/>
                </a:cxn>
                <a:cxn ang="0">
                  <a:pos x="190" y="130"/>
                </a:cxn>
                <a:cxn ang="0">
                  <a:pos x="214" y="122"/>
                </a:cxn>
                <a:cxn ang="0">
                  <a:pos x="230" y="112"/>
                </a:cxn>
                <a:cxn ang="0">
                  <a:pos x="246" y="100"/>
                </a:cxn>
                <a:cxn ang="0">
                  <a:pos x="256" y="86"/>
                </a:cxn>
                <a:cxn ang="0">
                  <a:pos x="263" y="74"/>
                </a:cxn>
                <a:cxn ang="0">
                  <a:pos x="265" y="60"/>
                </a:cxn>
                <a:cxn ang="0">
                  <a:pos x="260" y="44"/>
                </a:cxn>
                <a:cxn ang="0">
                  <a:pos x="252" y="34"/>
                </a:cxn>
                <a:cxn ang="0">
                  <a:pos x="238" y="22"/>
                </a:cxn>
                <a:cxn ang="0">
                  <a:pos x="222" y="14"/>
                </a:cxn>
                <a:cxn ang="0">
                  <a:pos x="200" y="8"/>
                </a:cxn>
                <a:cxn ang="0">
                  <a:pos x="178" y="2"/>
                </a:cxn>
                <a:cxn ang="0">
                  <a:pos x="154" y="0"/>
                </a:cxn>
                <a:cxn ang="0">
                  <a:pos x="128" y="2"/>
                </a:cxn>
                <a:cxn ang="0">
                  <a:pos x="102" y="6"/>
                </a:cxn>
                <a:cxn ang="0">
                  <a:pos x="76" y="8"/>
                </a:cxn>
                <a:cxn ang="0">
                  <a:pos x="56" y="16"/>
                </a:cxn>
                <a:cxn ang="0">
                  <a:pos x="38" y="24"/>
                </a:cxn>
                <a:cxn ang="0">
                  <a:pos x="24" y="34"/>
                </a:cxn>
                <a:cxn ang="0">
                  <a:pos x="12" y="48"/>
                </a:cxn>
                <a:cxn ang="0">
                  <a:pos x="4" y="64"/>
                </a:cxn>
                <a:cxn ang="0">
                  <a:pos x="0" y="86"/>
                </a:cxn>
              </a:cxnLst>
              <a:rect l="0" t="0" r="r" b="b"/>
              <a:pathLst>
                <a:path w="265" h="144">
                  <a:moveTo>
                    <a:pt x="0" y="86"/>
                  </a:moveTo>
                  <a:lnTo>
                    <a:pt x="2" y="106"/>
                  </a:lnTo>
                  <a:lnTo>
                    <a:pt x="10" y="122"/>
                  </a:lnTo>
                  <a:lnTo>
                    <a:pt x="24" y="132"/>
                  </a:lnTo>
                  <a:lnTo>
                    <a:pt x="40" y="138"/>
                  </a:lnTo>
                  <a:lnTo>
                    <a:pt x="62" y="142"/>
                  </a:lnTo>
                  <a:lnTo>
                    <a:pt x="86" y="144"/>
                  </a:lnTo>
                  <a:lnTo>
                    <a:pt x="140" y="140"/>
                  </a:lnTo>
                  <a:lnTo>
                    <a:pt x="166" y="136"/>
                  </a:lnTo>
                  <a:lnTo>
                    <a:pt x="190" y="130"/>
                  </a:lnTo>
                  <a:lnTo>
                    <a:pt x="214" y="122"/>
                  </a:lnTo>
                  <a:lnTo>
                    <a:pt x="230" y="112"/>
                  </a:lnTo>
                  <a:lnTo>
                    <a:pt x="246" y="100"/>
                  </a:lnTo>
                  <a:lnTo>
                    <a:pt x="256" y="86"/>
                  </a:lnTo>
                  <a:lnTo>
                    <a:pt x="263" y="74"/>
                  </a:lnTo>
                  <a:lnTo>
                    <a:pt x="265" y="60"/>
                  </a:lnTo>
                  <a:lnTo>
                    <a:pt x="260" y="44"/>
                  </a:lnTo>
                  <a:lnTo>
                    <a:pt x="252" y="34"/>
                  </a:lnTo>
                  <a:lnTo>
                    <a:pt x="238" y="22"/>
                  </a:lnTo>
                  <a:lnTo>
                    <a:pt x="222" y="14"/>
                  </a:lnTo>
                  <a:lnTo>
                    <a:pt x="200" y="8"/>
                  </a:lnTo>
                  <a:lnTo>
                    <a:pt x="178" y="2"/>
                  </a:lnTo>
                  <a:lnTo>
                    <a:pt x="154" y="0"/>
                  </a:lnTo>
                  <a:lnTo>
                    <a:pt x="128" y="2"/>
                  </a:lnTo>
                  <a:lnTo>
                    <a:pt x="102" y="6"/>
                  </a:lnTo>
                  <a:lnTo>
                    <a:pt x="76" y="8"/>
                  </a:lnTo>
                  <a:lnTo>
                    <a:pt x="56" y="16"/>
                  </a:lnTo>
                  <a:lnTo>
                    <a:pt x="38" y="24"/>
                  </a:lnTo>
                  <a:lnTo>
                    <a:pt x="24" y="34"/>
                  </a:lnTo>
                  <a:lnTo>
                    <a:pt x="12" y="48"/>
                  </a:lnTo>
                  <a:lnTo>
                    <a:pt x="4" y="6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FFB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7" name="Freeform 80"/>
            <p:cNvSpPr>
              <a:spLocks/>
            </p:cNvSpPr>
            <p:nvPr/>
          </p:nvSpPr>
          <p:spPr bwMode="auto">
            <a:xfrm>
              <a:off x="2836" y="1758"/>
              <a:ext cx="125" cy="69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" y="100"/>
                </a:cxn>
                <a:cxn ang="0">
                  <a:pos x="10" y="116"/>
                </a:cxn>
                <a:cxn ang="0">
                  <a:pos x="20" y="124"/>
                </a:cxn>
                <a:cxn ang="0">
                  <a:pos x="38" y="132"/>
                </a:cxn>
                <a:cxn ang="0">
                  <a:pos x="58" y="136"/>
                </a:cxn>
                <a:cxn ang="0">
                  <a:pos x="80" y="138"/>
                </a:cxn>
                <a:cxn ang="0">
                  <a:pos x="132" y="134"/>
                </a:cxn>
                <a:cxn ang="0">
                  <a:pos x="156" y="132"/>
                </a:cxn>
                <a:cxn ang="0">
                  <a:pos x="178" y="124"/>
                </a:cxn>
                <a:cxn ang="0">
                  <a:pos x="200" y="116"/>
                </a:cxn>
                <a:cxn ang="0">
                  <a:pos x="218" y="106"/>
                </a:cxn>
                <a:cxn ang="0">
                  <a:pos x="232" y="96"/>
                </a:cxn>
                <a:cxn ang="0">
                  <a:pos x="242" y="84"/>
                </a:cxn>
                <a:cxn ang="0">
                  <a:pos x="248" y="72"/>
                </a:cxn>
                <a:cxn ang="0">
                  <a:pos x="250" y="56"/>
                </a:cxn>
                <a:cxn ang="0">
                  <a:pos x="246" y="42"/>
                </a:cxn>
                <a:cxn ang="0">
                  <a:pos x="238" y="32"/>
                </a:cxn>
                <a:cxn ang="0">
                  <a:pos x="226" y="22"/>
                </a:cxn>
                <a:cxn ang="0">
                  <a:pos x="210" y="14"/>
                </a:cxn>
                <a:cxn ang="0">
                  <a:pos x="190" y="6"/>
                </a:cxn>
                <a:cxn ang="0">
                  <a:pos x="168" y="2"/>
                </a:cxn>
                <a:cxn ang="0">
                  <a:pos x="144" y="0"/>
                </a:cxn>
                <a:cxn ang="0">
                  <a:pos x="118" y="2"/>
                </a:cxn>
                <a:cxn ang="0">
                  <a:pos x="94" y="6"/>
                </a:cxn>
                <a:cxn ang="0">
                  <a:pos x="72" y="10"/>
                </a:cxn>
                <a:cxn ang="0">
                  <a:pos x="52" y="14"/>
                </a:cxn>
                <a:cxn ang="0">
                  <a:pos x="36" y="22"/>
                </a:cxn>
                <a:cxn ang="0">
                  <a:pos x="20" y="32"/>
                </a:cxn>
                <a:cxn ang="0">
                  <a:pos x="10" y="44"/>
                </a:cxn>
                <a:cxn ang="0">
                  <a:pos x="2" y="60"/>
                </a:cxn>
                <a:cxn ang="0">
                  <a:pos x="0" y="80"/>
                </a:cxn>
              </a:cxnLst>
              <a:rect l="0" t="0" r="r" b="b"/>
              <a:pathLst>
                <a:path w="250" h="138">
                  <a:moveTo>
                    <a:pt x="0" y="80"/>
                  </a:moveTo>
                  <a:lnTo>
                    <a:pt x="2" y="100"/>
                  </a:lnTo>
                  <a:lnTo>
                    <a:pt x="10" y="116"/>
                  </a:lnTo>
                  <a:lnTo>
                    <a:pt x="20" y="124"/>
                  </a:lnTo>
                  <a:lnTo>
                    <a:pt x="38" y="132"/>
                  </a:lnTo>
                  <a:lnTo>
                    <a:pt x="58" y="136"/>
                  </a:lnTo>
                  <a:lnTo>
                    <a:pt x="80" y="138"/>
                  </a:lnTo>
                  <a:lnTo>
                    <a:pt x="132" y="134"/>
                  </a:lnTo>
                  <a:lnTo>
                    <a:pt x="156" y="132"/>
                  </a:lnTo>
                  <a:lnTo>
                    <a:pt x="178" y="124"/>
                  </a:lnTo>
                  <a:lnTo>
                    <a:pt x="200" y="116"/>
                  </a:lnTo>
                  <a:lnTo>
                    <a:pt x="218" y="106"/>
                  </a:lnTo>
                  <a:lnTo>
                    <a:pt x="232" y="96"/>
                  </a:lnTo>
                  <a:lnTo>
                    <a:pt x="242" y="84"/>
                  </a:lnTo>
                  <a:lnTo>
                    <a:pt x="248" y="72"/>
                  </a:lnTo>
                  <a:lnTo>
                    <a:pt x="250" y="56"/>
                  </a:lnTo>
                  <a:lnTo>
                    <a:pt x="246" y="42"/>
                  </a:lnTo>
                  <a:lnTo>
                    <a:pt x="238" y="32"/>
                  </a:lnTo>
                  <a:lnTo>
                    <a:pt x="226" y="22"/>
                  </a:lnTo>
                  <a:lnTo>
                    <a:pt x="210" y="14"/>
                  </a:lnTo>
                  <a:lnTo>
                    <a:pt x="190" y="6"/>
                  </a:lnTo>
                  <a:lnTo>
                    <a:pt x="168" y="2"/>
                  </a:lnTo>
                  <a:lnTo>
                    <a:pt x="144" y="0"/>
                  </a:lnTo>
                  <a:lnTo>
                    <a:pt x="118" y="2"/>
                  </a:lnTo>
                  <a:lnTo>
                    <a:pt x="94" y="6"/>
                  </a:lnTo>
                  <a:lnTo>
                    <a:pt x="72" y="10"/>
                  </a:lnTo>
                  <a:lnTo>
                    <a:pt x="52" y="14"/>
                  </a:lnTo>
                  <a:lnTo>
                    <a:pt x="36" y="22"/>
                  </a:lnTo>
                  <a:lnTo>
                    <a:pt x="20" y="32"/>
                  </a:lnTo>
                  <a:lnTo>
                    <a:pt x="10" y="44"/>
                  </a:lnTo>
                  <a:lnTo>
                    <a:pt x="2" y="6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FFB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8" name="Freeform 81"/>
            <p:cNvSpPr>
              <a:spLocks/>
            </p:cNvSpPr>
            <p:nvPr/>
          </p:nvSpPr>
          <p:spPr bwMode="auto">
            <a:xfrm>
              <a:off x="2838" y="1762"/>
              <a:ext cx="117" cy="64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2" y="94"/>
                </a:cxn>
                <a:cxn ang="0">
                  <a:pos x="8" y="106"/>
                </a:cxn>
                <a:cxn ang="0">
                  <a:pos x="20" y="116"/>
                </a:cxn>
                <a:cxn ang="0">
                  <a:pos x="36" y="122"/>
                </a:cxn>
                <a:cxn ang="0">
                  <a:pos x="56" y="126"/>
                </a:cxn>
                <a:cxn ang="0">
                  <a:pos x="76" y="128"/>
                </a:cxn>
                <a:cxn ang="0">
                  <a:pos x="122" y="126"/>
                </a:cxn>
                <a:cxn ang="0">
                  <a:pos x="146" y="122"/>
                </a:cxn>
                <a:cxn ang="0">
                  <a:pos x="166" y="118"/>
                </a:cxn>
                <a:cxn ang="0">
                  <a:pos x="186" y="110"/>
                </a:cxn>
                <a:cxn ang="0">
                  <a:pos x="204" y="102"/>
                </a:cxn>
                <a:cxn ang="0">
                  <a:pos x="216" y="90"/>
                </a:cxn>
                <a:cxn ang="0">
                  <a:pos x="226" y="78"/>
                </a:cxn>
                <a:cxn ang="0">
                  <a:pos x="232" y="68"/>
                </a:cxn>
                <a:cxn ang="0">
                  <a:pos x="234" y="54"/>
                </a:cxn>
                <a:cxn ang="0">
                  <a:pos x="232" y="42"/>
                </a:cxn>
                <a:cxn ang="0">
                  <a:pos x="222" y="32"/>
                </a:cxn>
                <a:cxn ang="0">
                  <a:pos x="212" y="22"/>
                </a:cxn>
                <a:cxn ang="0">
                  <a:pos x="196" y="14"/>
                </a:cxn>
                <a:cxn ang="0">
                  <a:pos x="178" y="6"/>
                </a:cxn>
                <a:cxn ang="0">
                  <a:pos x="156" y="2"/>
                </a:cxn>
                <a:cxn ang="0">
                  <a:pos x="136" y="0"/>
                </a:cxn>
                <a:cxn ang="0">
                  <a:pos x="112" y="2"/>
                </a:cxn>
                <a:cxn ang="0">
                  <a:pos x="66" y="8"/>
                </a:cxn>
                <a:cxn ang="0">
                  <a:pos x="48" y="14"/>
                </a:cxn>
                <a:cxn ang="0">
                  <a:pos x="32" y="22"/>
                </a:cxn>
                <a:cxn ang="0">
                  <a:pos x="20" y="30"/>
                </a:cxn>
                <a:cxn ang="0">
                  <a:pos x="10" y="42"/>
                </a:cxn>
                <a:cxn ang="0">
                  <a:pos x="4" y="58"/>
                </a:cxn>
                <a:cxn ang="0">
                  <a:pos x="0" y="76"/>
                </a:cxn>
              </a:cxnLst>
              <a:rect l="0" t="0" r="r" b="b"/>
              <a:pathLst>
                <a:path w="234" h="128">
                  <a:moveTo>
                    <a:pt x="0" y="76"/>
                  </a:moveTo>
                  <a:lnTo>
                    <a:pt x="2" y="94"/>
                  </a:lnTo>
                  <a:lnTo>
                    <a:pt x="8" y="106"/>
                  </a:lnTo>
                  <a:lnTo>
                    <a:pt x="20" y="116"/>
                  </a:lnTo>
                  <a:lnTo>
                    <a:pt x="36" y="122"/>
                  </a:lnTo>
                  <a:lnTo>
                    <a:pt x="56" y="126"/>
                  </a:lnTo>
                  <a:lnTo>
                    <a:pt x="76" y="128"/>
                  </a:lnTo>
                  <a:lnTo>
                    <a:pt x="122" y="126"/>
                  </a:lnTo>
                  <a:lnTo>
                    <a:pt x="146" y="122"/>
                  </a:lnTo>
                  <a:lnTo>
                    <a:pt x="166" y="118"/>
                  </a:lnTo>
                  <a:lnTo>
                    <a:pt x="186" y="110"/>
                  </a:lnTo>
                  <a:lnTo>
                    <a:pt x="204" y="102"/>
                  </a:lnTo>
                  <a:lnTo>
                    <a:pt x="216" y="90"/>
                  </a:lnTo>
                  <a:lnTo>
                    <a:pt x="226" y="78"/>
                  </a:lnTo>
                  <a:lnTo>
                    <a:pt x="232" y="68"/>
                  </a:lnTo>
                  <a:lnTo>
                    <a:pt x="234" y="54"/>
                  </a:lnTo>
                  <a:lnTo>
                    <a:pt x="232" y="42"/>
                  </a:lnTo>
                  <a:lnTo>
                    <a:pt x="222" y="32"/>
                  </a:lnTo>
                  <a:lnTo>
                    <a:pt x="212" y="22"/>
                  </a:lnTo>
                  <a:lnTo>
                    <a:pt x="196" y="14"/>
                  </a:lnTo>
                  <a:lnTo>
                    <a:pt x="178" y="6"/>
                  </a:lnTo>
                  <a:lnTo>
                    <a:pt x="156" y="2"/>
                  </a:lnTo>
                  <a:lnTo>
                    <a:pt x="136" y="0"/>
                  </a:lnTo>
                  <a:lnTo>
                    <a:pt x="112" y="2"/>
                  </a:lnTo>
                  <a:lnTo>
                    <a:pt x="66" y="8"/>
                  </a:lnTo>
                  <a:lnTo>
                    <a:pt x="48" y="14"/>
                  </a:lnTo>
                  <a:lnTo>
                    <a:pt x="32" y="22"/>
                  </a:lnTo>
                  <a:lnTo>
                    <a:pt x="20" y="30"/>
                  </a:lnTo>
                  <a:lnTo>
                    <a:pt x="10" y="42"/>
                  </a:lnTo>
                  <a:lnTo>
                    <a:pt x="4" y="58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59" name="Freeform 82"/>
            <p:cNvSpPr>
              <a:spLocks/>
            </p:cNvSpPr>
            <p:nvPr/>
          </p:nvSpPr>
          <p:spPr bwMode="auto">
            <a:xfrm>
              <a:off x="2838" y="1767"/>
              <a:ext cx="112" cy="60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2" y="84"/>
                </a:cxn>
                <a:cxn ang="0">
                  <a:pos x="8" y="98"/>
                </a:cxn>
                <a:cxn ang="0">
                  <a:pos x="20" y="106"/>
                </a:cxn>
                <a:cxn ang="0">
                  <a:pos x="34" y="114"/>
                </a:cxn>
                <a:cxn ang="0">
                  <a:pos x="52" y="116"/>
                </a:cxn>
                <a:cxn ang="0">
                  <a:pos x="72" y="120"/>
                </a:cxn>
                <a:cxn ang="0">
                  <a:pos x="116" y="118"/>
                </a:cxn>
                <a:cxn ang="0">
                  <a:pos x="140" y="114"/>
                </a:cxn>
                <a:cxn ang="0">
                  <a:pos x="160" y="110"/>
                </a:cxn>
                <a:cxn ang="0">
                  <a:pos x="178" y="104"/>
                </a:cxn>
                <a:cxn ang="0">
                  <a:pos x="194" y="94"/>
                </a:cxn>
                <a:cxn ang="0">
                  <a:pos x="208" y="84"/>
                </a:cxn>
                <a:cxn ang="0">
                  <a:pos x="216" y="74"/>
                </a:cxn>
                <a:cxn ang="0">
                  <a:pos x="222" y="62"/>
                </a:cxn>
                <a:cxn ang="0">
                  <a:pos x="224" y="50"/>
                </a:cxn>
                <a:cxn ang="0">
                  <a:pos x="220" y="38"/>
                </a:cxn>
                <a:cxn ang="0">
                  <a:pos x="212" y="28"/>
                </a:cxn>
                <a:cxn ang="0">
                  <a:pos x="202" y="20"/>
                </a:cxn>
                <a:cxn ang="0">
                  <a:pos x="188" y="10"/>
                </a:cxn>
                <a:cxn ang="0">
                  <a:pos x="170" y="4"/>
                </a:cxn>
                <a:cxn ang="0">
                  <a:pos x="150" y="2"/>
                </a:cxn>
                <a:cxn ang="0">
                  <a:pos x="130" y="0"/>
                </a:cxn>
                <a:cxn ang="0">
                  <a:pos x="106" y="2"/>
                </a:cxn>
                <a:cxn ang="0">
                  <a:pos x="84" y="2"/>
                </a:cxn>
                <a:cxn ang="0">
                  <a:pos x="66" y="6"/>
                </a:cxn>
                <a:cxn ang="0">
                  <a:pos x="48" y="10"/>
                </a:cxn>
                <a:cxn ang="0">
                  <a:pos x="32" y="18"/>
                </a:cxn>
                <a:cxn ang="0">
                  <a:pos x="20" y="26"/>
                </a:cxn>
                <a:cxn ang="0">
                  <a:pos x="10" y="36"/>
                </a:cxn>
                <a:cxn ang="0">
                  <a:pos x="4" y="52"/>
                </a:cxn>
                <a:cxn ang="0">
                  <a:pos x="0" y="68"/>
                </a:cxn>
              </a:cxnLst>
              <a:rect l="0" t="0" r="r" b="b"/>
              <a:pathLst>
                <a:path w="224" h="120">
                  <a:moveTo>
                    <a:pt x="0" y="68"/>
                  </a:moveTo>
                  <a:lnTo>
                    <a:pt x="2" y="84"/>
                  </a:lnTo>
                  <a:lnTo>
                    <a:pt x="8" y="98"/>
                  </a:lnTo>
                  <a:lnTo>
                    <a:pt x="20" y="106"/>
                  </a:lnTo>
                  <a:lnTo>
                    <a:pt x="34" y="114"/>
                  </a:lnTo>
                  <a:lnTo>
                    <a:pt x="52" y="116"/>
                  </a:lnTo>
                  <a:lnTo>
                    <a:pt x="72" y="120"/>
                  </a:lnTo>
                  <a:lnTo>
                    <a:pt x="116" y="118"/>
                  </a:lnTo>
                  <a:lnTo>
                    <a:pt x="140" y="114"/>
                  </a:lnTo>
                  <a:lnTo>
                    <a:pt x="160" y="110"/>
                  </a:lnTo>
                  <a:lnTo>
                    <a:pt x="178" y="104"/>
                  </a:lnTo>
                  <a:lnTo>
                    <a:pt x="194" y="94"/>
                  </a:lnTo>
                  <a:lnTo>
                    <a:pt x="208" y="84"/>
                  </a:lnTo>
                  <a:lnTo>
                    <a:pt x="216" y="74"/>
                  </a:lnTo>
                  <a:lnTo>
                    <a:pt x="222" y="62"/>
                  </a:lnTo>
                  <a:lnTo>
                    <a:pt x="224" y="50"/>
                  </a:lnTo>
                  <a:lnTo>
                    <a:pt x="220" y="38"/>
                  </a:lnTo>
                  <a:lnTo>
                    <a:pt x="212" y="28"/>
                  </a:lnTo>
                  <a:lnTo>
                    <a:pt x="202" y="20"/>
                  </a:lnTo>
                  <a:lnTo>
                    <a:pt x="188" y="10"/>
                  </a:lnTo>
                  <a:lnTo>
                    <a:pt x="170" y="4"/>
                  </a:lnTo>
                  <a:lnTo>
                    <a:pt x="150" y="2"/>
                  </a:lnTo>
                  <a:lnTo>
                    <a:pt x="130" y="0"/>
                  </a:lnTo>
                  <a:lnTo>
                    <a:pt x="106" y="2"/>
                  </a:lnTo>
                  <a:lnTo>
                    <a:pt x="84" y="2"/>
                  </a:lnTo>
                  <a:lnTo>
                    <a:pt x="66" y="6"/>
                  </a:lnTo>
                  <a:lnTo>
                    <a:pt x="48" y="10"/>
                  </a:lnTo>
                  <a:lnTo>
                    <a:pt x="32" y="18"/>
                  </a:lnTo>
                  <a:lnTo>
                    <a:pt x="20" y="26"/>
                  </a:lnTo>
                  <a:lnTo>
                    <a:pt x="10" y="36"/>
                  </a:lnTo>
                  <a:lnTo>
                    <a:pt x="4" y="52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FFC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0" name="Freeform 83"/>
            <p:cNvSpPr>
              <a:spLocks/>
            </p:cNvSpPr>
            <p:nvPr/>
          </p:nvSpPr>
          <p:spPr bwMode="auto">
            <a:xfrm>
              <a:off x="2840" y="1771"/>
              <a:ext cx="104" cy="56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" y="78"/>
                </a:cxn>
                <a:cxn ang="0">
                  <a:pos x="8" y="90"/>
                </a:cxn>
                <a:cxn ang="0">
                  <a:pos x="18" y="98"/>
                </a:cxn>
                <a:cxn ang="0">
                  <a:pos x="30" y="106"/>
                </a:cxn>
                <a:cxn ang="0">
                  <a:pos x="46" y="110"/>
                </a:cxn>
                <a:cxn ang="0">
                  <a:pos x="66" y="112"/>
                </a:cxn>
                <a:cxn ang="0">
                  <a:pos x="106" y="110"/>
                </a:cxn>
                <a:cxn ang="0">
                  <a:pos x="128" y="108"/>
                </a:cxn>
                <a:cxn ang="0">
                  <a:pos x="148" y="104"/>
                </a:cxn>
                <a:cxn ang="0">
                  <a:pos x="164" y="98"/>
                </a:cxn>
                <a:cxn ang="0">
                  <a:pos x="180" y="90"/>
                </a:cxn>
                <a:cxn ang="0">
                  <a:pos x="192" y="80"/>
                </a:cxn>
                <a:cxn ang="0">
                  <a:pos x="202" y="70"/>
                </a:cxn>
                <a:cxn ang="0">
                  <a:pos x="206" y="58"/>
                </a:cxn>
                <a:cxn ang="0">
                  <a:pos x="208" y="46"/>
                </a:cxn>
                <a:cxn ang="0">
                  <a:pos x="204" y="36"/>
                </a:cxn>
                <a:cxn ang="0">
                  <a:pos x="198" y="26"/>
                </a:cxn>
                <a:cxn ang="0">
                  <a:pos x="186" y="18"/>
                </a:cxn>
                <a:cxn ang="0">
                  <a:pos x="174" y="12"/>
                </a:cxn>
                <a:cxn ang="0">
                  <a:pos x="158" y="4"/>
                </a:cxn>
                <a:cxn ang="0">
                  <a:pos x="140" y="2"/>
                </a:cxn>
                <a:cxn ang="0">
                  <a:pos x="120" y="0"/>
                </a:cxn>
                <a:cxn ang="0">
                  <a:pos x="98" y="0"/>
                </a:cxn>
                <a:cxn ang="0">
                  <a:pos x="60" y="4"/>
                </a:cxn>
                <a:cxn ang="0">
                  <a:pos x="44" y="10"/>
                </a:cxn>
                <a:cxn ang="0">
                  <a:pos x="28" y="16"/>
                </a:cxn>
                <a:cxn ang="0">
                  <a:pos x="18" y="24"/>
                </a:cxn>
                <a:cxn ang="0">
                  <a:pos x="8" y="36"/>
                </a:cxn>
                <a:cxn ang="0">
                  <a:pos x="2" y="46"/>
                </a:cxn>
                <a:cxn ang="0">
                  <a:pos x="0" y="64"/>
                </a:cxn>
              </a:cxnLst>
              <a:rect l="0" t="0" r="r" b="b"/>
              <a:pathLst>
                <a:path w="208" h="112">
                  <a:moveTo>
                    <a:pt x="0" y="64"/>
                  </a:moveTo>
                  <a:lnTo>
                    <a:pt x="2" y="78"/>
                  </a:lnTo>
                  <a:lnTo>
                    <a:pt x="8" y="90"/>
                  </a:lnTo>
                  <a:lnTo>
                    <a:pt x="18" y="98"/>
                  </a:lnTo>
                  <a:lnTo>
                    <a:pt x="30" y="106"/>
                  </a:lnTo>
                  <a:lnTo>
                    <a:pt x="46" y="110"/>
                  </a:lnTo>
                  <a:lnTo>
                    <a:pt x="66" y="112"/>
                  </a:lnTo>
                  <a:lnTo>
                    <a:pt x="106" y="110"/>
                  </a:lnTo>
                  <a:lnTo>
                    <a:pt x="128" y="108"/>
                  </a:lnTo>
                  <a:lnTo>
                    <a:pt x="148" y="104"/>
                  </a:lnTo>
                  <a:lnTo>
                    <a:pt x="164" y="98"/>
                  </a:lnTo>
                  <a:lnTo>
                    <a:pt x="180" y="90"/>
                  </a:lnTo>
                  <a:lnTo>
                    <a:pt x="192" y="80"/>
                  </a:lnTo>
                  <a:lnTo>
                    <a:pt x="202" y="70"/>
                  </a:lnTo>
                  <a:lnTo>
                    <a:pt x="206" y="58"/>
                  </a:lnTo>
                  <a:lnTo>
                    <a:pt x="208" y="46"/>
                  </a:lnTo>
                  <a:lnTo>
                    <a:pt x="204" y="36"/>
                  </a:lnTo>
                  <a:lnTo>
                    <a:pt x="198" y="26"/>
                  </a:lnTo>
                  <a:lnTo>
                    <a:pt x="186" y="18"/>
                  </a:lnTo>
                  <a:lnTo>
                    <a:pt x="174" y="12"/>
                  </a:lnTo>
                  <a:lnTo>
                    <a:pt x="158" y="4"/>
                  </a:lnTo>
                  <a:lnTo>
                    <a:pt x="140" y="2"/>
                  </a:lnTo>
                  <a:lnTo>
                    <a:pt x="120" y="0"/>
                  </a:lnTo>
                  <a:lnTo>
                    <a:pt x="98" y="0"/>
                  </a:lnTo>
                  <a:lnTo>
                    <a:pt x="60" y="4"/>
                  </a:lnTo>
                  <a:lnTo>
                    <a:pt x="44" y="10"/>
                  </a:lnTo>
                  <a:lnTo>
                    <a:pt x="28" y="16"/>
                  </a:lnTo>
                  <a:lnTo>
                    <a:pt x="18" y="24"/>
                  </a:lnTo>
                  <a:lnTo>
                    <a:pt x="8" y="36"/>
                  </a:lnTo>
                  <a:lnTo>
                    <a:pt x="2" y="46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1" name="Freeform 84"/>
            <p:cNvSpPr>
              <a:spLocks/>
            </p:cNvSpPr>
            <p:nvPr/>
          </p:nvSpPr>
          <p:spPr bwMode="auto">
            <a:xfrm>
              <a:off x="2842" y="1775"/>
              <a:ext cx="96" cy="52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2" y="72"/>
                </a:cxn>
                <a:cxn ang="0">
                  <a:pos x="6" y="82"/>
                </a:cxn>
                <a:cxn ang="0">
                  <a:pos x="16" y="90"/>
                </a:cxn>
                <a:cxn ang="0">
                  <a:pos x="28" y="98"/>
                </a:cxn>
                <a:cxn ang="0">
                  <a:pos x="60" y="104"/>
                </a:cxn>
                <a:cxn ang="0">
                  <a:pos x="98" y="102"/>
                </a:cxn>
                <a:cxn ang="0">
                  <a:pos x="118" y="100"/>
                </a:cxn>
                <a:cxn ang="0">
                  <a:pos x="136" y="96"/>
                </a:cxn>
                <a:cxn ang="0">
                  <a:pos x="152" y="90"/>
                </a:cxn>
                <a:cxn ang="0">
                  <a:pos x="166" y="82"/>
                </a:cxn>
                <a:cxn ang="0">
                  <a:pos x="178" y="74"/>
                </a:cxn>
                <a:cxn ang="0">
                  <a:pos x="186" y="64"/>
                </a:cxn>
                <a:cxn ang="0">
                  <a:pos x="190" y="56"/>
                </a:cxn>
                <a:cxn ang="0">
                  <a:pos x="192" y="46"/>
                </a:cxn>
                <a:cxn ang="0">
                  <a:pos x="188" y="36"/>
                </a:cxn>
                <a:cxn ang="0">
                  <a:pos x="184" y="26"/>
                </a:cxn>
                <a:cxn ang="0">
                  <a:pos x="174" y="16"/>
                </a:cxn>
                <a:cxn ang="0">
                  <a:pos x="162" y="10"/>
                </a:cxn>
                <a:cxn ang="0">
                  <a:pos x="146" y="4"/>
                </a:cxn>
                <a:cxn ang="0">
                  <a:pos x="128" y="2"/>
                </a:cxn>
                <a:cxn ang="0">
                  <a:pos x="112" y="0"/>
                </a:cxn>
                <a:cxn ang="0">
                  <a:pos x="92" y="0"/>
                </a:cxn>
                <a:cxn ang="0">
                  <a:pos x="56" y="4"/>
                </a:cxn>
                <a:cxn ang="0">
                  <a:pos x="40" y="10"/>
                </a:cxn>
                <a:cxn ang="0">
                  <a:pos x="28" y="14"/>
                </a:cxn>
                <a:cxn ang="0">
                  <a:pos x="16" y="22"/>
                </a:cxn>
                <a:cxn ang="0">
                  <a:pos x="8" y="32"/>
                </a:cxn>
                <a:cxn ang="0">
                  <a:pos x="2" y="44"/>
                </a:cxn>
                <a:cxn ang="0">
                  <a:pos x="0" y="56"/>
                </a:cxn>
              </a:cxnLst>
              <a:rect l="0" t="0" r="r" b="b"/>
              <a:pathLst>
                <a:path w="192" h="104">
                  <a:moveTo>
                    <a:pt x="0" y="56"/>
                  </a:moveTo>
                  <a:lnTo>
                    <a:pt x="2" y="72"/>
                  </a:lnTo>
                  <a:lnTo>
                    <a:pt x="6" y="82"/>
                  </a:lnTo>
                  <a:lnTo>
                    <a:pt x="16" y="90"/>
                  </a:lnTo>
                  <a:lnTo>
                    <a:pt x="28" y="98"/>
                  </a:lnTo>
                  <a:lnTo>
                    <a:pt x="60" y="104"/>
                  </a:lnTo>
                  <a:lnTo>
                    <a:pt x="98" y="102"/>
                  </a:lnTo>
                  <a:lnTo>
                    <a:pt x="118" y="100"/>
                  </a:lnTo>
                  <a:lnTo>
                    <a:pt x="136" y="96"/>
                  </a:lnTo>
                  <a:lnTo>
                    <a:pt x="152" y="90"/>
                  </a:lnTo>
                  <a:lnTo>
                    <a:pt x="166" y="82"/>
                  </a:lnTo>
                  <a:lnTo>
                    <a:pt x="178" y="74"/>
                  </a:lnTo>
                  <a:lnTo>
                    <a:pt x="186" y="64"/>
                  </a:lnTo>
                  <a:lnTo>
                    <a:pt x="190" y="56"/>
                  </a:lnTo>
                  <a:lnTo>
                    <a:pt x="192" y="46"/>
                  </a:lnTo>
                  <a:lnTo>
                    <a:pt x="188" y="36"/>
                  </a:lnTo>
                  <a:lnTo>
                    <a:pt x="184" y="26"/>
                  </a:lnTo>
                  <a:lnTo>
                    <a:pt x="174" y="16"/>
                  </a:lnTo>
                  <a:lnTo>
                    <a:pt x="162" y="10"/>
                  </a:lnTo>
                  <a:lnTo>
                    <a:pt x="146" y="4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92" y="0"/>
                  </a:lnTo>
                  <a:lnTo>
                    <a:pt x="56" y="4"/>
                  </a:lnTo>
                  <a:lnTo>
                    <a:pt x="40" y="10"/>
                  </a:lnTo>
                  <a:lnTo>
                    <a:pt x="28" y="14"/>
                  </a:lnTo>
                  <a:lnTo>
                    <a:pt x="16" y="22"/>
                  </a:lnTo>
                  <a:lnTo>
                    <a:pt x="8" y="32"/>
                  </a:lnTo>
                  <a:lnTo>
                    <a:pt x="2" y="4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FFD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2" name="Freeform 85"/>
            <p:cNvSpPr>
              <a:spLocks/>
            </p:cNvSpPr>
            <p:nvPr/>
          </p:nvSpPr>
          <p:spPr bwMode="auto">
            <a:xfrm>
              <a:off x="2843" y="1778"/>
              <a:ext cx="90" cy="49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" y="66"/>
                </a:cxn>
                <a:cxn ang="0">
                  <a:pos x="6" y="76"/>
                </a:cxn>
                <a:cxn ang="0">
                  <a:pos x="14" y="84"/>
                </a:cxn>
                <a:cxn ang="0">
                  <a:pos x="28" y="92"/>
                </a:cxn>
                <a:cxn ang="0">
                  <a:pos x="40" y="94"/>
                </a:cxn>
                <a:cxn ang="0">
                  <a:pos x="56" y="98"/>
                </a:cxn>
                <a:cxn ang="0">
                  <a:pos x="92" y="98"/>
                </a:cxn>
                <a:cxn ang="0">
                  <a:pos x="126" y="92"/>
                </a:cxn>
                <a:cxn ang="0">
                  <a:pos x="142" y="86"/>
                </a:cxn>
                <a:cxn ang="0">
                  <a:pos x="156" y="80"/>
                </a:cxn>
                <a:cxn ang="0">
                  <a:pos x="166" y="72"/>
                </a:cxn>
                <a:cxn ang="0">
                  <a:pos x="174" y="62"/>
                </a:cxn>
                <a:cxn ang="0">
                  <a:pos x="178" y="52"/>
                </a:cxn>
                <a:cxn ang="0">
                  <a:pos x="180" y="42"/>
                </a:cxn>
                <a:cxn ang="0">
                  <a:pos x="176" y="32"/>
                </a:cxn>
                <a:cxn ang="0">
                  <a:pos x="172" y="24"/>
                </a:cxn>
                <a:cxn ang="0">
                  <a:pos x="162" y="16"/>
                </a:cxn>
                <a:cxn ang="0">
                  <a:pos x="150" y="10"/>
                </a:cxn>
                <a:cxn ang="0">
                  <a:pos x="138" y="6"/>
                </a:cxn>
                <a:cxn ang="0">
                  <a:pos x="122" y="2"/>
                </a:cxn>
                <a:cxn ang="0">
                  <a:pos x="88" y="0"/>
                </a:cxn>
                <a:cxn ang="0">
                  <a:pos x="54" y="6"/>
                </a:cxn>
                <a:cxn ang="0">
                  <a:pos x="38" y="10"/>
                </a:cxn>
                <a:cxn ang="0">
                  <a:pos x="26" y="14"/>
                </a:cxn>
                <a:cxn ang="0">
                  <a:pos x="14" y="22"/>
                </a:cxn>
                <a:cxn ang="0">
                  <a:pos x="2" y="40"/>
                </a:cxn>
                <a:cxn ang="0">
                  <a:pos x="0" y="54"/>
                </a:cxn>
              </a:cxnLst>
              <a:rect l="0" t="0" r="r" b="b"/>
              <a:pathLst>
                <a:path w="180" h="98">
                  <a:moveTo>
                    <a:pt x="0" y="54"/>
                  </a:moveTo>
                  <a:lnTo>
                    <a:pt x="2" y="66"/>
                  </a:lnTo>
                  <a:lnTo>
                    <a:pt x="6" y="76"/>
                  </a:lnTo>
                  <a:lnTo>
                    <a:pt x="14" y="84"/>
                  </a:lnTo>
                  <a:lnTo>
                    <a:pt x="28" y="92"/>
                  </a:lnTo>
                  <a:lnTo>
                    <a:pt x="40" y="94"/>
                  </a:lnTo>
                  <a:lnTo>
                    <a:pt x="56" y="98"/>
                  </a:lnTo>
                  <a:lnTo>
                    <a:pt x="92" y="98"/>
                  </a:lnTo>
                  <a:lnTo>
                    <a:pt x="126" y="92"/>
                  </a:lnTo>
                  <a:lnTo>
                    <a:pt x="142" y="86"/>
                  </a:lnTo>
                  <a:lnTo>
                    <a:pt x="156" y="80"/>
                  </a:lnTo>
                  <a:lnTo>
                    <a:pt x="166" y="72"/>
                  </a:lnTo>
                  <a:lnTo>
                    <a:pt x="174" y="62"/>
                  </a:lnTo>
                  <a:lnTo>
                    <a:pt x="178" y="52"/>
                  </a:lnTo>
                  <a:lnTo>
                    <a:pt x="180" y="42"/>
                  </a:lnTo>
                  <a:lnTo>
                    <a:pt x="176" y="32"/>
                  </a:lnTo>
                  <a:lnTo>
                    <a:pt x="172" y="24"/>
                  </a:lnTo>
                  <a:lnTo>
                    <a:pt x="162" y="16"/>
                  </a:lnTo>
                  <a:lnTo>
                    <a:pt x="150" y="10"/>
                  </a:lnTo>
                  <a:lnTo>
                    <a:pt x="138" y="6"/>
                  </a:lnTo>
                  <a:lnTo>
                    <a:pt x="122" y="2"/>
                  </a:lnTo>
                  <a:lnTo>
                    <a:pt x="88" y="0"/>
                  </a:lnTo>
                  <a:lnTo>
                    <a:pt x="54" y="6"/>
                  </a:lnTo>
                  <a:lnTo>
                    <a:pt x="38" y="10"/>
                  </a:lnTo>
                  <a:lnTo>
                    <a:pt x="26" y="14"/>
                  </a:lnTo>
                  <a:lnTo>
                    <a:pt x="14" y="22"/>
                  </a:lnTo>
                  <a:lnTo>
                    <a:pt x="2" y="4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FFD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3" name="Freeform 86"/>
            <p:cNvSpPr>
              <a:spLocks/>
            </p:cNvSpPr>
            <p:nvPr/>
          </p:nvSpPr>
          <p:spPr bwMode="auto">
            <a:xfrm>
              <a:off x="2843" y="1781"/>
              <a:ext cx="84" cy="46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2" y="62"/>
                </a:cxn>
                <a:cxn ang="0">
                  <a:pos x="6" y="72"/>
                </a:cxn>
                <a:cxn ang="0">
                  <a:pos x="14" y="78"/>
                </a:cxn>
                <a:cxn ang="0">
                  <a:pos x="26" y="86"/>
                </a:cxn>
                <a:cxn ang="0">
                  <a:pos x="54" y="92"/>
                </a:cxn>
                <a:cxn ang="0">
                  <a:pos x="86" y="92"/>
                </a:cxn>
                <a:cxn ang="0">
                  <a:pos x="118" y="86"/>
                </a:cxn>
                <a:cxn ang="0">
                  <a:pos x="144" y="76"/>
                </a:cxn>
                <a:cxn ang="0">
                  <a:pos x="154" y="70"/>
                </a:cxn>
                <a:cxn ang="0">
                  <a:pos x="162" y="60"/>
                </a:cxn>
                <a:cxn ang="0">
                  <a:pos x="166" y="52"/>
                </a:cxn>
                <a:cxn ang="0">
                  <a:pos x="168" y="44"/>
                </a:cxn>
                <a:cxn ang="0">
                  <a:pos x="166" y="34"/>
                </a:cxn>
                <a:cxn ang="0">
                  <a:pos x="160" y="26"/>
                </a:cxn>
                <a:cxn ang="0">
                  <a:pos x="152" y="18"/>
                </a:cxn>
                <a:cxn ang="0">
                  <a:pos x="142" y="12"/>
                </a:cxn>
                <a:cxn ang="0">
                  <a:pos x="116" y="2"/>
                </a:cxn>
                <a:cxn ang="0">
                  <a:pos x="84" y="0"/>
                </a:cxn>
                <a:cxn ang="0">
                  <a:pos x="50" y="6"/>
                </a:cxn>
                <a:cxn ang="0">
                  <a:pos x="36" y="8"/>
                </a:cxn>
                <a:cxn ang="0">
                  <a:pos x="24" y="16"/>
                </a:cxn>
                <a:cxn ang="0">
                  <a:pos x="14" y="22"/>
                </a:cxn>
                <a:cxn ang="0">
                  <a:pos x="6" y="30"/>
                </a:cxn>
                <a:cxn ang="0">
                  <a:pos x="2" y="40"/>
                </a:cxn>
                <a:cxn ang="0">
                  <a:pos x="0" y="52"/>
                </a:cxn>
              </a:cxnLst>
              <a:rect l="0" t="0" r="r" b="b"/>
              <a:pathLst>
                <a:path w="168" h="92">
                  <a:moveTo>
                    <a:pt x="0" y="52"/>
                  </a:moveTo>
                  <a:lnTo>
                    <a:pt x="2" y="62"/>
                  </a:lnTo>
                  <a:lnTo>
                    <a:pt x="6" y="72"/>
                  </a:lnTo>
                  <a:lnTo>
                    <a:pt x="14" y="78"/>
                  </a:lnTo>
                  <a:lnTo>
                    <a:pt x="26" y="86"/>
                  </a:lnTo>
                  <a:lnTo>
                    <a:pt x="54" y="92"/>
                  </a:lnTo>
                  <a:lnTo>
                    <a:pt x="86" y="92"/>
                  </a:lnTo>
                  <a:lnTo>
                    <a:pt x="118" y="86"/>
                  </a:lnTo>
                  <a:lnTo>
                    <a:pt x="144" y="76"/>
                  </a:lnTo>
                  <a:lnTo>
                    <a:pt x="154" y="70"/>
                  </a:lnTo>
                  <a:lnTo>
                    <a:pt x="162" y="60"/>
                  </a:lnTo>
                  <a:lnTo>
                    <a:pt x="166" y="52"/>
                  </a:lnTo>
                  <a:lnTo>
                    <a:pt x="168" y="44"/>
                  </a:lnTo>
                  <a:lnTo>
                    <a:pt x="166" y="34"/>
                  </a:lnTo>
                  <a:lnTo>
                    <a:pt x="160" y="26"/>
                  </a:lnTo>
                  <a:lnTo>
                    <a:pt x="152" y="18"/>
                  </a:lnTo>
                  <a:lnTo>
                    <a:pt x="142" y="12"/>
                  </a:lnTo>
                  <a:lnTo>
                    <a:pt x="116" y="2"/>
                  </a:lnTo>
                  <a:lnTo>
                    <a:pt x="84" y="0"/>
                  </a:lnTo>
                  <a:lnTo>
                    <a:pt x="50" y="6"/>
                  </a:lnTo>
                  <a:lnTo>
                    <a:pt x="36" y="8"/>
                  </a:lnTo>
                  <a:lnTo>
                    <a:pt x="24" y="16"/>
                  </a:lnTo>
                  <a:lnTo>
                    <a:pt x="14" y="22"/>
                  </a:lnTo>
                  <a:lnTo>
                    <a:pt x="6" y="30"/>
                  </a:lnTo>
                  <a:lnTo>
                    <a:pt x="2" y="4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E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4" name="Freeform 87"/>
            <p:cNvSpPr>
              <a:spLocks/>
            </p:cNvSpPr>
            <p:nvPr/>
          </p:nvSpPr>
          <p:spPr bwMode="auto">
            <a:xfrm>
              <a:off x="2845" y="1785"/>
              <a:ext cx="76" cy="42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2" y="54"/>
                </a:cxn>
                <a:cxn ang="0">
                  <a:pos x="6" y="62"/>
                </a:cxn>
                <a:cxn ang="0">
                  <a:pos x="12" y="68"/>
                </a:cxn>
                <a:cxn ang="0">
                  <a:pos x="22" y="74"/>
                </a:cxn>
                <a:cxn ang="0">
                  <a:pos x="46" y="82"/>
                </a:cxn>
                <a:cxn ang="0">
                  <a:pos x="76" y="84"/>
                </a:cxn>
                <a:cxn ang="0">
                  <a:pos x="106" y="80"/>
                </a:cxn>
                <a:cxn ang="0">
                  <a:pos x="130" y="70"/>
                </a:cxn>
                <a:cxn ang="0">
                  <a:pos x="140" y="62"/>
                </a:cxn>
                <a:cxn ang="0">
                  <a:pos x="146" y="56"/>
                </a:cxn>
                <a:cxn ang="0">
                  <a:pos x="150" y="48"/>
                </a:cxn>
                <a:cxn ang="0">
                  <a:pos x="152" y="38"/>
                </a:cxn>
                <a:cxn ang="0">
                  <a:pos x="150" y="30"/>
                </a:cxn>
                <a:cxn ang="0">
                  <a:pos x="146" y="22"/>
                </a:cxn>
                <a:cxn ang="0">
                  <a:pos x="138" y="16"/>
                </a:cxn>
                <a:cxn ang="0">
                  <a:pos x="128" y="10"/>
                </a:cxn>
                <a:cxn ang="0">
                  <a:pos x="104" y="2"/>
                </a:cxn>
                <a:cxn ang="0">
                  <a:pos x="74" y="0"/>
                </a:cxn>
                <a:cxn ang="0">
                  <a:pos x="44" y="4"/>
                </a:cxn>
                <a:cxn ang="0">
                  <a:pos x="22" y="12"/>
                </a:cxn>
                <a:cxn ang="0">
                  <a:pos x="12" y="18"/>
                </a:cxn>
                <a:cxn ang="0">
                  <a:pos x="6" y="26"/>
                </a:cxn>
                <a:cxn ang="0">
                  <a:pos x="2" y="34"/>
                </a:cxn>
                <a:cxn ang="0">
                  <a:pos x="0" y="44"/>
                </a:cxn>
              </a:cxnLst>
              <a:rect l="0" t="0" r="r" b="b"/>
              <a:pathLst>
                <a:path w="152" h="84">
                  <a:moveTo>
                    <a:pt x="0" y="44"/>
                  </a:moveTo>
                  <a:lnTo>
                    <a:pt x="2" y="54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22" y="74"/>
                  </a:lnTo>
                  <a:lnTo>
                    <a:pt x="46" y="82"/>
                  </a:lnTo>
                  <a:lnTo>
                    <a:pt x="76" y="84"/>
                  </a:lnTo>
                  <a:lnTo>
                    <a:pt x="106" y="80"/>
                  </a:lnTo>
                  <a:lnTo>
                    <a:pt x="130" y="70"/>
                  </a:lnTo>
                  <a:lnTo>
                    <a:pt x="140" y="62"/>
                  </a:lnTo>
                  <a:lnTo>
                    <a:pt x="146" y="56"/>
                  </a:lnTo>
                  <a:lnTo>
                    <a:pt x="150" y="48"/>
                  </a:lnTo>
                  <a:lnTo>
                    <a:pt x="152" y="38"/>
                  </a:lnTo>
                  <a:lnTo>
                    <a:pt x="150" y="30"/>
                  </a:lnTo>
                  <a:lnTo>
                    <a:pt x="146" y="22"/>
                  </a:lnTo>
                  <a:lnTo>
                    <a:pt x="138" y="16"/>
                  </a:lnTo>
                  <a:lnTo>
                    <a:pt x="128" y="10"/>
                  </a:lnTo>
                  <a:lnTo>
                    <a:pt x="104" y="2"/>
                  </a:lnTo>
                  <a:lnTo>
                    <a:pt x="74" y="0"/>
                  </a:lnTo>
                  <a:lnTo>
                    <a:pt x="44" y="4"/>
                  </a:lnTo>
                  <a:lnTo>
                    <a:pt x="22" y="12"/>
                  </a:lnTo>
                  <a:lnTo>
                    <a:pt x="12" y="18"/>
                  </a:lnTo>
                  <a:lnTo>
                    <a:pt x="6" y="26"/>
                  </a:lnTo>
                  <a:lnTo>
                    <a:pt x="2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FFE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5" name="Freeform 88"/>
            <p:cNvSpPr>
              <a:spLocks/>
            </p:cNvSpPr>
            <p:nvPr/>
          </p:nvSpPr>
          <p:spPr bwMode="auto">
            <a:xfrm>
              <a:off x="2847" y="1788"/>
              <a:ext cx="69" cy="3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2" y="48"/>
                </a:cxn>
                <a:cxn ang="0">
                  <a:pos x="4" y="56"/>
                </a:cxn>
                <a:cxn ang="0">
                  <a:pos x="12" y="62"/>
                </a:cxn>
                <a:cxn ang="0">
                  <a:pos x="20" y="68"/>
                </a:cxn>
                <a:cxn ang="0">
                  <a:pos x="42" y="74"/>
                </a:cxn>
                <a:cxn ang="0">
                  <a:pos x="70" y="78"/>
                </a:cxn>
                <a:cxn ang="0">
                  <a:pos x="96" y="74"/>
                </a:cxn>
                <a:cxn ang="0">
                  <a:pos x="118" y="66"/>
                </a:cxn>
                <a:cxn ang="0">
                  <a:pos x="132" y="54"/>
                </a:cxn>
                <a:cxn ang="0">
                  <a:pos x="136" y="44"/>
                </a:cxn>
                <a:cxn ang="0">
                  <a:pos x="138" y="36"/>
                </a:cxn>
                <a:cxn ang="0">
                  <a:pos x="136" y="28"/>
                </a:cxn>
                <a:cxn ang="0">
                  <a:pos x="132" y="22"/>
                </a:cxn>
                <a:cxn ang="0">
                  <a:pos x="124" y="16"/>
                </a:cxn>
                <a:cxn ang="0">
                  <a:pos x="116" y="10"/>
                </a:cxn>
                <a:cxn ang="0">
                  <a:pos x="94" y="2"/>
                </a:cxn>
                <a:cxn ang="0">
                  <a:pos x="68" y="0"/>
                </a:cxn>
                <a:cxn ang="0">
                  <a:pos x="40" y="2"/>
                </a:cxn>
                <a:cxn ang="0">
                  <a:pos x="20" y="10"/>
                </a:cxn>
                <a:cxn ang="0">
                  <a:pos x="12" y="18"/>
                </a:cxn>
                <a:cxn ang="0">
                  <a:pos x="4" y="24"/>
                </a:cxn>
                <a:cxn ang="0">
                  <a:pos x="2" y="32"/>
                </a:cxn>
                <a:cxn ang="0">
                  <a:pos x="0" y="40"/>
                </a:cxn>
              </a:cxnLst>
              <a:rect l="0" t="0" r="r" b="b"/>
              <a:pathLst>
                <a:path w="138" h="78">
                  <a:moveTo>
                    <a:pt x="0" y="40"/>
                  </a:moveTo>
                  <a:lnTo>
                    <a:pt x="2" y="48"/>
                  </a:lnTo>
                  <a:lnTo>
                    <a:pt x="4" y="56"/>
                  </a:lnTo>
                  <a:lnTo>
                    <a:pt x="12" y="62"/>
                  </a:lnTo>
                  <a:lnTo>
                    <a:pt x="20" y="68"/>
                  </a:lnTo>
                  <a:lnTo>
                    <a:pt x="42" y="74"/>
                  </a:lnTo>
                  <a:lnTo>
                    <a:pt x="70" y="78"/>
                  </a:lnTo>
                  <a:lnTo>
                    <a:pt x="96" y="74"/>
                  </a:lnTo>
                  <a:lnTo>
                    <a:pt x="118" y="66"/>
                  </a:lnTo>
                  <a:lnTo>
                    <a:pt x="132" y="54"/>
                  </a:lnTo>
                  <a:lnTo>
                    <a:pt x="136" y="44"/>
                  </a:lnTo>
                  <a:lnTo>
                    <a:pt x="138" y="36"/>
                  </a:lnTo>
                  <a:lnTo>
                    <a:pt x="136" y="28"/>
                  </a:lnTo>
                  <a:lnTo>
                    <a:pt x="132" y="22"/>
                  </a:lnTo>
                  <a:lnTo>
                    <a:pt x="124" y="16"/>
                  </a:lnTo>
                  <a:lnTo>
                    <a:pt x="116" y="10"/>
                  </a:lnTo>
                  <a:lnTo>
                    <a:pt x="94" y="2"/>
                  </a:lnTo>
                  <a:lnTo>
                    <a:pt x="68" y="0"/>
                  </a:lnTo>
                  <a:lnTo>
                    <a:pt x="40" y="2"/>
                  </a:lnTo>
                  <a:lnTo>
                    <a:pt x="20" y="10"/>
                  </a:lnTo>
                  <a:lnTo>
                    <a:pt x="12" y="18"/>
                  </a:lnTo>
                  <a:lnTo>
                    <a:pt x="4" y="24"/>
                  </a:lnTo>
                  <a:lnTo>
                    <a:pt x="2" y="3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FF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6" name="Oval 89"/>
            <p:cNvSpPr>
              <a:spLocks noChangeArrowheads="1"/>
            </p:cNvSpPr>
            <p:nvPr/>
          </p:nvSpPr>
          <p:spPr bwMode="auto">
            <a:xfrm>
              <a:off x="2847" y="1793"/>
              <a:ext cx="66" cy="38"/>
            </a:xfrm>
            <a:prstGeom prst="ellipse">
              <a:avLst/>
            </a:pr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7" name="Freeform 90"/>
            <p:cNvSpPr>
              <a:spLocks/>
            </p:cNvSpPr>
            <p:nvPr/>
          </p:nvSpPr>
          <p:spPr bwMode="auto">
            <a:xfrm>
              <a:off x="3067" y="1564"/>
              <a:ext cx="50" cy="198"/>
            </a:xfrm>
            <a:custGeom>
              <a:avLst/>
              <a:gdLst/>
              <a:ahLst/>
              <a:cxnLst>
                <a:cxn ang="0">
                  <a:pos x="4" y="199"/>
                </a:cxn>
                <a:cxn ang="0">
                  <a:pos x="26" y="173"/>
                </a:cxn>
                <a:cxn ang="0">
                  <a:pos x="48" y="143"/>
                </a:cxn>
                <a:cxn ang="0">
                  <a:pos x="64" y="115"/>
                </a:cxn>
                <a:cxn ang="0">
                  <a:pos x="76" y="83"/>
                </a:cxn>
                <a:cxn ang="0">
                  <a:pos x="92" y="41"/>
                </a:cxn>
                <a:cxn ang="0">
                  <a:pos x="100" y="0"/>
                </a:cxn>
                <a:cxn ang="0">
                  <a:pos x="100" y="193"/>
                </a:cxn>
                <a:cxn ang="0">
                  <a:pos x="98" y="203"/>
                </a:cxn>
                <a:cxn ang="0">
                  <a:pos x="96" y="213"/>
                </a:cxn>
                <a:cxn ang="0">
                  <a:pos x="86" y="251"/>
                </a:cxn>
                <a:cxn ang="0">
                  <a:pos x="74" y="285"/>
                </a:cxn>
                <a:cxn ang="0">
                  <a:pos x="60" y="315"/>
                </a:cxn>
                <a:cxn ang="0">
                  <a:pos x="42" y="345"/>
                </a:cxn>
                <a:cxn ang="0">
                  <a:pos x="24" y="371"/>
                </a:cxn>
                <a:cxn ang="0">
                  <a:pos x="0" y="395"/>
                </a:cxn>
                <a:cxn ang="0">
                  <a:pos x="4" y="199"/>
                </a:cxn>
              </a:cxnLst>
              <a:rect l="0" t="0" r="r" b="b"/>
              <a:pathLst>
                <a:path w="100" h="395">
                  <a:moveTo>
                    <a:pt x="4" y="199"/>
                  </a:moveTo>
                  <a:lnTo>
                    <a:pt x="26" y="173"/>
                  </a:lnTo>
                  <a:lnTo>
                    <a:pt x="48" y="143"/>
                  </a:lnTo>
                  <a:lnTo>
                    <a:pt x="64" y="115"/>
                  </a:lnTo>
                  <a:lnTo>
                    <a:pt x="76" y="83"/>
                  </a:lnTo>
                  <a:lnTo>
                    <a:pt x="92" y="41"/>
                  </a:lnTo>
                  <a:lnTo>
                    <a:pt x="100" y="0"/>
                  </a:lnTo>
                  <a:lnTo>
                    <a:pt x="100" y="193"/>
                  </a:lnTo>
                  <a:lnTo>
                    <a:pt x="98" y="203"/>
                  </a:lnTo>
                  <a:lnTo>
                    <a:pt x="96" y="213"/>
                  </a:lnTo>
                  <a:lnTo>
                    <a:pt x="86" y="251"/>
                  </a:lnTo>
                  <a:lnTo>
                    <a:pt x="74" y="285"/>
                  </a:lnTo>
                  <a:lnTo>
                    <a:pt x="60" y="315"/>
                  </a:lnTo>
                  <a:lnTo>
                    <a:pt x="42" y="345"/>
                  </a:lnTo>
                  <a:lnTo>
                    <a:pt x="24" y="371"/>
                  </a:lnTo>
                  <a:lnTo>
                    <a:pt x="0" y="395"/>
                  </a:lnTo>
                  <a:lnTo>
                    <a:pt x="4" y="199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8" name="Freeform 91"/>
            <p:cNvSpPr>
              <a:spLocks/>
            </p:cNvSpPr>
            <p:nvPr/>
          </p:nvSpPr>
          <p:spPr bwMode="auto">
            <a:xfrm>
              <a:off x="3029" y="1643"/>
              <a:ext cx="56" cy="129"/>
            </a:xfrm>
            <a:custGeom>
              <a:avLst/>
              <a:gdLst/>
              <a:ahLst/>
              <a:cxnLst>
                <a:cxn ang="0">
                  <a:pos x="6" y="96"/>
                </a:cxn>
                <a:cxn ang="0">
                  <a:pos x="8" y="94"/>
                </a:cxn>
                <a:cxn ang="0">
                  <a:pos x="14" y="90"/>
                </a:cxn>
                <a:cxn ang="0">
                  <a:pos x="22" y="84"/>
                </a:cxn>
                <a:cxn ang="0">
                  <a:pos x="34" y="78"/>
                </a:cxn>
                <a:cxn ang="0">
                  <a:pos x="56" y="60"/>
                </a:cxn>
                <a:cxn ang="0">
                  <a:pos x="78" y="42"/>
                </a:cxn>
                <a:cxn ang="0">
                  <a:pos x="92" y="28"/>
                </a:cxn>
                <a:cxn ang="0">
                  <a:pos x="102" y="14"/>
                </a:cxn>
                <a:cxn ang="0">
                  <a:pos x="110" y="4"/>
                </a:cxn>
                <a:cxn ang="0">
                  <a:pos x="112" y="0"/>
                </a:cxn>
                <a:cxn ang="0">
                  <a:pos x="112" y="6"/>
                </a:cxn>
                <a:cxn ang="0">
                  <a:pos x="110" y="24"/>
                </a:cxn>
                <a:cxn ang="0">
                  <a:pos x="110" y="50"/>
                </a:cxn>
                <a:cxn ang="0">
                  <a:pos x="108" y="80"/>
                </a:cxn>
                <a:cxn ang="0">
                  <a:pos x="104" y="142"/>
                </a:cxn>
                <a:cxn ang="0">
                  <a:pos x="104" y="172"/>
                </a:cxn>
                <a:cxn ang="0">
                  <a:pos x="104" y="192"/>
                </a:cxn>
                <a:cxn ang="0">
                  <a:pos x="104" y="202"/>
                </a:cxn>
                <a:cxn ang="0">
                  <a:pos x="102" y="206"/>
                </a:cxn>
                <a:cxn ang="0">
                  <a:pos x="100" y="210"/>
                </a:cxn>
                <a:cxn ang="0">
                  <a:pos x="94" y="218"/>
                </a:cxn>
                <a:cxn ang="0">
                  <a:pos x="82" y="228"/>
                </a:cxn>
                <a:cxn ang="0">
                  <a:pos x="68" y="242"/>
                </a:cxn>
                <a:cxn ang="0">
                  <a:pos x="52" y="254"/>
                </a:cxn>
                <a:cxn ang="0">
                  <a:pos x="32" y="258"/>
                </a:cxn>
                <a:cxn ang="0">
                  <a:pos x="22" y="258"/>
                </a:cxn>
                <a:cxn ang="0">
                  <a:pos x="12" y="256"/>
                </a:cxn>
                <a:cxn ang="0">
                  <a:pos x="6" y="250"/>
                </a:cxn>
                <a:cxn ang="0">
                  <a:pos x="0" y="240"/>
                </a:cxn>
                <a:cxn ang="0">
                  <a:pos x="6" y="96"/>
                </a:cxn>
              </a:cxnLst>
              <a:rect l="0" t="0" r="r" b="b"/>
              <a:pathLst>
                <a:path w="112" h="258">
                  <a:moveTo>
                    <a:pt x="6" y="96"/>
                  </a:moveTo>
                  <a:lnTo>
                    <a:pt x="8" y="94"/>
                  </a:lnTo>
                  <a:lnTo>
                    <a:pt x="14" y="90"/>
                  </a:lnTo>
                  <a:lnTo>
                    <a:pt x="22" y="84"/>
                  </a:lnTo>
                  <a:lnTo>
                    <a:pt x="34" y="78"/>
                  </a:lnTo>
                  <a:lnTo>
                    <a:pt x="56" y="60"/>
                  </a:lnTo>
                  <a:lnTo>
                    <a:pt x="78" y="42"/>
                  </a:lnTo>
                  <a:lnTo>
                    <a:pt x="92" y="28"/>
                  </a:lnTo>
                  <a:lnTo>
                    <a:pt x="102" y="14"/>
                  </a:lnTo>
                  <a:lnTo>
                    <a:pt x="110" y="4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10" y="24"/>
                  </a:lnTo>
                  <a:lnTo>
                    <a:pt x="110" y="50"/>
                  </a:lnTo>
                  <a:lnTo>
                    <a:pt x="108" y="80"/>
                  </a:lnTo>
                  <a:lnTo>
                    <a:pt x="104" y="142"/>
                  </a:lnTo>
                  <a:lnTo>
                    <a:pt x="104" y="172"/>
                  </a:lnTo>
                  <a:lnTo>
                    <a:pt x="104" y="192"/>
                  </a:lnTo>
                  <a:lnTo>
                    <a:pt x="104" y="202"/>
                  </a:lnTo>
                  <a:lnTo>
                    <a:pt x="102" y="206"/>
                  </a:lnTo>
                  <a:lnTo>
                    <a:pt x="100" y="210"/>
                  </a:lnTo>
                  <a:lnTo>
                    <a:pt x="94" y="218"/>
                  </a:lnTo>
                  <a:lnTo>
                    <a:pt x="82" y="228"/>
                  </a:lnTo>
                  <a:lnTo>
                    <a:pt x="68" y="242"/>
                  </a:lnTo>
                  <a:lnTo>
                    <a:pt x="52" y="254"/>
                  </a:lnTo>
                  <a:lnTo>
                    <a:pt x="32" y="258"/>
                  </a:lnTo>
                  <a:lnTo>
                    <a:pt x="22" y="258"/>
                  </a:lnTo>
                  <a:lnTo>
                    <a:pt x="12" y="256"/>
                  </a:lnTo>
                  <a:lnTo>
                    <a:pt x="6" y="250"/>
                  </a:lnTo>
                  <a:lnTo>
                    <a:pt x="0" y="240"/>
                  </a:lnTo>
                  <a:lnTo>
                    <a:pt x="6" y="96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69" name="Freeform 92"/>
            <p:cNvSpPr>
              <a:spLocks/>
            </p:cNvSpPr>
            <p:nvPr/>
          </p:nvSpPr>
          <p:spPr bwMode="auto">
            <a:xfrm>
              <a:off x="3026" y="1649"/>
              <a:ext cx="57" cy="126"/>
            </a:xfrm>
            <a:custGeom>
              <a:avLst/>
              <a:gdLst/>
              <a:ahLst/>
              <a:cxnLst>
                <a:cxn ang="0">
                  <a:pos x="6" y="90"/>
                </a:cxn>
                <a:cxn ang="0">
                  <a:pos x="8" y="88"/>
                </a:cxn>
                <a:cxn ang="0">
                  <a:pos x="14" y="84"/>
                </a:cxn>
                <a:cxn ang="0">
                  <a:pos x="22" y="80"/>
                </a:cxn>
                <a:cxn ang="0">
                  <a:pos x="32" y="74"/>
                </a:cxn>
                <a:cxn ang="0">
                  <a:pos x="78" y="40"/>
                </a:cxn>
                <a:cxn ang="0">
                  <a:pos x="92" y="24"/>
                </a:cxn>
                <a:cxn ang="0">
                  <a:pos x="104" y="12"/>
                </a:cxn>
                <a:cxn ang="0">
                  <a:pos x="112" y="4"/>
                </a:cxn>
                <a:cxn ang="0">
                  <a:pos x="114" y="0"/>
                </a:cxn>
                <a:cxn ang="0">
                  <a:pos x="104" y="204"/>
                </a:cxn>
                <a:cxn ang="0">
                  <a:pos x="100" y="208"/>
                </a:cxn>
                <a:cxn ang="0">
                  <a:pos x="94" y="216"/>
                </a:cxn>
                <a:cxn ang="0">
                  <a:pos x="82" y="228"/>
                </a:cxn>
                <a:cxn ang="0">
                  <a:pos x="70" y="238"/>
                </a:cxn>
                <a:cxn ang="0">
                  <a:pos x="52" y="248"/>
                </a:cxn>
                <a:cxn ang="0">
                  <a:pos x="32" y="252"/>
                </a:cxn>
                <a:cxn ang="0">
                  <a:pos x="22" y="252"/>
                </a:cxn>
                <a:cxn ang="0">
                  <a:pos x="12" y="246"/>
                </a:cxn>
                <a:cxn ang="0">
                  <a:pos x="6" y="240"/>
                </a:cxn>
                <a:cxn ang="0">
                  <a:pos x="0" y="230"/>
                </a:cxn>
                <a:cxn ang="0">
                  <a:pos x="6" y="90"/>
                </a:cxn>
              </a:cxnLst>
              <a:rect l="0" t="0" r="r" b="b"/>
              <a:pathLst>
                <a:path w="114" h="252">
                  <a:moveTo>
                    <a:pt x="6" y="90"/>
                  </a:moveTo>
                  <a:lnTo>
                    <a:pt x="8" y="88"/>
                  </a:lnTo>
                  <a:lnTo>
                    <a:pt x="14" y="84"/>
                  </a:lnTo>
                  <a:lnTo>
                    <a:pt x="22" y="80"/>
                  </a:lnTo>
                  <a:lnTo>
                    <a:pt x="32" y="74"/>
                  </a:lnTo>
                  <a:lnTo>
                    <a:pt x="78" y="40"/>
                  </a:lnTo>
                  <a:lnTo>
                    <a:pt x="92" y="24"/>
                  </a:lnTo>
                  <a:lnTo>
                    <a:pt x="104" y="12"/>
                  </a:lnTo>
                  <a:lnTo>
                    <a:pt x="112" y="4"/>
                  </a:lnTo>
                  <a:lnTo>
                    <a:pt x="114" y="0"/>
                  </a:lnTo>
                  <a:lnTo>
                    <a:pt x="104" y="204"/>
                  </a:lnTo>
                  <a:lnTo>
                    <a:pt x="100" y="208"/>
                  </a:lnTo>
                  <a:lnTo>
                    <a:pt x="94" y="216"/>
                  </a:lnTo>
                  <a:lnTo>
                    <a:pt x="82" y="228"/>
                  </a:lnTo>
                  <a:lnTo>
                    <a:pt x="70" y="238"/>
                  </a:lnTo>
                  <a:lnTo>
                    <a:pt x="52" y="248"/>
                  </a:lnTo>
                  <a:lnTo>
                    <a:pt x="32" y="252"/>
                  </a:lnTo>
                  <a:lnTo>
                    <a:pt x="22" y="252"/>
                  </a:lnTo>
                  <a:lnTo>
                    <a:pt x="12" y="246"/>
                  </a:lnTo>
                  <a:lnTo>
                    <a:pt x="6" y="240"/>
                  </a:lnTo>
                  <a:lnTo>
                    <a:pt x="0" y="230"/>
                  </a:lnTo>
                  <a:lnTo>
                    <a:pt x="6" y="90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0" name="Freeform 93"/>
            <p:cNvSpPr>
              <a:spLocks/>
            </p:cNvSpPr>
            <p:nvPr/>
          </p:nvSpPr>
          <p:spPr bwMode="auto">
            <a:xfrm>
              <a:off x="2678" y="1697"/>
              <a:ext cx="146" cy="130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2"/>
                </a:cxn>
                <a:cxn ang="0">
                  <a:pos x="64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4"/>
                </a:cxn>
                <a:cxn ang="0">
                  <a:pos x="286" y="90"/>
                </a:cxn>
                <a:cxn ang="0">
                  <a:pos x="288" y="102"/>
                </a:cxn>
                <a:cxn ang="0">
                  <a:pos x="292" y="116"/>
                </a:cxn>
                <a:cxn ang="0">
                  <a:pos x="294" y="128"/>
                </a:cxn>
                <a:cxn ang="0">
                  <a:pos x="294" y="142"/>
                </a:cxn>
                <a:cxn ang="0">
                  <a:pos x="288" y="156"/>
                </a:cxn>
                <a:cxn ang="0">
                  <a:pos x="280" y="168"/>
                </a:cxn>
                <a:cxn ang="0">
                  <a:pos x="270" y="178"/>
                </a:cxn>
                <a:cxn ang="0">
                  <a:pos x="264" y="188"/>
                </a:cxn>
                <a:cxn ang="0">
                  <a:pos x="258" y="204"/>
                </a:cxn>
                <a:cxn ang="0">
                  <a:pos x="254" y="224"/>
                </a:cxn>
                <a:cxn ang="0">
                  <a:pos x="250" y="244"/>
                </a:cxn>
                <a:cxn ang="0">
                  <a:pos x="244" y="252"/>
                </a:cxn>
                <a:cxn ang="0">
                  <a:pos x="242" y="258"/>
                </a:cxn>
                <a:cxn ang="0">
                  <a:pos x="234" y="260"/>
                </a:cxn>
                <a:cxn ang="0">
                  <a:pos x="226" y="258"/>
                </a:cxn>
                <a:cxn ang="0">
                  <a:pos x="216" y="258"/>
                </a:cxn>
                <a:cxn ang="0">
                  <a:pos x="208" y="258"/>
                </a:cxn>
                <a:cxn ang="0">
                  <a:pos x="192" y="256"/>
                </a:cxn>
                <a:cxn ang="0">
                  <a:pos x="156" y="246"/>
                </a:cxn>
                <a:cxn ang="0">
                  <a:pos x="136" y="240"/>
                </a:cxn>
                <a:cxn ang="0">
                  <a:pos x="120" y="232"/>
                </a:cxn>
                <a:cxn ang="0">
                  <a:pos x="110" y="230"/>
                </a:cxn>
                <a:cxn ang="0">
                  <a:pos x="104" y="228"/>
                </a:cxn>
              </a:cxnLst>
              <a:rect l="0" t="0" r="r" b="b"/>
              <a:pathLst>
                <a:path w="294" h="260">
                  <a:moveTo>
                    <a:pt x="104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2"/>
                  </a:lnTo>
                  <a:lnTo>
                    <a:pt x="64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4"/>
                  </a:lnTo>
                  <a:lnTo>
                    <a:pt x="286" y="90"/>
                  </a:lnTo>
                  <a:lnTo>
                    <a:pt x="288" y="102"/>
                  </a:lnTo>
                  <a:lnTo>
                    <a:pt x="292" y="116"/>
                  </a:lnTo>
                  <a:lnTo>
                    <a:pt x="294" y="128"/>
                  </a:lnTo>
                  <a:lnTo>
                    <a:pt x="294" y="142"/>
                  </a:lnTo>
                  <a:lnTo>
                    <a:pt x="288" y="156"/>
                  </a:lnTo>
                  <a:lnTo>
                    <a:pt x="280" y="168"/>
                  </a:lnTo>
                  <a:lnTo>
                    <a:pt x="270" y="178"/>
                  </a:lnTo>
                  <a:lnTo>
                    <a:pt x="264" y="188"/>
                  </a:lnTo>
                  <a:lnTo>
                    <a:pt x="258" y="204"/>
                  </a:lnTo>
                  <a:lnTo>
                    <a:pt x="254" y="224"/>
                  </a:lnTo>
                  <a:lnTo>
                    <a:pt x="250" y="244"/>
                  </a:lnTo>
                  <a:lnTo>
                    <a:pt x="244" y="252"/>
                  </a:lnTo>
                  <a:lnTo>
                    <a:pt x="242" y="258"/>
                  </a:lnTo>
                  <a:lnTo>
                    <a:pt x="234" y="260"/>
                  </a:lnTo>
                  <a:lnTo>
                    <a:pt x="226" y="258"/>
                  </a:lnTo>
                  <a:lnTo>
                    <a:pt x="216" y="258"/>
                  </a:lnTo>
                  <a:lnTo>
                    <a:pt x="208" y="258"/>
                  </a:lnTo>
                  <a:lnTo>
                    <a:pt x="192" y="256"/>
                  </a:lnTo>
                  <a:lnTo>
                    <a:pt x="156" y="246"/>
                  </a:lnTo>
                  <a:lnTo>
                    <a:pt x="136" y="240"/>
                  </a:lnTo>
                  <a:lnTo>
                    <a:pt x="120" y="232"/>
                  </a:lnTo>
                  <a:lnTo>
                    <a:pt x="110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1" name="Freeform 94"/>
            <p:cNvSpPr>
              <a:spLocks/>
            </p:cNvSpPr>
            <p:nvPr/>
          </p:nvSpPr>
          <p:spPr bwMode="auto">
            <a:xfrm>
              <a:off x="2678" y="1697"/>
              <a:ext cx="144" cy="129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4"/>
                </a:cxn>
                <a:cxn ang="0">
                  <a:pos x="286" y="90"/>
                </a:cxn>
                <a:cxn ang="0">
                  <a:pos x="288" y="100"/>
                </a:cxn>
                <a:cxn ang="0">
                  <a:pos x="290" y="114"/>
                </a:cxn>
                <a:cxn ang="0">
                  <a:pos x="290" y="142"/>
                </a:cxn>
                <a:cxn ang="0">
                  <a:pos x="286" y="154"/>
                </a:cxn>
                <a:cxn ang="0">
                  <a:pos x="278" y="166"/>
                </a:cxn>
                <a:cxn ang="0">
                  <a:pos x="268" y="176"/>
                </a:cxn>
                <a:cxn ang="0">
                  <a:pos x="262" y="186"/>
                </a:cxn>
                <a:cxn ang="0">
                  <a:pos x="254" y="202"/>
                </a:cxn>
                <a:cxn ang="0">
                  <a:pos x="252" y="220"/>
                </a:cxn>
                <a:cxn ang="0">
                  <a:pos x="244" y="240"/>
                </a:cxn>
                <a:cxn ang="0">
                  <a:pos x="240" y="250"/>
                </a:cxn>
                <a:cxn ang="0">
                  <a:pos x="236" y="254"/>
                </a:cxn>
                <a:cxn ang="0">
                  <a:pos x="228" y="258"/>
                </a:cxn>
                <a:cxn ang="0">
                  <a:pos x="226" y="258"/>
                </a:cxn>
                <a:cxn ang="0">
                  <a:pos x="222" y="256"/>
                </a:cxn>
                <a:cxn ang="0">
                  <a:pos x="212" y="256"/>
                </a:cxn>
                <a:cxn ang="0">
                  <a:pos x="204" y="256"/>
                </a:cxn>
                <a:cxn ang="0">
                  <a:pos x="190" y="254"/>
                </a:cxn>
                <a:cxn ang="0">
                  <a:pos x="154" y="246"/>
                </a:cxn>
                <a:cxn ang="0">
                  <a:pos x="136" y="238"/>
                </a:cxn>
                <a:cxn ang="0">
                  <a:pos x="120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90" h="25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4"/>
                  </a:lnTo>
                  <a:lnTo>
                    <a:pt x="286" y="90"/>
                  </a:lnTo>
                  <a:lnTo>
                    <a:pt x="288" y="100"/>
                  </a:lnTo>
                  <a:lnTo>
                    <a:pt x="290" y="114"/>
                  </a:lnTo>
                  <a:lnTo>
                    <a:pt x="290" y="142"/>
                  </a:lnTo>
                  <a:lnTo>
                    <a:pt x="286" y="154"/>
                  </a:lnTo>
                  <a:lnTo>
                    <a:pt x="278" y="166"/>
                  </a:lnTo>
                  <a:lnTo>
                    <a:pt x="268" y="176"/>
                  </a:lnTo>
                  <a:lnTo>
                    <a:pt x="262" y="186"/>
                  </a:lnTo>
                  <a:lnTo>
                    <a:pt x="254" y="202"/>
                  </a:lnTo>
                  <a:lnTo>
                    <a:pt x="252" y="220"/>
                  </a:lnTo>
                  <a:lnTo>
                    <a:pt x="244" y="240"/>
                  </a:lnTo>
                  <a:lnTo>
                    <a:pt x="240" y="250"/>
                  </a:lnTo>
                  <a:lnTo>
                    <a:pt x="236" y="254"/>
                  </a:lnTo>
                  <a:lnTo>
                    <a:pt x="228" y="258"/>
                  </a:lnTo>
                  <a:lnTo>
                    <a:pt x="226" y="258"/>
                  </a:lnTo>
                  <a:lnTo>
                    <a:pt x="222" y="256"/>
                  </a:lnTo>
                  <a:lnTo>
                    <a:pt x="212" y="256"/>
                  </a:lnTo>
                  <a:lnTo>
                    <a:pt x="204" y="256"/>
                  </a:lnTo>
                  <a:lnTo>
                    <a:pt x="190" y="254"/>
                  </a:lnTo>
                  <a:lnTo>
                    <a:pt x="154" y="246"/>
                  </a:lnTo>
                  <a:lnTo>
                    <a:pt x="136" y="238"/>
                  </a:lnTo>
                  <a:lnTo>
                    <a:pt x="120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2" name="Freeform 95"/>
            <p:cNvSpPr>
              <a:spLocks/>
            </p:cNvSpPr>
            <p:nvPr/>
          </p:nvSpPr>
          <p:spPr bwMode="auto">
            <a:xfrm>
              <a:off x="2678" y="1697"/>
              <a:ext cx="143" cy="12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2"/>
                </a:cxn>
                <a:cxn ang="0">
                  <a:pos x="286" y="90"/>
                </a:cxn>
                <a:cxn ang="0">
                  <a:pos x="288" y="110"/>
                </a:cxn>
                <a:cxn ang="0">
                  <a:pos x="286" y="136"/>
                </a:cxn>
                <a:cxn ang="0">
                  <a:pos x="282" y="150"/>
                </a:cxn>
                <a:cxn ang="0">
                  <a:pos x="274" y="160"/>
                </a:cxn>
                <a:cxn ang="0">
                  <a:pos x="266" y="170"/>
                </a:cxn>
                <a:cxn ang="0">
                  <a:pos x="260" y="180"/>
                </a:cxn>
                <a:cxn ang="0">
                  <a:pos x="252" y="196"/>
                </a:cxn>
                <a:cxn ang="0">
                  <a:pos x="246" y="214"/>
                </a:cxn>
                <a:cxn ang="0">
                  <a:pos x="240" y="236"/>
                </a:cxn>
                <a:cxn ang="0">
                  <a:pos x="234" y="246"/>
                </a:cxn>
                <a:cxn ang="0">
                  <a:pos x="232" y="250"/>
                </a:cxn>
                <a:cxn ang="0">
                  <a:pos x="226" y="254"/>
                </a:cxn>
                <a:cxn ang="0">
                  <a:pos x="218" y="254"/>
                </a:cxn>
                <a:cxn ang="0">
                  <a:pos x="208" y="254"/>
                </a:cxn>
                <a:cxn ang="0">
                  <a:pos x="200" y="254"/>
                </a:cxn>
                <a:cxn ang="0">
                  <a:pos x="186" y="254"/>
                </a:cxn>
                <a:cxn ang="0">
                  <a:pos x="150" y="246"/>
                </a:cxn>
                <a:cxn ang="0">
                  <a:pos x="134" y="238"/>
                </a:cxn>
                <a:cxn ang="0">
                  <a:pos x="120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8" h="25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2"/>
                  </a:lnTo>
                  <a:lnTo>
                    <a:pt x="286" y="90"/>
                  </a:lnTo>
                  <a:lnTo>
                    <a:pt x="288" y="110"/>
                  </a:lnTo>
                  <a:lnTo>
                    <a:pt x="286" y="136"/>
                  </a:lnTo>
                  <a:lnTo>
                    <a:pt x="282" y="150"/>
                  </a:lnTo>
                  <a:lnTo>
                    <a:pt x="274" y="160"/>
                  </a:lnTo>
                  <a:lnTo>
                    <a:pt x="266" y="170"/>
                  </a:lnTo>
                  <a:lnTo>
                    <a:pt x="260" y="180"/>
                  </a:lnTo>
                  <a:lnTo>
                    <a:pt x="252" y="196"/>
                  </a:lnTo>
                  <a:lnTo>
                    <a:pt x="246" y="214"/>
                  </a:lnTo>
                  <a:lnTo>
                    <a:pt x="240" y="236"/>
                  </a:lnTo>
                  <a:lnTo>
                    <a:pt x="234" y="246"/>
                  </a:lnTo>
                  <a:lnTo>
                    <a:pt x="232" y="250"/>
                  </a:lnTo>
                  <a:lnTo>
                    <a:pt x="226" y="254"/>
                  </a:lnTo>
                  <a:lnTo>
                    <a:pt x="218" y="254"/>
                  </a:lnTo>
                  <a:lnTo>
                    <a:pt x="208" y="254"/>
                  </a:lnTo>
                  <a:lnTo>
                    <a:pt x="200" y="254"/>
                  </a:lnTo>
                  <a:lnTo>
                    <a:pt x="186" y="254"/>
                  </a:lnTo>
                  <a:lnTo>
                    <a:pt x="150" y="246"/>
                  </a:lnTo>
                  <a:lnTo>
                    <a:pt x="134" y="238"/>
                  </a:lnTo>
                  <a:lnTo>
                    <a:pt x="120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3" name="Freeform 96"/>
            <p:cNvSpPr>
              <a:spLocks/>
            </p:cNvSpPr>
            <p:nvPr/>
          </p:nvSpPr>
          <p:spPr bwMode="auto">
            <a:xfrm>
              <a:off x="2678" y="1697"/>
              <a:ext cx="143" cy="126"/>
            </a:xfrm>
            <a:custGeom>
              <a:avLst/>
              <a:gdLst/>
              <a:ahLst/>
              <a:cxnLst>
                <a:cxn ang="0">
                  <a:pos x="106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90" y="212"/>
                </a:cxn>
                <a:cxn ang="0">
                  <a:pos x="76" y="192"/>
                </a:cxn>
                <a:cxn ang="0">
                  <a:pos x="66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6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30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6" y="8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4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4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4" y="62"/>
                </a:cxn>
                <a:cxn ang="0">
                  <a:pos x="168" y="66"/>
                </a:cxn>
                <a:cxn ang="0">
                  <a:pos x="222" y="72"/>
                </a:cxn>
                <a:cxn ang="0">
                  <a:pos x="246" y="76"/>
                </a:cxn>
                <a:cxn ang="0">
                  <a:pos x="266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90"/>
                </a:cxn>
                <a:cxn ang="0">
                  <a:pos x="288" y="108"/>
                </a:cxn>
                <a:cxn ang="0">
                  <a:pos x="286" y="132"/>
                </a:cxn>
                <a:cxn ang="0">
                  <a:pos x="280" y="146"/>
                </a:cxn>
                <a:cxn ang="0">
                  <a:pos x="272" y="156"/>
                </a:cxn>
                <a:cxn ang="0">
                  <a:pos x="264" y="166"/>
                </a:cxn>
                <a:cxn ang="0">
                  <a:pos x="256" y="176"/>
                </a:cxn>
                <a:cxn ang="0">
                  <a:pos x="248" y="192"/>
                </a:cxn>
                <a:cxn ang="0">
                  <a:pos x="242" y="208"/>
                </a:cxn>
                <a:cxn ang="0">
                  <a:pos x="236" y="230"/>
                </a:cxn>
                <a:cxn ang="0">
                  <a:pos x="232" y="240"/>
                </a:cxn>
                <a:cxn ang="0">
                  <a:pos x="228" y="246"/>
                </a:cxn>
                <a:cxn ang="0">
                  <a:pos x="222" y="250"/>
                </a:cxn>
                <a:cxn ang="0">
                  <a:pos x="214" y="250"/>
                </a:cxn>
                <a:cxn ang="0">
                  <a:pos x="204" y="252"/>
                </a:cxn>
                <a:cxn ang="0">
                  <a:pos x="196" y="252"/>
                </a:cxn>
                <a:cxn ang="0">
                  <a:pos x="184" y="250"/>
                </a:cxn>
                <a:cxn ang="0">
                  <a:pos x="150" y="242"/>
                </a:cxn>
                <a:cxn ang="0">
                  <a:pos x="134" y="238"/>
                </a:cxn>
                <a:cxn ang="0">
                  <a:pos x="118" y="232"/>
                </a:cxn>
                <a:cxn ang="0">
                  <a:pos x="110" y="230"/>
                </a:cxn>
                <a:cxn ang="0">
                  <a:pos x="106" y="228"/>
                </a:cxn>
              </a:cxnLst>
              <a:rect l="0" t="0" r="r" b="b"/>
              <a:pathLst>
                <a:path w="288" h="252">
                  <a:moveTo>
                    <a:pt x="106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90" y="212"/>
                  </a:lnTo>
                  <a:lnTo>
                    <a:pt x="76" y="192"/>
                  </a:lnTo>
                  <a:lnTo>
                    <a:pt x="66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6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30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6" y="8"/>
                  </a:lnTo>
                  <a:lnTo>
                    <a:pt x="2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14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4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4" y="62"/>
                  </a:lnTo>
                  <a:lnTo>
                    <a:pt x="168" y="66"/>
                  </a:lnTo>
                  <a:lnTo>
                    <a:pt x="222" y="72"/>
                  </a:lnTo>
                  <a:lnTo>
                    <a:pt x="246" y="76"/>
                  </a:lnTo>
                  <a:lnTo>
                    <a:pt x="266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90"/>
                  </a:lnTo>
                  <a:lnTo>
                    <a:pt x="288" y="108"/>
                  </a:lnTo>
                  <a:lnTo>
                    <a:pt x="286" y="132"/>
                  </a:lnTo>
                  <a:lnTo>
                    <a:pt x="280" y="146"/>
                  </a:lnTo>
                  <a:lnTo>
                    <a:pt x="272" y="156"/>
                  </a:lnTo>
                  <a:lnTo>
                    <a:pt x="264" y="166"/>
                  </a:lnTo>
                  <a:lnTo>
                    <a:pt x="256" y="176"/>
                  </a:lnTo>
                  <a:lnTo>
                    <a:pt x="248" y="192"/>
                  </a:lnTo>
                  <a:lnTo>
                    <a:pt x="242" y="208"/>
                  </a:lnTo>
                  <a:lnTo>
                    <a:pt x="236" y="230"/>
                  </a:lnTo>
                  <a:lnTo>
                    <a:pt x="232" y="240"/>
                  </a:lnTo>
                  <a:lnTo>
                    <a:pt x="228" y="246"/>
                  </a:lnTo>
                  <a:lnTo>
                    <a:pt x="222" y="250"/>
                  </a:lnTo>
                  <a:lnTo>
                    <a:pt x="214" y="250"/>
                  </a:lnTo>
                  <a:lnTo>
                    <a:pt x="204" y="252"/>
                  </a:lnTo>
                  <a:lnTo>
                    <a:pt x="196" y="252"/>
                  </a:lnTo>
                  <a:lnTo>
                    <a:pt x="184" y="250"/>
                  </a:lnTo>
                  <a:lnTo>
                    <a:pt x="150" y="242"/>
                  </a:lnTo>
                  <a:lnTo>
                    <a:pt x="134" y="238"/>
                  </a:lnTo>
                  <a:lnTo>
                    <a:pt x="118" y="232"/>
                  </a:lnTo>
                  <a:lnTo>
                    <a:pt x="110" y="230"/>
                  </a:lnTo>
                  <a:lnTo>
                    <a:pt x="106" y="228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4" name="Freeform 97"/>
            <p:cNvSpPr>
              <a:spLocks/>
            </p:cNvSpPr>
            <p:nvPr/>
          </p:nvSpPr>
          <p:spPr bwMode="auto">
            <a:xfrm>
              <a:off x="2678" y="1697"/>
              <a:ext cx="142" cy="126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90"/>
                </a:cxn>
                <a:cxn ang="0">
                  <a:pos x="286" y="108"/>
                </a:cxn>
                <a:cxn ang="0">
                  <a:pos x="282" y="130"/>
                </a:cxn>
                <a:cxn ang="0">
                  <a:pos x="278" y="142"/>
                </a:cxn>
                <a:cxn ang="0">
                  <a:pos x="268" y="152"/>
                </a:cxn>
                <a:cxn ang="0">
                  <a:pos x="260" y="162"/>
                </a:cxn>
                <a:cxn ang="0">
                  <a:pos x="252" y="172"/>
                </a:cxn>
                <a:cxn ang="0">
                  <a:pos x="242" y="190"/>
                </a:cxn>
                <a:cxn ang="0">
                  <a:pos x="238" y="206"/>
                </a:cxn>
                <a:cxn ang="0">
                  <a:pos x="230" y="228"/>
                </a:cxn>
                <a:cxn ang="0">
                  <a:pos x="226" y="238"/>
                </a:cxn>
                <a:cxn ang="0">
                  <a:pos x="222" y="244"/>
                </a:cxn>
                <a:cxn ang="0">
                  <a:pos x="216" y="248"/>
                </a:cxn>
                <a:cxn ang="0">
                  <a:pos x="208" y="250"/>
                </a:cxn>
                <a:cxn ang="0">
                  <a:pos x="200" y="252"/>
                </a:cxn>
                <a:cxn ang="0">
                  <a:pos x="190" y="252"/>
                </a:cxn>
                <a:cxn ang="0">
                  <a:pos x="178" y="250"/>
                </a:cxn>
                <a:cxn ang="0">
                  <a:pos x="148" y="242"/>
                </a:cxn>
                <a:cxn ang="0">
                  <a:pos x="130" y="238"/>
                </a:cxn>
                <a:cxn ang="0">
                  <a:pos x="118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6" h="25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90"/>
                  </a:lnTo>
                  <a:lnTo>
                    <a:pt x="286" y="108"/>
                  </a:lnTo>
                  <a:lnTo>
                    <a:pt x="282" y="130"/>
                  </a:lnTo>
                  <a:lnTo>
                    <a:pt x="278" y="142"/>
                  </a:lnTo>
                  <a:lnTo>
                    <a:pt x="268" y="152"/>
                  </a:lnTo>
                  <a:lnTo>
                    <a:pt x="260" y="162"/>
                  </a:lnTo>
                  <a:lnTo>
                    <a:pt x="252" y="172"/>
                  </a:lnTo>
                  <a:lnTo>
                    <a:pt x="242" y="190"/>
                  </a:lnTo>
                  <a:lnTo>
                    <a:pt x="238" y="206"/>
                  </a:lnTo>
                  <a:lnTo>
                    <a:pt x="230" y="228"/>
                  </a:lnTo>
                  <a:lnTo>
                    <a:pt x="226" y="238"/>
                  </a:lnTo>
                  <a:lnTo>
                    <a:pt x="222" y="244"/>
                  </a:lnTo>
                  <a:lnTo>
                    <a:pt x="216" y="248"/>
                  </a:lnTo>
                  <a:lnTo>
                    <a:pt x="208" y="250"/>
                  </a:lnTo>
                  <a:lnTo>
                    <a:pt x="200" y="252"/>
                  </a:lnTo>
                  <a:lnTo>
                    <a:pt x="190" y="252"/>
                  </a:lnTo>
                  <a:lnTo>
                    <a:pt x="178" y="250"/>
                  </a:lnTo>
                  <a:lnTo>
                    <a:pt x="148" y="242"/>
                  </a:lnTo>
                  <a:lnTo>
                    <a:pt x="130" y="238"/>
                  </a:lnTo>
                  <a:lnTo>
                    <a:pt x="118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5" name="Freeform 98"/>
            <p:cNvSpPr>
              <a:spLocks/>
            </p:cNvSpPr>
            <p:nvPr/>
          </p:nvSpPr>
          <p:spPr bwMode="auto">
            <a:xfrm>
              <a:off x="2678" y="1697"/>
              <a:ext cx="141" cy="125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8"/>
                </a:cxn>
                <a:cxn ang="0">
                  <a:pos x="284" y="106"/>
                </a:cxn>
                <a:cxn ang="0">
                  <a:pos x="280" y="126"/>
                </a:cxn>
                <a:cxn ang="0">
                  <a:pos x="274" y="138"/>
                </a:cxn>
                <a:cxn ang="0">
                  <a:pos x="266" y="150"/>
                </a:cxn>
                <a:cxn ang="0">
                  <a:pos x="256" y="160"/>
                </a:cxn>
                <a:cxn ang="0">
                  <a:pos x="248" y="168"/>
                </a:cxn>
                <a:cxn ang="0">
                  <a:pos x="238" y="186"/>
                </a:cxn>
                <a:cxn ang="0">
                  <a:pos x="232" y="202"/>
                </a:cxn>
                <a:cxn ang="0">
                  <a:pos x="226" y="222"/>
                </a:cxn>
                <a:cxn ang="0">
                  <a:pos x="222" y="232"/>
                </a:cxn>
                <a:cxn ang="0">
                  <a:pos x="218" y="238"/>
                </a:cxn>
                <a:cxn ang="0">
                  <a:pos x="212" y="246"/>
                </a:cxn>
                <a:cxn ang="0">
                  <a:pos x="206" y="246"/>
                </a:cxn>
                <a:cxn ang="0">
                  <a:pos x="196" y="248"/>
                </a:cxn>
                <a:cxn ang="0">
                  <a:pos x="188" y="250"/>
                </a:cxn>
                <a:cxn ang="0">
                  <a:pos x="174" y="248"/>
                </a:cxn>
                <a:cxn ang="0">
                  <a:pos x="146" y="242"/>
                </a:cxn>
                <a:cxn ang="0">
                  <a:pos x="130" y="238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4" h="25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8"/>
                  </a:lnTo>
                  <a:lnTo>
                    <a:pt x="284" y="106"/>
                  </a:lnTo>
                  <a:lnTo>
                    <a:pt x="280" y="126"/>
                  </a:lnTo>
                  <a:lnTo>
                    <a:pt x="274" y="138"/>
                  </a:lnTo>
                  <a:lnTo>
                    <a:pt x="266" y="150"/>
                  </a:lnTo>
                  <a:lnTo>
                    <a:pt x="256" y="160"/>
                  </a:lnTo>
                  <a:lnTo>
                    <a:pt x="248" y="168"/>
                  </a:lnTo>
                  <a:lnTo>
                    <a:pt x="238" y="186"/>
                  </a:lnTo>
                  <a:lnTo>
                    <a:pt x="232" y="202"/>
                  </a:lnTo>
                  <a:lnTo>
                    <a:pt x="226" y="222"/>
                  </a:lnTo>
                  <a:lnTo>
                    <a:pt x="222" y="232"/>
                  </a:lnTo>
                  <a:lnTo>
                    <a:pt x="218" y="238"/>
                  </a:lnTo>
                  <a:lnTo>
                    <a:pt x="212" y="246"/>
                  </a:lnTo>
                  <a:lnTo>
                    <a:pt x="206" y="246"/>
                  </a:lnTo>
                  <a:lnTo>
                    <a:pt x="196" y="248"/>
                  </a:lnTo>
                  <a:lnTo>
                    <a:pt x="188" y="250"/>
                  </a:lnTo>
                  <a:lnTo>
                    <a:pt x="174" y="248"/>
                  </a:lnTo>
                  <a:lnTo>
                    <a:pt x="146" y="242"/>
                  </a:lnTo>
                  <a:lnTo>
                    <a:pt x="130" y="238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6" name="Freeform 99"/>
            <p:cNvSpPr>
              <a:spLocks/>
            </p:cNvSpPr>
            <p:nvPr/>
          </p:nvSpPr>
          <p:spPr bwMode="auto">
            <a:xfrm>
              <a:off x="2678" y="1697"/>
              <a:ext cx="141" cy="124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8"/>
                </a:cxn>
                <a:cxn ang="0">
                  <a:pos x="284" y="104"/>
                </a:cxn>
                <a:cxn ang="0">
                  <a:pos x="278" y="124"/>
                </a:cxn>
                <a:cxn ang="0">
                  <a:pos x="272" y="134"/>
                </a:cxn>
                <a:cxn ang="0">
                  <a:pos x="262" y="146"/>
                </a:cxn>
                <a:cxn ang="0">
                  <a:pos x="252" y="156"/>
                </a:cxn>
                <a:cxn ang="0">
                  <a:pos x="244" y="164"/>
                </a:cxn>
                <a:cxn ang="0">
                  <a:pos x="234" y="180"/>
                </a:cxn>
                <a:cxn ang="0">
                  <a:pos x="228" y="198"/>
                </a:cxn>
                <a:cxn ang="0">
                  <a:pos x="222" y="220"/>
                </a:cxn>
                <a:cxn ang="0">
                  <a:pos x="216" y="228"/>
                </a:cxn>
                <a:cxn ang="0">
                  <a:pos x="214" y="236"/>
                </a:cxn>
                <a:cxn ang="0">
                  <a:pos x="208" y="242"/>
                </a:cxn>
                <a:cxn ang="0">
                  <a:pos x="200" y="244"/>
                </a:cxn>
                <a:cxn ang="0">
                  <a:pos x="190" y="246"/>
                </a:cxn>
                <a:cxn ang="0">
                  <a:pos x="182" y="248"/>
                </a:cxn>
                <a:cxn ang="0">
                  <a:pos x="172" y="246"/>
                </a:cxn>
                <a:cxn ang="0">
                  <a:pos x="142" y="240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4" h="24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8"/>
                  </a:lnTo>
                  <a:lnTo>
                    <a:pt x="284" y="104"/>
                  </a:lnTo>
                  <a:lnTo>
                    <a:pt x="278" y="124"/>
                  </a:lnTo>
                  <a:lnTo>
                    <a:pt x="272" y="134"/>
                  </a:lnTo>
                  <a:lnTo>
                    <a:pt x="262" y="146"/>
                  </a:lnTo>
                  <a:lnTo>
                    <a:pt x="252" y="156"/>
                  </a:lnTo>
                  <a:lnTo>
                    <a:pt x="244" y="164"/>
                  </a:lnTo>
                  <a:lnTo>
                    <a:pt x="234" y="180"/>
                  </a:lnTo>
                  <a:lnTo>
                    <a:pt x="228" y="198"/>
                  </a:lnTo>
                  <a:lnTo>
                    <a:pt x="222" y="220"/>
                  </a:lnTo>
                  <a:lnTo>
                    <a:pt x="216" y="228"/>
                  </a:lnTo>
                  <a:lnTo>
                    <a:pt x="214" y="236"/>
                  </a:lnTo>
                  <a:lnTo>
                    <a:pt x="208" y="242"/>
                  </a:lnTo>
                  <a:lnTo>
                    <a:pt x="200" y="244"/>
                  </a:lnTo>
                  <a:lnTo>
                    <a:pt x="190" y="246"/>
                  </a:lnTo>
                  <a:lnTo>
                    <a:pt x="182" y="248"/>
                  </a:lnTo>
                  <a:lnTo>
                    <a:pt x="172" y="246"/>
                  </a:lnTo>
                  <a:lnTo>
                    <a:pt x="142" y="240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7" name="Freeform 100"/>
            <p:cNvSpPr>
              <a:spLocks/>
            </p:cNvSpPr>
            <p:nvPr/>
          </p:nvSpPr>
          <p:spPr bwMode="auto">
            <a:xfrm>
              <a:off x="2678" y="1697"/>
              <a:ext cx="140" cy="123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102"/>
                </a:cxn>
                <a:cxn ang="0">
                  <a:pos x="276" y="122"/>
                </a:cxn>
                <a:cxn ang="0">
                  <a:pos x="268" y="132"/>
                </a:cxn>
                <a:cxn ang="0">
                  <a:pos x="260" y="142"/>
                </a:cxn>
                <a:cxn ang="0">
                  <a:pos x="242" y="160"/>
                </a:cxn>
                <a:cxn ang="0">
                  <a:pos x="232" y="176"/>
                </a:cxn>
                <a:cxn ang="0">
                  <a:pos x="224" y="194"/>
                </a:cxn>
                <a:cxn ang="0">
                  <a:pos x="216" y="214"/>
                </a:cxn>
                <a:cxn ang="0">
                  <a:pos x="212" y="224"/>
                </a:cxn>
                <a:cxn ang="0">
                  <a:pos x="208" y="230"/>
                </a:cxn>
                <a:cxn ang="0">
                  <a:pos x="202" y="238"/>
                </a:cxn>
                <a:cxn ang="0">
                  <a:pos x="196" y="242"/>
                </a:cxn>
                <a:cxn ang="0">
                  <a:pos x="188" y="246"/>
                </a:cxn>
                <a:cxn ang="0">
                  <a:pos x="180" y="246"/>
                </a:cxn>
                <a:cxn ang="0">
                  <a:pos x="168" y="246"/>
                </a:cxn>
                <a:cxn ang="0">
                  <a:pos x="140" y="240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2" h="246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102"/>
                  </a:lnTo>
                  <a:lnTo>
                    <a:pt x="276" y="122"/>
                  </a:lnTo>
                  <a:lnTo>
                    <a:pt x="268" y="132"/>
                  </a:lnTo>
                  <a:lnTo>
                    <a:pt x="260" y="142"/>
                  </a:lnTo>
                  <a:lnTo>
                    <a:pt x="242" y="160"/>
                  </a:lnTo>
                  <a:lnTo>
                    <a:pt x="232" y="176"/>
                  </a:lnTo>
                  <a:lnTo>
                    <a:pt x="224" y="194"/>
                  </a:lnTo>
                  <a:lnTo>
                    <a:pt x="216" y="214"/>
                  </a:lnTo>
                  <a:lnTo>
                    <a:pt x="212" y="224"/>
                  </a:lnTo>
                  <a:lnTo>
                    <a:pt x="208" y="230"/>
                  </a:lnTo>
                  <a:lnTo>
                    <a:pt x="202" y="238"/>
                  </a:lnTo>
                  <a:lnTo>
                    <a:pt x="196" y="242"/>
                  </a:lnTo>
                  <a:lnTo>
                    <a:pt x="188" y="246"/>
                  </a:lnTo>
                  <a:lnTo>
                    <a:pt x="180" y="246"/>
                  </a:lnTo>
                  <a:lnTo>
                    <a:pt x="168" y="246"/>
                  </a:lnTo>
                  <a:lnTo>
                    <a:pt x="140" y="240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8" name="Freeform 101"/>
            <p:cNvSpPr>
              <a:spLocks/>
            </p:cNvSpPr>
            <p:nvPr/>
          </p:nvSpPr>
          <p:spPr bwMode="auto">
            <a:xfrm>
              <a:off x="2678" y="1697"/>
              <a:ext cx="140" cy="122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86"/>
                </a:cxn>
                <a:cxn ang="0">
                  <a:pos x="280" y="100"/>
                </a:cxn>
                <a:cxn ang="0">
                  <a:pos x="272" y="118"/>
                </a:cxn>
                <a:cxn ang="0">
                  <a:pos x="266" y="128"/>
                </a:cxn>
                <a:cxn ang="0">
                  <a:pos x="256" y="138"/>
                </a:cxn>
                <a:cxn ang="0">
                  <a:pos x="240" y="156"/>
                </a:cxn>
                <a:cxn ang="0">
                  <a:pos x="228" y="172"/>
                </a:cxn>
                <a:cxn ang="0">
                  <a:pos x="218" y="190"/>
                </a:cxn>
                <a:cxn ang="0">
                  <a:pos x="210" y="210"/>
                </a:cxn>
                <a:cxn ang="0">
                  <a:pos x="208" y="220"/>
                </a:cxn>
                <a:cxn ang="0">
                  <a:pos x="204" y="228"/>
                </a:cxn>
                <a:cxn ang="0">
                  <a:pos x="198" y="236"/>
                </a:cxn>
                <a:cxn ang="0">
                  <a:pos x="190" y="240"/>
                </a:cxn>
                <a:cxn ang="0">
                  <a:pos x="182" y="244"/>
                </a:cxn>
                <a:cxn ang="0">
                  <a:pos x="164" y="244"/>
                </a:cxn>
                <a:cxn ang="0">
                  <a:pos x="138" y="238"/>
                </a:cxn>
                <a:cxn ang="0">
                  <a:pos x="114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2" h="24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86"/>
                  </a:lnTo>
                  <a:lnTo>
                    <a:pt x="280" y="100"/>
                  </a:lnTo>
                  <a:lnTo>
                    <a:pt x="272" y="118"/>
                  </a:lnTo>
                  <a:lnTo>
                    <a:pt x="266" y="128"/>
                  </a:lnTo>
                  <a:lnTo>
                    <a:pt x="256" y="138"/>
                  </a:lnTo>
                  <a:lnTo>
                    <a:pt x="240" y="156"/>
                  </a:lnTo>
                  <a:lnTo>
                    <a:pt x="228" y="172"/>
                  </a:lnTo>
                  <a:lnTo>
                    <a:pt x="218" y="190"/>
                  </a:lnTo>
                  <a:lnTo>
                    <a:pt x="210" y="210"/>
                  </a:lnTo>
                  <a:lnTo>
                    <a:pt x="208" y="220"/>
                  </a:lnTo>
                  <a:lnTo>
                    <a:pt x="204" y="228"/>
                  </a:lnTo>
                  <a:lnTo>
                    <a:pt x="198" y="236"/>
                  </a:lnTo>
                  <a:lnTo>
                    <a:pt x="190" y="240"/>
                  </a:lnTo>
                  <a:lnTo>
                    <a:pt x="182" y="244"/>
                  </a:lnTo>
                  <a:lnTo>
                    <a:pt x="164" y="244"/>
                  </a:lnTo>
                  <a:lnTo>
                    <a:pt x="138" y="238"/>
                  </a:lnTo>
                  <a:lnTo>
                    <a:pt x="114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79" name="Freeform 102"/>
            <p:cNvSpPr>
              <a:spLocks/>
            </p:cNvSpPr>
            <p:nvPr/>
          </p:nvSpPr>
          <p:spPr bwMode="auto">
            <a:xfrm>
              <a:off x="2678" y="1697"/>
              <a:ext cx="140" cy="121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86"/>
                </a:cxn>
                <a:cxn ang="0">
                  <a:pos x="278" y="98"/>
                </a:cxn>
                <a:cxn ang="0">
                  <a:pos x="268" y="116"/>
                </a:cxn>
                <a:cxn ang="0">
                  <a:pos x="262" y="124"/>
                </a:cxn>
                <a:cxn ang="0">
                  <a:pos x="252" y="134"/>
                </a:cxn>
                <a:cxn ang="0">
                  <a:pos x="234" y="152"/>
                </a:cxn>
                <a:cxn ang="0">
                  <a:pos x="224" y="168"/>
                </a:cxn>
                <a:cxn ang="0">
                  <a:pos x="216" y="186"/>
                </a:cxn>
                <a:cxn ang="0">
                  <a:pos x="208" y="204"/>
                </a:cxn>
                <a:cxn ang="0">
                  <a:pos x="202" y="216"/>
                </a:cxn>
                <a:cxn ang="0">
                  <a:pos x="200" y="222"/>
                </a:cxn>
                <a:cxn ang="0">
                  <a:pos x="194" y="232"/>
                </a:cxn>
                <a:cxn ang="0">
                  <a:pos x="188" y="238"/>
                </a:cxn>
                <a:cxn ang="0">
                  <a:pos x="180" y="240"/>
                </a:cxn>
                <a:cxn ang="0">
                  <a:pos x="172" y="242"/>
                </a:cxn>
                <a:cxn ang="0">
                  <a:pos x="162" y="242"/>
                </a:cxn>
                <a:cxn ang="0">
                  <a:pos x="136" y="238"/>
                </a:cxn>
                <a:cxn ang="0">
                  <a:pos x="114" y="232"/>
                </a:cxn>
                <a:cxn ang="0">
                  <a:pos x="108" y="228"/>
                </a:cxn>
                <a:cxn ang="0">
                  <a:pos x="104" y="228"/>
                </a:cxn>
              </a:cxnLst>
              <a:rect l="0" t="0" r="r" b="b"/>
              <a:pathLst>
                <a:path w="282" h="24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86"/>
                  </a:lnTo>
                  <a:lnTo>
                    <a:pt x="278" y="98"/>
                  </a:lnTo>
                  <a:lnTo>
                    <a:pt x="268" y="116"/>
                  </a:lnTo>
                  <a:lnTo>
                    <a:pt x="262" y="124"/>
                  </a:lnTo>
                  <a:lnTo>
                    <a:pt x="252" y="134"/>
                  </a:lnTo>
                  <a:lnTo>
                    <a:pt x="234" y="152"/>
                  </a:lnTo>
                  <a:lnTo>
                    <a:pt x="224" y="168"/>
                  </a:lnTo>
                  <a:lnTo>
                    <a:pt x="216" y="186"/>
                  </a:lnTo>
                  <a:lnTo>
                    <a:pt x="208" y="204"/>
                  </a:lnTo>
                  <a:lnTo>
                    <a:pt x="202" y="216"/>
                  </a:lnTo>
                  <a:lnTo>
                    <a:pt x="200" y="222"/>
                  </a:lnTo>
                  <a:lnTo>
                    <a:pt x="194" y="232"/>
                  </a:lnTo>
                  <a:lnTo>
                    <a:pt x="188" y="238"/>
                  </a:lnTo>
                  <a:lnTo>
                    <a:pt x="180" y="240"/>
                  </a:lnTo>
                  <a:lnTo>
                    <a:pt x="172" y="242"/>
                  </a:lnTo>
                  <a:lnTo>
                    <a:pt x="162" y="242"/>
                  </a:lnTo>
                  <a:lnTo>
                    <a:pt x="136" y="238"/>
                  </a:lnTo>
                  <a:lnTo>
                    <a:pt x="114" y="232"/>
                  </a:lnTo>
                  <a:lnTo>
                    <a:pt x="108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0" name="Freeform 103"/>
            <p:cNvSpPr>
              <a:spLocks/>
            </p:cNvSpPr>
            <p:nvPr/>
          </p:nvSpPr>
          <p:spPr bwMode="auto">
            <a:xfrm>
              <a:off x="2678" y="1697"/>
              <a:ext cx="140" cy="120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8" y="96"/>
                </a:cxn>
                <a:cxn ang="0">
                  <a:pos x="268" y="112"/>
                </a:cxn>
                <a:cxn ang="0">
                  <a:pos x="252" y="132"/>
                </a:cxn>
                <a:cxn ang="0">
                  <a:pos x="234" y="150"/>
                </a:cxn>
                <a:cxn ang="0">
                  <a:pos x="220" y="166"/>
                </a:cxn>
                <a:cxn ang="0">
                  <a:pos x="210" y="182"/>
                </a:cxn>
                <a:cxn ang="0">
                  <a:pos x="202" y="202"/>
                </a:cxn>
                <a:cxn ang="0">
                  <a:pos x="198" y="212"/>
                </a:cxn>
                <a:cxn ang="0">
                  <a:pos x="194" y="220"/>
                </a:cxn>
                <a:cxn ang="0">
                  <a:pos x="190" y="228"/>
                </a:cxn>
                <a:cxn ang="0">
                  <a:pos x="182" y="234"/>
                </a:cxn>
                <a:cxn ang="0">
                  <a:pos x="174" y="238"/>
                </a:cxn>
                <a:cxn ang="0">
                  <a:pos x="168" y="240"/>
                </a:cxn>
                <a:cxn ang="0">
                  <a:pos x="156" y="240"/>
                </a:cxn>
                <a:cxn ang="0">
                  <a:pos x="134" y="238"/>
                </a:cxn>
                <a:cxn ang="0">
                  <a:pos x="112" y="232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4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8" y="96"/>
                  </a:lnTo>
                  <a:lnTo>
                    <a:pt x="268" y="112"/>
                  </a:lnTo>
                  <a:lnTo>
                    <a:pt x="252" y="132"/>
                  </a:lnTo>
                  <a:lnTo>
                    <a:pt x="234" y="150"/>
                  </a:lnTo>
                  <a:lnTo>
                    <a:pt x="220" y="166"/>
                  </a:lnTo>
                  <a:lnTo>
                    <a:pt x="210" y="182"/>
                  </a:lnTo>
                  <a:lnTo>
                    <a:pt x="202" y="202"/>
                  </a:lnTo>
                  <a:lnTo>
                    <a:pt x="198" y="212"/>
                  </a:lnTo>
                  <a:lnTo>
                    <a:pt x="194" y="220"/>
                  </a:lnTo>
                  <a:lnTo>
                    <a:pt x="190" y="228"/>
                  </a:lnTo>
                  <a:lnTo>
                    <a:pt x="182" y="234"/>
                  </a:lnTo>
                  <a:lnTo>
                    <a:pt x="174" y="238"/>
                  </a:lnTo>
                  <a:lnTo>
                    <a:pt x="168" y="240"/>
                  </a:lnTo>
                  <a:lnTo>
                    <a:pt x="156" y="240"/>
                  </a:lnTo>
                  <a:lnTo>
                    <a:pt x="134" y="238"/>
                  </a:lnTo>
                  <a:lnTo>
                    <a:pt x="112" y="232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1" name="Freeform 104"/>
            <p:cNvSpPr>
              <a:spLocks/>
            </p:cNvSpPr>
            <p:nvPr/>
          </p:nvSpPr>
          <p:spPr bwMode="auto">
            <a:xfrm>
              <a:off x="2678" y="1697"/>
              <a:ext cx="140" cy="119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6" y="94"/>
                </a:cxn>
                <a:cxn ang="0">
                  <a:pos x="264" y="108"/>
                </a:cxn>
                <a:cxn ang="0">
                  <a:pos x="248" y="126"/>
                </a:cxn>
                <a:cxn ang="0">
                  <a:pos x="230" y="144"/>
                </a:cxn>
                <a:cxn ang="0">
                  <a:pos x="216" y="160"/>
                </a:cxn>
                <a:cxn ang="0">
                  <a:pos x="206" y="176"/>
                </a:cxn>
                <a:cxn ang="0">
                  <a:pos x="198" y="196"/>
                </a:cxn>
                <a:cxn ang="0">
                  <a:pos x="192" y="206"/>
                </a:cxn>
                <a:cxn ang="0">
                  <a:pos x="190" y="214"/>
                </a:cxn>
                <a:cxn ang="0">
                  <a:pos x="184" y="226"/>
                </a:cxn>
                <a:cxn ang="0">
                  <a:pos x="180" y="232"/>
                </a:cxn>
                <a:cxn ang="0">
                  <a:pos x="172" y="238"/>
                </a:cxn>
                <a:cxn ang="0">
                  <a:pos x="164" y="238"/>
                </a:cxn>
                <a:cxn ang="0">
                  <a:pos x="154" y="238"/>
                </a:cxn>
                <a:cxn ang="0">
                  <a:pos x="132" y="236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6" y="94"/>
                  </a:lnTo>
                  <a:lnTo>
                    <a:pt x="264" y="108"/>
                  </a:lnTo>
                  <a:lnTo>
                    <a:pt x="248" y="126"/>
                  </a:lnTo>
                  <a:lnTo>
                    <a:pt x="230" y="144"/>
                  </a:lnTo>
                  <a:lnTo>
                    <a:pt x="216" y="160"/>
                  </a:lnTo>
                  <a:lnTo>
                    <a:pt x="206" y="176"/>
                  </a:lnTo>
                  <a:lnTo>
                    <a:pt x="198" y="196"/>
                  </a:lnTo>
                  <a:lnTo>
                    <a:pt x="192" y="206"/>
                  </a:lnTo>
                  <a:lnTo>
                    <a:pt x="190" y="214"/>
                  </a:lnTo>
                  <a:lnTo>
                    <a:pt x="184" y="226"/>
                  </a:lnTo>
                  <a:lnTo>
                    <a:pt x="180" y="232"/>
                  </a:lnTo>
                  <a:lnTo>
                    <a:pt x="172" y="238"/>
                  </a:lnTo>
                  <a:lnTo>
                    <a:pt x="164" y="238"/>
                  </a:lnTo>
                  <a:lnTo>
                    <a:pt x="154" y="238"/>
                  </a:lnTo>
                  <a:lnTo>
                    <a:pt x="132" y="236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2" name="Freeform 105"/>
            <p:cNvSpPr>
              <a:spLocks/>
            </p:cNvSpPr>
            <p:nvPr/>
          </p:nvSpPr>
          <p:spPr bwMode="auto">
            <a:xfrm>
              <a:off x="2678" y="1697"/>
              <a:ext cx="140" cy="118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2"/>
                </a:cxn>
                <a:cxn ang="0">
                  <a:pos x="64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4" y="92"/>
                </a:cxn>
                <a:cxn ang="0">
                  <a:pos x="262" y="106"/>
                </a:cxn>
                <a:cxn ang="0">
                  <a:pos x="244" y="122"/>
                </a:cxn>
                <a:cxn ang="0">
                  <a:pos x="226" y="140"/>
                </a:cxn>
                <a:cxn ang="0">
                  <a:pos x="212" y="154"/>
                </a:cxn>
                <a:cxn ang="0">
                  <a:pos x="202" y="172"/>
                </a:cxn>
                <a:cxn ang="0">
                  <a:pos x="192" y="192"/>
                </a:cxn>
                <a:cxn ang="0">
                  <a:pos x="186" y="212"/>
                </a:cxn>
                <a:cxn ang="0">
                  <a:pos x="182" y="224"/>
                </a:cxn>
                <a:cxn ang="0">
                  <a:pos x="174" y="230"/>
                </a:cxn>
                <a:cxn ang="0">
                  <a:pos x="166" y="234"/>
                </a:cxn>
                <a:cxn ang="0">
                  <a:pos x="160" y="236"/>
                </a:cxn>
                <a:cxn ang="0">
                  <a:pos x="150" y="236"/>
                </a:cxn>
                <a:cxn ang="0">
                  <a:pos x="130" y="234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6">
                  <a:moveTo>
                    <a:pt x="104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2"/>
                  </a:lnTo>
                  <a:lnTo>
                    <a:pt x="64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4" y="92"/>
                  </a:lnTo>
                  <a:lnTo>
                    <a:pt x="262" y="106"/>
                  </a:lnTo>
                  <a:lnTo>
                    <a:pt x="244" y="122"/>
                  </a:lnTo>
                  <a:lnTo>
                    <a:pt x="226" y="140"/>
                  </a:lnTo>
                  <a:lnTo>
                    <a:pt x="212" y="154"/>
                  </a:lnTo>
                  <a:lnTo>
                    <a:pt x="202" y="172"/>
                  </a:lnTo>
                  <a:lnTo>
                    <a:pt x="192" y="192"/>
                  </a:lnTo>
                  <a:lnTo>
                    <a:pt x="186" y="212"/>
                  </a:lnTo>
                  <a:lnTo>
                    <a:pt x="182" y="224"/>
                  </a:lnTo>
                  <a:lnTo>
                    <a:pt x="174" y="230"/>
                  </a:lnTo>
                  <a:lnTo>
                    <a:pt x="166" y="234"/>
                  </a:lnTo>
                  <a:lnTo>
                    <a:pt x="160" y="236"/>
                  </a:lnTo>
                  <a:lnTo>
                    <a:pt x="150" y="236"/>
                  </a:lnTo>
                  <a:lnTo>
                    <a:pt x="130" y="234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3" name="Freeform 106"/>
            <p:cNvSpPr>
              <a:spLocks/>
            </p:cNvSpPr>
            <p:nvPr/>
          </p:nvSpPr>
          <p:spPr bwMode="auto">
            <a:xfrm>
              <a:off x="2678" y="1697"/>
              <a:ext cx="140" cy="11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2"/>
                </a:cxn>
                <a:cxn ang="0">
                  <a:pos x="272" y="90"/>
                </a:cxn>
                <a:cxn ang="0">
                  <a:pos x="260" y="102"/>
                </a:cxn>
                <a:cxn ang="0">
                  <a:pos x="242" y="118"/>
                </a:cxn>
                <a:cxn ang="0">
                  <a:pos x="224" y="138"/>
                </a:cxn>
                <a:cxn ang="0">
                  <a:pos x="208" y="152"/>
                </a:cxn>
                <a:cxn ang="0">
                  <a:pos x="198" y="168"/>
                </a:cxn>
                <a:cxn ang="0">
                  <a:pos x="188" y="188"/>
                </a:cxn>
                <a:cxn ang="0">
                  <a:pos x="182" y="208"/>
                </a:cxn>
                <a:cxn ang="0">
                  <a:pos x="176" y="220"/>
                </a:cxn>
                <a:cxn ang="0">
                  <a:pos x="172" y="228"/>
                </a:cxn>
                <a:cxn ang="0">
                  <a:pos x="162" y="232"/>
                </a:cxn>
                <a:cxn ang="0">
                  <a:pos x="148" y="234"/>
                </a:cxn>
                <a:cxn ang="0">
                  <a:pos x="128" y="234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2"/>
                  </a:lnTo>
                  <a:lnTo>
                    <a:pt x="272" y="90"/>
                  </a:lnTo>
                  <a:lnTo>
                    <a:pt x="260" y="102"/>
                  </a:lnTo>
                  <a:lnTo>
                    <a:pt x="242" y="118"/>
                  </a:lnTo>
                  <a:lnTo>
                    <a:pt x="224" y="138"/>
                  </a:lnTo>
                  <a:lnTo>
                    <a:pt x="208" y="152"/>
                  </a:lnTo>
                  <a:lnTo>
                    <a:pt x="198" y="168"/>
                  </a:lnTo>
                  <a:lnTo>
                    <a:pt x="188" y="188"/>
                  </a:lnTo>
                  <a:lnTo>
                    <a:pt x="182" y="208"/>
                  </a:lnTo>
                  <a:lnTo>
                    <a:pt x="176" y="220"/>
                  </a:lnTo>
                  <a:lnTo>
                    <a:pt x="172" y="228"/>
                  </a:lnTo>
                  <a:lnTo>
                    <a:pt x="162" y="232"/>
                  </a:lnTo>
                  <a:lnTo>
                    <a:pt x="148" y="234"/>
                  </a:lnTo>
                  <a:lnTo>
                    <a:pt x="128" y="234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4" name="Freeform 107"/>
            <p:cNvSpPr>
              <a:spLocks/>
            </p:cNvSpPr>
            <p:nvPr/>
          </p:nvSpPr>
          <p:spPr bwMode="auto">
            <a:xfrm>
              <a:off x="2678" y="1697"/>
              <a:ext cx="140" cy="11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70" y="88"/>
                </a:cxn>
                <a:cxn ang="0">
                  <a:pos x="258" y="98"/>
                </a:cxn>
                <a:cxn ang="0">
                  <a:pos x="238" y="116"/>
                </a:cxn>
                <a:cxn ang="0">
                  <a:pos x="218" y="134"/>
                </a:cxn>
                <a:cxn ang="0">
                  <a:pos x="204" y="148"/>
                </a:cxn>
                <a:cxn ang="0">
                  <a:pos x="192" y="164"/>
                </a:cxn>
                <a:cxn ang="0">
                  <a:pos x="182" y="184"/>
                </a:cxn>
                <a:cxn ang="0">
                  <a:pos x="180" y="194"/>
                </a:cxn>
                <a:cxn ang="0">
                  <a:pos x="176" y="202"/>
                </a:cxn>
                <a:cxn ang="0">
                  <a:pos x="172" y="218"/>
                </a:cxn>
                <a:cxn ang="0">
                  <a:pos x="166" y="226"/>
                </a:cxn>
                <a:cxn ang="0">
                  <a:pos x="158" y="230"/>
                </a:cxn>
                <a:cxn ang="0">
                  <a:pos x="144" y="234"/>
                </a:cxn>
                <a:cxn ang="0">
                  <a:pos x="126" y="232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70" y="88"/>
                  </a:lnTo>
                  <a:lnTo>
                    <a:pt x="258" y="98"/>
                  </a:lnTo>
                  <a:lnTo>
                    <a:pt x="238" y="116"/>
                  </a:lnTo>
                  <a:lnTo>
                    <a:pt x="218" y="134"/>
                  </a:lnTo>
                  <a:lnTo>
                    <a:pt x="204" y="148"/>
                  </a:lnTo>
                  <a:lnTo>
                    <a:pt x="192" y="164"/>
                  </a:lnTo>
                  <a:lnTo>
                    <a:pt x="182" y="184"/>
                  </a:lnTo>
                  <a:lnTo>
                    <a:pt x="180" y="194"/>
                  </a:lnTo>
                  <a:lnTo>
                    <a:pt x="176" y="202"/>
                  </a:lnTo>
                  <a:lnTo>
                    <a:pt x="172" y="218"/>
                  </a:lnTo>
                  <a:lnTo>
                    <a:pt x="166" y="226"/>
                  </a:lnTo>
                  <a:lnTo>
                    <a:pt x="158" y="230"/>
                  </a:lnTo>
                  <a:lnTo>
                    <a:pt x="144" y="234"/>
                  </a:lnTo>
                  <a:lnTo>
                    <a:pt x="126" y="232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5" name="Freeform 108"/>
            <p:cNvSpPr>
              <a:spLocks/>
            </p:cNvSpPr>
            <p:nvPr/>
          </p:nvSpPr>
          <p:spPr bwMode="auto">
            <a:xfrm>
              <a:off x="2678" y="1697"/>
              <a:ext cx="140" cy="116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68" y="86"/>
                </a:cxn>
                <a:cxn ang="0">
                  <a:pos x="254" y="96"/>
                </a:cxn>
                <a:cxn ang="0">
                  <a:pos x="244" y="102"/>
                </a:cxn>
                <a:cxn ang="0">
                  <a:pos x="234" y="112"/>
                </a:cxn>
                <a:cxn ang="0">
                  <a:pos x="216" y="130"/>
                </a:cxn>
                <a:cxn ang="0">
                  <a:pos x="200" y="144"/>
                </a:cxn>
                <a:cxn ang="0">
                  <a:pos x="190" y="160"/>
                </a:cxn>
                <a:cxn ang="0">
                  <a:pos x="180" y="178"/>
                </a:cxn>
                <a:cxn ang="0">
                  <a:pos x="172" y="200"/>
                </a:cxn>
                <a:cxn ang="0">
                  <a:pos x="166" y="214"/>
                </a:cxn>
                <a:cxn ang="0">
                  <a:pos x="162" y="222"/>
                </a:cxn>
                <a:cxn ang="0">
                  <a:pos x="154" y="228"/>
                </a:cxn>
                <a:cxn ang="0">
                  <a:pos x="140" y="232"/>
                </a:cxn>
                <a:cxn ang="0">
                  <a:pos x="124" y="232"/>
                </a:cxn>
                <a:cxn ang="0">
                  <a:pos x="110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68" y="86"/>
                  </a:lnTo>
                  <a:lnTo>
                    <a:pt x="254" y="96"/>
                  </a:lnTo>
                  <a:lnTo>
                    <a:pt x="244" y="102"/>
                  </a:lnTo>
                  <a:lnTo>
                    <a:pt x="234" y="112"/>
                  </a:lnTo>
                  <a:lnTo>
                    <a:pt x="216" y="130"/>
                  </a:lnTo>
                  <a:lnTo>
                    <a:pt x="200" y="144"/>
                  </a:lnTo>
                  <a:lnTo>
                    <a:pt x="190" y="160"/>
                  </a:lnTo>
                  <a:lnTo>
                    <a:pt x="180" y="178"/>
                  </a:lnTo>
                  <a:lnTo>
                    <a:pt x="172" y="200"/>
                  </a:lnTo>
                  <a:lnTo>
                    <a:pt x="166" y="214"/>
                  </a:lnTo>
                  <a:lnTo>
                    <a:pt x="162" y="222"/>
                  </a:lnTo>
                  <a:lnTo>
                    <a:pt x="154" y="228"/>
                  </a:lnTo>
                  <a:lnTo>
                    <a:pt x="140" y="232"/>
                  </a:lnTo>
                  <a:lnTo>
                    <a:pt x="124" y="232"/>
                  </a:lnTo>
                  <a:lnTo>
                    <a:pt x="110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6" name="Freeform 109"/>
            <p:cNvSpPr>
              <a:spLocks/>
            </p:cNvSpPr>
            <p:nvPr/>
          </p:nvSpPr>
          <p:spPr bwMode="auto">
            <a:xfrm>
              <a:off x="2678" y="1697"/>
              <a:ext cx="140" cy="115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68" y="84"/>
                </a:cxn>
                <a:cxn ang="0">
                  <a:pos x="252" y="92"/>
                </a:cxn>
                <a:cxn ang="0">
                  <a:pos x="242" y="98"/>
                </a:cxn>
                <a:cxn ang="0">
                  <a:pos x="234" y="108"/>
                </a:cxn>
                <a:cxn ang="0">
                  <a:pos x="214" y="124"/>
                </a:cxn>
                <a:cxn ang="0">
                  <a:pos x="198" y="140"/>
                </a:cxn>
                <a:cxn ang="0">
                  <a:pos x="184" y="156"/>
                </a:cxn>
                <a:cxn ang="0">
                  <a:pos x="174" y="176"/>
                </a:cxn>
                <a:cxn ang="0">
                  <a:pos x="168" y="194"/>
                </a:cxn>
                <a:cxn ang="0">
                  <a:pos x="164" y="212"/>
                </a:cxn>
                <a:cxn ang="0">
                  <a:pos x="158" y="220"/>
                </a:cxn>
                <a:cxn ang="0">
                  <a:pos x="148" y="228"/>
                </a:cxn>
                <a:cxn ang="0">
                  <a:pos x="136" y="230"/>
                </a:cxn>
                <a:cxn ang="0">
                  <a:pos x="122" y="230"/>
                </a:cxn>
                <a:cxn ang="0">
                  <a:pos x="110" y="228"/>
                </a:cxn>
                <a:cxn ang="0">
                  <a:pos x="104" y="228"/>
                </a:cxn>
              </a:cxnLst>
              <a:rect l="0" t="0" r="r" b="b"/>
              <a:pathLst>
                <a:path w="282" h="23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68" y="84"/>
                  </a:lnTo>
                  <a:lnTo>
                    <a:pt x="252" y="92"/>
                  </a:lnTo>
                  <a:lnTo>
                    <a:pt x="242" y="98"/>
                  </a:lnTo>
                  <a:lnTo>
                    <a:pt x="234" y="108"/>
                  </a:lnTo>
                  <a:lnTo>
                    <a:pt x="214" y="124"/>
                  </a:lnTo>
                  <a:lnTo>
                    <a:pt x="198" y="140"/>
                  </a:lnTo>
                  <a:lnTo>
                    <a:pt x="184" y="156"/>
                  </a:lnTo>
                  <a:lnTo>
                    <a:pt x="174" y="176"/>
                  </a:lnTo>
                  <a:lnTo>
                    <a:pt x="168" y="194"/>
                  </a:lnTo>
                  <a:lnTo>
                    <a:pt x="164" y="212"/>
                  </a:lnTo>
                  <a:lnTo>
                    <a:pt x="158" y="220"/>
                  </a:lnTo>
                  <a:lnTo>
                    <a:pt x="148" y="228"/>
                  </a:lnTo>
                  <a:lnTo>
                    <a:pt x="136" y="230"/>
                  </a:lnTo>
                  <a:lnTo>
                    <a:pt x="122" y="230"/>
                  </a:lnTo>
                  <a:lnTo>
                    <a:pt x="110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7" name="Freeform 110"/>
            <p:cNvSpPr>
              <a:spLocks noEditPoints="1"/>
            </p:cNvSpPr>
            <p:nvPr/>
          </p:nvSpPr>
          <p:spPr bwMode="auto">
            <a:xfrm>
              <a:off x="2578" y="1391"/>
              <a:ext cx="540" cy="349"/>
            </a:xfrm>
            <a:custGeom>
              <a:avLst/>
              <a:gdLst/>
              <a:ahLst/>
              <a:cxnLst>
                <a:cxn ang="0">
                  <a:pos x="4" y="381"/>
                </a:cxn>
                <a:cxn ang="0">
                  <a:pos x="22" y="449"/>
                </a:cxn>
                <a:cxn ang="0">
                  <a:pos x="50" y="495"/>
                </a:cxn>
                <a:cxn ang="0">
                  <a:pos x="100" y="553"/>
                </a:cxn>
                <a:cxn ang="0">
                  <a:pos x="185" y="613"/>
                </a:cxn>
                <a:cxn ang="0">
                  <a:pos x="267" y="651"/>
                </a:cxn>
                <a:cxn ang="0">
                  <a:pos x="359" y="679"/>
                </a:cxn>
                <a:cxn ang="0">
                  <a:pos x="513" y="699"/>
                </a:cxn>
                <a:cxn ang="0">
                  <a:pos x="669" y="689"/>
                </a:cxn>
                <a:cxn ang="0">
                  <a:pos x="788" y="659"/>
                </a:cxn>
                <a:cxn ang="0">
                  <a:pos x="854" y="633"/>
                </a:cxn>
                <a:cxn ang="0">
                  <a:pos x="946" y="579"/>
                </a:cxn>
                <a:cxn ang="0">
                  <a:pos x="992" y="537"/>
                </a:cxn>
                <a:cxn ang="0">
                  <a:pos x="1028" y="495"/>
                </a:cxn>
                <a:cxn ang="0">
                  <a:pos x="1056" y="449"/>
                </a:cxn>
                <a:cxn ang="0">
                  <a:pos x="1076" y="381"/>
                </a:cxn>
                <a:cxn ang="0">
                  <a:pos x="1076" y="316"/>
                </a:cxn>
                <a:cxn ang="0">
                  <a:pos x="1056" y="250"/>
                </a:cxn>
                <a:cxn ang="0">
                  <a:pos x="1028" y="202"/>
                </a:cxn>
                <a:cxn ang="0">
                  <a:pos x="992" y="160"/>
                </a:cxn>
                <a:cxn ang="0">
                  <a:pos x="928" y="108"/>
                </a:cxn>
                <a:cxn ang="0">
                  <a:pos x="872" y="76"/>
                </a:cxn>
                <a:cxn ang="0">
                  <a:pos x="810" y="48"/>
                </a:cxn>
                <a:cxn ang="0">
                  <a:pos x="717" y="20"/>
                </a:cxn>
                <a:cxn ang="0">
                  <a:pos x="567" y="0"/>
                </a:cxn>
                <a:cxn ang="0">
                  <a:pos x="409" y="10"/>
                </a:cxn>
                <a:cxn ang="0">
                  <a:pos x="289" y="40"/>
                </a:cxn>
                <a:cxn ang="0">
                  <a:pos x="225" y="66"/>
                </a:cxn>
                <a:cxn ang="0">
                  <a:pos x="167" y="96"/>
                </a:cxn>
                <a:cxn ang="0">
                  <a:pos x="100" y="146"/>
                </a:cxn>
                <a:cxn ang="0">
                  <a:pos x="50" y="202"/>
                </a:cxn>
                <a:cxn ang="0">
                  <a:pos x="22" y="250"/>
                </a:cxn>
                <a:cxn ang="0">
                  <a:pos x="4" y="316"/>
                </a:cxn>
                <a:cxn ang="0">
                  <a:pos x="14" y="344"/>
                </a:cxn>
                <a:cxn ang="0">
                  <a:pos x="38" y="439"/>
                </a:cxn>
                <a:cxn ang="0">
                  <a:pos x="104" y="523"/>
                </a:cxn>
                <a:cxn ang="0">
                  <a:pos x="205" y="591"/>
                </a:cxn>
                <a:cxn ang="0">
                  <a:pos x="335" y="639"/>
                </a:cxn>
                <a:cxn ang="0">
                  <a:pos x="487" y="663"/>
                </a:cxn>
                <a:cxn ang="0">
                  <a:pos x="643" y="659"/>
                </a:cxn>
                <a:cxn ang="0">
                  <a:pos x="786" y="625"/>
                </a:cxn>
                <a:cxn ang="0">
                  <a:pos x="908" y="571"/>
                </a:cxn>
                <a:cxn ang="0">
                  <a:pos x="1000" y="495"/>
                </a:cxn>
                <a:cxn ang="0">
                  <a:pos x="1052" y="407"/>
                </a:cxn>
                <a:cxn ang="0">
                  <a:pos x="1060" y="312"/>
                </a:cxn>
                <a:cxn ang="0">
                  <a:pos x="1020" y="218"/>
                </a:cxn>
                <a:cxn ang="0">
                  <a:pos x="942" y="136"/>
                </a:cxn>
                <a:cxn ang="0">
                  <a:pos x="830" y="70"/>
                </a:cxn>
                <a:cxn ang="0">
                  <a:pos x="693" y="28"/>
                </a:cxn>
                <a:cxn ang="0">
                  <a:pos x="539" y="12"/>
                </a:cxn>
                <a:cxn ang="0">
                  <a:pos x="381" y="28"/>
                </a:cxn>
                <a:cxn ang="0">
                  <a:pos x="245" y="70"/>
                </a:cxn>
                <a:cxn ang="0">
                  <a:pos x="134" y="136"/>
                </a:cxn>
                <a:cxn ang="0">
                  <a:pos x="56" y="218"/>
                </a:cxn>
                <a:cxn ang="0">
                  <a:pos x="18" y="312"/>
                </a:cxn>
              </a:cxnLst>
              <a:rect l="0" t="0" r="r" b="b"/>
              <a:pathLst>
                <a:path w="1080" h="699">
                  <a:moveTo>
                    <a:pt x="0" y="350"/>
                  </a:moveTo>
                  <a:lnTo>
                    <a:pt x="0" y="366"/>
                  </a:lnTo>
                  <a:lnTo>
                    <a:pt x="4" y="381"/>
                  </a:lnTo>
                  <a:lnTo>
                    <a:pt x="6" y="399"/>
                  </a:lnTo>
                  <a:lnTo>
                    <a:pt x="10" y="417"/>
                  </a:lnTo>
                  <a:lnTo>
                    <a:pt x="22" y="449"/>
                  </a:lnTo>
                  <a:lnTo>
                    <a:pt x="30" y="465"/>
                  </a:lnTo>
                  <a:lnTo>
                    <a:pt x="40" y="481"/>
                  </a:lnTo>
                  <a:lnTo>
                    <a:pt x="50" y="495"/>
                  </a:lnTo>
                  <a:lnTo>
                    <a:pt x="72" y="525"/>
                  </a:lnTo>
                  <a:lnTo>
                    <a:pt x="88" y="537"/>
                  </a:lnTo>
                  <a:lnTo>
                    <a:pt x="100" y="553"/>
                  </a:lnTo>
                  <a:lnTo>
                    <a:pt x="134" y="579"/>
                  </a:lnTo>
                  <a:lnTo>
                    <a:pt x="149" y="591"/>
                  </a:lnTo>
                  <a:lnTo>
                    <a:pt x="185" y="613"/>
                  </a:lnTo>
                  <a:lnTo>
                    <a:pt x="203" y="623"/>
                  </a:lnTo>
                  <a:lnTo>
                    <a:pt x="245" y="643"/>
                  </a:lnTo>
                  <a:lnTo>
                    <a:pt x="267" y="651"/>
                  </a:lnTo>
                  <a:lnTo>
                    <a:pt x="313" y="667"/>
                  </a:lnTo>
                  <a:lnTo>
                    <a:pt x="335" y="673"/>
                  </a:lnTo>
                  <a:lnTo>
                    <a:pt x="359" y="679"/>
                  </a:lnTo>
                  <a:lnTo>
                    <a:pt x="409" y="689"/>
                  </a:lnTo>
                  <a:lnTo>
                    <a:pt x="461" y="695"/>
                  </a:lnTo>
                  <a:lnTo>
                    <a:pt x="513" y="699"/>
                  </a:lnTo>
                  <a:lnTo>
                    <a:pt x="567" y="699"/>
                  </a:lnTo>
                  <a:lnTo>
                    <a:pt x="619" y="695"/>
                  </a:lnTo>
                  <a:lnTo>
                    <a:pt x="669" y="689"/>
                  </a:lnTo>
                  <a:lnTo>
                    <a:pt x="717" y="679"/>
                  </a:lnTo>
                  <a:lnTo>
                    <a:pt x="767" y="667"/>
                  </a:lnTo>
                  <a:lnTo>
                    <a:pt x="788" y="659"/>
                  </a:lnTo>
                  <a:lnTo>
                    <a:pt x="810" y="651"/>
                  </a:lnTo>
                  <a:lnTo>
                    <a:pt x="832" y="643"/>
                  </a:lnTo>
                  <a:lnTo>
                    <a:pt x="854" y="633"/>
                  </a:lnTo>
                  <a:lnTo>
                    <a:pt x="892" y="613"/>
                  </a:lnTo>
                  <a:lnTo>
                    <a:pt x="928" y="591"/>
                  </a:lnTo>
                  <a:lnTo>
                    <a:pt x="946" y="579"/>
                  </a:lnTo>
                  <a:lnTo>
                    <a:pt x="962" y="565"/>
                  </a:lnTo>
                  <a:lnTo>
                    <a:pt x="976" y="553"/>
                  </a:lnTo>
                  <a:lnTo>
                    <a:pt x="992" y="537"/>
                  </a:lnTo>
                  <a:lnTo>
                    <a:pt x="1004" y="525"/>
                  </a:lnTo>
                  <a:lnTo>
                    <a:pt x="1018" y="511"/>
                  </a:lnTo>
                  <a:lnTo>
                    <a:pt x="1028" y="495"/>
                  </a:lnTo>
                  <a:lnTo>
                    <a:pt x="1038" y="481"/>
                  </a:lnTo>
                  <a:lnTo>
                    <a:pt x="1048" y="465"/>
                  </a:lnTo>
                  <a:lnTo>
                    <a:pt x="1056" y="449"/>
                  </a:lnTo>
                  <a:lnTo>
                    <a:pt x="1070" y="417"/>
                  </a:lnTo>
                  <a:lnTo>
                    <a:pt x="1072" y="399"/>
                  </a:lnTo>
                  <a:lnTo>
                    <a:pt x="1076" y="381"/>
                  </a:lnTo>
                  <a:lnTo>
                    <a:pt x="1080" y="366"/>
                  </a:lnTo>
                  <a:lnTo>
                    <a:pt x="1080" y="332"/>
                  </a:lnTo>
                  <a:lnTo>
                    <a:pt x="1076" y="316"/>
                  </a:lnTo>
                  <a:lnTo>
                    <a:pt x="1072" y="298"/>
                  </a:lnTo>
                  <a:lnTo>
                    <a:pt x="1070" y="282"/>
                  </a:lnTo>
                  <a:lnTo>
                    <a:pt x="1056" y="250"/>
                  </a:lnTo>
                  <a:lnTo>
                    <a:pt x="1048" y="232"/>
                  </a:lnTo>
                  <a:lnTo>
                    <a:pt x="1038" y="218"/>
                  </a:lnTo>
                  <a:lnTo>
                    <a:pt x="1028" y="202"/>
                  </a:lnTo>
                  <a:lnTo>
                    <a:pt x="1018" y="188"/>
                  </a:lnTo>
                  <a:lnTo>
                    <a:pt x="1004" y="172"/>
                  </a:lnTo>
                  <a:lnTo>
                    <a:pt x="992" y="160"/>
                  </a:lnTo>
                  <a:lnTo>
                    <a:pt x="962" y="134"/>
                  </a:lnTo>
                  <a:lnTo>
                    <a:pt x="946" y="120"/>
                  </a:lnTo>
                  <a:lnTo>
                    <a:pt x="928" y="108"/>
                  </a:lnTo>
                  <a:lnTo>
                    <a:pt x="910" y="96"/>
                  </a:lnTo>
                  <a:lnTo>
                    <a:pt x="892" y="86"/>
                  </a:lnTo>
                  <a:lnTo>
                    <a:pt x="872" y="76"/>
                  </a:lnTo>
                  <a:lnTo>
                    <a:pt x="854" y="66"/>
                  </a:lnTo>
                  <a:lnTo>
                    <a:pt x="832" y="58"/>
                  </a:lnTo>
                  <a:lnTo>
                    <a:pt x="810" y="48"/>
                  </a:lnTo>
                  <a:lnTo>
                    <a:pt x="788" y="40"/>
                  </a:lnTo>
                  <a:lnTo>
                    <a:pt x="767" y="32"/>
                  </a:lnTo>
                  <a:lnTo>
                    <a:pt x="717" y="20"/>
                  </a:lnTo>
                  <a:lnTo>
                    <a:pt x="669" y="10"/>
                  </a:lnTo>
                  <a:lnTo>
                    <a:pt x="619" y="4"/>
                  </a:lnTo>
                  <a:lnTo>
                    <a:pt x="567" y="0"/>
                  </a:lnTo>
                  <a:lnTo>
                    <a:pt x="513" y="0"/>
                  </a:lnTo>
                  <a:lnTo>
                    <a:pt x="461" y="4"/>
                  </a:lnTo>
                  <a:lnTo>
                    <a:pt x="409" y="10"/>
                  </a:lnTo>
                  <a:lnTo>
                    <a:pt x="359" y="20"/>
                  </a:lnTo>
                  <a:lnTo>
                    <a:pt x="335" y="26"/>
                  </a:lnTo>
                  <a:lnTo>
                    <a:pt x="289" y="40"/>
                  </a:lnTo>
                  <a:lnTo>
                    <a:pt x="267" y="48"/>
                  </a:lnTo>
                  <a:lnTo>
                    <a:pt x="245" y="58"/>
                  </a:lnTo>
                  <a:lnTo>
                    <a:pt x="225" y="66"/>
                  </a:lnTo>
                  <a:lnTo>
                    <a:pt x="203" y="76"/>
                  </a:lnTo>
                  <a:lnTo>
                    <a:pt x="185" y="86"/>
                  </a:lnTo>
                  <a:lnTo>
                    <a:pt x="167" y="96"/>
                  </a:lnTo>
                  <a:lnTo>
                    <a:pt x="149" y="108"/>
                  </a:lnTo>
                  <a:lnTo>
                    <a:pt x="116" y="134"/>
                  </a:lnTo>
                  <a:lnTo>
                    <a:pt x="100" y="146"/>
                  </a:lnTo>
                  <a:lnTo>
                    <a:pt x="88" y="160"/>
                  </a:lnTo>
                  <a:lnTo>
                    <a:pt x="72" y="172"/>
                  </a:lnTo>
                  <a:lnTo>
                    <a:pt x="50" y="202"/>
                  </a:lnTo>
                  <a:lnTo>
                    <a:pt x="40" y="218"/>
                  </a:lnTo>
                  <a:lnTo>
                    <a:pt x="30" y="232"/>
                  </a:lnTo>
                  <a:lnTo>
                    <a:pt x="22" y="250"/>
                  </a:lnTo>
                  <a:lnTo>
                    <a:pt x="10" y="282"/>
                  </a:lnTo>
                  <a:lnTo>
                    <a:pt x="6" y="298"/>
                  </a:lnTo>
                  <a:lnTo>
                    <a:pt x="4" y="316"/>
                  </a:lnTo>
                  <a:lnTo>
                    <a:pt x="0" y="332"/>
                  </a:lnTo>
                  <a:lnTo>
                    <a:pt x="0" y="350"/>
                  </a:lnTo>
                  <a:close/>
                  <a:moveTo>
                    <a:pt x="14" y="344"/>
                  </a:moveTo>
                  <a:lnTo>
                    <a:pt x="18" y="375"/>
                  </a:lnTo>
                  <a:lnTo>
                    <a:pt x="26" y="407"/>
                  </a:lnTo>
                  <a:lnTo>
                    <a:pt x="38" y="439"/>
                  </a:lnTo>
                  <a:lnTo>
                    <a:pt x="56" y="469"/>
                  </a:lnTo>
                  <a:lnTo>
                    <a:pt x="78" y="495"/>
                  </a:lnTo>
                  <a:lnTo>
                    <a:pt x="104" y="523"/>
                  </a:lnTo>
                  <a:lnTo>
                    <a:pt x="134" y="547"/>
                  </a:lnTo>
                  <a:lnTo>
                    <a:pt x="167" y="571"/>
                  </a:lnTo>
                  <a:lnTo>
                    <a:pt x="205" y="591"/>
                  </a:lnTo>
                  <a:lnTo>
                    <a:pt x="245" y="609"/>
                  </a:lnTo>
                  <a:lnTo>
                    <a:pt x="289" y="625"/>
                  </a:lnTo>
                  <a:lnTo>
                    <a:pt x="335" y="639"/>
                  </a:lnTo>
                  <a:lnTo>
                    <a:pt x="383" y="651"/>
                  </a:lnTo>
                  <a:lnTo>
                    <a:pt x="435" y="659"/>
                  </a:lnTo>
                  <a:lnTo>
                    <a:pt x="487" y="663"/>
                  </a:lnTo>
                  <a:lnTo>
                    <a:pt x="539" y="665"/>
                  </a:lnTo>
                  <a:lnTo>
                    <a:pt x="593" y="663"/>
                  </a:lnTo>
                  <a:lnTo>
                    <a:pt x="643" y="659"/>
                  </a:lnTo>
                  <a:lnTo>
                    <a:pt x="693" y="651"/>
                  </a:lnTo>
                  <a:lnTo>
                    <a:pt x="743" y="639"/>
                  </a:lnTo>
                  <a:lnTo>
                    <a:pt x="786" y="625"/>
                  </a:lnTo>
                  <a:lnTo>
                    <a:pt x="830" y="609"/>
                  </a:lnTo>
                  <a:lnTo>
                    <a:pt x="872" y="591"/>
                  </a:lnTo>
                  <a:lnTo>
                    <a:pt x="908" y="571"/>
                  </a:lnTo>
                  <a:lnTo>
                    <a:pt x="942" y="547"/>
                  </a:lnTo>
                  <a:lnTo>
                    <a:pt x="974" y="523"/>
                  </a:lnTo>
                  <a:lnTo>
                    <a:pt x="1000" y="495"/>
                  </a:lnTo>
                  <a:lnTo>
                    <a:pt x="1022" y="469"/>
                  </a:lnTo>
                  <a:lnTo>
                    <a:pt x="1038" y="439"/>
                  </a:lnTo>
                  <a:lnTo>
                    <a:pt x="1052" y="407"/>
                  </a:lnTo>
                  <a:lnTo>
                    <a:pt x="1060" y="375"/>
                  </a:lnTo>
                  <a:lnTo>
                    <a:pt x="1062" y="344"/>
                  </a:lnTo>
                  <a:lnTo>
                    <a:pt x="1060" y="312"/>
                  </a:lnTo>
                  <a:lnTo>
                    <a:pt x="1052" y="280"/>
                  </a:lnTo>
                  <a:lnTo>
                    <a:pt x="1038" y="250"/>
                  </a:lnTo>
                  <a:lnTo>
                    <a:pt x="1020" y="218"/>
                  </a:lnTo>
                  <a:lnTo>
                    <a:pt x="1000" y="188"/>
                  </a:lnTo>
                  <a:lnTo>
                    <a:pt x="972" y="162"/>
                  </a:lnTo>
                  <a:lnTo>
                    <a:pt x="942" y="136"/>
                  </a:lnTo>
                  <a:lnTo>
                    <a:pt x="908" y="112"/>
                  </a:lnTo>
                  <a:lnTo>
                    <a:pt x="872" y="90"/>
                  </a:lnTo>
                  <a:lnTo>
                    <a:pt x="830" y="70"/>
                  </a:lnTo>
                  <a:lnTo>
                    <a:pt x="786" y="54"/>
                  </a:lnTo>
                  <a:lnTo>
                    <a:pt x="741" y="40"/>
                  </a:lnTo>
                  <a:lnTo>
                    <a:pt x="693" y="28"/>
                  </a:lnTo>
                  <a:lnTo>
                    <a:pt x="641" y="18"/>
                  </a:lnTo>
                  <a:lnTo>
                    <a:pt x="591" y="14"/>
                  </a:lnTo>
                  <a:lnTo>
                    <a:pt x="539" y="12"/>
                  </a:lnTo>
                  <a:lnTo>
                    <a:pt x="485" y="14"/>
                  </a:lnTo>
                  <a:lnTo>
                    <a:pt x="431" y="18"/>
                  </a:lnTo>
                  <a:lnTo>
                    <a:pt x="381" y="28"/>
                  </a:lnTo>
                  <a:lnTo>
                    <a:pt x="333" y="40"/>
                  </a:lnTo>
                  <a:lnTo>
                    <a:pt x="287" y="54"/>
                  </a:lnTo>
                  <a:lnTo>
                    <a:pt x="245" y="70"/>
                  </a:lnTo>
                  <a:lnTo>
                    <a:pt x="203" y="90"/>
                  </a:lnTo>
                  <a:lnTo>
                    <a:pt x="167" y="112"/>
                  </a:lnTo>
                  <a:lnTo>
                    <a:pt x="134" y="136"/>
                  </a:lnTo>
                  <a:lnTo>
                    <a:pt x="104" y="162"/>
                  </a:lnTo>
                  <a:lnTo>
                    <a:pt x="78" y="188"/>
                  </a:lnTo>
                  <a:lnTo>
                    <a:pt x="56" y="218"/>
                  </a:lnTo>
                  <a:lnTo>
                    <a:pt x="38" y="250"/>
                  </a:lnTo>
                  <a:lnTo>
                    <a:pt x="24" y="280"/>
                  </a:lnTo>
                  <a:lnTo>
                    <a:pt x="18" y="312"/>
                  </a:lnTo>
                  <a:lnTo>
                    <a:pt x="14" y="344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8" name="Freeform 111"/>
            <p:cNvSpPr>
              <a:spLocks/>
            </p:cNvSpPr>
            <p:nvPr/>
          </p:nvSpPr>
          <p:spPr bwMode="auto">
            <a:xfrm>
              <a:off x="2610" y="1391"/>
              <a:ext cx="389" cy="103"/>
            </a:xfrm>
            <a:custGeom>
              <a:avLst/>
              <a:gdLst/>
              <a:ahLst/>
              <a:cxnLst>
                <a:cxn ang="0">
                  <a:pos x="778" y="76"/>
                </a:cxn>
                <a:cxn ang="0">
                  <a:pos x="710" y="50"/>
                </a:cxn>
                <a:cxn ang="0">
                  <a:pos x="637" y="30"/>
                </a:cxn>
                <a:cxn ang="0">
                  <a:pos x="555" y="16"/>
                </a:cxn>
                <a:cxn ang="0">
                  <a:pos x="517" y="14"/>
                </a:cxn>
                <a:cxn ang="0">
                  <a:pos x="475" y="12"/>
                </a:cxn>
                <a:cxn ang="0">
                  <a:pos x="399" y="14"/>
                </a:cxn>
                <a:cxn ang="0">
                  <a:pos x="329" y="24"/>
                </a:cxn>
                <a:cxn ang="0">
                  <a:pos x="263" y="40"/>
                </a:cxn>
                <a:cxn ang="0">
                  <a:pos x="199" y="62"/>
                </a:cxn>
                <a:cxn ang="0">
                  <a:pos x="143" y="88"/>
                </a:cxn>
                <a:cxn ang="0">
                  <a:pos x="93" y="120"/>
                </a:cxn>
                <a:cxn ang="0">
                  <a:pos x="50" y="154"/>
                </a:cxn>
                <a:cxn ang="0">
                  <a:pos x="12" y="192"/>
                </a:cxn>
                <a:cxn ang="0">
                  <a:pos x="0" y="208"/>
                </a:cxn>
                <a:cxn ang="0">
                  <a:pos x="0" y="186"/>
                </a:cxn>
                <a:cxn ang="0">
                  <a:pos x="38" y="148"/>
                </a:cxn>
                <a:cxn ang="0">
                  <a:pos x="83" y="112"/>
                </a:cxn>
                <a:cxn ang="0">
                  <a:pos x="137" y="78"/>
                </a:cxn>
                <a:cxn ang="0">
                  <a:pos x="195" y="52"/>
                </a:cxn>
                <a:cxn ang="0">
                  <a:pos x="259" y="30"/>
                </a:cxn>
                <a:cxn ang="0">
                  <a:pos x="327" y="14"/>
                </a:cxn>
                <a:cxn ang="0">
                  <a:pos x="401" y="4"/>
                </a:cxn>
                <a:cxn ang="0">
                  <a:pos x="475" y="0"/>
                </a:cxn>
                <a:cxn ang="0">
                  <a:pos x="553" y="4"/>
                </a:cxn>
                <a:cxn ang="0">
                  <a:pos x="625" y="14"/>
                </a:cxn>
                <a:cxn ang="0">
                  <a:pos x="697" y="32"/>
                </a:cxn>
                <a:cxn ang="0">
                  <a:pos x="760" y="54"/>
                </a:cxn>
                <a:cxn ang="0">
                  <a:pos x="778" y="76"/>
                </a:cxn>
              </a:cxnLst>
              <a:rect l="0" t="0" r="r" b="b"/>
              <a:pathLst>
                <a:path w="778" h="208">
                  <a:moveTo>
                    <a:pt x="778" y="76"/>
                  </a:moveTo>
                  <a:lnTo>
                    <a:pt x="710" y="50"/>
                  </a:lnTo>
                  <a:lnTo>
                    <a:pt x="637" y="30"/>
                  </a:lnTo>
                  <a:lnTo>
                    <a:pt x="555" y="16"/>
                  </a:lnTo>
                  <a:lnTo>
                    <a:pt x="517" y="14"/>
                  </a:lnTo>
                  <a:lnTo>
                    <a:pt x="475" y="12"/>
                  </a:lnTo>
                  <a:lnTo>
                    <a:pt x="399" y="14"/>
                  </a:lnTo>
                  <a:lnTo>
                    <a:pt x="329" y="24"/>
                  </a:lnTo>
                  <a:lnTo>
                    <a:pt x="263" y="40"/>
                  </a:lnTo>
                  <a:lnTo>
                    <a:pt x="199" y="62"/>
                  </a:lnTo>
                  <a:lnTo>
                    <a:pt x="143" y="88"/>
                  </a:lnTo>
                  <a:lnTo>
                    <a:pt x="93" y="120"/>
                  </a:lnTo>
                  <a:lnTo>
                    <a:pt x="50" y="154"/>
                  </a:lnTo>
                  <a:lnTo>
                    <a:pt x="12" y="192"/>
                  </a:lnTo>
                  <a:lnTo>
                    <a:pt x="0" y="208"/>
                  </a:lnTo>
                  <a:lnTo>
                    <a:pt x="0" y="186"/>
                  </a:lnTo>
                  <a:lnTo>
                    <a:pt x="38" y="148"/>
                  </a:lnTo>
                  <a:lnTo>
                    <a:pt x="83" y="112"/>
                  </a:lnTo>
                  <a:lnTo>
                    <a:pt x="137" y="78"/>
                  </a:lnTo>
                  <a:lnTo>
                    <a:pt x="195" y="52"/>
                  </a:lnTo>
                  <a:lnTo>
                    <a:pt x="259" y="30"/>
                  </a:lnTo>
                  <a:lnTo>
                    <a:pt x="327" y="14"/>
                  </a:lnTo>
                  <a:lnTo>
                    <a:pt x="401" y="4"/>
                  </a:lnTo>
                  <a:lnTo>
                    <a:pt x="475" y="0"/>
                  </a:lnTo>
                  <a:lnTo>
                    <a:pt x="553" y="4"/>
                  </a:lnTo>
                  <a:lnTo>
                    <a:pt x="625" y="14"/>
                  </a:lnTo>
                  <a:lnTo>
                    <a:pt x="697" y="32"/>
                  </a:lnTo>
                  <a:lnTo>
                    <a:pt x="760" y="54"/>
                  </a:lnTo>
                  <a:lnTo>
                    <a:pt x="778" y="76"/>
                  </a:lnTo>
                  <a:close/>
                </a:path>
              </a:pathLst>
            </a:custGeom>
            <a:solidFill>
              <a:srgbClr val="212121"/>
            </a:solidFill>
            <a:ln w="158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89" name="Oval 112"/>
            <p:cNvSpPr>
              <a:spLocks noChangeArrowheads="1"/>
            </p:cNvSpPr>
            <p:nvPr/>
          </p:nvSpPr>
          <p:spPr bwMode="auto">
            <a:xfrm>
              <a:off x="2766" y="1429"/>
              <a:ext cx="228" cy="109"/>
            </a:xfrm>
            <a:prstGeom prst="ellipse">
              <a:avLst/>
            </a:prstGeom>
            <a:solidFill>
              <a:srgbClr val="80C2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0" name="Freeform 113"/>
            <p:cNvSpPr>
              <a:spLocks/>
            </p:cNvSpPr>
            <p:nvPr/>
          </p:nvSpPr>
          <p:spPr bwMode="auto">
            <a:xfrm>
              <a:off x="2770" y="1429"/>
              <a:ext cx="216" cy="102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4" y="124"/>
                </a:cxn>
                <a:cxn ang="0">
                  <a:pos x="18" y="142"/>
                </a:cxn>
                <a:cxn ang="0">
                  <a:pos x="38" y="160"/>
                </a:cxn>
                <a:cxn ang="0">
                  <a:pos x="64" y="176"/>
                </a:cxn>
                <a:cxn ang="0">
                  <a:pos x="96" y="186"/>
                </a:cxn>
                <a:cxn ang="0">
                  <a:pos x="132" y="196"/>
                </a:cxn>
                <a:cxn ang="0">
                  <a:pos x="174" y="202"/>
                </a:cxn>
                <a:cxn ang="0">
                  <a:pos x="216" y="204"/>
                </a:cxn>
                <a:cxn ang="0">
                  <a:pos x="260" y="202"/>
                </a:cxn>
                <a:cxn ang="0">
                  <a:pos x="300" y="196"/>
                </a:cxn>
                <a:cxn ang="0">
                  <a:pos x="338" y="186"/>
                </a:cxn>
                <a:cxn ang="0">
                  <a:pos x="370" y="176"/>
                </a:cxn>
                <a:cxn ang="0">
                  <a:pos x="395" y="160"/>
                </a:cxn>
                <a:cxn ang="0">
                  <a:pos x="415" y="142"/>
                </a:cxn>
                <a:cxn ang="0">
                  <a:pos x="429" y="124"/>
                </a:cxn>
                <a:cxn ang="0">
                  <a:pos x="433" y="102"/>
                </a:cxn>
                <a:cxn ang="0">
                  <a:pos x="429" y="82"/>
                </a:cxn>
                <a:cxn ang="0">
                  <a:pos x="415" y="64"/>
                </a:cxn>
                <a:cxn ang="0">
                  <a:pos x="395" y="46"/>
                </a:cxn>
                <a:cxn ang="0">
                  <a:pos x="370" y="30"/>
                </a:cxn>
                <a:cxn ang="0">
                  <a:pos x="338" y="18"/>
                </a:cxn>
                <a:cxn ang="0">
                  <a:pos x="300" y="8"/>
                </a:cxn>
                <a:cxn ang="0">
                  <a:pos x="260" y="2"/>
                </a:cxn>
                <a:cxn ang="0">
                  <a:pos x="216" y="0"/>
                </a:cxn>
                <a:cxn ang="0">
                  <a:pos x="174" y="2"/>
                </a:cxn>
                <a:cxn ang="0">
                  <a:pos x="132" y="8"/>
                </a:cxn>
                <a:cxn ang="0">
                  <a:pos x="96" y="18"/>
                </a:cxn>
                <a:cxn ang="0">
                  <a:pos x="64" y="30"/>
                </a:cxn>
                <a:cxn ang="0">
                  <a:pos x="38" y="46"/>
                </a:cxn>
                <a:cxn ang="0">
                  <a:pos x="18" y="64"/>
                </a:cxn>
                <a:cxn ang="0">
                  <a:pos x="4" y="82"/>
                </a:cxn>
                <a:cxn ang="0">
                  <a:pos x="0" y="102"/>
                </a:cxn>
              </a:cxnLst>
              <a:rect l="0" t="0" r="r" b="b"/>
              <a:pathLst>
                <a:path w="433" h="204">
                  <a:moveTo>
                    <a:pt x="0" y="102"/>
                  </a:moveTo>
                  <a:lnTo>
                    <a:pt x="4" y="124"/>
                  </a:lnTo>
                  <a:lnTo>
                    <a:pt x="18" y="142"/>
                  </a:lnTo>
                  <a:lnTo>
                    <a:pt x="38" y="160"/>
                  </a:lnTo>
                  <a:lnTo>
                    <a:pt x="64" y="176"/>
                  </a:lnTo>
                  <a:lnTo>
                    <a:pt x="96" y="186"/>
                  </a:lnTo>
                  <a:lnTo>
                    <a:pt x="132" y="196"/>
                  </a:lnTo>
                  <a:lnTo>
                    <a:pt x="174" y="202"/>
                  </a:lnTo>
                  <a:lnTo>
                    <a:pt x="216" y="204"/>
                  </a:lnTo>
                  <a:lnTo>
                    <a:pt x="260" y="202"/>
                  </a:lnTo>
                  <a:lnTo>
                    <a:pt x="300" y="196"/>
                  </a:lnTo>
                  <a:lnTo>
                    <a:pt x="338" y="186"/>
                  </a:lnTo>
                  <a:lnTo>
                    <a:pt x="370" y="176"/>
                  </a:lnTo>
                  <a:lnTo>
                    <a:pt x="395" y="160"/>
                  </a:lnTo>
                  <a:lnTo>
                    <a:pt x="415" y="142"/>
                  </a:lnTo>
                  <a:lnTo>
                    <a:pt x="429" y="124"/>
                  </a:lnTo>
                  <a:lnTo>
                    <a:pt x="433" y="102"/>
                  </a:lnTo>
                  <a:lnTo>
                    <a:pt x="429" y="82"/>
                  </a:lnTo>
                  <a:lnTo>
                    <a:pt x="415" y="64"/>
                  </a:lnTo>
                  <a:lnTo>
                    <a:pt x="395" y="46"/>
                  </a:lnTo>
                  <a:lnTo>
                    <a:pt x="370" y="30"/>
                  </a:lnTo>
                  <a:lnTo>
                    <a:pt x="338" y="18"/>
                  </a:lnTo>
                  <a:lnTo>
                    <a:pt x="300" y="8"/>
                  </a:lnTo>
                  <a:lnTo>
                    <a:pt x="260" y="2"/>
                  </a:lnTo>
                  <a:lnTo>
                    <a:pt x="216" y="0"/>
                  </a:lnTo>
                  <a:lnTo>
                    <a:pt x="174" y="2"/>
                  </a:lnTo>
                  <a:lnTo>
                    <a:pt x="132" y="8"/>
                  </a:lnTo>
                  <a:lnTo>
                    <a:pt x="96" y="18"/>
                  </a:lnTo>
                  <a:lnTo>
                    <a:pt x="64" y="30"/>
                  </a:lnTo>
                  <a:lnTo>
                    <a:pt x="38" y="46"/>
                  </a:lnTo>
                  <a:lnTo>
                    <a:pt x="18" y="64"/>
                  </a:lnTo>
                  <a:lnTo>
                    <a:pt x="4" y="82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78BAF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1" name="Freeform 114"/>
            <p:cNvSpPr>
              <a:spLocks/>
            </p:cNvSpPr>
            <p:nvPr/>
          </p:nvSpPr>
          <p:spPr bwMode="auto">
            <a:xfrm>
              <a:off x="2775" y="1429"/>
              <a:ext cx="208" cy="100"/>
            </a:xfrm>
            <a:custGeom>
              <a:avLst/>
              <a:gdLst/>
              <a:ahLst/>
              <a:cxnLst>
                <a:cxn ang="0">
                  <a:pos x="0" y="100"/>
                </a:cxn>
                <a:cxn ang="0">
                  <a:pos x="4" y="120"/>
                </a:cxn>
                <a:cxn ang="0">
                  <a:pos x="16" y="138"/>
                </a:cxn>
                <a:cxn ang="0">
                  <a:pos x="36" y="156"/>
                </a:cxn>
                <a:cxn ang="0">
                  <a:pos x="62" y="170"/>
                </a:cxn>
                <a:cxn ang="0">
                  <a:pos x="92" y="182"/>
                </a:cxn>
                <a:cxn ang="0">
                  <a:pos x="128" y="192"/>
                </a:cxn>
                <a:cxn ang="0">
                  <a:pos x="166" y="198"/>
                </a:cxn>
                <a:cxn ang="0">
                  <a:pos x="210" y="200"/>
                </a:cxn>
                <a:cxn ang="0">
                  <a:pos x="252" y="198"/>
                </a:cxn>
                <a:cxn ang="0">
                  <a:pos x="292" y="192"/>
                </a:cxn>
                <a:cxn ang="0">
                  <a:pos x="326" y="182"/>
                </a:cxn>
                <a:cxn ang="0">
                  <a:pos x="358" y="170"/>
                </a:cxn>
                <a:cxn ang="0">
                  <a:pos x="381" y="156"/>
                </a:cxn>
                <a:cxn ang="0">
                  <a:pos x="401" y="138"/>
                </a:cxn>
                <a:cxn ang="0">
                  <a:pos x="413" y="120"/>
                </a:cxn>
                <a:cxn ang="0">
                  <a:pos x="417" y="100"/>
                </a:cxn>
                <a:cxn ang="0">
                  <a:pos x="413" y="80"/>
                </a:cxn>
                <a:cxn ang="0">
                  <a:pos x="401" y="62"/>
                </a:cxn>
                <a:cxn ang="0">
                  <a:pos x="381" y="44"/>
                </a:cxn>
                <a:cxn ang="0">
                  <a:pos x="358" y="28"/>
                </a:cxn>
                <a:cxn ang="0">
                  <a:pos x="326" y="18"/>
                </a:cxn>
                <a:cxn ang="0">
                  <a:pos x="292" y="8"/>
                </a:cxn>
                <a:cxn ang="0">
                  <a:pos x="252" y="2"/>
                </a:cxn>
                <a:cxn ang="0">
                  <a:pos x="210" y="0"/>
                </a:cxn>
                <a:cxn ang="0">
                  <a:pos x="166" y="2"/>
                </a:cxn>
                <a:cxn ang="0">
                  <a:pos x="128" y="8"/>
                </a:cxn>
                <a:cxn ang="0">
                  <a:pos x="92" y="18"/>
                </a:cxn>
                <a:cxn ang="0">
                  <a:pos x="62" y="28"/>
                </a:cxn>
                <a:cxn ang="0">
                  <a:pos x="36" y="44"/>
                </a:cxn>
                <a:cxn ang="0">
                  <a:pos x="16" y="62"/>
                </a:cxn>
                <a:cxn ang="0">
                  <a:pos x="4" y="80"/>
                </a:cxn>
                <a:cxn ang="0">
                  <a:pos x="0" y="100"/>
                </a:cxn>
              </a:cxnLst>
              <a:rect l="0" t="0" r="r" b="b"/>
              <a:pathLst>
                <a:path w="417" h="200">
                  <a:moveTo>
                    <a:pt x="0" y="100"/>
                  </a:moveTo>
                  <a:lnTo>
                    <a:pt x="4" y="120"/>
                  </a:lnTo>
                  <a:lnTo>
                    <a:pt x="16" y="138"/>
                  </a:lnTo>
                  <a:lnTo>
                    <a:pt x="36" y="156"/>
                  </a:lnTo>
                  <a:lnTo>
                    <a:pt x="62" y="170"/>
                  </a:lnTo>
                  <a:lnTo>
                    <a:pt x="92" y="182"/>
                  </a:lnTo>
                  <a:lnTo>
                    <a:pt x="128" y="192"/>
                  </a:lnTo>
                  <a:lnTo>
                    <a:pt x="166" y="198"/>
                  </a:lnTo>
                  <a:lnTo>
                    <a:pt x="210" y="200"/>
                  </a:lnTo>
                  <a:lnTo>
                    <a:pt x="252" y="198"/>
                  </a:lnTo>
                  <a:lnTo>
                    <a:pt x="292" y="192"/>
                  </a:lnTo>
                  <a:lnTo>
                    <a:pt x="326" y="182"/>
                  </a:lnTo>
                  <a:lnTo>
                    <a:pt x="358" y="170"/>
                  </a:lnTo>
                  <a:lnTo>
                    <a:pt x="381" y="156"/>
                  </a:lnTo>
                  <a:lnTo>
                    <a:pt x="401" y="138"/>
                  </a:lnTo>
                  <a:lnTo>
                    <a:pt x="413" y="120"/>
                  </a:lnTo>
                  <a:lnTo>
                    <a:pt x="417" y="100"/>
                  </a:lnTo>
                  <a:lnTo>
                    <a:pt x="413" y="80"/>
                  </a:lnTo>
                  <a:lnTo>
                    <a:pt x="401" y="62"/>
                  </a:lnTo>
                  <a:lnTo>
                    <a:pt x="381" y="44"/>
                  </a:lnTo>
                  <a:lnTo>
                    <a:pt x="358" y="28"/>
                  </a:lnTo>
                  <a:lnTo>
                    <a:pt x="326" y="18"/>
                  </a:lnTo>
                  <a:lnTo>
                    <a:pt x="292" y="8"/>
                  </a:lnTo>
                  <a:lnTo>
                    <a:pt x="252" y="2"/>
                  </a:lnTo>
                  <a:lnTo>
                    <a:pt x="210" y="0"/>
                  </a:lnTo>
                  <a:lnTo>
                    <a:pt x="166" y="2"/>
                  </a:lnTo>
                  <a:lnTo>
                    <a:pt x="128" y="8"/>
                  </a:lnTo>
                  <a:lnTo>
                    <a:pt x="92" y="18"/>
                  </a:lnTo>
                  <a:lnTo>
                    <a:pt x="62" y="28"/>
                  </a:lnTo>
                  <a:lnTo>
                    <a:pt x="36" y="44"/>
                  </a:lnTo>
                  <a:lnTo>
                    <a:pt x="16" y="62"/>
                  </a:lnTo>
                  <a:lnTo>
                    <a:pt x="4" y="8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70B2E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2" name="Freeform 115"/>
            <p:cNvSpPr>
              <a:spLocks/>
            </p:cNvSpPr>
            <p:nvPr/>
          </p:nvSpPr>
          <p:spPr bwMode="auto">
            <a:xfrm>
              <a:off x="2779" y="1429"/>
              <a:ext cx="202" cy="96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4" y="116"/>
                </a:cxn>
                <a:cxn ang="0">
                  <a:pos x="16" y="134"/>
                </a:cxn>
                <a:cxn ang="0">
                  <a:pos x="34" y="150"/>
                </a:cxn>
                <a:cxn ang="0">
                  <a:pos x="60" y="164"/>
                </a:cxn>
                <a:cxn ang="0">
                  <a:pos x="90" y="176"/>
                </a:cxn>
                <a:cxn ang="0">
                  <a:pos x="124" y="184"/>
                </a:cxn>
                <a:cxn ang="0">
                  <a:pos x="162" y="190"/>
                </a:cxn>
                <a:cxn ang="0">
                  <a:pos x="202" y="192"/>
                </a:cxn>
                <a:cxn ang="0">
                  <a:pos x="244" y="190"/>
                </a:cxn>
                <a:cxn ang="0">
                  <a:pos x="282" y="184"/>
                </a:cxn>
                <a:cxn ang="0">
                  <a:pos x="316" y="176"/>
                </a:cxn>
                <a:cxn ang="0">
                  <a:pos x="346" y="164"/>
                </a:cxn>
                <a:cxn ang="0">
                  <a:pos x="372" y="150"/>
                </a:cxn>
                <a:cxn ang="0">
                  <a:pos x="389" y="134"/>
                </a:cxn>
                <a:cxn ang="0">
                  <a:pos x="399" y="116"/>
                </a:cxn>
                <a:cxn ang="0">
                  <a:pos x="405" y="96"/>
                </a:cxn>
                <a:cxn ang="0">
                  <a:pos x="399" y="78"/>
                </a:cxn>
                <a:cxn ang="0">
                  <a:pos x="389" y="60"/>
                </a:cxn>
                <a:cxn ang="0">
                  <a:pos x="372" y="44"/>
                </a:cxn>
                <a:cxn ang="0">
                  <a:pos x="346" y="28"/>
                </a:cxn>
                <a:cxn ang="0">
                  <a:pos x="316" y="16"/>
                </a:cxn>
                <a:cxn ang="0">
                  <a:pos x="282" y="8"/>
                </a:cxn>
                <a:cxn ang="0">
                  <a:pos x="244" y="2"/>
                </a:cxn>
                <a:cxn ang="0">
                  <a:pos x="202" y="0"/>
                </a:cxn>
                <a:cxn ang="0">
                  <a:pos x="162" y="2"/>
                </a:cxn>
                <a:cxn ang="0">
                  <a:pos x="124" y="8"/>
                </a:cxn>
                <a:cxn ang="0">
                  <a:pos x="90" y="16"/>
                </a:cxn>
                <a:cxn ang="0">
                  <a:pos x="60" y="28"/>
                </a:cxn>
                <a:cxn ang="0">
                  <a:pos x="34" y="44"/>
                </a:cxn>
                <a:cxn ang="0">
                  <a:pos x="16" y="60"/>
                </a:cxn>
                <a:cxn ang="0">
                  <a:pos x="4" y="78"/>
                </a:cxn>
                <a:cxn ang="0">
                  <a:pos x="0" y="96"/>
                </a:cxn>
              </a:cxnLst>
              <a:rect l="0" t="0" r="r" b="b"/>
              <a:pathLst>
                <a:path w="405" h="192">
                  <a:moveTo>
                    <a:pt x="0" y="96"/>
                  </a:moveTo>
                  <a:lnTo>
                    <a:pt x="4" y="116"/>
                  </a:lnTo>
                  <a:lnTo>
                    <a:pt x="16" y="134"/>
                  </a:lnTo>
                  <a:lnTo>
                    <a:pt x="34" y="150"/>
                  </a:lnTo>
                  <a:lnTo>
                    <a:pt x="60" y="164"/>
                  </a:lnTo>
                  <a:lnTo>
                    <a:pt x="90" y="176"/>
                  </a:lnTo>
                  <a:lnTo>
                    <a:pt x="124" y="184"/>
                  </a:lnTo>
                  <a:lnTo>
                    <a:pt x="162" y="190"/>
                  </a:lnTo>
                  <a:lnTo>
                    <a:pt x="202" y="192"/>
                  </a:lnTo>
                  <a:lnTo>
                    <a:pt x="244" y="190"/>
                  </a:lnTo>
                  <a:lnTo>
                    <a:pt x="282" y="184"/>
                  </a:lnTo>
                  <a:lnTo>
                    <a:pt x="316" y="176"/>
                  </a:lnTo>
                  <a:lnTo>
                    <a:pt x="346" y="164"/>
                  </a:lnTo>
                  <a:lnTo>
                    <a:pt x="372" y="150"/>
                  </a:lnTo>
                  <a:lnTo>
                    <a:pt x="389" y="134"/>
                  </a:lnTo>
                  <a:lnTo>
                    <a:pt x="399" y="116"/>
                  </a:lnTo>
                  <a:lnTo>
                    <a:pt x="405" y="96"/>
                  </a:lnTo>
                  <a:lnTo>
                    <a:pt x="399" y="78"/>
                  </a:lnTo>
                  <a:lnTo>
                    <a:pt x="389" y="60"/>
                  </a:lnTo>
                  <a:lnTo>
                    <a:pt x="372" y="44"/>
                  </a:lnTo>
                  <a:lnTo>
                    <a:pt x="346" y="28"/>
                  </a:lnTo>
                  <a:lnTo>
                    <a:pt x="316" y="16"/>
                  </a:lnTo>
                  <a:lnTo>
                    <a:pt x="282" y="8"/>
                  </a:lnTo>
                  <a:lnTo>
                    <a:pt x="244" y="2"/>
                  </a:lnTo>
                  <a:lnTo>
                    <a:pt x="202" y="0"/>
                  </a:lnTo>
                  <a:lnTo>
                    <a:pt x="162" y="2"/>
                  </a:lnTo>
                  <a:lnTo>
                    <a:pt x="124" y="8"/>
                  </a:lnTo>
                  <a:lnTo>
                    <a:pt x="90" y="16"/>
                  </a:lnTo>
                  <a:lnTo>
                    <a:pt x="60" y="28"/>
                  </a:lnTo>
                  <a:lnTo>
                    <a:pt x="34" y="44"/>
                  </a:lnTo>
                  <a:lnTo>
                    <a:pt x="16" y="60"/>
                  </a:lnTo>
                  <a:lnTo>
                    <a:pt x="4" y="7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68AAE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3" name="Freeform 116"/>
            <p:cNvSpPr>
              <a:spLocks/>
            </p:cNvSpPr>
            <p:nvPr/>
          </p:nvSpPr>
          <p:spPr bwMode="auto">
            <a:xfrm>
              <a:off x="2783" y="1429"/>
              <a:ext cx="194" cy="94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2" y="112"/>
                </a:cxn>
                <a:cxn ang="0">
                  <a:pos x="14" y="130"/>
                </a:cxn>
                <a:cxn ang="0">
                  <a:pos x="34" y="146"/>
                </a:cxn>
                <a:cxn ang="0">
                  <a:pos x="56" y="160"/>
                </a:cxn>
                <a:cxn ang="0">
                  <a:pos x="86" y="172"/>
                </a:cxn>
                <a:cxn ang="0">
                  <a:pos x="118" y="180"/>
                </a:cxn>
                <a:cxn ang="0">
                  <a:pos x="156" y="186"/>
                </a:cxn>
                <a:cxn ang="0">
                  <a:pos x="194" y="188"/>
                </a:cxn>
                <a:cxn ang="0">
                  <a:pos x="234" y="186"/>
                </a:cxn>
                <a:cxn ang="0">
                  <a:pos x="270" y="180"/>
                </a:cxn>
                <a:cxn ang="0">
                  <a:pos x="304" y="172"/>
                </a:cxn>
                <a:cxn ang="0">
                  <a:pos x="332" y="160"/>
                </a:cxn>
                <a:cxn ang="0">
                  <a:pos x="356" y="146"/>
                </a:cxn>
                <a:cxn ang="0">
                  <a:pos x="373" y="130"/>
                </a:cxn>
                <a:cxn ang="0">
                  <a:pos x="385" y="112"/>
                </a:cxn>
                <a:cxn ang="0">
                  <a:pos x="389" y="92"/>
                </a:cxn>
                <a:cxn ang="0">
                  <a:pos x="385" y="76"/>
                </a:cxn>
                <a:cxn ang="0">
                  <a:pos x="373" y="58"/>
                </a:cxn>
                <a:cxn ang="0">
                  <a:pos x="356" y="40"/>
                </a:cxn>
                <a:cxn ang="0">
                  <a:pos x="332" y="28"/>
                </a:cxn>
                <a:cxn ang="0">
                  <a:pos x="304" y="16"/>
                </a:cxn>
                <a:cxn ang="0">
                  <a:pos x="270" y="8"/>
                </a:cxn>
                <a:cxn ang="0">
                  <a:pos x="234" y="2"/>
                </a:cxn>
                <a:cxn ang="0">
                  <a:pos x="194" y="0"/>
                </a:cxn>
                <a:cxn ang="0">
                  <a:pos x="156" y="2"/>
                </a:cxn>
                <a:cxn ang="0">
                  <a:pos x="118" y="8"/>
                </a:cxn>
                <a:cxn ang="0">
                  <a:pos x="86" y="16"/>
                </a:cxn>
                <a:cxn ang="0">
                  <a:pos x="56" y="28"/>
                </a:cxn>
                <a:cxn ang="0">
                  <a:pos x="34" y="40"/>
                </a:cxn>
                <a:cxn ang="0">
                  <a:pos x="14" y="58"/>
                </a:cxn>
                <a:cxn ang="0">
                  <a:pos x="2" y="76"/>
                </a:cxn>
                <a:cxn ang="0">
                  <a:pos x="0" y="92"/>
                </a:cxn>
              </a:cxnLst>
              <a:rect l="0" t="0" r="r" b="b"/>
              <a:pathLst>
                <a:path w="389" h="188">
                  <a:moveTo>
                    <a:pt x="0" y="92"/>
                  </a:moveTo>
                  <a:lnTo>
                    <a:pt x="2" y="112"/>
                  </a:lnTo>
                  <a:lnTo>
                    <a:pt x="14" y="130"/>
                  </a:lnTo>
                  <a:lnTo>
                    <a:pt x="34" y="146"/>
                  </a:lnTo>
                  <a:lnTo>
                    <a:pt x="56" y="160"/>
                  </a:lnTo>
                  <a:lnTo>
                    <a:pt x="86" y="172"/>
                  </a:lnTo>
                  <a:lnTo>
                    <a:pt x="118" y="180"/>
                  </a:lnTo>
                  <a:lnTo>
                    <a:pt x="156" y="186"/>
                  </a:lnTo>
                  <a:lnTo>
                    <a:pt x="194" y="188"/>
                  </a:lnTo>
                  <a:lnTo>
                    <a:pt x="234" y="186"/>
                  </a:lnTo>
                  <a:lnTo>
                    <a:pt x="270" y="180"/>
                  </a:lnTo>
                  <a:lnTo>
                    <a:pt x="304" y="172"/>
                  </a:lnTo>
                  <a:lnTo>
                    <a:pt x="332" y="160"/>
                  </a:lnTo>
                  <a:lnTo>
                    <a:pt x="356" y="146"/>
                  </a:lnTo>
                  <a:lnTo>
                    <a:pt x="373" y="130"/>
                  </a:lnTo>
                  <a:lnTo>
                    <a:pt x="385" y="112"/>
                  </a:lnTo>
                  <a:lnTo>
                    <a:pt x="389" y="92"/>
                  </a:lnTo>
                  <a:lnTo>
                    <a:pt x="385" y="76"/>
                  </a:lnTo>
                  <a:lnTo>
                    <a:pt x="373" y="58"/>
                  </a:lnTo>
                  <a:lnTo>
                    <a:pt x="356" y="40"/>
                  </a:lnTo>
                  <a:lnTo>
                    <a:pt x="332" y="28"/>
                  </a:lnTo>
                  <a:lnTo>
                    <a:pt x="304" y="16"/>
                  </a:lnTo>
                  <a:lnTo>
                    <a:pt x="270" y="8"/>
                  </a:lnTo>
                  <a:lnTo>
                    <a:pt x="234" y="2"/>
                  </a:lnTo>
                  <a:lnTo>
                    <a:pt x="194" y="0"/>
                  </a:lnTo>
                  <a:lnTo>
                    <a:pt x="156" y="2"/>
                  </a:lnTo>
                  <a:lnTo>
                    <a:pt x="118" y="8"/>
                  </a:lnTo>
                  <a:lnTo>
                    <a:pt x="86" y="16"/>
                  </a:lnTo>
                  <a:lnTo>
                    <a:pt x="56" y="28"/>
                  </a:lnTo>
                  <a:lnTo>
                    <a:pt x="34" y="40"/>
                  </a:lnTo>
                  <a:lnTo>
                    <a:pt x="14" y="58"/>
                  </a:lnTo>
                  <a:lnTo>
                    <a:pt x="2" y="76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60A2D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4" name="Freeform 117"/>
            <p:cNvSpPr>
              <a:spLocks/>
            </p:cNvSpPr>
            <p:nvPr/>
          </p:nvSpPr>
          <p:spPr bwMode="auto">
            <a:xfrm>
              <a:off x="2788" y="1429"/>
              <a:ext cx="186" cy="91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2" y="110"/>
                </a:cxn>
                <a:cxn ang="0">
                  <a:pos x="14" y="128"/>
                </a:cxn>
                <a:cxn ang="0">
                  <a:pos x="32" y="142"/>
                </a:cxn>
                <a:cxn ang="0">
                  <a:pos x="54" y="156"/>
                </a:cxn>
                <a:cxn ang="0">
                  <a:pos x="82" y="168"/>
                </a:cxn>
                <a:cxn ang="0">
                  <a:pos x="114" y="176"/>
                </a:cxn>
                <a:cxn ang="0">
                  <a:pos x="150" y="180"/>
                </a:cxn>
                <a:cxn ang="0">
                  <a:pos x="188" y="182"/>
                </a:cxn>
                <a:cxn ang="0">
                  <a:pos x="226" y="180"/>
                </a:cxn>
                <a:cxn ang="0">
                  <a:pos x="262" y="176"/>
                </a:cxn>
                <a:cxn ang="0">
                  <a:pos x="294" y="168"/>
                </a:cxn>
                <a:cxn ang="0">
                  <a:pos x="322" y="156"/>
                </a:cxn>
                <a:cxn ang="0">
                  <a:pos x="342" y="142"/>
                </a:cxn>
                <a:cxn ang="0">
                  <a:pos x="359" y="128"/>
                </a:cxn>
                <a:cxn ang="0">
                  <a:pos x="371" y="110"/>
                </a:cxn>
                <a:cxn ang="0">
                  <a:pos x="373" y="92"/>
                </a:cxn>
                <a:cxn ang="0">
                  <a:pos x="371" y="74"/>
                </a:cxn>
                <a:cxn ang="0">
                  <a:pos x="359" y="56"/>
                </a:cxn>
                <a:cxn ang="0">
                  <a:pos x="342" y="40"/>
                </a:cxn>
                <a:cxn ang="0">
                  <a:pos x="322" y="26"/>
                </a:cxn>
                <a:cxn ang="0">
                  <a:pos x="294" y="16"/>
                </a:cxn>
                <a:cxn ang="0">
                  <a:pos x="262" y="6"/>
                </a:cxn>
                <a:cxn ang="0">
                  <a:pos x="226" y="2"/>
                </a:cxn>
                <a:cxn ang="0">
                  <a:pos x="188" y="0"/>
                </a:cxn>
                <a:cxn ang="0">
                  <a:pos x="150" y="2"/>
                </a:cxn>
                <a:cxn ang="0">
                  <a:pos x="114" y="6"/>
                </a:cxn>
                <a:cxn ang="0">
                  <a:pos x="82" y="16"/>
                </a:cxn>
                <a:cxn ang="0">
                  <a:pos x="54" y="26"/>
                </a:cxn>
                <a:cxn ang="0">
                  <a:pos x="32" y="40"/>
                </a:cxn>
                <a:cxn ang="0">
                  <a:pos x="14" y="56"/>
                </a:cxn>
                <a:cxn ang="0">
                  <a:pos x="2" y="74"/>
                </a:cxn>
                <a:cxn ang="0">
                  <a:pos x="0" y="92"/>
                </a:cxn>
              </a:cxnLst>
              <a:rect l="0" t="0" r="r" b="b"/>
              <a:pathLst>
                <a:path w="373" h="182">
                  <a:moveTo>
                    <a:pt x="0" y="92"/>
                  </a:moveTo>
                  <a:lnTo>
                    <a:pt x="2" y="110"/>
                  </a:lnTo>
                  <a:lnTo>
                    <a:pt x="14" y="128"/>
                  </a:lnTo>
                  <a:lnTo>
                    <a:pt x="32" y="142"/>
                  </a:lnTo>
                  <a:lnTo>
                    <a:pt x="54" y="156"/>
                  </a:lnTo>
                  <a:lnTo>
                    <a:pt x="82" y="168"/>
                  </a:lnTo>
                  <a:lnTo>
                    <a:pt x="114" y="176"/>
                  </a:lnTo>
                  <a:lnTo>
                    <a:pt x="150" y="180"/>
                  </a:lnTo>
                  <a:lnTo>
                    <a:pt x="188" y="182"/>
                  </a:lnTo>
                  <a:lnTo>
                    <a:pt x="226" y="180"/>
                  </a:lnTo>
                  <a:lnTo>
                    <a:pt x="262" y="176"/>
                  </a:lnTo>
                  <a:lnTo>
                    <a:pt x="294" y="168"/>
                  </a:lnTo>
                  <a:lnTo>
                    <a:pt x="322" y="156"/>
                  </a:lnTo>
                  <a:lnTo>
                    <a:pt x="342" y="142"/>
                  </a:lnTo>
                  <a:lnTo>
                    <a:pt x="359" y="128"/>
                  </a:lnTo>
                  <a:lnTo>
                    <a:pt x="371" y="110"/>
                  </a:lnTo>
                  <a:lnTo>
                    <a:pt x="373" y="92"/>
                  </a:lnTo>
                  <a:lnTo>
                    <a:pt x="371" y="74"/>
                  </a:lnTo>
                  <a:lnTo>
                    <a:pt x="359" y="56"/>
                  </a:lnTo>
                  <a:lnTo>
                    <a:pt x="342" y="40"/>
                  </a:lnTo>
                  <a:lnTo>
                    <a:pt x="322" y="26"/>
                  </a:lnTo>
                  <a:lnTo>
                    <a:pt x="294" y="16"/>
                  </a:lnTo>
                  <a:lnTo>
                    <a:pt x="262" y="6"/>
                  </a:lnTo>
                  <a:lnTo>
                    <a:pt x="226" y="2"/>
                  </a:lnTo>
                  <a:lnTo>
                    <a:pt x="188" y="0"/>
                  </a:lnTo>
                  <a:lnTo>
                    <a:pt x="150" y="2"/>
                  </a:lnTo>
                  <a:lnTo>
                    <a:pt x="114" y="6"/>
                  </a:lnTo>
                  <a:lnTo>
                    <a:pt x="82" y="16"/>
                  </a:lnTo>
                  <a:lnTo>
                    <a:pt x="54" y="26"/>
                  </a:lnTo>
                  <a:lnTo>
                    <a:pt x="32" y="40"/>
                  </a:lnTo>
                  <a:lnTo>
                    <a:pt x="14" y="56"/>
                  </a:lnTo>
                  <a:lnTo>
                    <a:pt x="2" y="74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5899D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5" name="Freeform 118"/>
            <p:cNvSpPr>
              <a:spLocks/>
            </p:cNvSpPr>
            <p:nvPr/>
          </p:nvSpPr>
          <p:spPr bwMode="auto">
            <a:xfrm>
              <a:off x="2792" y="1429"/>
              <a:ext cx="179" cy="88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4" y="106"/>
                </a:cxn>
                <a:cxn ang="0">
                  <a:pos x="14" y="122"/>
                </a:cxn>
                <a:cxn ang="0">
                  <a:pos x="32" y="136"/>
                </a:cxn>
                <a:cxn ang="0">
                  <a:pos x="54" y="150"/>
                </a:cxn>
                <a:cxn ang="0">
                  <a:pos x="80" y="162"/>
                </a:cxn>
                <a:cxn ang="0">
                  <a:pos x="110" y="170"/>
                </a:cxn>
                <a:cxn ang="0">
                  <a:pos x="144" y="174"/>
                </a:cxn>
                <a:cxn ang="0">
                  <a:pos x="180" y="176"/>
                </a:cxn>
                <a:cxn ang="0">
                  <a:pos x="216" y="174"/>
                </a:cxn>
                <a:cxn ang="0">
                  <a:pos x="250" y="170"/>
                </a:cxn>
                <a:cxn ang="0">
                  <a:pos x="280" y="162"/>
                </a:cxn>
                <a:cxn ang="0">
                  <a:pos x="308" y="150"/>
                </a:cxn>
                <a:cxn ang="0">
                  <a:pos x="328" y="136"/>
                </a:cxn>
                <a:cxn ang="0">
                  <a:pos x="344" y="122"/>
                </a:cxn>
                <a:cxn ang="0">
                  <a:pos x="355" y="106"/>
                </a:cxn>
                <a:cxn ang="0">
                  <a:pos x="359" y="88"/>
                </a:cxn>
                <a:cxn ang="0">
                  <a:pos x="355" y="70"/>
                </a:cxn>
                <a:cxn ang="0">
                  <a:pos x="344" y="54"/>
                </a:cxn>
                <a:cxn ang="0">
                  <a:pos x="328" y="40"/>
                </a:cxn>
                <a:cxn ang="0">
                  <a:pos x="308" y="26"/>
                </a:cxn>
                <a:cxn ang="0">
                  <a:pos x="280" y="14"/>
                </a:cxn>
                <a:cxn ang="0">
                  <a:pos x="250" y="6"/>
                </a:cxn>
                <a:cxn ang="0">
                  <a:pos x="216" y="2"/>
                </a:cxn>
                <a:cxn ang="0">
                  <a:pos x="180" y="0"/>
                </a:cxn>
                <a:cxn ang="0">
                  <a:pos x="144" y="2"/>
                </a:cxn>
                <a:cxn ang="0">
                  <a:pos x="110" y="6"/>
                </a:cxn>
                <a:cxn ang="0">
                  <a:pos x="80" y="14"/>
                </a:cxn>
                <a:cxn ang="0">
                  <a:pos x="54" y="26"/>
                </a:cxn>
                <a:cxn ang="0">
                  <a:pos x="32" y="40"/>
                </a:cxn>
                <a:cxn ang="0">
                  <a:pos x="14" y="54"/>
                </a:cxn>
                <a:cxn ang="0">
                  <a:pos x="4" y="70"/>
                </a:cxn>
                <a:cxn ang="0">
                  <a:pos x="0" y="88"/>
                </a:cxn>
              </a:cxnLst>
              <a:rect l="0" t="0" r="r" b="b"/>
              <a:pathLst>
                <a:path w="359" h="176">
                  <a:moveTo>
                    <a:pt x="0" y="88"/>
                  </a:moveTo>
                  <a:lnTo>
                    <a:pt x="4" y="106"/>
                  </a:lnTo>
                  <a:lnTo>
                    <a:pt x="14" y="122"/>
                  </a:lnTo>
                  <a:lnTo>
                    <a:pt x="32" y="136"/>
                  </a:lnTo>
                  <a:lnTo>
                    <a:pt x="54" y="150"/>
                  </a:lnTo>
                  <a:lnTo>
                    <a:pt x="80" y="162"/>
                  </a:lnTo>
                  <a:lnTo>
                    <a:pt x="110" y="170"/>
                  </a:lnTo>
                  <a:lnTo>
                    <a:pt x="144" y="174"/>
                  </a:lnTo>
                  <a:lnTo>
                    <a:pt x="180" y="176"/>
                  </a:lnTo>
                  <a:lnTo>
                    <a:pt x="216" y="174"/>
                  </a:lnTo>
                  <a:lnTo>
                    <a:pt x="250" y="170"/>
                  </a:lnTo>
                  <a:lnTo>
                    <a:pt x="280" y="162"/>
                  </a:lnTo>
                  <a:lnTo>
                    <a:pt x="308" y="150"/>
                  </a:lnTo>
                  <a:lnTo>
                    <a:pt x="328" y="136"/>
                  </a:lnTo>
                  <a:lnTo>
                    <a:pt x="344" y="122"/>
                  </a:lnTo>
                  <a:lnTo>
                    <a:pt x="355" y="106"/>
                  </a:lnTo>
                  <a:lnTo>
                    <a:pt x="359" y="88"/>
                  </a:lnTo>
                  <a:lnTo>
                    <a:pt x="355" y="70"/>
                  </a:lnTo>
                  <a:lnTo>
                    <a:pt x="344" y="54"/>
                  </a:lnTo>
                  <a:lnTo>
                    <a:pt x="328" y="40"/>
                  </a:lnTo>
                  <a:lnTo>
                    <a:pt x="308" y="26"/>
                  </a:lnTo>
                  <a:lnTo>
                    <a:pt x="280" y="14"/>
                  </a:lnTo>
                  <a:lnTo>
                    <a:pt x="250" y="6"/>
                  </a:lnTo>
                  <a:lnTo>
                    <a:pt x="216" y="2"/>
                  </a:lnTo>
                  <a:lnTo>
                    <a:pt x="180" y="0"/>
                  </a:lnTo>
                  <a:lnTo>
                    <a:pt x="144" y="2"/>
                  </a:lnTo>
                  <a:lnTo>
                    <a:pt x="110" y="6"/>
                  </a:lnTo>
                  <a:lnTo>
                    <a:pt x="80" y="14"/>
                  </a:lnTo>
                  <a:lnTo>
                    <a:pt x="54" y="26"/>
                  </a:lnTo>
                  <a:lnTo>
                    <a:pt x="32" y="40"/>
                  </a:lnTo>
                  <a:lnTo>
                    <a:pt x="14" y="54"/>
                  </a:lnTo>
                  <a:lnTo>
                    <a:pt x="4" y="7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5091C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6" name="Freeform 119"/>
            <p:cNvSpPr>
              <a:spLocks/>
            </p:cNvSpPr>
            <p:nvPr/>
          </p:nvSpPr>
          <p:spPr bwMode="auto">
            <a:xfrm>
              <a:off x="2797" y="1430"/>
              <a:ext cx="171" cy="84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4" y="100"/>
                </a:cxn>
                <a:cxn ang="0">
                  <a:pos x="14" y="116"/>
                </a:cxn>
                <a:cxn ang="0">
                  <a:pos x="30" y="130"/>
                </a:cxn>
                <a:cxn ang="0">
                  <a:pos x="50" y="144"/>
                </a:cxn>
                <a:cxn ang="0">
                  <a:pos x="74" y="152"/>
                </a:cxn>
                <a:cxn ang="0">
                  <a:pos x="104" y="160"/>
                </a:cxn>
                <a:cxn ang="0">
                  <a:pos x="136" y="166"/>
                </a:cxn>
                <a:cxn ang="0">
                  <a:pos x="170" y="168"/>
                </a:cxn>
                <a:cxn ang="0">
                  <a:pos x="206" y="166"/>
                </a:cxn>
                <a:cxn ang="0">
                  <a:pos x="238" y="160"/>
                </a:cxn>
                <a:cxn ang="0">
                  <a:pos x="268" y="152"/>
                </a:cxn>
                <a:cxn ang="0">
                  <a:pos x="294" y="144"/>
                </a:cxn>
                <a:cxn ang="0">
                  <a:pos x="314" y="130"/>
                </a:cxn>
                <a:cxn ang="0">
                  <a:pos x="330" y="116"/>
                </a:cxn>
                <a:cxn ang="0">
                  <a:pos x="339" y="100"/>
                </a:cxn>
                <a:cxn ang="0">
                  <a:pos x="343" y="82"/>
                </a:cxn>
                <a:cxn ang="0">
                  <a:pos x="339" y="66"/>
                </a:cxn>
                <a:cxn ang="0">
                  <a:pos x="330" y="50"/>
                </a:cxn>
                <a:cxn ang="0">
                  <a:pos x="314" y="38"/>
                </a:cxn>
                <a:cxn ang="0">
                  <a:pos x="294" y="24"/>
                </a:cxn>
                <a:cxn ang="0">
                  <a:pos x="268" y="14"/>
                </a:cxn>
                <a:cxn ang="0">
                  <a:pos x="238" y="6"/>
                </a:cxn>
                <a:cxn ang="0">
                  <a:pos x="206" y="2"/>
                </a:cxn>
                <a:cxn ang="0">
                  <a:pos x="170" y="0"/>
                </a:cxn>
                <a:cxn ang="0">
                  <a:pos x="136" y="2"/>
                </a:cxn>
                <a:cxn ang="0">
                  <a:pos x="104" y="6"/>
                </a:cxn>
                <a:cxn ang="0">
                  <a:pos x="74" y="14"/>
                </a:cxn>
                <a:cxn ang="0">
                  <a:pos x="50" y="24"/>
                </a:cxn>
                <a:cxn ang="0">
                  <a:pos x="30" y="38"/>
                </a:cxn>
                <a:cxn ang="0">
                  <a:pos x="14" y="50"/>
                </a:cxn>
                <a:cxn ang="0">
                  <a:pos x="4" y="66"/>
                </a:cxn>
                <a:cxn ang="0">
                  <a:pos x="0" y="82"/>
                </a:cxn>
              </a:cxnLst>
              <a:rect l="0" t="0" r="r" b="b"/>
              <a:pathLst>
                <a:path w="343" h="168">
                  <a:moveTo>
                    <a:pt x="0" y="82"/>
                  </a:moveTo>
                  <a:lnTo>
                    <a:pt x="4" y="100"/>
                  </a:lnTo>
                  <a:lnTo>
                    <a:pt x="14" y="116"/>
                  </a:lnTo>
                  <a:lnTo>
                    <a:pt x="30" y="130"/>
                  </a:lnTo>
                  <a:lnTo>
                    <a:pt x="50" y="144"/>
                  </a:lnTo>
                  <a:lnTo>
                    <a:pt x="74" y="152"/>
                  </a:lnTo>
                  <a:lnTo>
                    <a:pt x="104" y="160"/>
                  </a:lnTo>
                  <a:lnTo>
                    <a:pt x="136" y="166"/>
                  </a:lnTo>
                  <a:lnTo>
                    <a:pt x="170" y="168"/>
                  </a:lnTo>
                  <a:lnTo>
                    <a:pt x="206" y="166"/>
                  </a:lnTo>
                  <a:lnTo>
                    <a:pt x="238" y="160"/>
                  </a:lnTo>
                  <a:lnTo>
                    <a:pt x="268" y="152"/>
                  </a:lnTo>
                  <a:lnTo>
                    <a:pt x="294" y="144"/>
                  </a:lnTo>
                  <a:lnTo>
                    <a:pt x="314" y="130"/>
                  </a:lnTo>
                  <a:lnTo>
                    <a:pt x="330" y="116"/>
                  </a:lnTo>
                  <a:lnTo>
                    <a:pt x="339" y="100"/>
                  </a:lnTo>
                  <a:lnTo>
                    <a:pt x="343" y="82"/>
                  </a:lnTo>
                  <a:lnTo>
                    <a:pt x="339" y="66"/>
                  </a:lnTo>
                  <a:lnTo>
                    <a:pt x="330" y="50"/>
                  </a:lnTo>
                  <a:lnTo>
                    <a:pt x="314" y="38"/>
                  </a:lnTo>
                  <a:lnTo>
                    <a:pt x="294" y="24"/>
                  </a:lnTo>
                  <a:lnTo>
                    <a:pt x="268" y="14"/>
                  </a:lnTo>
                  <a:lnTo>
                    <a:pt x="238" y="6"/>
                  </a:lnTo>
                  <a:lnTo>
                    <a:pt x="206" y="2"/>
                  </a:lnTo>
                  <a:lnTo>
                    <a:pt x="170" y="0"/>
                  </a:lnTo>
                  <a:lnTo>
                    <a:pt x="136" y="2"/>
                  </a:lnTo>
                  <a:lnTo>
                    <a:pt x="104" y="6"/>
                  </a:lnTo>
                  <a:lnTo>
                    <a:pt x="74" y="14"/>
                  </a:lnTo>
                  <a:lnTo>
                    <a:pt x="50" y="24"/>
                  </a:lnTo>
                  <a:lnTo>
                    <a:pt x="30" y="38"/>
                  </a:lnTo>
                  <a:lnTo>
                    <a:pt x="14" y="50"/>
                  </a:lnTo>
                  <a:lnTo>
                    <a:pt x="4" y="66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4889C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7" name="Freeform 120"/>
            <p:cNvSpPr>
              <a:spLocks/>
            </p:cNvSpPr>
            <p:nvPr/>
          </p:nvSpPr>
          <p:spPr bwMode="auto">
            <a:xfrm>
              <a:off x="2802" y="1430"/>
              <a:ext cx="162" cy="82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4" y="98"/>
                </a:cxn>
                <a:cxn ang="0">
                  <a:pos x="12" y="114"/>
                </a:cxn>
                <a:cxn ang="0">
                  <a:pos x="28" y="128"/>
                </a:cxn>
                <a:cxn ang="0">
                  <a:pos x="46" y="140"/>
                </a:cxn>
                <a:cxn ang="0">
                  <a:pos x="72" y="148"/>
                </a:cxn>
                <a:cxn ang="0">
                  <a:pos x="98" y="158"/>
                </a:cxn>
                <a:cxn ang="0">
                  <a:pos x="130" y="162"/>
                </a:cxn>
                <a:cxn ang="0">
                  <a:pos x="162" y="164"/>
                </a:cxn>
                <a:cxn ang="0">
                  <a:pos x="194" y="162"/>
                </a:cxn>
                <a:cxn ang="0">
                  <a:pos x="226" y="158"/>
                </a:cxn>
                <a:cxn ang="0">
                  <a:pos x="254" y="148"/>
                </a:cxn>
                <a:cxn ang="0">
                  <a:pos x="280" y="140"/>
                </a:cxn>
                <a:cxn ang="0">
                  <a:pos x="298" y="128"/>
                </a:cxn>
                <a:cxn ang="0">
                  <a:pos x="314" y="114"/>
                </a:cxn>
                <a:cxn ang="0">
                  <a:pos x="322" y="98"/>
                </a:cxn>
                <a:cxn ang="0">
                  <a:pos x="326" y="82"/>
                </a:cxn>
                <a:cxn ang="0">
                  <a:pos x="322" y="66"/>
                </a:cxn>
                <a:cxn ang="0">
                  <a:pos x="314" y="50"/>
                </a:cxn>
                <a:cxn ang="0">
                  <a:pos x="298" y="36"/>
                </a:cxn>
                <a:cxn ang="0">
                  <a:pos x="280" y="26"/>
                </a:cxn>
                <a:cxn ang="0">
                  <a:pos x="254" y="14"/>
                </a:cxn>
                <a:cxn ang="0">
                  <a:pos x="226" y="8"/>
                </a:cxn>
                <a:cxn ang="0">
                  <a:pos x="194" y="2"/>
                </a:cxn>
                <a:cxn ang="0">
                  <a:pos x="162" y="0"/>
                </a:cxn>
                <a:cxn ang="0">
                  <a:pos x="130" y="2"/>
                </a:cxn>
                <a:cxn ang="0">
                  <a:pos x="98" y="8"/>
                </a:cxn>
                <a:cxn ang="0">
                  <a:pos x="72" y="14"/>
                </a:cxn>
                <a:cxn ang="0">
                  <a:pos x="46" y="26"/>
                </a:cxn>
                <a:cxn ang="0">
                  <a:pos x="28" y="36"/>
                </a:cxn>
                <a:cxn ang="0">
                  <a:pos x="12" y="50"/>
                </a:cxn>
                <a:cxn ang="0">
                  <a:pos x="4" y="66"/>
                </a:cxn>
                <a:cxn ang="0">
                  <a:pos x="0" y="82"/>
                </a:cxn>
              </a:cxnLst>
              <a:rect l="0" t="0" r="r" b="b"/>
              <a:pathLst>
                <a:path w="326" h="164">
                  <a:moveTo>
                    <a:pt x="0" y="82"/>
                  </a:moveTo>
                  <a:lnTo>
                    <a:pt x="4" y="98"/>
                  </a:lnTo>
                  <a:lnTo>
                    <a:pt x="12" y="114"/>
                  </a:lnTo>
                  <a:lnTo>
                    <a:pt x="28" y="128"/>
                  </a:lnTo>
                  <a:lnTo>
                    <a:pt x="46" y="140"/>
                  </a:lnTo>
                  <a:lnTo>
                    <a:pt x="72" y="148"/>
                  </a:lnTo>
                  <a:lnTo>
                    <a:pt x="98" y="158"/>
                  </a:lnTo>
                  <a:lnTo>
                    <a:pt x="130" y="162"/>
                  </a:lnTo>
                  <a:lnTo>
                    <a:pt x="162" y="164"/>
                  </a:lnTo>
                  <a:lnTo>
                    <a:pt x="194" y="162"/>
                  </a:lnTo>
                  <a:lnTo>
                    <a:pt x="226" y="158"/>
                  </a:lnTo>
                  <a:lnTo>
                    <a:pt x="254" y="148"/>
                  </a:lnTo>
                  <a:lnTo>
                    <a:pt x="280" y="140"/>
                  </a:lnTo>
                  <a:lnTo>
                    <a:pt x="298" y="128"/>
                  </a:lnTo>
                  <a:lnTo>
                    <a:pt x="314" y="114"/>
                  </a:lnTo>
                  <a:lnTo>
                    <a:pt x="322" y="98"/>
                  </a:lnTo>
                  <a:lnTo>
                    <a:pt x="326" y="82"/>
                  </a:lnTo>
                  <a:lnTo>
                    <a:pt x="322" y="66"/>
                  </a:lnTo>
                  <a:lnTo>
                    <a:pt x="314" y="50"/>
                  </a:lnTo>
                  <a:lnTo>
                    <a:pt x="298" y="36"/>
                  </a:lnTo>
                  <a:lnTo>
                    <a:pt x="280" y="26"/>
                  </a:lnTo>
                  <a:lnTo>
                    <a:pt x="254" y="14"/>
                  </a:lnTo>
                  <a:lnTo>
                    <a:pt x="226" y="8"/>
                  </a:lnTo>
                  <a:lnTo>
                    <a:pt x="194" y="2"/>
                  </a:lnTo>
                  <a:lnTo>
                    <a:pt x="162" y="0"/>
                  </a:lnTo>
                  <a:lnTo>
                    <a:pt x="130" y="2"/>
                  </a:lnTo>
                  <a:lnTo>
                    <a:pt x="98" y="8"/>
                  </a:lnTo>
                  <a:lnTo>
                    <a:pt x="72" y="14"/>
                  </a:lnTo>
                  <a:lnTo>
                    <a:pt x="46" y="26"/>
                  </a:lnTo>
                  <a:lnTo>
                    <a:pt x="28" y="36"/>
                  </a:lnTo>
                  <a:lnTo>
                    <a:pt x="12" y="50"/>
                  </a:lnTo>
                  <a:lnTo>
                    <a:pt x="4" y="66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4081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8" name="Freeform 121"/>
            <p:cNvSpPr>
              <a:spLocks/>
            </p:cNvSpPr>
            <p:nvPr/>
          </p:nvSpPr>
          <p:spPr bwMode="auto">
            <a:xfrm>
              <a:off x="2806" y="1430"/>
              <a:ext cx="155" cy="79"/>
            </a:xfrm>
            <a:custGeom>
              <a:avLst/>
              <a:gdLst/>
              <a:ahLst/>
              <a:cxnLst>
                <a:cxn ang="0">
                  <a:pos x="0" y="78"/>
                </a:cxn>
                <a:cxn ang="0">
                  <a:pos x="4" y="94"/>
                </a:cxn>
                <a:cxn ang="0">
                  <a:pos x="12" y="108"/>
                </a:cxn>
                <a:cxn ang="0">
                  <a:pos x="26" y="122"/>
                </a:cxn>
                <a:cxn ang="0">
                  <a:pos x="46" y="134"/>
                </a:cxn>
                <a:cxn ang="0">
                  <a:pos x="68" y="144"/>
                </a:cxn>
                <a:cxn ang="0">
                  <a:pos x="96" y="152"/>
                </a:cxn>
                <a:cxn ang="0">
                  <a:pos x="124" y="156"/>
                </a:cxn>
                <a:cxn ang="0">
                  <a:pos x="156" y="158"/>
                </a:cxn>
                <a:cxn ang="0">
                  <a:pos x="186" y="156"/>
                </a:cxn>
                <a:cxn ang="0">
                  <a:pos x="216" y="152"/>
                </a:cxn>
                <a:cxn ang="0">
                  <a:pos x="244" y="144"/>
                </a:cxn>
                <a:cxn ang="0">
                  <a:pos x="266" y="134"/>
                </a:cxn>
                <a:cxn ang="0">
                  <a:pos x="286" y="122"/>
                </a:cxn>
                <a:cxn ang="0">
                  <a:pos x="298" y="108"/>
                </a:cxn>
                <a:cxn ang="0">
                  <a:pos x="308" y="94"/>
                </a:cxn>
                <a:cxn ang="0">
                  <a:pos x="312" y="78"/>
                </a:cxn>
                <a:cxn ang="0">
                  <a:pos x="308" y="62"/>
                </a:cxn>
                <a:cxn ang="0">
                  <a:pos x="298" y="48"/>
                </a:cxn>
                <a:cxn ang="0">
                  <a:pos x="286" y="34"/>
                </a:cxn>
                <a:cxn ang="0">
                  <a:pos x="266" y="22"/>
                </a:cxn>
                <a:cxn ang="0">
                  <a:pos x="244" y="12"/>
                </a:cxn>
                <a:cxn ang="0">
                  <a:pos x="216" y="6"/>
                </a:cxn>
                <a:cxn ang="0">
                  <a:pos x="186" y="2"/>
                </a:cxn>
                <a:cxn ang="0">
                  <a:pos x="156" y="0"/>
                </a:cxn>
                <a:cxn ang="0">
                  <a:pos x="124" y="2"/>
                </a:cxn>
                <a:cxn ang="0">
                  <a:pos x="96" y="6"/>
                </a:cxn>
                <a:cxn ang="0">
                  <a:pos x="68" y="12"/>
                </a:cxn>
                <a:cxn ang="0">
                  <a:pos x="46" y="22"/>
                </a:cxn>
                <a:cxn ang="0">
                  <a:pos x="26" y="34"/>
                </a:cxn>
                <a:cxn ang="0">
                  <a:pos x="12" y="48"/>
                </a:cxn>
                <a:cxn ang="0">
                  <a:pos x="4" y="62"/>
                </a:cxn>
                <a:cxn ang="0">
                  <a:pos x="0" y="78"/>
                </a:cxn>
              </a:cxnLst>
              <a:rect l="0" t="0" r="r" b="b"/>
              <a:pathLst>
                <a:path w="312" h="158">
                  <a:moveTo>
                    <a:pt x="0" y="78"/>
                  </a:moveTo>
                  <a:lnTo>
                    <a:pt x="4" y="94"/>
                  </a:lnTo>
                  <a:lnTo>
                    <a:pt x="12" y="108"/>
                  </a:lnTo>
                  <a:lnTo>
                    <a:pt x="26" y="122"/>
                  </a:lnTo>
                  <a:lnTo>
                    <a:pt x="46" y="134"/>
                  </a:lnTo>
                  <a:lnTo>
                    <a:pt x="68" y="144"/>
                  </a:lnTo>
                  <a:lnTo>
                    <a:pt x="96" y="152"/>
                  </a:lnTo>
                  <a:lnTo>
                    <a:pt x="124" y="156"/>
                  </a:lnTo>
                  <a:lnTo>
                    <a:pt x="156" y="158"/>
                  </a:lnTo>
                  <a:lnTo>
                    <a:pt x="186" y="156"/>
                  </a:lnTo>
                  <a:lnTo>
                    <a:pt x="216" y="152"/>
                  </a:lnTo>
                  <a:lnTo>
                    <a:pt x="244" y="144"/>
                  </a:lnTo>
                  <a:lnTo>
                    <a:pt x="266" y="134"/>
                  </a:lnTo>
                  <a:lnTo>
                    <a:pt x="286" y="122"/>
                  </a:lnTo>
                  <a:lnTo>
                    <a:pt x="298" y="108"/>
                  </a:lnTo>
                  <a:lnTo>
                    <a:pt x="308" y="94"/>
                  </a:lnTo>
                  <a:lnTo>
                    <a:pt x="312" y="78"/>
                  </a:lnTo>
                  <a:lnTo>
                    <a:pt x="308" y="62"/>
                  </a:lnTo>
                  <a:lnTo>
                    <a:pt x="298" y="48"/>
                  </a:lnTo>
                  <a:lnTo>
                    <a:pt x="286" y="34"/>
                  </a:lnTo>
                  <a:lnTo>
                    <a:pt x="266" y="22"/>
                  </a:lnTo>
                  <a:lnTo>
                    <a:pt x="244" y="12"/>
                  </a:lnTo>
                  <a:lnTo>
                    <a:pt x="216" y="6"/>
                  </a:lnTo>
                  <a:lnTo>
                    <a:pt x="186" y="2"/>
                  </a:lnTo>
                  <a:lnTo>
                    <a:pt x="156" y="0"/>
                  </a:lnTo>
                  <a:lnTo>
                    <a:pt x="124" y="2"/>
                  </a:lnTo>
                  <a:lnTo>
                    <a:pt x="96" y="6"/>
                  </a:lnTo>
                  <a:lnTo>
                    <a:pt x="68" y="12"/>
                  </a:lnTo>
                  <a:lnTo>
                    <a:pt x="46" y="22"/>
                  </a:lnTo>
                  <a:lnTo>
                    <a:pt x="26" y="34"/>
                  </a:lnTo>
                  <a:lnTo>
                    <a:pt x="12" y="48"/>
                  </a:lnTo>
                  <a:lnTo>
                    <a:pt x="4" y="62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3879B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199" name="Freeform 122"/>
            <p:cNvSpPr>
              <a:spLocks/>
            </p:cNvSpPr>
            <p:nvPr/>
          </p:nvSpPr>
          <p:spPr bwMode="auto">
            <a:xfrm>
              <a:off x="2810" y="1430"/>
              <a:ext cx="149" cy="76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4" y="90"/>
                </a:cxn>
                <a:cxn ang="0">
                  <a:pos x="12" y="104"/>
                </a:cxn>
                <a:cxn ang="0">
                  <a:pos x="26" y="118"/>
                </a:cxn>
                <a:cxn ang="0">
                  <a:pos x="44" y="128"/>
                </a:cxn>
                <a:cxn ang="0">
                  <a:pos x="66" y="138"/>
                </a:cxn>
                <a:cxn ang="0">
                  <a:pos x="92" y="144"/>
                </a:cxn>
                <a:cxn ang="0">
                  <a:pos x="120" y="150"/>
                </a:cxn>
                <a:cxn ang="0">
                  <a:pos x="148" y="152"/>
                </a:cxn>
                <a:cxn ang="0">
                  <a:pos x="180" y="150"/>
                </a:cxn>
                <a:cxn ang="0">
                  <a:pos x="206" y="144"/>
                </a:cxn>
                <a:cxn ang="0">
                  <a:pos x="232" y="138"/>
                </a:cxn>
                <a:cxn ang="0">
                  <a:pos x="254" y="128"/>
                </a:cxn>
                <a:cxn ang="0">
                  <a:pos x="272" y="118"/>
                </a:cxn>
                <a:cxn ang="0">
                  <a:pos x="286" y="104"/>
                </a:cxn>
                <a:cxn ang="0">
                  <a:pos x="294" y="90"/>
                </a:cxn>
                <a:cxn ang="0">
                  <a:pos x="298" y="74"/>
                </a:cxn>
                <a:cxn ang="0">
                  <a:pos x="294" y="60"/>
                </a:cxn>
                <a:cxn ang="0">
                  <a:pos x="286" y="46"/>
                </a:cxn>
                <a:cxn ang="0">
                  <a:pos x="272" y="32"/>
                </a:cxn>
                <a:cxn ang="0">
                  <a:pos x="254" y="22"/>
                </a:cxn>
                <a:cxn ang="0">
                  <a:pos x="232" y="12"/>
                </a:cxn>
                <a:cxn ang="0">
                  <a:pos x="206" y="6"/>
                </a:cxn>
                <a:cxn ang="0">
                  <a:pos x="180" y="2"/>
                </a:cxn>
                <a:cxn ang="0">
                  <a:pos x="148" y="0"/>
                </a:cxn>
                <a:cxn ang="0">
                  <a:pos x="120" y="2"/>
                </a:cxn>
                <a:cxn ang="0">
                  <a:pos x="92" y="6"/>
                </a:cxn>
                <a:cxn ang="0">
                  <a:pos x="66" y="12"/>
                </a:cxn>
                <a:cxn ang="0">
                  <a:pos x="44" y="22"/>
                </a:cxn>
                <a:cxn ang="0">
                  <a:pos x="26" y="32"/>
                </a:cxn>
                <a:cxn ang="0">
                  <a:pos x="12" y="46"/>
                </a:cxn>
                <a:cxn ang="0">
                  <a:pos x="4" y="60"/>
                </a:cxn>
                <a:cxn ang="0">
                  <a:pos x="0" y="74"/>
                </a:cxn>
              </a:cxnLst>
              <a:rect l="0" t="0" r="r" b="b"/>
              <a:pathLst>
                <a:path w="298" h="152">
                  <a:moveTo>
                    <a:pt x="0" y="74"/>
                  </a:moveTo>
                  <a:lnTo>
                    <a:pt x="4" y="90"/>
                  </a:lnTo>
                  <a:lnTo>
                    <a:pt x="12" y="104"/>
                  </a:lnTo>
                  <a:lnTo>
                    <a:pt x="26" y="118"/>
                  </a:lnTo>
                  <a:lnTo>
                    <a:pt x="44" y="128"/>
                  </a:lnTo>
                  <a:lnTo>
                    <a:pt x="66" y="138"/>
                  </a:lnTo>
                  <a:lnTo>
                    <a:pt x="92" y="144"/>
                  </a:lnTo>
                  <a:lnTo>
                    <a:pt x="120" y="150"/>
                  </a:lnTo>
                  <a:lnTo>
                    <a:pt x="148" y="152"/>
                  </a:lnTo>
                  <a:lnTo>
                    <a:pt x="180" y="150"/>
                  </a:lnTo>
                  <a:lnTo>
                    <a:pt x="206" y="144"/>
                  </a:lnTo>
                  <a:lnTo>
                    <a:pt x="232" y="138"/>
                  </a:lnTo>
                  <a:lnTo>
                    <a:pt x="254" y="128"/>
                  </a:lnTo>
                  <a:lnTo>
                    <a:pt x="272" y="118"/>
                  </a:lnTo>
                  <a:lnTo>
                    <a:pt x="286" y="104"/>
                  </a:lnTo>
                  <a:lnTo>
                    <a:pt x="294" y="90"/>
                  </a:lnTo>
                  <a:lnTo>
                    <a:pt x="298" y="74"/>
                  </a:lnTo>
                  <a:lnTo>
                    <a:pt x="294" y="60"/>
                  </a:lnTo>
                  <a:lnTo>
                    <a:pt x="286" y="46"/>
                  </a:lnTo>
                  <a:lnTo>
                    <a:pt x="272" y="32"/>
                  </a:lnTo>
                  <a:lnTo>
                    <a:pt x="254" y="22"/>
                  </a:lnTo>
                  <a:lnTo>
                    <a:pt x="232" y="12"/>
                  </a:lnTo>
                  <a:lnTo>
                    <a:pt x="206" y="6"/>
                  </a:lnTo>
                  <a:lnTo>
                    <a:pt x="180" y="2"/>
                  </a:lnTo>
                  <a:lnTo>
                    <a:pt x="148" y="0"/>
                  </a:lnTo>
                  <a:lnTo>
                    <a:pt x="120" y="2"/>
                  </a:lnTo>
                  <a:lnTo>
                    <a:pt x="92" y="6"/>
                  </a:lnTo>
                  <a:lnTo>
                    <a:pt x="66" y="12"/>
                  </a:lnTo>
                  <a:lnTo>
                    <a:pt x="44" y="22"/>
                  </a:lnTo>
                  <a:lnTo>
                    <a:pt x="26" y="32"/>
                  </a:lnTo>
                  <a:lnTo>
                    <a:pt x="12" y="46"/>
                  </a:lnTo>
                  <a:lnTo>
                    <a:pt x="4" y="60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3071B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0" name="Freeform 123"/>
            <p:cNvSpPr>
              <a:spLocks/>
            </p:cNvSpPr>
            <p:nvPr/>
          </p:nvSpPr>
          <p:spPr bwMode="auto">
            <a:xfrm>
              <a:off x="2814" y="1430"/>
              <a:ext cx="141" cy="73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4" y="88"/>
                </a:cxn>
                <a:cxn ang="0">
                  <a:pos x="12" y="102"/>
                </a:cxn>
                <a:cxn ang="0">
                  <a:pos x="24" y="114"/>
                </a:cxn>
                <a:cxn ang="0">
                  <a:pos x="42" y="124"/>
                </a:cxn>
                <a:cxn ang="0">
                  <a:pos x="62" y="134"/>
                </a:cxn>
                <a:cxn ang="0">
                  <a:pos x="86" y="140"/>
                </a:cxn>
                <a:cxn ang="0">
                  <a:pos x="112" y="144"/>
                </a:cxn>
                <a:cxn ang="0">
                  <a:pos x="142" y="146"/>
                </a:cxn>
                <a:cxn ang="0">
                  <a:pos x="170" y="144"/>
                </a:cxn>
                <a:cxn ang="0">
                  <a:pos x="196" y="140"/>
                </a:cxn>
                <a:cxn ang="0">
                  <a:pos x="220" y="134"/>
                </a:cxn>
                <a:cxn ang="0">
                  <a:pos x="242" y="124"/>
                </a:cxn>
                <a:cxn ang="0">
                  <a:pos x="258" y="114"/>
                </a:cxn>
                <a:cxn ang="0">
                  <a:pos x="270" y="102"/>
                </a:cxn>
                <a:cxn ang="0">
                  <a:pos x="280" y="88"/>
                </a:cxn>
                <a:cxn ang="0">
                  <a:pos x="282" y="74"/>
                </a:cxn>
                <a:cxn ang="0">
                  <a:pos x="280" y="60"/>
                </a:cxn>
                <a:cxn ang="0">
                  <a:pos x="270" y="44"/>
                </a:cxn>
                <a:cxn ang="0">
                  <a:pos x="258" y="34"/>
                </a:cxn>
                <a:cxn ang="0">
                  <a:pos x="242" y="22"/>
                </a:cxn>
                <a:cxn ang="0">
                  <a:pos x="220" y="14"/>
                </a:cxn>
                <a:cxn ang="0">
                  <a:pos x="196" y="8"/>
                </a:cxn>
                <a:cxn ang="0">
                  <a:pos x="170" y="2"/>
                </a:cxn>
                <a:cxn ang="0">
                  <a:pos x="142" y="0"/>
                </a:cxn>
                <a:cxn ang="0">
                  <a:pos x="112" y="2"/>
                </a:cxn>
                <a:cxn ang="0">
                  <a:pos x="86" y="8"/>
                </a:cxn>
                <a:cxn ang="0">
                  <a:pos x="62" y="14"/>
                </a:cxn>
                <a:cxn ang="0">
                  <a:pos x="42" y="22"/>
                </a:cxn>
                <a:cxn ang="0">
                  <a:pos x="24" y="34"/>
                </a:cxn>
                <a:cxn ang="0">
                  <a:pos x="12" y="44"/>
                </a:cxn>
                <a:cxn ang="0">
                  <a:pos x="4" y="60"/>
                </a:cxn>
                <a:cxn ang="0">
                  <a:pos x="0" y="74"/>
                </a:cxn>
              </a:cxnLst>
              <a:rect l="0" t="0" r="r" b="b"/>
              <a:pathLst>
                <a:path w="282" h="146">
                  <a:moveTo>
                    <a:pt x="0" y="74"/>
                  </a:moveTo>
                  <a:lnTo>
                    <a:pt x="4" y="88"/>
                  </a:lnTo>
                  <a:lnTo>
                    <a:pt x="12" y="102"/>
                  </a:lnTo>
                  <a:lnTo>
                    <a:pt x="24" y="114"/>
                  </a:lnTo>
                  <a:lnTo>
                    <a:pt x="42" y="124"/>
                  </a:lnTo>
                  <a:lnTo>
                    <a:pt x="62" y="134"/>
                  </a:lnTo>
                  <a:lnTo>
                    <a:pt x="86" y="140"/>
                  </a:lnTo>
                  <a:lnTo>
                    <a:pt x="112" y="144"/>
                  </a:lnTo>
                  <a:lnTo>
                    <a:pt x="142" y="146"/>
                  </a:lnTo>
                  <a:lnTo>
                    <a:pt x="170" y="144"/>
                  </a:lnTo>
                  <a:lnTo>
                    <a:pt x="196" y="140"/>
                  </a:lnTo>
                  <a:lnTo>
                    <a:pt x="220" y="134"/>
                  </a:lnTo>
                  <a:lnTo>
                    <a:pt x="242" y="124"/>
                  </a:lnTo>
                  <a:lnTo>
                    <a:pt x="258" y="114"/>
                  </a:lnTo>
                  <a:lnTo>
                    <a:pt x="270" y="102"/>
                  </a:lnTo>
                  <a:lnTo>
                    <a:pt x="280" y="88"/>
                  </a:lnTo>
                  <a:lnTo>
                    <a:pt x="282" y="74"/>
                  </a:lnTo>
                  <a:lnTo>
                    <a:pt x="280" y="60"/>
                  </a:lnTo>
                  <a:lnTo>
                    <a:pt x="270" y="44"/>
                  </a:lnTo>
                  <a:lnTo>
                    <a:pt x="258" y="34"/>
                  </a:lnTo>
                  <a:lnTo>
                    <a:pt x="242" y="22"/>
                  </a:lnTo>
                  <a:lnTo>
                    <a:pt x="220" y="14"/>
                  </a:lnTo>
                  <a:lnTo>
                    <a:pt x="196" y="8"/>
                  </a:lnTo>
                  <a:lnTo>
                    <a:pt x="170" y="2"/>
                  </a:lnTo>
                  <a:lnTo>
                    <a:pt x="142" y="0"/>
                  </a:lnTo>
                  <a:lnTo>
                    <a:pt x="112" y="2"/>
                  </a:lnTo>
                  <a:lnTo>
                    <a:pt x="86" y="8"/>
                  </a:lnTo>
                  <a:lnTo>
                    <a:pt x="62" y="14"/>
                  </a:lnTo>
                  <a:lnTo>
                    <a:pt x="42" y="22"/>
                  </a:lnTo>
                  <a:lnTo>
                    <a:pt x="24" y="34"/>
                  </a:lnTo>
                  <a:lnTo>
                    <a:pt x="12" y="44"/>
                  </a:lnTo>
                  <a:lnTo>
                    <a:pt x="4" y="60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2869A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1" name="Freeform 124"/>
            <p:cNvSpPr>
              <a:spLocks/>
            </p:cNvSpPr>
            <p:nvPr/>
          </p:nvSpPr>
          <p:spPr bwMode="auto">
            <a:xfrm>
              <a:off x="3021" y="1484"/>
              <a:ext cx="60" cy="92"/>
            </a:xfrm>
            <a:custGeom>
              <a:avLst/>
              <a:gdLst/>
              <a:ahLst/>
              <a:cxnLst>
                <a:cxn ang="0">
                  <a:pos x="66" y="140"/>
                </a:cxn>
                <a:cxn ang="0">
                  <a:pos x="68" y="138"/>
                </a:cxn>
                <a:cxn ang="0">
                  <a:pos x="70" y="136"/>
                </a:cxn>
                <a:cxn ang="0">
                  <a:pos x="76" y="120"/>
                </a:cxn>
                <a:cxn ang="0">
                  <a:pos x="78" y="110"/>
                </a:cxn>
                <a:cxn ang="0">
                  <a:pos x="78" y="100"/>
                </a:cxn>
                <a:cxn ang="0">
                  <a:pos x="74" y="86"/>
                </a:cxn>
                <a:cxn ang="0">
                  <a:pos x="66" y="72"/>
                </a:cxn>
                <a:cxn ang="0">
                  <a:pos x="40" y="42"/>
                </a:cxn>
                <a:cxn ang="0">
                  <a:pos x="16" y="20"/>
                </a:cxn>
                <a:cxn ang="0">
                  <a:pos x="6" y="12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6" y="0"/>
                </a:cxn>
                <a:cxn ang="0">
                  <a:pos x="18" y="2"/>
                </a:cxn>
                <a:cxn ang="0">
                  <a:pos x="30" y="8"/>
                </a:cxn>
                <a:cxn ang="0">
                  <a:pos x="62" y="26"/>
                </a:cxn>
                <a:cxn ang="0">
                  <a:pos x="88" y="50"/>
                </a:cxn>
                <a:cxn ang="0">
                  <a:pos x="98" y="60"/>
                </a:cxn>
                <a:cxn ang="0">
                  <a:pos x="104" y="72"/>
                </a:cxn>
                <a:cxn ang="0">
                  <a:pos x="112" y="88"/>
                </a:cxn>
                <a:cxn ang="0">
                  <a:pos x="116" y="94"/>
                </a:cxn>
                <a:cxn ang="0">
                  <a:pos x="118" y="100"/>
                </a:cxn>
                <a:cxn ang="0">
                  <a:pos x="120" y="112"/>
                </a:cxn>
                <a:cxn ang="0">
                  <a:pos x="118" y="124"/>
                </a:cxn>
                <a:cxn ang="0">
                  <a:pos x="114" y="136"/>
                </a:cxn>
                <a:cxn ang="0">
                  <a:pos x="108" y="152"/>
                </a:cxn>
                <a:cxn ang="0">
                  <a:pos x="100" y="162"/>
                </a:cxn>
                <a:cxn ang="0">
                  <a:pos x="94" y="170"/>
                </a:cxn>
                <a:cxn ang="0">
                  <a:pos x="90" y="178"/>
                </a:cxn>
                <a:cxn ang="0">
                  <a:pos x="80" y="184"/>
                </a:cxn>
                <a:cxn ang="0">
                  <a:pos x="72" y="184"/>
                </a:cxn>
                <a:cxn ang="0">
                  <a:pos x="68" y="182"/>
                </a:cxn>
                <a:cxn ang="0">
                  <a:pos x="62" y="180"/>
                </a:cxn>
                <a:cxn ang="0">
                  <a:pos x="44" y="174"/>
                </a:cxn>
                <a:cxn ang="0">
                  <a:pos x="30" y="166"/>
                </a:cxn>
                <a:cxn ang="0">
                  <a:pos x="28" y="162"/>
                </a:cxn>
                <a:cxn ang="0">
                  <a:pos x="30" y="162"/>
                </a:cxn>
                <a:cxn ang="0">
                  <a:pos x="54" y="148"/>
                </a:cxn>
                <a:cxn ang="0">
                  <a:pos x="64" y="144"/>
                </a:cxn>
                <a:cxn ang="0">
                  <a:pos x="66" y="140"/>
                </a:cxn>
              </a:cxnLst>
              <a:rect l="0" t="0" r="r" b="b"/>
              <a:pathLst>
                <a:path w="120" h="184">
                  <a:moveTo>
                    <a:pt x="66" y="140"/>
                  </a:moveTo>
                  <a:lnTo>
                    <a:pt x="68" y="138"/>
                  </a:lnTo>
                  <a:lnTo>
                    <a:pt x="70" y="136"/>
                  </a:lnTo>
                  <a:lnTo>
                    <a:pt x="76" y="120"/>
                  </a:lnTo>
                  <a:lnTo>
                    <a:pt x="78" y="110"/>
                  </a:lnTo>
                  <a:lnTo>
                    <a:pt x="78" y="100"/>
                  </a:lnTo>
                  <a:lnTo>
                    <a:pt x="74" y="86"/>
                  </a:lnTo>
                  <a:lnTo>
                    <a:pt x="66" y="72"/>
                  </a:lnTo>
                  <a:lnTo>
                    <a:pt x="40" y="42"/>
                  </a:lnTo>
                  <a:lnTo>
                    <a:pt x="16" y="20"/>
                  </a:lnTo>
                  <a:lnTo>
                    <a:pt x="6" y="12"/>
                  </a:lnTo>
                  <a:lnTo>
                    <a:pt x="2" y="6"/>
                  </a:lnTo>
                  <a:lnTo>
                    <a:pt x="0" y="2"/>
                  </a:lnTo>
                  <a:lnTo>
                    <a:pt x="6" y="0"/>
                  </a:lnTo>
                  <a:lnTo>
                    <a:pt x="18" y="2"/>
                  </a:lnTo>
                  <a:lnTo>
                    <a:pt x="30" y="8"/>
                  </a:lnTo>
                  <a:lnTo>
                    <a:pt x="62" y="26"/>
                  </a:lnTo>
                  <a:lnTo>
                    <a:pt x="88" y="50"/>
                  </a:lnTo>
                  <a:lnTo>
                    <a:pt x="98" y="60"/>
                  </a:lnTo>
                  <a:lnTo>
                    <a:pt x="104" y="72"/>
                  </a:lnTo>
                  <a:lnTo>
                    <a:pt x="112" y="88"/>
                  </a:lnTo>
                  <a:lnTo>
                    <a:pt x="116" y="94"/>
                  </a:lnTo>
                  <a:lnTo>
                    <a:pt x="118" y="100"/>
                  </a:lnTo>
                  <a:lnTo>
                    <a:pt x="120" y="112"/>
                  </a:lnTo>
                  <a:lnTo>
                    <a:pt x="118" y="124"/>
                  </a:lnTo>
                  <a:lnTo>
                    <a:pt x="114" y="136"/>
                  </a:lnTo>
                  <a:lnTo>
                    <a:pt x="108" y="152"/>
                  </a:lnTo>
                  <a:lnTo>
                    <a:pt x="100" y="162"/>
                  </a:lnTo>
                  <a:lnTo>
                    <a:pt x="94" y="170"/>
                  </a:lnTo>
                  <a:lnTo>
                    <a:pt x="90" y="178"/>
                  </a:lnTo>
                  <a:lnTo>
                    <a:pt x="80" y="184"/>
                  </a:lnTo>
                  <a:lnTo>
                    <a:pt x="72" y="184"/>
                  </a:lnTo>
                  <a:lnTo>
                    <a:pt x="68" y="182"/>
                  </a:lnTo>
                  <a:lnTo>
                    <a:pt x="62" y="180"/>
                  </a:lnTo>
                  <a:lnTo>
                    <a:pt x="44" y="174"/>
                  </a:lnTo>
                  <a:lnTo>
                    <a:pt x="30" y="166"/>
                  </a:lnTo>
                  <a:lnTo>
                    <a:pt x="28" y="162"/>
                  </a:lnTo>
                  <a:lnTo>
                    <a:pt x="30" y="162"/>
                  </a:lnTo>
                  <a:lnTo>
                    <a:pt x="54" y="148"/>
                  </a:lnTo>
                  <a:lnTo>
                    <a:pt x="64" y="144"/>
                  </a:lnTo>
                  <a:lnTo>
                    <a:pt x="66" y="14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2" name="Freeform 125"/>
            <p:cNvSpPr>
              <a:spLocks/>
            </p:cNvSpPr>
            <p:nvPr/>
          </p:nvSpPr>
          <p:spPr bwMode="auto">
            <a:xfrm>
              <a:off x="2603" y="1684"/>
              <a:ext cx="66" cy="91"/>
            </a:xfrm>
            <a:custGeom>
              <a:avLst/>
              <a:gdLst/>
              <a:ahLst/>
              <a:cxnLst>
                <a:cxn ang="0">
                  <a:pos x="4" y="110"/>
                </a:cxn>
                <a:cxn ang="0">
                  <a:pos x="12" y="128"/>
                </a:cxn>
                <a:cxn ang="0">
                  <a:pos x="20" y="144"/>
                </a:cxn>
                <a:cxn ang="0">
                  <a:pos x="30" y="158"/>
                </a:cxn>
                <a:cxn ang="0">
                  <a:pos x="42" y="168"/>
                </a:cxn>
                <a:cxn ang="0">
                  <a:pos x="54" y="176"/>
                </a:cxn>
                <a:cxn ang="0">
                  <a:pos x="66" y="180"/>
                </a:cxn>
                <a:cxn ang="0">
                  <a:pos x="78" y="182"/>
                </a:cxn>
                <a:cxn ang="0">
                  <a:pos x="90" y="180"/>
                </a:cxn>
                <a:cxn ang="0">
                  <a:pos x="103" y="174"/>
                </a:cxn>
                <a:cxn ang="0">
                  <a:pos x="111" y="166"/>
                </a:cxn>
                <a:cxn ang="0">
                  <a:pos x="121" y="154"/>
                </a:cxn>
                <a:cxn ang="0">
                  <a:pos x="127" y="142"/>
                </a:cxn>
                <a:cxn ang="0">
                  <a:pos x="129" y="126"/>
                </a:cxn>
                <a:cxn ang="0">
                  <a:pos x="131" y="110"/>
                </a:cxn>
                <a:cxn ang="0">
                  <a:pos x="129" y="90"/>
                </a:cxn>
                <a:cxn ang="0">
                  <a:pos x="127" y="72"/>
                </a:cxn>
                <a:cxn ang="0">
                  <a:pos x="121" y="56"/>
                </a:cxn>
                <a:cxn ang="0">
                  <a:pos x="111" y="38"/>
                </a:cxn>
                <a:cxn ang="0">
                  <a:pos x="101" y="26"/>
                </a:cxn>
                <a:cxn ang="0">
                  <a:pos x="90" y="14"/>
                </a:cxn>
                <a:cxn ang="0">
                  <a:pos x="78" y="6"/>
                </a:cxn>
                <a:cxn ang="0">
                  <a:pos x="66" y="2"/>
                </a:cxn>
                <a:cxn ang="0">
                  <a:pos x="54" y="0"/>
                </a:cxn>
                <a:cxn ang="0">
                  <a:pos x="40" y="2"/>
                </a:cxn>
                <a:cxn ang="0">
                  <a:pos x="28" y="8"/>
                </a:cxn>
                <a:cxn ang="0">
                  <a:pos x="18" y="16"/>
                </a:cxn>
                <a:cxn ang="0">
                  <a:pos x="10" y="28"/>
                </a:cxn>
                <a:cxn ang="0">
                  <a:pos x="4" y="42"/>
                </a:cxn>
                <a:cxn ang="0">
                  <a:pos x="0" y="58"/>
                </a:cxn>
                <a:cxn ang="0">
                  <a:pos x="0" y="74"/>
                </a:cxn>
                <a:cxn ang="0">
                  <a:pos x="2" y="92"/>
                </a:cxn>
                <a:cxn ang="0">
                  <a:pos x="4" y="110"/>
                </a:cxn>
              </a:cxnLst>
              <a:rect l="0" t="0" r="r" b="b"/>
              <a:pathLst>
                <a:path w="131" h="182">
                  <a:moveTo>
                    <a:pt x="4" y="110"/>
                  </a:moveTo>
                  <a:lnTo>
                    <a:pt x="12" y="128"/>
                  </a:lnTo>
                  <a:lnTo>
                    <a:pt x="20" y="144"/>
                  </a:lnTo>
                  <a:lnTo>
                    <a:pt x="30" y="158"/>
                  </a:lnTo>
                  <a:lnTo>
                    <a:pt x="42" y="168"/>
                  </a:lnTo>
                  <a:lnTo>
                    <a:pt x="54" y="176"/>
                  </a:lnTo>
                  <a:lnTo>
                    <a:pt x="66" y="180"/>
                  </a:lnTo>
                  <a:lnTo>
                    <a:pt x="78" y="182"/>
                  </a:lnTo>
                  <a:lnTo>
                    <a:pt x="90" y="180"/>
                  </a:lnTo>
                  <a:lnTo>
                    <a:pt x="103" y="174"/>
                  </a:lnTo>
                  <a:lnTo>
                    <a:pt x="111" y="166"/>
                  </a:lnTo>
                  <a:lnTo>
                    <a:pt x="121" y="154"/>
                  </a:lnTo>
                  <a:lnTo>
                    <a:pt x="127" y="142"/>
                  </a:lnTo>
                  <a:lnTo>
                    <a:pt x="129" y="126"/>
                  </a:lnTo>
                  <a:lnTo>
                    <a:pt x="131" y="110"/>
                  </a:lnTo>
                  <a:lnTo>
                    <a:pt x="129" y="90"/>
                  </a:lnTo>
                  <a:lnTo>
                    <a:pt x="127" y="72"/>
                  </a:lnTo>
                  <a:lnTo>
                    <a:pt x="121" y="56"/>
                  </a:lnTo>
                  <a:lnTo>
                    <a:pt x="111" y="38"/>
                  </a:lnTo>
                  <a:lnTo>
                    <a:pt x="101" y="26"/>
                  </a:lnTo>
                  <a:lnTo>
                    <a:pt x="90" y="14"/>
                  </a:lnTo>
                  <a:lnTo>
                    <a:pt x="78" y="6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0" y="2"/>
                  </a:lnTo>
                  <a:lnTo>
                    <a:pt x="28" y="8"/>
                  </a:lnTo>
                  <a:lnTo>
                    <a:pt x="18" y="16"/>
                  </a:lnTo>
                  <a:lnTo>
                    <a:pt x="10" y="28"/>
                  </a:lnTo>
                  <a:lnTo>
                    <a:pt x="4" y="42"/>
                  </a:lnTo>
                  <a:lnTo>
                    <a:pt x="0" y="58"/>
                  </a:lnTo>
                  <a:lnTo>
                    <a:pt x="0" y="74"/>
                  </a:lnTo>
                  <a:lnTo>
                    <a:pt x="2" y="92"/>
                  </a:lnTo>
                  <a:lnTo>
                    <a:pt x="4" y="110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3" name="Freeform 126"/>
            <p:cNvSpPr>
              <a:spLocks/>
            </p:cNvSpPr>
            <p:nvPr/>
          </p:nvSpPr>
          <p:spPr bwMode="auto">
            <a:xfrm>
              <a:off x="2191" y="1689"/>
              <a:ext cx="472" cy="282"/>
            </a:xfrm>
            <a:custGeom>
              <a:avLst/>
              <a:gdLst/>
              <a:ahLst/>
              <a:cxnLst>
                <a:cxn ang="0">
                  <a:pos x="863" y="0"/>
                </a:cxn>
                <a:cxn ang="0">
                  <a:pos x="871" y="0"/>
                </a:cxn>
                <a:cxn ang="0">
                  <a:pos x="881" y="0"/>
                </a:cxn>
                <a:cxn ang="0">
                  <a:pos x="893" y="4"/>
                </a:cxn>
                <a:cxn ang="0">
                  <a:pos x="905" y="8"/>
                </a:cxn>
                <a:cxn ang="0">
                  <a:pos x="917" y="18"/>
                </a:cxn>
                <a:cxn ang="0">
                  <a:pos x="928" y="28"/>
                </a:cxn>
                <a:cxn ang="0">
                  <a:pos x="936" y="44"/>
                </a:cxn>
                <a:cxn ang="0">
                  <a:pos x="940" y="64"/>
                </a:cxn>
                <a:cxn ang="0">
                  <a:pos x="942" y="84"/>
                </a:cxn>
                <a:cxn ang="0">
                  <a:pos x="940" y="102"/>
                </a:cxn>
                <a:cxn ang="0">
                  <a:pos x="936" y="120"/>
                </a:cxn>
                <a:cxn ang="0">
                  <a:pos x="930" y="136"/>
                </a:cxn>
                <a:cxn ang="0">
                  <a:pos x="924" y="148"/>
                </a:cxn>
                <a:cxn ang="0">
                  <a:pos x="920" y="156"/>
                </a:cxn>
                <a:cxn ang="0">
                  <a:pos x="920" y="158"/>
                </a:cxn>
                <a:cxn ang="0">
                  <a:pos x="70" y="563"/>
                </a:cxn>
                <a:cxn ang="0">
                  <a:pos x="78" y="545"/>
                </a:cxn>
                <a:cxn ang="0">
                  <a:pos x="86" y="529"/>
                </a:cxn>
                <a:cxn ang="0">
                  <a:pos x="94" y="501"/>
                </a:cxn>
                <a:cxn ang="0">
                  <a:pos x="96" y="485"/>
                </a:cxn>
                <a:cxn ang="0">
                  <a:pos x="94" y="467"/>
                </a:cxn>
                <a:cxn ang="0">
                  <a:pos x="90" y="447"/>
                </a:cxn>
                <a:cxn ang="0">
                  <a:pos x="86" y="423"/>
                </a:cxn>
                <a:cxn ang="0">
                  <a:pos x="78" y="400"/>
                </a:cxn>
                <a:cxn ang="0">
                  <a:pos x="70" y="384"/>
                </a:cxn>
                <a:cxn ang="0">
                  <a:pos x="64" y="372"/>
                </a:cxn>
                <a:cxn ang="0">
                  <a:pos x="54" y="364"/>
                </a:cxn>
                <a:cxn ang="0">
                  <a:pos x="44" y="356"/>
                </a:cxn>
                <a:cxn ang="0">
                  <a:pos x="32" y="352"/>
                </a:cxn>
                <a:cxn ang="0">
                  <a:pos x="18" y="346"/>
                </a:cxn>
                <a:cxn ang="0">
                  <a:pos x="0" y="340"/>
                </a:cxn>
                <a:cxn ang="0">
                  <a:pos x="0" y="338"/>
                </a:cxn>
                <a:cxn ang="0">
                  <a:pos x="8" y="336"/>
                </a:cxn>
                <a:cxn ang="0">
                  <a:pos x="18" y="330"/>
                </a:cxn>
                <a:cxn ang="0">
                  <a:pos x="34" y="324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296"/>
                </a:cxn>
                <a:cxn ang="0">
                  <a:pos x="132" y="286"/>
                </a:cxn>
                <a:cxn ang="0">
                  <a:pos x="164" y="274"/>
                </a:cxn>
                <a:cxn ang="0">
                  <a:pos x="198" y="260"/>
                </a:cxn>
                <a:cxn ang="0">
                  <a:pos x="270" y="232"/>
                </a:cxn>
                <a:cxn ang="0">
                  <a:pos x="349" y="200"/>
                </a:cxn>
                <a:cxn ang="0">
                  <a:pos x="431" y="168"/>
                </a:cxn>
                <a:cxn ang="0">
                  <a:pos x="509" y="138"/>
                </a:cxn>
                <a:cxn ang="0">
                  <a:pos x="587" y="106"/>
                </a:cxn>
                <a:cxn ang="0">
                  <a:pos x="661" y="78"/>
                </a:cxn>
                <a:cxn ang="0">
                  <a:pos x="695" y="64"/>
                </a:cxn>
                <a:cxn ang="0">
                  <a:pos x="727" y="52"/>
                </a:cxn>
                <a:cxn ang="0">
                  <a:pos x="757" y="42"/>
                </a:cxn>
                <a:cxn ang="0">
                  <a:pos x="783" y="30"/>
                </a:cxn>
                <a:cxn ang="0">
                  <a:pos x="807" y="22"/>
                </a:cxn>
                <a:cxn ang="0">
                  <a:pos x="827" y="14"/>
                </a:cxn>
                <a:cxn ang="0">
                  <a:pos x="843" y="8"/>
                </a:cxn>
                <a:cxn ang="0">
                  <a:pos x="853" y="2"/>
                </a:cxn>
                <a:cxn ang="0">
                  <a:pos x="861" y="0"/>
                </a:cxn>
                <a:cxn ang="0">
                  <a:pos x="863" y="0"/>
                </a:cxn>
              </a:cxnLst>
              <a:rect l="0" t="0" r="r" b="b"/>
              <a:pathLst>
                <a:path w="942" h="563">
                  <a:moveTo>
                    <a:pt x="863" y="0"/>
                  </a:moveTo>
                  <a:lnTo>
                    <a:pt x="871" y="0"/>
                  </a:lnTo>
                  <a:lnTo>
                    <a:pt x="881" y="0"/>
                  </a:lnTo>
                  <a:lnTo>
                    <a:pt x="893" y="4"/>
                  </a:lnTo>
                  <a:lnTo>
                    <a:pt x="905" y="8"/>
                  </a:lnTo>
                  <a:lnTo>
                    <a:pt x="917" y="18"/>
                  </a:lnTo>
                  <a:lnTo>
                    <a:pt x="928" y="28"/>
                  </a:lnTo>
                  <a:lnTo>
                    <a:pt x="936" y="44"/>
                  </a:lnTo>
                  <a:lnTo>
                    <a:pt x="940" y="64"/>
                  </a:lnTo>
                  <a:lnTo>
                    <a:pt x="942" y="84"/>
                  </a:lnTo>
                  <a:lnTo>
                    <a:pt x="940" y="102"/>
                  </a:lnTo>
                  <a:lnTo>
                    <a:pt x="936" y="120"/>
                  </a:lnTo>
                  <a:lnTo>
                    <a:pt x="930" y="136"/>
                  </a:lnTo>
                  <a:lnTo>
                    <a:pt x="924" y="148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70" y="563"/>
                  </a:lnTo>
                  <a:lnTo>
                    <a:pt x="78" y="545"/>
                  </a:lnTo>
                  <a:lnTo>
                    <a:pt x="86" y="529"/>
                  </a:lnTo>
                  <a:lnTo>
                    <a:pt x="94" y="501"/>
                  </a:lnTo>
                  <a:lnTo>
                    <a:pt x="96" y="485"/>
                  </a:lnTo>
                  <a:lnTo>
                    <a:pt x="94" y="467"/>
                  </a:lnTo>
                  <a:lnTo>
                    <a:pt x="90" y="447"/>
                  </a:lnTo>
                  <a:lnTo>
                    <a:pt x="86" y="423"/>
                  </a:lnTo>
                  <a:lnTo>
                    <a:pt x="78" y="400"/>
                  </a:lnTo>
                  <a:lnTo>
                    <a:pt x="70" y="384"/>
                  </a:lnTo>
                  <a:lnTo>
                    <a:pt x="64" y="372"/>
                  </a:lnTo>
                  <a:lnTo>
                    <a:pt x="54" y="364"/>
                  </a:lnTo>
                  <a:lnTo>
                    <a:pt x="44" y="356"/>
                  </a:lnTo>
                  <a:lnTo>
                    <a:pt x="32" y="352"/>
                  </a:lnTo>
                  <a:lnTo>
                    <a:pt x="18" y="346"/>
                  </a:lnTo>
                  <a:lnTo>
                    <a:pt x="0" y="340"/>
                  </a:lnTo>
                  <a:lnTo>
                    <a:pt x="0" y="338"/>
                  </a:lnTo>
                  <a:lnTo>
                    <a:pt x="8" y="336"/>
                  </a:lnTo>
                  <a:lnTo>
                    <a:pt x="18" y="330"/>
                  </a:lnTo>
                  <a:lnTo>
                    <a:pt x="34" y="324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296"/>
                  </a:lnTo>
                  <a:lnTo>
                    <a:pt x="132" y="286"/>
                  </a:lnTo>
                  <a:lnTo>
                    <a:pt x="164" y="274"/>
                  </a:lnTo>
                  <a:lnTo>
                    <a:pt x="198" y="260"/>
                  </a:lnTo>
                  <a:lnTo>
                    <a:pt x="270" y="232"/>
                  </a:lnTo>
                  <a:lnTo>
                    <a:pt x="349" y="200"/>
                  </a:lnTo>
                  <a:lnTo>
                    <a:pt x="431" y="168"/>
                  </a:lnTo>
                  <a:lnTo>
                    <a:pt x="509" y="138"/>
                  </a:lnTo>
                  <a:lnTo>
                    <a:pt x="587" y="106"/>
                  </a:lnTo>
                  <a:lnTo>
                    <a:pt x="661" y="78"/>
                  </a:lnTo>
                  <a:lnTo>
                    <a:pt x="695" y="64"/>
                  </a:lnTo>
                  <a:lnTo>
                    <a:pt x="727" y="52"/>
                  </a:lnTo>
                  <a:lnTo>
                    <a:pt x="757" y="42"/>
                  </a:lnTo>
                  <a:lnTo>
                    <a:pt x="783" y="30"/>
                  </a:lnTo>
                  <a:lnTo>
                    <a:pt x="807" y="22"/>
                  </a:lnTo>
                  <a:lnTo>
                    <a:pt x="827" y="14"/>
                  </a:lnTo>
                  <a:lnTo>
                    <a:pt x="843" y="8"/>
                  </a:lnTo>
                  <a:lnTo>
                    <a:pt x="853" y="2"/>
                  </a:lnTo>
                  <a:lnTo>
                    <a:pt x="861" y="0"/>
                  </a:lnTo>
                  <a:lnTo>
                    <a:pt x="863" y="0"/>
                  </a:lnTo>
                  <a:close/>
                </a:path>
              </a:pathLst>
            </a:custGeom>
            <a:solidFill>
              <a:srgbClr val="AF6B3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4" name="Freeform 127"/>
            <p:cNvSpPr>
              <a:spLocks/>
            </p:cNvSpPr>
            <p:nvPr/>
          </p:nvSpPr>
          <p:spPr bwMode="auto">
            <a:xfrm>
              <a:off x="2192" y="1689"/>
              <a:ext cx="471" cy="280"/>
            </a:xfrm>
            <a:custGeom>
              <a:avLst/>
              <a:gdLst/>
              <a:ahLst/>
              <a:cxnLst>
                <a:cxn ang="0">
                  <a:pos x="863" y="0"/>
                </a:cxn>
                <a:cxn ang="0">
                  <a:pos x="871" y="0"/>
                </a:cxn>
                <a:cxn ang="0">
                  <a:pos x="879" y="2"/>
                </a:cxn>
                <a:cxn ang="0">
                  <a:pos x="891" y="6"/>
                </a:cxn>
                <a:cxn ang="0">
                  <a:pos x="903" y="10"/>
                </a:cxn>
                <a:cxn ang="0">
                  <a:pos x="915" y="18"/>
                </a:cxn>
                <a:cxn ang="0">
                  <a:pos x="924" y="30"/>
                </a:cxn>
                <a:cxn ang="0">
                  <a:pos x="932" y="46"/>
                </a:cxn>
                <a:cxn ang="0">
                  <a:pos x="938" y="64"/>
                </a:cxn>
                <a:cxn ang="0">
                  <a:pos x="940" y="84"/>
                </a:cxn>
                <a:cxn ang="0">
                  <a:pos x="936" y="102"/>
                </a:cxn>
                <a:cxn ang="0">
                  <a:pos x="932" y="118"/>
                </a:cxn>
                <a:cxn ang="0">
                  <a:pos x="928" y="136"/>
                </a:cxn>
                <a:cxn ang="0">
                  <a:pos x="922" y="146"/>
                </a:cxn>
                <a:cxn ang="0">
                  <a:pos x="920" y="154"/>
                </a:cxn>
                <a:cxn ang="0">
                  <a:pos x="918" y="158"/>
                </a:cxn>
                <a:cxn ang="0">
                  <a:pos x="70" y="559"/>
                </a:cxn>
                <a:cxn ang="0">
                  <a:pos x="78" y="541"/>
                </a:cxn>
                <a:cxn ang="0">
                  <a:pos x="88" y="511"/>
                </a:cxn>
                <a:cxn ang="0">
                  <a:pos x="90" y="499"/>
                </a:cxn>
                <a:cxn ang="0">
                  <a:pos x="92" y="483"/>
                </a:cxn>
                <a:cxn ang="0">
                  <a:pos x="90" y="467"/>
                </a:cxn>
                <a:cxn ang="0">
                  <a:pos x="88" y="447"/>
                </a:cxn>
                <a:cxn ang="0">
                  <a:pos x="82" y="423"/>
                </a:cxn>
                <a:cxn ang="0">
                  <a:pos x="76" y="404"/>
                </a:cxn>
                <a:cxn ang="0">
                  <a:pos x="70" y="388"/>
                </a:cxn>
                <a:cxn ang="0">
                  <a:pos x="62" y="374"/>
                </a:cxn>
                <a:cxn ang="0">
                  <a:pos x="54" y="366"/>
                </a:cxn>
                <a:cxn ang="0">
                  <a:pos x="30" y="352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6"/>
                </a:cxn>
                <a:cxn ang="0">
                  <a:pos x="18" y="334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9" y="170"/>
                </a:cxn>
                <a:cxn ang="0">
                  <a:pos x="509" y="138"/>
                </a:cxn>
                <a:cxn ang="0">
                  <a:pos x="587" y="108"/>
                </a:cxn>
                <a:cxn ang="0">
                  <a:pos x="661" y="80"/>
                </a:cxn>
                <a:cxn ang="0">
                  <a:pos x="695" y="66"/>
                </a:cxn>
                <a:cxn ang="0">
                  <a:pos x="725" y="54"/>
                </a:cxn>
                <a:cxn ang="0">
                  <a:pos x="755" y="42"/>
                </a:cxn>
                <a:cxn ang="0">
                  <a:pos x="781" y="32"/>
                </a:cxn>
                <a:cxn ang="0">
                  <a:pos x="805" y="22"/>
                </a:cxn>
                <a:cxn ang="0">
                  <a:pos x="825" y="14"/>
                </a:cxn>
                <a:cxn ang="0">
                  <a:pos x="841" y="8"/>
                </a:cxn>
                <a:cxn ang="0">
                  <a:pos x="853" y="4"/>
                </a:cxn>
                <a:cxn ang="0">
                  <a:pos x="859" y="2"/>
                </a:cxn>
                <a:cxn ang="0">
                  <a:pos x="863" y="0"/>
                </a:cxn>
              </a:cxnLst>
              <a:rect l="0" t="0" r="r" b="b"/>
              <a:pathLst>
                <a:path w="940" h="559">
                  <a:moveTo>
                    <a:pt x="863" y="0"/>
                  </a:moveTo>
                  <a:lnTo>
                    <a:pt x="871" y="0"/>
                  </a:lnTo>
                  <a:lnTo>
                    <a:pt x="879" y="2"/>
                  </a:lnTo>
                  <a:lnTo>
                    <a:pt x="891" y="6"/>
                  </a:lnTo>
                  <a:lnTo>
                    <a:pt x="903" y="10"/>
                  </a:lnTo>
                  <a:lnTo>
                    <a:pt x="915" y="18"/>
                  </a:lnTo>
                  <a:lnTo>
                    <a:pt x="924" y="30"/>
                  </a:lnTo>
                  <a:lnTo>
                    <a:pt x="932" y="46"/>
                  </a:lnTo>
                  <a:lnTo>
                    <a:pt x="938" y="64"/>
                  </a:lnTo>
                  <a:lnTo>
                    <a:pt x="940" y="84"/>
                  </a:lnTo>
                  <a:lnTo>
                    <a:pt x="936" y="102"/>
                  </a:lnTo>
                  <a:lnTo>
                    <a:pt x="932" y="118"/>
                  </a:lnTo>
                  <a:lnTo>
                    <a:pt x="928" y="136"/>
                  </a:lnTo>
                  <a:lnTo>
                    <a:pt x="922" y="146"/>
                  </a:lnTo>
                  <a:lnTo>
                    <a:pt x="920" y="154"/>
                  </a:lnTo>
                  <a:lnTo>
                    <a:pt x="918" y="158"/>
                  </a:lnTo>
                  <a:lnTo>
                    <a:pt x="70" y="559"/>
                  </a:lnTo>
                  <a:lnTo>
                    <a:pt x="78" y="541"/>
                  </a:lnTo>
                  <a:lnTo>
                    <a:pt x="88" y="511"/>
                  </a:lnTo>
                  <a:lnTo>
                    <a:pt x="90" y="499"/>
                  </a:lnTo>
                  <a:lnTo>
                    <a:pt x="92" y="483"/>
                  </a:lnTo>
                  <a:lnTo>
                    <a:pt x="90" y="467"/>
                  </a:lnTo>
                  <a:lnTo>
                    <a:pt x="88" y="447"/>
                  </a:lnTo>
                  <a:lnTo>
                    <a:pt x="82" y="423"/>
                  </a:lnTo>
                  <a:lnTo>
                    <a:pt x="76" y="404"/>
                  </a:lnTo>
                  <a:lnTo>
                    <a:pt x="70" y="388"/>
                  </a:lnTo>
                  <a:lnTo>
                    <a:pt x="62" y="374"/>
                  </a:lnTo>
                  <a:lnTo>
                    <a:pt x="54" y="366"/>
                  </a:lnTo>
                  <a:lnTo>
                    <a:pt x="30" y="352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6"/>
                  </a:lnTo>
                  <a:lnTo>
                    <a:pt x="18" y="334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9" y="170"/>
                  </a:lnTo>
                  <a:lnTo>
                    <a:pt x="509" y="138"/>
                  </a:lnTo>
                  <a:lnTo>
                    <a:pt x="587" y="108"/>
                  </a:lnTo>
                  <a:lnTo>
                    <a:pt x="661" y="80"/>
                  </a:lnTo>
                  <a:lnTo>
                    <a:pt x="695" y="66"/>
                  </a:lnTo>
                  <a:lnTo>
                    <a:pt x="725" y="54"/>
                  </a:lnTo>
                  <a:lnTo>
                    <a:pt x="755" y="42"/>
                  </a:lnTo>
                  <a:lnTo>
                    <a:pt x="781" y="32"/>
                  </a:lnTo>
                  <a:lnTo>
                    <a:pt x="805" y="22"/>
                  </a:lnTo>
                  <a:lnTo>
                    <a:pt x="825" y="14"/>
                  </a:lnTo>
                  <a:lnTo>
                    <a:pt x="841" y="8"/>
                  </a:lnTo>
                  <a:lnTo>
                    <a:pt x="853" y="4"/>
                  </a:lnTo>
                  <a:lnTo>
                    <a:pt x="859" y="2"/>
                  </a:lnTo>
                  <a:lnTo>
                    <a:pt x="863" y="0"/>
                  </a:lnTo>
                  <a:close/>
                </a:path>
              </a:pathLst>
            </a:custGeom>
            <a:solidFill>
              <a:srgbClr val="B4743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5" name="Freeform 128"/>
            <p:cNvSpPr>
              <a:spLocks/>
            </p:cNvSpPr>
            <p:nvPr/>
          </p:nvSpPr>
          <p:spPr bwMode="auto">
            <a:xfrm>
              <a:off x="2194" y="1690"/>
              <a:ext cx="469" cy="277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69" y="0"/>
                </a:cxn>
                <a:cxn ang="0">
                  <a:pos x="879" y="2"/>
                </a:cxn>
                <a:cxn ang="0">
                  <a:pos x="889" y="4"/>
                </a:cxn>
                <a:cxn ang="0">
                  <a:pos x="901" y="10"/>
                </a:cxn>
                <a:cxn ang="0">
                  <a:pos x="913" y="18"/>
                </a:cxn>
                <a:cxn ang="0">
                  <a:pos x="922" y="30"/>
                </a:cxn>
                <a:cxn ang="0">
                  <a:pos x="930" y="44"/>
                </a:cxn>
                <a:cxn ang="0">
                  <a:pos x="934" y="62"/>
                </a:cxn>
                <a:cxn ang="0">
                  <a:pos x="936" y="82"/>
                </a:cxn>
                <a:cxn ang="0">
                  <a:pos x="932" y="98"/>
                </a:cxn>
                <a:cxn ang="0">
                  <a:pos x="930" y="116"/>
                </a:cxn>
                <a:cxn ang="0">
                  <a:pos x="924" y="130"/>
                </a:cxn>
                <a:cxn ang="0">
                  <a:pos x="920" y="142"/>
                </a:cxn>
                <a:cxn ang="0">
                  <a:pos x="916" y="150"/>
                </a:cxn>
                <a:cxn ang="0">
                  <a:pos x="914" y="152"/>
                </a:cxn>
                <a:cxn ang="0">
                  <a:pos x="66" y="553"/>
                </a:cxn>
                <a:cxn ang="0">
                  <a:pos x="74" y="535"/>
                </a:cxn>
                <a:cxn ang="0">
                  <a:pos x="80" y="521"/>
                </a:cxn>
                <a:cxn ang="0">
                  <a:pos x="84" y="507"/>
                </a:cxn>
                <a:cxn ang="0">
                  <a:pos x="88" y="495"/>
                </a:cxn>
                <a:cxn ang="0">
                  <a:pos x="90" y="479"/>
                </a:cxn>
                <a:cxn ang="0">
                  <a:pos x="88" y="463"/>
                </a:cxn>
                <a:cxn ang="0">
                  <a:pos x="84" y="445"/>
                </a:cxn>
                <a:cxn ang="0">
                  <a:pos x="80" y="421"/>
                </a:cxn>
                <a:cxn ang="0">
                  <a:pos x="72" y="402"/>
                </a:cxn>
                <a:cxn ang="0">
                  <a:pos x="66" y="386"/>
                </a:cxn>
                <a:cxn ang="0">
                  <a:pos x="58" y="374"/>
                </a:cxn>
                <a:cxn ang="0">
                  <a:pos x="50" y="364"/>
                </a:cxn>
                <a:cxn ang="0">
                  <a:pos x="28" y="352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6"/>
                </a:cxn>
                <a:cxn ang="0">
                  <a:pos x="20" y="332"/>
                </a:cxn>
                <a:cxn ang="0">
                  <a:pos x="34" y="324"/>
                </a:cxn>
                <a:cxn ang="0">
                  <a:pos x="54" y="318"/>
                </a:cxn>
                <a:cxn ang="0">
                  <a:pos x="76" y="308"/>
                </a:cxn>
                <a:cxn ang="0">
                  <a:pos x="102" y="298"/>
                </a:cxn>
                <a:cxn ang="0">
                  <a:pos x="132" y="286"/>
                </a:cxn>
                <a:cxn ang="0">
                  <a:pos x="162" y="274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7" y="168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59" y="78"/>
                </a:cxn>
                <a:cxn ang="0">
                  <a:pos x="693" y="64"/>
                </a:cxn>
                <a:cxn ang="0">
                  <a:pos x="725" y="54"/>
                </a:cxn>
                <a:cxn ang="0">
                  <a:pos x="753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51" y="4"/>
                </a:cxn>
                <a:cxn ang="0">
                  <a:pos x="857" y="2"/>
                </a:cxn>
                <a:cxn ang="0">
                  <a:pos x="861" y="0"/>
                </a:cxn>
              </a:cxnLst>
              <a:rect l="0" t="0" r="r" b="b"/>
              <a:pathLst>
                <a:path w="936" h="553">
                  <a:moveTo>
                    <a:pt x="861" y="0"/>
                  </a:moveTo>
                  <a:lnTo>
                    <a:pt x="869" y="0"/>
                  </a:lnTo>
                  <a:lnTo>
                    <a:pt x="879" y="2"/>
                  </a:lnTo>
                  <a:lnTo>
                    <a:pt x="889" y="4"/>
                  </a:lnTo>
                  <a:lnTo>
                    <a:pt x="901" y="10"/>
                  </a:lnTo>
                  <a:lnTo>
                    <a:pt x="913" y="18"/>
                  </a:lnTo>
                  <a:lnTo>
                    <a:pt x="922" y="30"/>
                  </a:lnTo>
                  <a:lnTo>
                    <a:pt x="930" y="44"/>
                  </a:lnTo>
                  <a:lnTo>
                    <a:pt x="934" y="62"/>
                  </a:lnTo>
                  <a:lnTo>
                    <a:pt x="936" y="82"/>
                  </a:lnTo>
                  <a:lnTo>
                    <a:pt x="932" y="98"/>
                  </a:lnTo>
                  <a:lnTo>
                    <a:pt x="930" y="116"/>
                  </a:lnTo>
                  <a:lnTo>
                    <a:pt x="924" y="130"/>
                  </a:lnTo>
                  <a:lnTo>
                    <a:pt x="920" y="142"/>
                  </a:lnTo>
                  <a:lnTo>
                    <a:pt x="916" y="150"/>
                  </a:lnTo>
                  <a:lnTo>
                    <a:pt x="914" y="152"/>
                  </a:lnTo>
                  <a:lnTo>
                    <a:pt x="66" y="553"/>
                  </a:lnTo>
                  <a:lnTo>
                    <a:pt x="74" y="535"/>
                  </a:lnTo>
                  <a:lnTo>
                    <a:pt x="80" y="521"/>
                  </a:lnTo>
                  <a:lnTo>
                    <a:pt x="84" y="507"/>
                  </a:lnTo>
                  <a:lnTo>
                    <a:pt x="88" y="495"/>
                  </a:lnTo>
                  <a:lnTo>
                    <a:pt x="90" y="479"/>
                  </a:lnTo>
                  <a:lnTo>
                    <a:pt x="88" y="463"/>
                  </a:lnTo>
                  <a:lnTo>
                    <a:pt x="84" y="445"/>
                  </a:lnTo>
                  <a:lnTo>
                    <a:pt x="80" y="421"/>
                  </a:lnTo>
                  <a:lnTo>
                    <a:pt x="72" y="402"/>
                  </a:lnTo>
                  <a:lnTo>
                    <a:pt x="66" y="386"/>
                  </a:lnTo>
                  <a:lnTo>
                    <a:pt x="58" y="374"/>
                  </a:lnTo>
                  <a:lnTo>
                    <a:pt x="50" y="364"/>
                  </a:lnTo>
                  <a:lnTo>
                    <a:pt x="28" y="352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6"/>
                  </a:lnTo>
                  <a:lnTo>
                    <a:pt x="20" y="332"/>
                  </a:lnTo>
                  <a:lnTo>
                    <a:pt x="34" y="324"/>
                  </a:lnTo>
                  <a:lnTo>
                    <a:pt x="54" y="318"/>
                  </a:lnTo>
                  <a:lnTo>
                    <a:pt x="76" y="308"/>
                  </a:lnTo>
                  <a:lnTo>
                    <a:pt x="102" y="298"/>
                  </a:lnTo>
                  <a:lnTo>
                    <a:pt x="132" y="286"/>
                  </a:lnTo>
                  <a:lnTo>
                    <a:pt x="162" y="274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7" y="168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59" y="78"/>
                  </a:lnTo>
                  <a:lnTo>
                    <a:pt x="693" y="64"/>
                  </a:lnTo>
                  <a:lnTo>
                    <a:pt x="725" y="54"/>
                  </a:lnTo>
                  <a:lnTo>
                    <a:pt x="753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51" y="4"/>
                  </a:lnTo>
                  <a:lnTo>
                    <a:pt x="857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B97E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6" name="Freeform 129"/>
            <p:cNvSpPr>
              <a:spLocks/>
            </p:cNvSpPr>
            <p:nvPr/>
          </p:nvSpPr>
          <p:spPr bwMode="auto">
            <a:xfrm>
              <a:off x="2195" y="1690"/>
              <a:ext cx="468" cy="276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71" y="0"/>
                </a:cxn>
                <a:cxn ang="0">
                  <a:pos x="879" y="2"/>
                </a:cxn>
                <a:cxn ang="0">
                  <a:pos x="887" y="6"/>
                </a:cxn>
                <a:cxn ang="0">
                  <a:pos x="899" y="10"/>
                </a:cxn>
                <a:cxn ang="0">
                  <a:pos x="911" y="18"/>
                </a:cxn>
                <a:cxn ang="0">
                  <a:pos x="920" y="30"/>
                </a:cxn>
                <a:cxn ang="0">
                  <a:pos x="928" y="44"/>
                </a:cxn>
                <a:cxn ang="0">
                  <a:pos x="932" y="62"/>
                </a:cxn>
                <a:cxn ang="0">
                  <a:pos x="934" y="80"/>
                </a:cxn>
                <a:cxn ang="0">
                  <a:pos x="930" y="114"/>
                </a:cxn>
                <a:cxn ang="0">
                  <a:pos x="924" y="130"/>
                </a:cxn>
                <a:cxn ang="0">
                  <a:pos x="922" y="140"/>
                </a:cxn>
                <a:cxn ang="0">
                  <a:pos x="918" y="148"/>
                </a:cxn>
                <a:cxn ang="0">
                  <a:pos x="916" y="152"/>
                </a:cxn>
                <a:cxn ang="0">
                  <a:pos x="66" y="551"/>
                </a:cxn>
                <a:cxn ang="0">
                  <a:pos x="70" y="541"/>
                </a:cxn>
                <a:cxn ang="0">
                  <a:pos x="72" y="533"/>
                </a:cxn>
                <a:cxn ang="0">
                  <a:pos x="78" y="519"/>
                </a:cxn>
                <a:cxn ang="0">
                  <a:pos x="82" y="505"/>
                </a:cxn>
                <a:cxn ang="0">
                  <a:pos x="86" y="493"/>
                </a:cxn>
                <a:cxn ang="0">
                  <a:pos x="88" y="479"/>
                </a:cxn>
                <a:cxn ang="0">
                  <a:pos x="86" y="465"/>
                </a:cxn>
                <a:cxn ang="0">
                  <a:pos x="82" y="445"/>
                </a:cxn>
                <a:cxn ang="0">
                  <a:pos x="78" y="423"/>
                </a:cxn>
                <a:cxn ang="0">
                  <a:pos x="70" y="402"/>
                </a:cxn>
                <a:cxn ang="0">
                  <a:pos x="64" y="386"/>
                </a:cxn>
                <a:cxn ang="0">
                  <a:pos x="56" y="374"/>
                </a:cxn>
                <a:cxn ang="0">
                  <a:pos x="48" y="366"/>
                </a:cxn>
                <a:cxn ang="0">
                  <a:pos x="28" y="354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70" y="234"/>
                </a:cxn>
                <a:cxn ang="0">
                  <a:pos x="347" y="202"/>
                </a:cxn>
                <a:cxn ang="0">
                  <a:pos x="429" y="172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61" y="80"/>
                </a:cxn>
                <a:cxn ang="0">
                  <a:pos x="695" y="66"/>
                </a:cxn>
                <a:cxn ang="0">
                  <a:pos x="725" y="54"/>
                </a:cxn>
                <a:cxn ang="0">
                  <a:pos x="755" y="44"/>
                </a:cxn>
                <a:cxn ang="0">
                  <a:pos x="781" y="32"/>
                </a:cxn>
                <a:cxn ang="0">
                  <a:pos x="805" y="24"/>
                </a:cxn>
                <a:cxn ang="0">
                  <a:pos x="825" y="16"/>
                </a:cxn>
                <a:cxn ang="0">
                  <a:pos x="841" y="8"/>
                </a:cxn>
                <a:cxn ang="0">
                  <a:pos x="853" y="4"/>
                </a:cxn>
                <a:cxn ang="0">
                  <a:pos x="859" y="2"/>
                </a:cxn>
                <a:cxn ang="0">
                  <a:pos x="861" y="0"/>
                </a:cxn>
              </a:cxnLst>
              <a:rect l="0" t="0" r="r" b="b"/>
              <a:pathLst>
                <a:path w="934" h="551">
                  <a:moveTo>
                    <a:pt x="861" y="0"/>
                  </a:moveTo>
                  <a:lnTo>
                    <a:pt x="871" y="0"/>
                  </a:lnTo>
                  <a:lnTo>
                    <a:pt x="879" y="2"/>
                  </a:lnTo>
                  <a:lnTo>
                    <a:pt x="887" y="6"/>
                  </a:lnTo>
                  <a:lnTo>
                    <a:pt x="899" y="10"/>
                  </a:lnTo>
                  <a:lnTo>
                    <a:pt x="911" y="18"/>
                  </a:lnTo>
                  <a:lnTo>
                    <a:pt x="920" y="30"/>
                  </a:lnTo>
                  <a:lnTo>
                    <a:pt x="928" y="44"/>
                  </a:lnTo>
                  <a:lnTo>
                    <a:pt x="932" y="62"/>
                  </a:lnTo>
                  <a:lnTo>
                    <a:pt x="934" y="80"/>
                  </a:lnTo>
                  <a:lnTo>
                    <a:pt x="930" y="114"/>
                  </a:lnTo>
                  <a:lnTo>
                    <a:pt x="924" y="130"/>
                  </a:lnTo>
                  <a:lnTo>
                    <a:pt x="922" y="140"/>
                  </a:lnTo>
                  <a:lnTo>
                    <a:pt x="918" y="148"/>
                  </a:lnTo>
                  <a:lnTo>
                    <a:pt x="916" y="152"/>
                  </a:lnTo>
                  <a:lnTo>
                    <a:pt x="66" y="551"/>
                  </a:lnTo>
                  <a:lnTo>
                    <a:pt x="70" y="541"/>
                  </a:lnTo>
                  <a:lnTo>
                    <a:pt x="72" y="533"/>
                  </a:lnTo>
                  <a:lnTo>
                    <a:pt x="78" y="519"/>
                  </a:lnTo>
                  <a:lnTo>
                    <a:pt x="82" y="505"/>
                  </a:lnTo>
                  <a:lnTo>
                    <a:pt x="86" y="493"/>
                  </a:lnTo>
                  <a:lnTo>
                    <a:pt x="88" y="479"/>
                  </a:lnTo>
                  <a:lnTo>
                    <a:pt x="86" y="465"/>
                  </a:lnTo>
                  <a:lnTo>
                    <a:pt x="82" y="445"/>
                  </a:lnTo>
                  <a:lnTo>
                    <a:pt x="78" y="423"/>
                  </a:lnTo>
                  <a:lnTo>
                    <a:pt x="70" y="402"/>
                  </a:lnTo>
                  <a:lnTo>
                    <a:pt x="64" y="386"/>
                  </a:lnTo>
                  <a:lnTo>
                    <a:pt x="56" y="374"/>
                  </a:lnTo>
                  <a:lnTo>
                    <a:pt x="48" y="366"/>
                  </a:lnTo>
                  <a:lnTo>
                    <a:pt x="28" y="354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70" y="234"/>
                  </a:lnTo>
                  <a:lnTo>
                    <a:pt x="347" y="202"/>
                  </a:lnTo>
                  <a:lnTo>
                    <a:pt x="429" y="172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61" y="80"/>
                  </a:lnTo>
                  <a:lnTo>
                    <a:pt x="695" y="66"/>
                  </a:lnTo>
                  <a:lnTo>
                    <a:pt x="725" y="54"/>
                  </a:lnTo>
                  <a:lnTo>
                    <a:pt x="755" y="44"/>
                  </a:lnTo>
                  <a:lnTo>
                    <a:pt x="781" y="32"/>
                  </a:lnTo>
                  <a:lnTo>
                    <a:pt x="805" y="24"/>
                  </a:lnTo>
                  <a:lnTo>
                    <a:pt x="825" y="16"/>
                  </a:lnTo>
                  <a:lnTo>
                    <a:pt x="841" y="8"/>
                  </a:lnTo>
                  <a:lnTo>
                    <a:pt x="853" y="4"/>
                  </a:lnTo>
                  <a:lnTo>
                    <a:pt x="859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BE87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7" name="Freeform 130"/>
            <p:cNvSpPr>
              <a:spLocks/>
            </p:cNvSpPr>
            <p:nvPr/>
          </p:nvSpPr>
          <p:spPr bwMode="auto">
            <a:xfrm>
              <a:off x="2197" y="1690"/>
              <a:ext cx="466" cy="274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7" y="0"/>
                </a:cxn>
                <a:cxn ang="0">
                  <a:pos x="885" y="4"/>
                </a:cxn>
                <a:cxn ang="0">
                  <a:pos x="897" y="12"/>
                </a:cxn>
                <a:cxn ang="0">
                  <a:pos x="907" y="18"/>
                </a:cxn>
                <a:cxn ang="0">
                  <a:pos x="916" y="30"/>
                </a:cxn>
                <a:cxn ang="0">
                  <a:pos x="924" y="44"/>
                </a:cxn>
                <a:cxn ang="0">
                  <a:pos x="928" y="60"/>
                </a:cxn>
                <a:cxn ang="0">
                  <a:pos x="930" y="78"/>
                </a:cxn>
                <a:cxn ang="0">
                  <a:pos x="926" y="112"/>
                </a:cxn>
                <a:cxn ang="0">
                  <a:pos x="920" y="126"/>
                </a:cxn>
                <a:cxn ang="0">
                  <a:pos x="918" y="138"/>
                </a:cxn>
                <a:cxn ang="0">
                  <a:pos x="914" y="144"/>
                </a:cxn>
                <a:cxn ang="0">
                  <a:pos x="912" y="148"/>
                </a:cxn>
                <a:cxn ang="0">
                  <a:pos x="64" y="547"/>
                </a:cxn>
                <a:cxn ang="0">
                  <a:pos x="72" y="529"/>
                </a:cxn>
                <a:cxn ang="0">
                  <a:pos x="76" y="515"/>
                </a:cxn>
                <a:cxn ang="0">
                  <a:pos x="82" y="491"/>
                </a:cxn>
                <a:cxn ang="0">
                  <a:pos x="82" y="463"/>
                </a:cxn>
                <a:cxn ang="0">
                  <a:pos x="80" y="445"/>
                </a:cxn>
                <a:cxn ang="0">
                  <a:pos x="74" y="421"/>
                </a:cxn>
                <a:cxn ang="0">
                  <a:pos x="68" y="402"/>
                </a:cxn>
                <a:cxn ang="0">
                  <a:pos x="62" y="386"/>
                </a:cxn>
                <a:cxn ang="0">
                  <a:pos x="54" y="374"/>
                </a:cxn>
                <a:cxn ang="0">
                  <a:pos x="46" y="366"/>
                </a:cxn>
                <a:cxn ang="0">
                  <a:pos x="28" y="354"/>
                </a:cxn>
                <a:cxn ang="0">
                  <a:pos x="14" y="350"/>
                </a:cxn>
                <a:cxn ang="0">
                  <a:pos x="0" y="342"/>
                </a:cxn>
                <a:cxn ang="0">
                  <a:pos x="2" y="342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2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9" y="170"/>
                </a:cxn>
                <a:cxn ang="0">
                  <a:pos x="505" y="138"/>
                </a:cxn>
                <a:cxn ang="0">
                  <a:pos x="585" y="108"/>
                </a:cxn>
                <a:cxn ang="0">
                  <a:pos x="659" y="80"/>
                </a:cxn>
                <a:cxn ang="0">
                  <a:pos x="693" y="64"/>
                </a:cxn>
                <a:cxn ang="0">
                  <a:pos x="723" y="54"/>
                </a:cxn>
                <a:cxn ang="0">
                  <a:pos x="753" y="42"/>
                </a:cxn>
                <a:cxn ang="0">
                  <a:pos x="781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49" y="4"/>
                </a:cxn>
                <a:cxn ang="0">
                  <a:pos x="857" y="2"/>
                </a:cxn>
                <a:cxn ang="0">
                  <a:pos x="859" y="0"/>
                </a:cxn>
              </a:cxnLst>
              <a:rect l="0" t="0" r="r" b="b"/>
              <a:pathLst>
                <a:path w="930" h="547">
                  <a:moveTo>
                    <a:pt x="859" y="0"/>
                  </a:moveTo>
                  <a:lnTo>
                    <a:pt x="867" y="0"/>
                  </a:lnTo>
                  <a:lnTo>
                    <a:pt x="885" y="4"/>
                  </a:lnTo>
                  <a:lnTo>
                    <a:pt x="897" y="12"/>
                  </a:lnTo>
                  <a:lnTo>
                    <a:pt x="907" y="18"/>
                  </a:lnTo>
                  <a:lnTo>
                    <a:pt x="916" y="30"/>
                  </a:lnTo>
                  <a:lnTo>
                    <a:pt x="924" y="44"/>
                  </a:lnTo>
                  <a:lnTo>
                    <a:pt x="928" y="60"/>
                  </a:lnTo>
                  <a:lnTo>
                    <a:pt x="930" y="78"/>
                  </a:lnTo>
                  <a:lnTo>
                    <a:pt x="926" y="112"/>
                  </a:lnTo>
                  <a:lnTo>
                    <a:pt x="920" y="126"/>
                  </a:lnTo>
                  <a:lnTo>
                    <a:pt x="918" y="138"/>
                  </a:lnTo>
                  <a:lnTo>
                    <a:pt x="914" y="144"/>
                  </a:lnTo>
                  <a:lnTo>
                    <a:pt x="912" y="148"/>
                  </a:lnTo>
                  <a:lnTo>
                    <a:pt x="64" y="547"/>
                  </a:lnTo>
                  <a:lnTo>
                    <a:pt x="72" y="529"/>
                  </a:lnTo>
                  <a:lnTo>
                    <a:pt x="76" y="515"/>
                  </a:lnTo>
                  <a:lnTo>
                    <a:pt x="82" y="491"/>
                  </a:lnTo>
                  <a:lnTo>
                    <a:pt x="82" y="463"/>
                  </a:lnTo>
                  <a:lnTo>
                    <a:pt x="80" y="445"/>
                  </a:lnTo>
                  <a:lnTo>
                    <a:pt x="74" y="421"/>
                  </a:lnTo>
                  <a:lnTo>
                    <a:pt x="68" y="402"/>
                  </a:lnTo>
                  <a:lnTo>
                    <a:pt x="62" y="386"/>
                  </a:lnTo>
                  <a:lnTo>
                    <a:pt x="54" y="374"/>
                  </a:lnTo>
                  <a:lnTo>
                    <a:pt x="46" y="366"/>
                  </a:lnTo>
                  <a:lnTo>
                    <a:pt x="28" y="354"/>
                  </a:lnTo>
                  <a:lnTo>
                    <a:pt x="14" y="350"/>
                  </a:lnTo>
                  <a:lnTo>
                    <a:pt x="0" y="342"/>
                  </a:lnTo>
                  <a:lnTo>
                    <a:pt x="2" y="342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2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9" y="170"/>
                  </a:lnTo>
                  <a:lnTo>
                    <a:pt x="505" y="138"/>
                  </a:lnTo>
                  <a:lnTo>
                    <a:pt x="585" y="108"/>
                  </a:lnTo>
                  <a:lnTo>
                    <a:pt x="659" y="80"/>
                  </a:lnTo>
                  <a:lnTo>
                    <a:pt x="693" y="64"/>
                  </a:lnTo>
                  <a:lnTo>
                    <a:pt x="723" y="54"/>
                  </a:lnTo>
                  <a:lnTo>
                    <a:pt x="753" y="42"/>
                  </a:lnTo>
                  <a:lnTo>
                    <a:pt x="781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49" y="4"/>
                  </a:lnTo>
                  <a:lnTo>
                    <a:pt x="857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C3902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8" name="Freeform 131"/>
            <p:cNvSpPr>
              <a:spLocks/>
            </p:cNvSpPr>
            <p:nvPr/>
          </p:nvSpPr>
          <p:spPr bwMode="auto">
            <a:xfrm>
              <a:off x="2197" y="1691"/>
              <a:ext cx="466" cy="271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69" y="0"/>
                </a:cxn>
                <a:cxn ang="0">
                  <a:pos x="885" y="4"/>
                </a:cxn>
                <a:cxn ang="0">
                  <a:pos x="895" y="10"/>
                </a:cxn>
                <a:cxn ang="0">
                  <a:pos x="905" y="18"/>
                </a:cxn>
                <a:cxn ang="0">
                  <a:pos x="914" y="28"/>
                </a:cxn>
                <a:cxn ang="0">
                  <a:pos x="922" y="42"/>
                </a:cxn>
                <a:cxn ang="0">
                  <a:pos x="928" y="58"/>
                </a:cxn>
                <a:cxn ang="0">
                  <a:pos x="930" y="76"/>
                </a:cxn>
                <a:cxn ang="0">
                  <a:pos x="924" y="108"/>
                </a:cxn>
                <a:cxn ang="0">
                  <a:pos x="920" y="122"/>
                </a:cxn>
                <a:cxn ang="0">
                  <a:pos x="916" y="132"/>
                </a:cxn>
                <a:cxn ang="0">
                  <a:pos x="914" y="140"/>
                </a:cxn>
                <a:cxn ang="0">
                  <a:pos x="912" y="142"/>
                </a:cxn>
                <a:cxn ang="0">
                  <a:pos x="62" y="541"/>
                </a:cxn>
                <a:cxn ang="0">
                  <a:pos x="70" y="523"/>
                </a:cxn>
                <a:cxn ang="0">
                  <a:pos x="74" y="511"/>
                </a:cxn>
                <a:cxn ang="0">
                  <a:pos x="80" y="487"/>
                </a:cxn>
                <a:cxn ang="0">
                  <a:pos x="80" y="461"/>
                </a:cxn>
                <a:cxn ang="0">
                  <a:pos x="78" y="443"/>
                </a:cxn>
                <a:cxn ang="0">
                  <a:pos x="72" y="419"/>
                </a:cxn>
                <a:cxn ang="0">
                  <a:pos x="66" y="400"/>
                </a:cxn>
                <a:cxn ang="0">
                  <a:pos x="60" y="384"/>
                </a:cxn>
                <a:cxn ang="0">
                  <a:pos x="52" y="374"/>
                </a:cxn>
                <a:cxn ang="0">
                  <a:pos x="44" y="366"/>
                </a:cxn>
                <a:cxn ang="0">
                  <a:pos x="26" y="354"/>
                </a:cxn>
                <a:cxn ang="0">
                  <a:pos x="14" y="348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2"/>
                </a:cxn>
                <a:cxn ang="0">
                  <a:pos x="34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0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9" y="170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9" y="80"/>
                </a:cxn>
                <a:cxn ang="0">
                  <a:pos x="693" y="64"/>
                </a:cxn>
                <a:cxn ang="0">
                  <a:pos x="723" y="54"/>
                </a:cxn>
                <a:cxn ang="0">
                  <a:pos x="753" y="42"/>
                </a:cxn>
                <a:cxn ang="0">
                  <a:pos x="781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51" y="2"/>
                </a:cxn>
                <a:cxn ang="0">
                  <a:pos x="857" y="2"/>
                </a:cxn>
                <a:cxn ang="0">
                  <a:pos x="861" y="0"/>
                </a:cxn>
              </a:cxnLst>
              <a:rect l="0" t="0" r="r" b="b"/>
              <a:pathLst>
                <a:path w="930" h="541">
                  <a:moveTo>
                    <a:pt x="861" y="0"/>
                  </a:moveTo>
                  <a:lnTo>
                    <a:pt x="869" y="0"/>
                  </a:lnTo>
                  <a:lnTo>
                    <a:pt x="885" y="4"/>
                  </a:lnTo>
                  <a:lnTo>
                    <a:pt x="895" y="10"/>
                  </a:lnTo>
                  <a:lnTo>
                    <a:pt x="905" y="18"/>
                  </a:lnTo>
                  <a:lnTo>
                    <a:pt x="914" y="28"/>
                  </a:lnTo>
                  <a:lnTo>
                    <a:pt x="922" y="42"/>
                  </a:lnTo>
                  <a:lnTo>
                    <a:pt x="928" y="58"/>
                  </a:lnTo>
                  <a:lnTo>
                    <a:pt x="930" y="76"/>
                  </a:lnTo>
                  <a:lnTo>
                    <a:pt x="924" y="108"/>
                  </a:lnTo>
                  <a:lnTo>
                    <a:pt x="920" y="122"/>
                  </a:lnTo>
                  <a:lnTo>
                    <a:pt x="916" y="132"/>
                  </a:lnTo>
                  <a:lnTo>
                    <a:pt x="914" y="140"/>
                  </a:lnTo>
                  <a:lnTo>
                    <a:pt x="912" y="142"/>
                  </a:lnTo>
                  <a:lnTo>
                    <a:pt x="62" y="541"/>
                  </a:lnTo>
                  <a:lnTo>
                    <a:pt x="70" y="523"/>
                  </a:lnTo>
                  <a:lnTo>
                    <a:pt x="74" y="511"/>
                  </a:lnTo>
                  <a:lnTo>
                    <a:pt x="80" y="487"/>
                  </a:lnTo>
                  <a:lnTo>
                    <a:pt x="80" y="461"/>
                  </a:lnTo>
                  <a:lnTo>
                    <a:pt x="78" y="443"/>
                  </a:lnTo>
                  <a:lnTo>
                    <a:pt x="72" y="419"/>
                  </a:lnTo>
                  <a:lnTo>
                    <a:pt x="66" y="400"/>
                  </a:lnTo>
                  <a:lnTo>
                    <a:pt x="60" y="384"/>
                  </a:lnTo>
                  <a:lnTo>
                    <a:pt x="52" y="374"/>
                  </a:lnTo>
                  <a:lnTo>
                    <a:pt x="44" y="366"/>
                  </a:lnTo>
                  <a:lnTo>
                    <a:pt x="26" y="354"/>
                  </a:lnTo>
                  <a:lnTo>
                    <a:pt x="14" y="348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2"/>
                  </a:lnTo>
                  <a:lnTo>
                    <a:pt x="34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0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9" y="170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9" y="80"/>
                  </a:lnTo>
                  <a:lnTo>
                    <a:pt x="693" y="64"/>
                  </a:lnTo>
                  <a:lnTo>
                    <a:pt x="723" y="54"/>
                  </a:lnTo>
                  <a:lnTo>
                    <a:pt x="753" y="42"/>
                  </a:lnTo>
                  <a:lnTo>
                    <a:pt x="781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51" y="2"/>
                  </a:lnTo>
                  <a:lnTo>
                    <a:pt x="857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C899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09" name="Freeform 132"/>
            <p:cNvSpPr>
              <a:spLocks/>
            </p:cNvSpPr>
            <p:nvPr/>
          </p:nvSpPr>
          <p:spPr bwMode="auto">
            <a:xfrm>
              <a:off x="2199" y="1692"/>
              <a:ext cx="464" cy="268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7" y="0"/>
                </a:cxn>
                <a:cxn ang="0">
                  <a:pos x="883" y="4"/>
                </a:cxn>
                <a:cxn ang="0">
                  <a:pos x="904" y="16"/>
                </a:cxn>
                <a:cxn ang="0">
                  <a:pos x="912" y="26"/>
                </a:cxn>
                <a:cxn ang="0">
                  <a:pos x="920" y="40"/>
                </a:cxn>
                <a:cxn ang="0">
                  <a:pos x="924" y="56"/>
                </a:cxn>
                <a:cxn ang="0">
                  <a:pos x="926" y="72"/>
                </a:cxn>
                <a:cxn ang="0">
                  <a:pos x="922" y="104"/>
                </a:cxn>
                <a:cxn ang="0">
                  <a:pos x="918" y="118"/>
                </a:cxn>
                <a:cxn ang="0">
                  <a:pos x="914" y="130"/>
                </a:cxn>
                <a:cxn ang="0">
                  <a:pos x="912" y="136"/>
                </a:cxn>
                <a:cxn ang="0">
                  <a:pos x="910" y="138"/>
                </a:cxn>
                <a:cxn ang="0">
                  <a:pos x="62" y="535"/>
                </a:cxn>
                <a:cxn ang="0">
                  <a:pos x="66" y="517"/>
                </a:cxn>
                <a:cxn ang="0">
                  <a:pos x="70" y="503"/>
                </a:cxn>
                <a:cxn ang="0">
                  <a:pos x="78" y="483"/>
                </a:cxn>
                <a:cxn ang="0">
                  <a:pos x="78" y="457"/>
                </a:cxn>
                <a:cxn ang="0">
                  <a:pos x="74" y="441"/>
                </a:cxn>
                <a:cxn ang="0">
                  <a:pos x="70" y="417"/>
                </a:cxn>
                <a:cxn ang="0">
                  <a:pos x="62" y="398"/>
                </a:cxn>
                <a:cxn ang="0">
                  <a:pos x="56" y="382"/>
                </a:cxn>
                <a:cxn ang="0">
                  <a:pos x="50" y="372"/>
                </a:cxn>
                <a:cxn ang="0">
                  <a:pos x="44" y="364"/>
                </a:cxn>
                <a:cxn ang="0">
                  <a:pos x="26" y="352"/>
                </a:cxn>
                <a:cxn ang="0">
                  <a:pos x="14" y="346"/>
                </a:cxn>
                <a:cxn ang="0">
                  <a:pos x="0" y="340"/>
                </a:cxn>
                <a:cxn ang="0">
                  <a:pos x="2" y="338"/>
                </a:cxn>
                <a:cxn ang="0">
                  <a:pos x="8" y="336"/>
                </a:cxn>
                <a:cxn ang="0">
                  <a:pos x="18" y="330"/>
                </a:cxn>
                <a:cxn ang="0">
                  <a:pos x="36" y="324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296"/>
                </a:cxn>
                <a:cxn ang="0">
                  <a:pos x="132" y="286"/>
                </a:cxn>
                <a:cxn ang="0">
                  <a:pos x="164" y="274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7" y="168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7" y="78"/>
                </a:cxn>
                <a:cxn ang="0">
                  <a:pos x="691" y="64"/>
                </a:cxn>
                <a:cxn ang="0">
                  <a:pos x="723" y="52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2"/>
                </a:cxn>
                <a:cxn ang="0">
                  <a:pos x="855" y="0"/>
                </a:cxn>
                <a:cxn ang="0">
                  <a:pos x="859" y="0"/>
                </a:cxn>
              </a:cxnLst>
              <a:rect l="0" t="0" r="r" b="b"/>
              <a:pathLst>
                <a:path w="926" h="535">
                  <a:moveTo>
                    <a:pt x="859" y="0"/>
                  </a:moveTo>
                  <a:lnTo>
                    <a:pt x="867" y="0"/>
                  </a:lnTo>
                  <a:lnTo>
                    <a:pt x="883" y="4"/>
                  </a:lnTo>
                  <a:lnTo>
                    <a:pt x="904" y="16"/>
                  </a:lnTo>
                  <a:lnTo>
                    <a:pt x="912" y="26"/>
                  </a:lnTo>
                  <a:lnTo>
                    <a:pt x="920" y="40"/>
                  </a:lnTo>
                  <a:lnTo>
                    <a:pt x="924" y="56"/>
                  </a:lnTo>
                  <a:lnTo>
                    <a:pt x="926" y="72"/>
                  </a:lnTo>
                  <a:lnTo>
                    <a:pt x="922" y="104"/>
                  </a:lnTo>
                  <a:lnTo>
                    <a:pt x="918" y="118"/>
                  </a:lnTo>
                  <a:lnTo>
                    <a:pt x="914" y="130"/>
                  </a:lnTo>
                  <a:lnTo>
                    <a:pt x="912" y="136"/>
                  </a:lnTo>
                  <a:lnTo>
                    <a:pt x="910" y="138"/>
                  </a:lnTo>
                  <a:lnTo>
                    <a:pt x="62" y="535"/>
                  </a:lnTo>
                  <a:lnTo>
                    <a:pt x="66" y="517"/>
                  </a:lnTo>
                  <a:lnTo>
                    <a:pt x="70" y="503"/>
                  </a:lnTo>
                  <a:lnTo>
                    <a:pt x="78" y="483"/>
                  </a:lnTo>
                  <a:lnTo>
                    <a:pt x="78" y="457"/>
                  </a:lnTo>
                  <a:lnTo>
                    <a:pt x="74" y="441"/>
                  </a:lnTo>
                  <a:lnTo>
                    <a:pt x="70" y="417"/>
                  </a:lnTo>
                  <a:lnTo>
                    <a:pt x="62" y="398"/>
                  </a:lnTo>
                  <a:lnTo>
                    <a:pt x="56" y="382"/>
                  </a:lnTo>
                  <a:lnTo>
                    <a:pt x="50" y="372"/>
                  </a:lnTo>
                  <a:lnTo>
                    <a:pt x="44" y="364"/>
                  </a:lnTo>
                  <a:lnTo>
                    <a:pt x="26" y="352"/>
                  </a:lnTo>
                  <a:lnTo>
                    <a:pt x="14" y="346"/>
                  </a:lnTo>
                  <a:lnTo>
                    <a:pt x="0" y="340"/>
                  </a:lnTo>
                  <a:lnTo>
                    <a:pt x="2" y="338"/>
                  </a:lnTo>
                  <a:lnTo>
                    <a:pt x="8" y="336"/>
                  </a:lnTo>
                  <a:lnTo>
                    <a:pt x="18" y="330"/>
                  </a:lnTo>
                  <a:lnTo>
                    <a:pt x="36" y="324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296"/>
                  </a:lnTo>
                  <a:lnTo>
                    <a:pt x="132" y="286"/>
                  </a:lnTo>
                  <a:lnTo>
                    <a:pt x="164" y="274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7" y="168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7" y="78"/>
                  </a:lnTo>
                  <a:lnTo>
                    <a:pt x="691" y="64"/>
                  </a:lnTo>
                  <a:lnTo>
                    <a:pt x="723" y="52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2"/>
                  </a:lnTo>
                  <a:lnTo>
                    <a:pt x="855" y="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CDA3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0" name="Freeform 133"/>
            <p:cNvSpPr>
              <a:spLocks/>
            </p:cNvSpPr>
            <p:nvPr/>
          </p:nvSpPr>
          <p:spPr bwMode="auto">
            <a:xfrm>
              <a:off x="2201" y="1692"/>
              <a:ext cx="462" cy="266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5" y="0"/>
                </a:cxn>
                <a:cxn ang="0">
                  <a:pos x="881" y="4"/>
                </a:cxn>
                <a:cxn ang="0">
                  <a:pos x="900" y="16"/>
                </a:cxn>
                <a:cxn ang="0">
                  <a:pos x="910" y="26"/>
                </a:cxn>
                <a:cxn ang="0">
                  <a:pos x="916" y="40"/>
                </a:cxn>
                <a:cxn ang="0">
                  <a:pos x="920" y="54"/>
                </a:cxn>
                <a:cxn ang="0">
                  <a:pos x="922" y="70"/>
                </a:cxn>
                <a:cxn ang="0">
                  <a:pos x="918" y="104"/>
                </a:cxn>
                <a:cxn ang="0">
                  <a:pos x="914" y="116"/>
                </a:cxn>
                <a:cxn ang="0">
                  <a:pos x="910" y="126"/>
                </a:cxn>
                <a:cxn ang="0">
                  <a:pos x="910" y="132"/>
                </a:cxn>
                <a:cxn ang="0">
                  <a:pos x="908" y="136"/>
                </a:cxn>
                <a:cxn ang="0">
                  <a:pos x="58" y="531"/>
                </a:cxn>
                <a:cxn ang="0">
                  <a:pos x="64" y="513"/>
                </a:cxn>
                <a:cxn ang="0">
                  <a:pos x="68" y="501"/>
                </a:cxn>
                <a:cxn ang="0">
                  <a:pos x="74" y="479"/>
                </a:cxn>
                <a:cxn ang="0">
                  <a:pos x="74" y="457"/>
                </a:cxn>
                <a:cxn ang="0">
                  <a:pos x="72" y="439"/>
                </a:cxn>
                <a:cxn ang="0">
                  <a:pos x="66" y="417"/>
                </a:cxn>
                <a:cxn ang="0">
                  <a:pos x="60" y="398"/>
                </a:cxn>
                <a:cxn ang="0">
                  <a:pos x="54" y="382"/>
                </a:cxn>
                <a:cxn ang="0">
                  <a:pos x="48" y="372"/>
                </a:cxn>
                <a:cxn ang="0">
                  <a:pos x="42" y="364"/>
                </a:cxn>
                <a:cxn ang="0">
                  <a:pos x="24" y="352"/>
                </a:cxn>
                <a:cxn ang="0">
                  <a:pos x="12" y="346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2" y="286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7" y="170"/>
                </a:cxn>
                <a:cxn ang="0">
                  <a:pos x="505" y="138"/>
                </a:cxn>
                <a:cxn ang="0">
                  <a:pos x="583" y="106"/>
                </a:cxn>
                <a:cxn ang="0">
                  <a:pos x="657" y="78"/>
                </a:cxn>
                <a:cxn ang="0">
                  <a:pos x="691" y="64"/>
                </a:cxn>
                <a:cxn ang="0">
                  <a:pos x="721" y="52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1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2"/>
                </a:cxn>
                <a:cxn ang="0">
                  <a:pos x="855" y="0"/>
                </a:cxn>
                <a:cxn ang="0">
                  <a:pos x="859" y="0"/>
                </a:cxn>
              </a:cxnLst>
              <a:rect l="0" t="0" r="r" b="b"/>
              <a:pathLst>
                <a:path w="922" h="531">
                  <a:moveTo>
                    <a:pt x="859" y="0"/>
                  </a:moveTo>
                  <a:lnTo>
                    <a:pt x="865" y="0"/>
                  </a:lnTo>
                  <a:lnTo>
                    <a:pt x="881" y="4"/>
                  </a:lnTo>
                  <a:lnTo>
                    <a:pt x="900" y="16"/>
                  </a:lnTo>
                  <a:lnTo>
                    <a:pt x="910" y="26"/>
                  </a:lnTo>
                  <a:lnTo>
                    <a:pt x="916" y="40"/>
                  </a:lnTo>
                  <a:lnTo>
                    <a:pt x="920" y="54"/>
                  </a:lnTo>
                  <a:lnTo>
                    <a:pt x="922" y="70"/>
                  </a:lnTo>
                  <a:lnTo>
                    <a:pt x="918" y="104"/>
                  </a:lnTo>
                  <a:lnTo>
                    <a:pt x="914" y="116"/>
                  </a:lnTo>
                  <a:lnTo>
                    <a:pt x="910" y="126"/>
                  </a:lnTo>
                  <a:lnTo>
                    <a:pt x="910" y="132"/>
                  </a:lnTo>
                  <a:lnTo>
                    <a:pt x="908" y="136"/>
                  </a:lnTo>
                  <a:lnTo>
                    <a:pt x="58" y="531"/>
                  </a:lnTo>
                  <a:lnTo>
                    <a:pt x="64" y="513"/>
                  </a:lnTo>
                  <a:lnTo>
                    <a:pt x="68" y="501"/>
                  </a:lnTo>
                  <a:lnTo>
                    <a:pt x="74" y="479"/>
                  </a:lnTo>
                  <a:lnTo>
                    <a:pt x="74" y="457"/>
                  </a:lnTo>
                  <a:lnTo>
                    <a:pt x="72" y="439"/>
                  </a:lnTo>
                  <a:lnTo>
                    <a:pt x="66" y="417"/>
                  </a:lnTo>
                  <a:lnTo>
                    <a:pt x="60" y="398"/>
                  </a:lnTo>
                  <a:lnTo>
                    <a:pt x="54" y="382"/>
                  </a:lnTo>
                  <a:lnTo>
                    <a:pt x="48" y="372"/>
                  </a:lnTo>
                  <a:lnTo>
                    <a:pt x="42" y="364"/>
                  </a:lnTo>
                  <a:lnTo>
                    <a:pt x="24" y="352"/>
                  </a:lnTo>
                  <a:lnTo>
                    <a:pt x="12" y="346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2" y="286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7" y="170"/>
                  </a:lnTo>
                  <a:lnTo>
                    <a:pt x="505" y="138"/>
                  </a:lnTo>
                  <a:lnTo>
                    <a:pt x="583" y="106"/>
                  </a:lnTo>
                  <a:lnTo>
                    <a:pt x="657" y="78"/>
                  </a:lnTo>
                  <a:lnTo>
                    <a:pt x="691" y="64"/>
                  </a:lnTo>
                  <a:lnTo>
                    <a:pt x="721" y="52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1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2"/>
                  </a:lnTo>
                  <a:lnTo>
                    <a:pt x="855" y="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2AC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1" name="Freeform 134"/>
            <p:cNvSpPr>
              <a:spLocks/>
            </p:cNvSpPr>
            <p:nvPr/>
          </p:nvSpPr>
          <p:spPr bwMode="auto">
            <a:xfrm>
              <a:off x="2201" y="1692"/>
              <a:ext cx="462" cy="265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1" y="0"/>
                </a:cxn>
                <a:cxn ang="0">
                  <a:pos x="865" y="2"/>
                </a:cxn>
                <a:cxn ang="0">
                  <a:pos x="881" y="6"/>
                </a:cxn>
                <a:cxn ang="0">
                  <a:pos x="899" y="18"/>
                </a:cxn>
                <a:cxn ang="0">
                  <a:pos x="908" y="28"/>
                </a:cxn>
                <a:cxn ang="0">
                  <a:pos x="914" y="40"/>
                </a:cxn>
                <a:cxn ang="0">
                  <a:pos x="920" y="56"/>
                </a:cxn>
                <a:cxn ang="0">
                  <a:pos x="922" y="72"/>
                </a:cxn>
                <a:cxn ang="0">
                  <a:pos x="918" y="100"/>
                </a:cxn>
                <a:cxn ang="0">
                  <a:pos x="914" y="114"/>
                </a:cxn>
                <a:cxn ang="0">
                  <a:pos x="912" y="124"/>
                </a:cxn>
                <a:cxn ang="0">
                  <a:pos x="910" y="130"/>
                </a:cxn>
                <a:cxn ang="0">
                  <a:pos x="908" y="134"/>
                </a:cxn>
                <a:cxn ang="0">
                  <a:pos x="60" y="529"/>
                </a:cxn>
                <a:cxn ang="0">
                  <a:pos x="64" y="511"/>
                </a:cxn>
                <a:cxn ang="0">
                  <a:pos x="68" y="499"/>
                </a:cxn>
                <a:cxn ang="0">
                  <a:pos x="72" y="479"/>
                </a:cxn>
                <a:cxn ang="0">
                  <a:pos x="74" y="469"/>
                </a:cxn>
                <a:cxn ang="0">
                  <a:pos x="72" y="455"/>
                </a:cxn>
                <a:cxn ang="0">
                  <a:pos x="70" y="439"/>
                </a:cxn>
                <a:cxn ang="0">
                  <a:pos x="64" y="419"/>
                </a:cxn>
                <a:cxn ang="0">
                  <a:pos x="58" y="400"/>
                </a:cxn>
                <a:cxn ang="0">
                  <a:pos x="52" y="384"/>
                </a:cxn>
                <a:cxn ang="0">
                  <a:pos x="46" y="372"/>
                </a:cxn>
                <a:cxn ang="0">
                  <a:pos x="40" y="364"/>
                </a:cxn>
                <a:cxn ang="0">
                  <a:pos x="24" y="354"/>
                </a:cxn>
                <a:cxn ang="0">
                  <a:pos x="12" y="350"/>
                </a:cxn>
                <a:cxn ang="0">
                  <a:pos x="0" y="342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0" y="290"/>
                </a:cxn>
                <a:cxn ang="0">
                  <a:pos x="196" y="264"/>
                </a:cxn>
                <a:cxn ang="0">
                  <a:pos x="268" y="234"/>
                </a:cxn>
                <a:cxn ang="0">
                  <a:pos x="345" y="204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57" y="80"/>
                </a:cxn>
                <a:cxn ang="0">
                  <a:pos x="691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1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4"/>
                </a:cxn>
                <a:cxn ang="0">
                  <a:pos x="855" y="2"/>
                </a:cxn>
                <a:cxn ang="0">
                  <a:pos x="859" y="0"/>
                </a:cxn>
              </a:cxnLst>
              <a:rect l="0" t="0" r="r" b="b"/>
              <a:pathLst>
                <a:path w="922" h="529">
                  <a:moveTo>
                    <a:pt x="859" y="0"/>
                  </a:moveTo>
                  <a:lnTo>
                    <a:pt x="861" y="0"/>
                  </a:lnTo>
                  <a:lnTo>
                    <a:pt x="865" y="2"/>
                  </a:lnTo>
                  <a:lnTo>
                    <a:pt x="881" y="6"/>
                  </a:lnTo>
                  <a:lnTo>
                    <a:pt x="899" y="18"/>
                  </a:lnTo>
                  <a:lnTo>
                    <a:pt x="908" y="28"/>
                  </a:lnTo>
                  <a:lnTo>
                    <a:pt x="914" y="40"/>
                  </a:lnTo>
                  <a:lnTo>
                    <a:pt x="920" y="56"/>
                  </a:lnTo>
                  <a:lnTo>
                    <a:pt x="922" y="72"/>
                  </a:lnTo>
                  <a:lnTo>
                    <a:pt x="918" y="100"/>
                  </a:lnTo>
                  <a:lnTo>
                    <a:pt x="914" y="114"/>
                  </a:lnTo>
                  <a:lnTo>
                    <a:pt x="912" y="124"/>
                  </a:lnTo>
                  <a:lnTo>
                    <a:pt x="910" y="130"/>
                  </a:lnTo>
                  <a:lnTo>
                    <a:pt x="908" y="134"/>
                  </a:lnTo>
                  <a:lnTo>
                    <a:pt x="60" y="529"/>
                  </a:lnTo>
                  <a:lnTo>
                    <a:pt x="64" y="511"/>
                  </a:lnTo>
                  <a:lnTo>
                    <a:pt x="68" y="499"/>
                  </a:lnTo>
                  <a:lnTo>
                    <a:pt x="72" y="479"/>
                  </a:lnTo>
                  <a:lnTo>
                    <a:pt x="74" y="469"/>
                  </a:lnTo>
                  <a:lnTo>
                    <a:pt x="72" y="455"/>
                  </a:lnTo>
                  <a:lnTo>
                    <a:pt x="70" y="439"/>
                  </a:lnTo>
                  <a:lnTo>
                    <a:pt x="64" y="419"/>
                  </a:lnTo>
                  <a:lnTo>
                    <a:pt x="58" y="400"/>
                  </a:lnTo>
                  <a:lnTo>
                    <a:pt x="52" y="384"/>
                  </a:lnTo>
                  <a:lnTo>
                    <a:pt x="46" y="372"/>
                  </a:lnTo>
                  <a:lnTo>
                    <a:pt x="40" y="364"/>
                  </a:lnTo>
                  <a:lnTo>
                    <a:pt x="24" y="354"/>
                  </a:lnTo>
                  <a:lnTo>
                    <a:pt x="12" y="350"/>
                  </a:lnTo>
                  <a:lnTo>
                    <a:pt x="0" y="342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0" y="290"/>
                  </a:lnTo>
                  <a:lnTo>
                    <a:pt x="196" y="264"/>
                  </a:lnTo>
                  <a:lnTo>
                    <a:pt x="268" y="234"/>
                  </a:lnTo>
                  <a:lnTo>
                    <a:pt x="345" y="204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57" y="80"/>
                  </a:lnTo>
                  <a:lnTo>
                    <a:pt x="691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1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4"/>
                  </a:lnTo>
                  <a:lnTo>
                    <a:pt x="855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7B5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2" name="Freeform 135"/>
            <p:cNvSpPr>
              <a:spLocks/>
            </p:cNvSpPr>
            <p:nvPr/>
          </p:nvSpPr>
          <p:spPr bwMode="auto">
            <a:xfrm>
              <a:off x="2202" y="1693"/>
              <a:ext cx="461" cy="262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1" y="0"/>
                </a:cxn>
                <a:cxn ang="0">
                  <a:pos x="865" y="2"/>
                </a:cxn>
                <a:cxn ang="0">
                  <a:pos x="883" y="4"/>
                </a:cxn>
                <a:cxn ang="0">
                  <a:pos x="898" y="18"/>
                </a:cxn>
                <a:cxn ang="0">
                  <a:pos x="908" y="26"/>
                </a:cxn>
                <a:cxn ang="0">
                  <a:pos x="914" y="38"/>
                </a:cxn>
                <a:cxn ang="0">
                  <a:pos x="918" y="54"/>
                </a:cxn>
                <a:cxn ang="0">
                  <a:pos x="920" y="68"/>
                </a:cxn>
                <a:cxn ang="0">
                  <a:pos x="916" y="98"/>
                </a:cxn>
                <a:cxn ang="0">
                  <a:pos x="914" y="110"/>
                </a:cxn>
                <a:cxn ang="0">
                  <a:pos x="910" y="120"/>
                </a:cxn>
                <a:cxn ang="0">
                  <a:pos x="908" y="128"/>
                </a:cxn>
                <a:cxn ang="0">
                  <a:pos x="908" y="130"/>
                </a:cxn>
                <a:cxn ang="0">
                  <a:pos x="58" y="523"/>
                </a:cxn>
                <a:cxn ang="0">
                  <a:pos x="64" y="505"/>
                </a:cxn>
                <a:cxn ang="0">
                  <a:pos x="70" y="483"/>
                </a:cxn>
                <a:cxn ang="0">
                  <a:pos x="72" y="475"/>
                </a:cxn>
                <a:cxn ang="0">
                  <a:pos x="74" y="465"/>
                </a:cxn>
                <a:cxn ang="0">
                  <a:pos x="72" y="453"/>
                </a:cxn>
                <a:cxn ang="0">
                  <a:pos x="68" y="437"/>
                </a:cxn>
                <a:cxn ang="0">
                  <a:pos x="64" y="417"/>
                </a:cxn>
                <a:cxn ang="0">
                  <a:pos x="56" y="398"/>
                </a:cxn>
                <a:cxn ang="0">
                  <a:pos x="52" y="382"/>
                </a:cxn>
                <a:cxn ang="0">
                  <a:pos x="46" y="370"/>
                </a:cxn>
                <a:cxn ang="0">
                  <a:pos x="38" y="364"/>
                </a:cxn>
                <a:cxn ang="0">
                  <a:pos x="22" y="352"/>
                </a:cxn>
                <a:cxn ang="0">
                  <a:pos x="12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6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4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1" y="232"/>
                </a:cxn>
                <a:cxn ang="0">
                  <a:pos x="349" y="202"/>
                </a:cxn>
                <a:cxn ang="0">
                  <a:pos x="427" y="170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7" y="80"/>
                </a:cxn>
                <a:cxn ang="0">
                  <a:pos x="693" y="64"/>
                </a:cxn>
                <a:cxn ang="0">
                  <a:pos x="725" y="54"/>
                </a:cxn>
                <a:cxn ang="0">
                  <a:pos x="753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1" y="14"/>
                </a:cxn>
                <a:cxn ang="0">
                  <a:pos x="839" y="8"/>
                </a:cxn>
                <a:cxn ang="0">
                  <a:pos x="849" y="2"/>
                </a:cxn>
                <a:cxn ang="0">
                  <a:pos x="857" y="2"/>
                </a:cxn>
                <a:cxn ang="0">
                  <a:pos x="859" y="0"/>
                </a:cxn>
              </a:cxnLst>
              <a:rect l="0" t="0" r="r" b="b"/>
              <a:pathLst>
                <a:path w="920" h="523">
                  <a:moveTo>
                    <a:pt x="859" y="0"/>
                  </a:moveTo>
                  <a:lnTo>
                    <a:pt x="861" y="0"/>
                  </a:lnTo>
                  <a:lnTo>
                    <a:pt x="865" y="2"/>
                  </a:lnTo>
                  <a:lnTo>
                    <a:pt x="883" y="4"/>
                  </a:lnTo>
                  <a:lnTo>
                    <a:pt x="898" y="18"/>
                  </a:lnTo>
                  <a:lnTo>
                    <a:pt x="908" y="26"/>
                  </a:lnTo>
                  <a:lnTo>
                    <a:pt x="914" y="38"/>
                  </a:lnTo>
                  <a:lnTo>
                    <a:pt x="918" y="54"/>
                  </a:lnTo>
                  <a:lnTo>
                    <a:pt x="920" y="68"/>
                  </a:lnTo>
                  <a:lnTo>
                    <a:pt x="916" y="98"/>
                  </a:lnTo>
                  <a:lnTo>
                    <a:pt x="914" y="110"/>
                  </a:lnTo>
                  <a:lnTo>
                    <a:pt x="910" y="120"/>
                  </a:lnTo>
                  <a:lnTo>
                    <a:pt x="908" y="128"/>
                  </a:lnTo>
                  <a:lnTo>
                    <a:pt x="908" y="130"/>
                  </a:lnTo>
                  <a:lnTo>
                    <a:pt x="58" y="523"/>
                  </a:lnTo>
                  <a:lnTo>
                    <a:pt x="64" y="505"/>
                  </a:lnTo>
                  <a:lnTo>
                    <a:pt x="70" y="483"/>
                  </a:lnTo>
                  <a:lnTo>
                    <a:pt x="72" y="475"/>
                  </a:lnTo>
                  <a:lnTo>
                    <a:pt x="74" y="465"/>
                  </a:lnTo>
                  <a:lnTo>
                    <a:pt x="72" y="453"/>
                  </a:lnTo>
                  <a:lnTo>
                    <a:pt x="68" y="437"/>
                  </a:lnTo>
                  <a:lnTo>
                    <a:pt x="64" y="417"/>
                  </a:lnTo>
                  <a:lnTo>
                    <a:pt x="56" y="398"/>
                  </a:lnTo>
                  <a:lnTo>
                    <a:pt x="52" y="382"/>
                  </a:lnTo>
                  <a:lnTo>
                    <a:pt x="46" y="370"/>
                  </a:lnTo>
                  <a:lnTo>
                    <a:pt x="38" y="364"/>
                  </a:lnTo>
                  <a:lnTo>
                    <a:pt x="22" y="352"/>
                  </a:lnTo>
                  <a:lnTo>
                    <a:pt x="12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6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4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1" y="232"/>
                  </a:lnTo>
                  <a:lnTo>
                    <a:pt x="349" y="202"/>
                  </a:lnTo>
                  <a:lnTo>
                    <a:pt x="427" y="170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7" y="80"/>
                  </a:lnTo>
                  <a:lnTo>
                    <a:pt x="693" y="64"/>
                  </a:lnTo>
                  <a:lnTo>
                    <a:pt x="725" y="54"/>
                  </a:lnTo>
                  <a:lnTo>
                    <a:pt x="753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1" y="14"/>
                  </a:lnTo>
                  <a:lnTo>
                    <a:pt x="839" y="8"/>
                  </a:lnTo>
                  <a:lnTo>
                    <a:pt x="849" y="2"/>
                  </a:lnTo>
                  <a:lnTo>
                    <a:pt x="857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CBE1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3" name="Freeform 136"/>
            <p:cNvSpPr>
              <a:spLocks/>
            </p:cNvSpPr>
            <p:nvPr/>
          </p:nvSpPr>
          <p:spPr bwMode="auto">
            <a:xfrm>
              <a:off x="2204" y="1693"/>
              <a:ext cx="459" cy="260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3" y="2"/>
                </a:cxn>
                <a:cxn ang="0">
                  <a:pos x="879" y="6"/>
                </a:cxn>
                <a:cxn ang="0">
                  <a:pos x="894" y="18"/>
                </a:cxn>
                <a:cxn ang="0">
                  <a:pos x="904" y="28"/>
                </a:cxn>
                <a:cxn ang="0">
                  <a:pos x="910" y="38"/>
                </a:cxn>
                <a:cxn ang="0">
                  <a:pos x="914" y="52"/>
                </a:cxn>
                <a:cxn ang="0">
                  <a:pos x="916" y="66"/>
                </a:cxn>
                <a:cxn ang="0">
                  <a:pos x="912" y="96"/>
                </a:cxn>
                <a:cxn ang="0">
                  <a:pos x="912" y="106"/>
                </a:cxn>
                <a:cxn ang="0">
                  <a:pos x="908" y="118"/>
                </a:cxn>
                <a:cxn ang="0">
                  <a:pos x="906" y="124"/>
                </a:cxn>
                <a:cxn ang="0">
                  <a:pos x="904" y="126"/>
                </a:cxn>
                <a:cxn ang="0">
                  <a:pos x="56" y="519"/>
                </a:cxn>
                <a:cxn ang="0">
                  <a:pos x="60" y="503"/>
                </a:cxn>
                <a:cxn ang="0">
                  <a:pos x="64" y="489"/>
                </a:cxn>
                <a:cxn ang="0">
                  <a:pos x="68" y="473"/>
                </a:cxn>
                <a:cxn ang="0">
                  <a:pos x="70" y="465"/>
                </a:cxn>
                <a:cxn ang="0">
                  <a:pos x="68" y="453"/>
                </a:cxn>
                <a:cxn ang="0">
                  <a:pos x="64" y="437"/>
                </a:cxn>
                <a:cxn ang="0">
                  <a:pos x="60" y="417"/>
                </a:cxn>
                <a:cxn ang="0">
                  <a:pos x="52" y="398"/>
                </a:cxn>
                <a:cxn ang="0">
                  <a:pos x="48" y="382"/>
                </a:cxn>
                <a:cxn ang="0">
                  <a:pos x="42" y="372"/>
                </a:cxn>
                <a:cxn ang="0">
                  <a:pos x="36" y="364"/>
                </a:cxn>
                <a:cxn ang="0">
                  <a:pos x="20" y="352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4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5" y="106"/>
                </a:cxn>
                <a:cxn ang="0">
                  <a:pos x="655" y="80"/>
                </a:cxn>
                <a:cxn ang="0">
                  <a:pos x="689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801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2"/>
                </a:cxn>
                <a:cxn ang="0">
                  <a:pos x="857" y="0"/>
                </a:cxn>
              </a:cxnLst>
              <a:rect l="0" t="0" r="r" b="b"/>
              <a:pathLst>
                <a:path w="916" h="519">
                  <a:moveTo>
                    <a:pt x="857" y="0"/>
                  </a:moveTo>
                  <a:lnTo>
                    <a:pt x="859" y="0"/>
                  </a:lnTo>
                  <a:lnTo>
                    <a:pt x="863" y="2"/>
                  </a:lnTo>
                  <a:lnTo>
                    <a:pt x="879" y="6"/>
                  </a:lnTo>
                  <a:lnTo>
                    <a:pt x="894" y="18"/>
                  </a:lnTo>
                  <a:lnTo>
                    <a:pt x="904" y="28"/>
                  </a:lnTo>
                  <a:lnTo>
                    <a:pt x="910" y="38"/>
                  </a:lnTo>
                  <a:lnTo>
                    <a:pt x="914" y="52"/>
                  </a:lnTo>
                  <a:lnTo>
                    <a:pt x="916" y="66"/>
                  </a:lnTo>
                  <a:lnTo>
                    <a:pt x="912" y="96"/>
                  </a:lnTo>
                  <a:lnTo>
                    <a:pt x="912" y="106"/>
                  </a:lnTo>
                  <a:lnTo>
                    <a:pt x="908" y="118"/>
                  </a:lnTo>
                  <a:lnTo>
                    <a:pt x="906" y="124"/>
                  </a:lnTo>
                  <a:lnTo>
                    <a:pt x="904" y="126"/>
                  </a:lnTo>
                  <a:lnTo>
                    <a:pt x="56" y="519"/>
                  </a:lnTo>
                  <a:lnTo>
                    <a:pt x="60" y="503"/>
                  </a:lnTo>
                  <a:lnTo>
                    <a:pt x="64" y="489"/>
                  </a:lnTo>
                  <a:lnTo>
                    <a:pt x="68" y="473"/>
                  </a:lnTo>
                  <a:lnTo>
                    <a:pt x="70" y="465"/>
                  </a:lnTo>
                  <a:lnTo>
                    <a:pt x="68" y="453"/>
                  </a:lnTo>
                  <a:lnTo>
                    <a:pt x="64" y="437"/>
                  </a:lnTo>
                  <a:lnTo>
                    <a:pt x="60" y="417"/>
                  </a:lnTo>
                  <a:lnTo>
                    <a:pt x="52" y="398"/>
                  </a:lnTo>
                  <a:lnTo>
                    <a:pt x="48" y="382"/>
                  </a:lnTo>
                  <a:lnTo>
                    <a:pt x="42" y="372"/>
                  </a:lnTo>
                  <a:lnTo>
                    <a:pt x="36" y="364"/>
                  </a:lnTo>
                  <a:lnTo>
                    <a:pt x="20" y="352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4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5" y="106"/>
                  </a:lnTo>
                  <a:lnTo>
                    <a:pt x="655" y="80"/>
                  </a:lnTo>
                  <a:lnTo>
                    <a:pt x="689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801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2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1C81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4" name="Freeform 137"/>
            <p:cNvSpPr>
              <a:spLocks/>
            </p:cNvSpPr>
            <p:nvPr/>
          </p:nvSpPr>
          <p:spPr bwMode="auto">
            <a:xfrm>
              <a:off x="2205" y="1693"/>
              <a:ext cx="457" cy="258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3" y="2"/>
                </a:cxn>
                <a:cxn ang="0">
                  <a:pos x="877" y="6"/>
                </a:cxn>
                <a:cxn ang="0">
                  <a:pos x="892" y="18"/>
                </a:cxn>
                <a:cxn ang="0">
                  <a:pos x="900" y="26"/>
                </a:cxn>
                <a:cxn ang="0">
                  <a:pos x="906" y="38"/>
                </a:cxn>
                <a:cxn ang="0">
                  <a:pos x="910" y="50"/>
                </a:cxn>
                <a:cxn ang="0">
                  <a:pos x="912" y="66"/>
                </a:cxn>
                <a:cxn ang="0">
                  <a:pos x="910" y="92"/>
                </a:cxn>
                <a:cxn ang="0">
                  <a:pos x="906" y="114"/>
                </a:cxn>
                <a:cxn ang="0">
                  <a:pos x="904" y="120"/>
                </a:cxn>
                <a:cxn ang="0">
                  <a:pos x="904" y="122"/>
                </a:cxn>
                <a:cxn ang="0">
                  <a:pos x="54" y="515"/>
                </a:cxn>
                <a:cxn ang="0">
                  <a:pos x="58" y="499"/>
                </a:cxn>
                <a:cxn ang="0">
                  <a:pos x="62" y="487"/>
                </a:cxn>
                <a:cxn ang="0">
                  <a:pos x="64" y="477"/>
                </a:cxn>
                <a:cxn ang="0">
                  <a:pos x="66" y="471"/>
                </a:cxn>
                <a:cxn ang="0">
                  <a:pos x="66" y="461"/>
                </a:cxn>
                <a:cxn ang="0">
                  <a:pos x="64" y="451"/>
                </a:cxn>
                <a:cxn ang="0">
                  <a:pos x="62" y="437"/>
                </a:cxn>
                <a:cxn ang="0">
                  <a:pos x="56" y="415"/>
                </a:cxn>
                <a:cxn ang="0">
                  <a:pos x="50" y="396"/>
                </a:cxn>
                <a:cxn ang="0">
                  <a:pos x="44" y="382"/>
                </a:cxn>
                <a:cxn ang="0">
                  <a:pos x="40" y="370"/>
                </a:cxn>
                <a:cxn ang="0">
                  <a:pos x="34" y="362"/>
                </a:cxn>
                <a:cxn ang="0">
                  <a:pos x="20" y="352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8" y="338"/>
                </a:cxn>
                <a:cxn ang="0">
                  <a:pos x="18" y="336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6" y="310"/>
                </a:cxn>
                <a:cxn ang="0">
                  <a:pos x="102" y="300"/>
                </a:cxn>
                <a:cxn ang="0">
                  <a:pos x="132" y="290"/>
                </a:cxn>
                <a:cxn ang="0">
                  <a:pos x="162" y="276"/>
                </a:cxn>
                <a:cxn ang="0">
                  <a:pos x="196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3" y="108"/>
                </a:cxn>
                <a:cxn ang="0">
                  <a:pos x="655" y="80"/>
                </a:cxn>
                <a:cxn ang="0">
                  <a:pos x="689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7" y="32"/>
                </a:cxn>
                <a:cxn ang="0">
                  <a:pos x="801" y="24"/>
                </a:cxn>
                <a:cxn ang="0">
                  <a:pos x="819" y="14"/>
                </a:cxn>
                <a:cxn ang="0">
                  <a:pos x="837" y="8"/>
                </a:cxn>
                <a:cxn ang="0">
                  <a:pos x="847" y="4"/>
                </a:cxn>
                <a:cxn ang="0">
                  <a:pos x="853" y="2"/>
                </a:cxn>
                <a:cxn ang="0">
                  <a:pos x="857" y="0"/>
                </a:cxn>
              </a:cxnLst>
              <a:rect l="0" t="0" r="r" b="b"/>
              <a:pathLst>
                <a:path w="912" h="515">
                  <a:moveTo>
                    <a:pt x="857" y="0"/>
                  </a:moveTo>
                  <a:lnTo>
                    <a:pt x="859" y="0"/>
                  </a:lnTo>
                  <a:lnTo>
                    <a:pt x="863" y="2"/>
                  </a:lnTo>
                  <a:lnTo>
                    <a:pt x="877" y="6"/>
                  </a:lnTo>
                  <a:lnTo>
                    <a:pt x="892" y="18"/>
                  </a:lnTo>
                  <a:lnTo>
                    <a:pt x="900" y="26"/>
                  </a:lnTo>
                  <a:lnTo>
                    <a:pt x="906" y="38"/>
                  </a:lnTo>
                  <a:lnTo>
                    <a:pt x="910" y="50"/>
                  </a:lnTo>
                  <a:lnTo>
                    <a:pt x="912" y="66"/>
                  </a:lnTo>
                  <a:lnTo>
                    <a:pt x="910" y="92"/>
                  </a:lnTo>
                  <a:lnTo>
                    <a:pt x="906" y="114"/>
                  </a:lnTo>
                  <a:lnTo>
                    <a:pt x="904" y="120"/>
                  </a:lnTo>
                  <a:lnTo>
                    <a:pt x="904" y="122"/>
                  </a:lnTo>
                  <a:lnTo>
                    <a:pt x="54" y="515"/>
                  </a:lnTo>
                  <a:lnTo>
                    <a:pt x="58" y="499"/>
                  </a:lnTo>
                  <a:lnTo>
                    <a:pt x="62" y="487"/>
                  </a:lnTo>
                  <a:lnTo>
                    <a:pt x="64" y="477"/>
                  </a:lnTo>
                  <a:lnTo>
                    <a:pt x="66" y="471"/>
                  </a:lnTo>
                  <a:lnTo>
                    <a:pt x="66" y="461"/>
                  </a:lnTo>
                  <a:lnTo>
                    <a:pt x="64" y="451"/>
                  </a:lnTo>
                  <a:lnTo>
                    <a:pt x="62" y="437"/>
                  </a:lnTo>
                  <a:lnTo>
                    <a:pt x="56" y="415"/>
                  </a:lnTo>
                  <a:lnTo>
                    <a:pt x="50" y="396"/>
                  </a:lnTo>
                  <a:lnTo>
                    <a:pt x="44" y="382"/>
                  </a:lnTo>
                  <a:lnTo>
                    <a:pt x="40" y="370"/>
                  </a:lnTo>
                  <a:lnTo>
                    <a:pt x="34" y="362"/>
                  </a:lnTo>
                  <a:lnTo>
                    <a:pt x="20" y="352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8" y="338"/>
                  </a:lnTo>
                  <a:lnTo>
                    <a:pt x="18" y="336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6" y="310"/>
                  </a:lnTo>
                  <a:lnTo>
                    <a:pt x="102" y="300"/>
                  </a:lnTo>
                  <a:lnTo>
                    <a:pt x="132" y="290"/>
                  </a:lnTo>
                  <a:lnTo>
                    <a:pt x="162" y="276"/>
                  </a:lnTo>
                  <a:lnTo>
                    <a:pt x="196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3" y="108"/>
                  </a:lnTo>
                  <a:lnTo>
                    <a:pt x="655" y="80"/>
                  </a:lnTo>
                  <a:lnTo>
                    <a:pt x="689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7" y="32"/>
                  </a:lnTo>
                  <a:lnTo>
                    <a:pt x="801" y="24"/>
                  </a:lnTo>
                  <a:lnTo>
                    <a:pt x="819" y="14"/>
                  </a:lnTo>
                  <a:lnTo>
                    <a:pt x="837" y="8"/>
                  </a:lnTo>
                  <a:lnTo>
                    <a:pt x="847" y="4"/>
                  </a:lnTo>
                  <a:lnTo>
                    <a:pt x="853" y="2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6D11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5" name="Freeform 138"/>
            <p:cNvSpPr>
              <a:spLocks/>
            </p:cNvSpPr>
            <p:nvPr/>
          </p:nvSpPr>
          <p:spPr bwMode="auto">
            <a:xfrm>
              <a:off x="2206" y="1693"/>
              <a:ext cx="456" cy="256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1" y="0"/>
                </a:cxn>
                <a:cxn ang="0">
                  <a:pos x="877" y="6"/>
                </a:cxn>
                <a:cxn ang="0">
                  <a:pos x="892" y="18"/>
                </a:cxn>
                <a:cxn ang="0">
                  <a:pos x="898" y="26"/>
                </a:cxn>
                <a:cxn ang="0">
                  <a:pos x="904" y="36"/>
                </a:cxn>
                <a:cxn ang="0">
                  <a:pos x="908" y="50"/>
                </a:cxn>
                <a:cxn ang="0">
                  <a:pos x="910" y="62"/>
                </a:cxn>
                <a:cxn ang="0">
                  <a:pos x="908" y="90"/>
                </a:cxn>
                <a:cxn ang="0">
                  <a:pos x="904" y="112"/>
                </a:cxn>
                <a:cxn ang="0">
                  <a:pos x="902" y="118"/>
                </a:cxn>
                <a:cxn ang="0">
                  <a:pos x="902" y="120"/>
                </a:cxn>
                <a:cxn ang="0">
                  <a:pos x="52" y="511"/>
                </a:cxn>
                <a:cxn ang="0">
                  <a:pos x="56" y="495"/>
                </a:cxn>
                <a:cxn ang="0">
                  <a:pos x="60" y="483"/>
                </a:cxn>
                <a:cxn ang="0">
                  <a:pos x="60" y="475"/>
                </a:cxn>
                <a:cxn ang="0">
                  <a:pos x="62" y="469"/>
                </a:cxn>
                <a:cxn ang="0">
                  <a:pos x="62" y="451"/>
                </a:cxn>
                <a:cxn ang="0">
                  <a:pos x="60" y="435"/>
                </a:cxn>
                <a:cxn ang="0">
                  <a:pos x="54" y="415"/>
                </a:cxn>
                <a:cxn ang="0">
                  <a:pos x="48" y="396"/>
                </a:cxn>
                <a:cxn ang="0">
                  <a:pos x="42" y="382"/>
                </a:cxn>
                <a:cxn ang="0">
                  <a:pos x="38" y="370"/>
                </a:cxn>
                <a:cxn ang="0">
                  <a:pos x="34" y="362"/>
                </a:cxn>
                <a:cxn ang="0">
                  <a:pos x="18" y="352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4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5" y="106"/>
                </a:cxn>
                <a:cxn ang="0">
                  <a:pos x="655" y="78"/>
                </a:cxn>
                <a:cxn ang="0">
                  <a:pos x="689" y="66"/>
                </a:cxn>
                <a:cxn ang="0">
                  <a:pos x="723" y="52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801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0"/>
                </a:cxn>
                <a:cxn ang="0">
                  <a:pos x="857" y="0"/>
                </a:cxn>
              </a:cxnLst>
              <a:rect l="0" t="0" r="r" b="b"/>
              <a:pathLst>
                <a:path w="910" h="511">
                  <a:moveTo>
                    <a:pt x="857" y="0"/>
                  </a:moveTo>
                  <a:lnTo>
                    <a:pt x="859" y="0"/>
                  </a:lnTo>
                  <a:lnTo>
                    <a:pt x="861" y="0"/>
                  </a:lnTo>
                  <a:lnTo>
                    <a:pt x="877" y="6"/>
                  </a:lnTo>
                  <a:lnTo>
                    <a:pt x="892" y="18"/>
                  </a:lnTo>
                  <a:lnTo>
                    <a:pt x="898" y="26"/>
                  </a:lnTo>
                  <a:lnTo>
                    <a:pt x="904" y="36"/>
                  </a:lnTo>
                  <a:lnTo>
                    <a:pt x="908" y="50"/>
                  </a:lnTo>
                  <a:lnTo>
                    <a:pt x="910" y="62"/>
                  </a:lnTo>
                  <a:lnTo>
                    <a:pt x="908" y="90"/>
                  </a:lnTo>
                  <a:lnTo>
                    <a:pt x="904" y="112"/>
                  </a:lnTo>
                  <a:lnTo>
                    <a:pt x="902" y="118"/>
                  </a:lnTo>
                  <a:lnTo>
                    <a:pt x="902" y="120"/>
                  </a:lnTo>
                  <a:lnTo>
                    <a:pt x="52" y="511"/>
                  </a:lnTo>
                  <a:lnTo>
                    <a:pt x="56" y="495"/>
                  </a:lnTo>
                  <a:lnTo>
                    <a:pt x="60" y="483"/>
                  </a:lnTo>
                  <a:lnTo>
                    <a:pt x="60" y="475"/>
                  </a:lnTo>
                  <a:lnTo>
                    <a:pt x="62" y="469"/>
                  </a:lnTo>
                  <a:lnTo>
                    <a:pt x="62" y="451"/>
                  </a:lnTo>
                  <a:lnTo>
                    <a:pt x="60" y="435"/>
                  </a:lnTo>
                  <a:lnTo>
                    <a:pt x="54" y="415"/>
                  </a:lnTo>
                  <a:lnTo>
                    <a:pt x="48" y="396"/>
                  </a:lnTo>
                  <a:lnTo>
                    <a:pt x="42" y="382"/>
                  </a:lnTo>
                  <a:lnTo>
                    <a:pt x="38" y="370"/>
                  </a:lnTo>
                  <a:lnTo>
                    <a:pt x="34" y="362"/>
                  </a:lnTo>
                  <a:lnTo>
                    <a:pt x="18" y="352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4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5" y="106"/>
                  </a:lnTo>
                  <a:lnTo>
                    <a:pt x="655" y="78"/>
                  </a:lnTo>
                  <a:lnTo>
                    <a:pt x="689" y="66"/>
                  </a:lnTo>
                  <a:lnTo>
                    <a:pt x="723" y="52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801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0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BDA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6" name="Freeform 139"/>
            <p:cNvSpPr>
              <a:spLocks/>
            </p:cNvSpPr>
            <p:nvPr/>
          </p:nvSpPr>
          <p:spPr bwMode="auto">
            <a:xfrm>
              <a:off x="2208" y="1693"/>
              <a:ext cx="455" cy="255"/>
            </a:xfrm>
            <a:custGeom>
              <a:avLst/>
              <a:gdLst/>
              <a:ahLst/>
              <a:cxnLst>
                <a:cxn ang="0">
                  <a:pos x="855" y="0"/>
                </a:cxn>
                <a:cxn ang="0">
                  <a:pos x="857" y="0"/>
                </a:cxn>
                <a:cxn ang="0">
                  <a:pos x="861" y="2"/>
                </a:cxn>
                <a:cxn ang="0">
                  <a:pos x="875" y="6"/>
                </a:cxn>
                <a:cxn ang="0">
                  <a:pos x="888" y="18"/>
                </a:cxn>
                <a:cxn ang="0">
                  <a:pos x="902" y="38"/>
                </a:cxn>
                <a:cxn ang="0">
                  <a:pos x="906" y="50"/>
                </a:cxn>
                <a:cxn ang="0">
                  <a:pos x="908" y="64"/>
                </a:cxn>
                <a:cxn ang="0">
                  <a:pos x="906" y="90"/>
                </a:cxn>
                <a:cxn ang="0">
                  <a:pos x="902" y="110"/>
                </a:cxn>
                <a:cxn ang="0">
                  <a:pos x="900" y="116"/>
                </a:cxn>
                <a:cxn ang="0">
                  <a:pos x="900" y="118"/>
                </a:cxn>
                <a:cxn ang="0">
                  <a:pos x="52" y="509"/>
                </a:cxn>
                <a:cxn ang="0">
                  <a:pos x="54" y="491"/>
                </a:cxn>
                <a:cxn ang="0">
                  <a:pos x="56" y="481"/>
                </a:cxn>
                <a:cxn ang="0">
                  <a:pos x="58" y="473"/>
                </a:cxn>
                <a:cxn ang="0">
                  <a:pos x="60" y="465"/>
                </a:cxn>
                <a:cxn ang="0">
                  <a:pos x="60" y="449"/>
                </a:cxn>
                <a:cxn ang="0">
                  <a:pos x="56" y="437"/>
                </a:cxn>
                <a:cxn ang="0">
                  <a:pos x="52" y="415"/>
                </a:cxn>
                <a:cxn ang="0">
                  <a:pos x="46" y="396"/>
                </a:cxn>
                <a:cxn ang="0">
                  <a:pos x="40" y="382"/>
                </a:cxn>
                <a:cxn ang="0">
                  <a:pos x="36" y="370"/>
                </a:cxn>
                <a:cxn ang="0">
                  <a:pos x="30" y="364"/>
                </a:cxn>
                <a:cxn ang="0">
                  <a:pos x="18" y="354"/>
                </a:cxn>
                <a:cxn ang="0">
                  <a:pos x="0" y="344"/>
                </a:cxn>
                <a:cxn ang="0">
                  <a:pos x="8" y="340"/>
                </a:cxn>
                <a:cxn ang="0">
                  <a:pos x="18" y="336"/>
                </a:cxn>
                <a:cxn ang="0">
                  <a:pos x="36" y="330"/>
                </a:cxn>
                <a:cxn ang="0">
                  <a:pos x="54" y="322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0" y="290"/>
                </a:cxn>
                <a:cxn ang="0">
                  <a:pos x="164" y="278"/>
                </a:cxn>
                <a:cxn ang="0">
                  <a:pos x="196" y="264"/>
                </a:cxn>
                <a:cxn ang="0">
                  <a:pos x="267" y="234"/>
                </a:cxn>
                <a:cxn ang="0">
                  <a:pos x="345" y="204"/>
                </a:cxn>
                <a:cxn ang="0">
                  <a:pos x="423" y="172"/>
                </a:cxn>
                <a:cxn ang="0">
                  <a:pos x="505" y="140"/>
                </a:cxn>
                <a:cxn ang="0">
                  <a:pos x="583" y="110"/>
                </a:cxn>
                <a:cxn ang="0">
                  <a:pos x="655" y="80"/>
                </a:cxn>
                <a:cxn ang="0">
                  <a:pos x="721" y="54"/>
                </a:cxn>
                <a:cxn ang="0">
                  <a:pos x="749" y="42"/>
                </a:cxn>
                <a:cxn ang="0">
                  <a:pos x="775" y="32"/>
                </a:cxn>
                <a:cxn ang="0">
                  <a:pos x="799" y="24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5" y="4"/>
                </a:cxn>
                <a:cxn ang="0">
                  <a:pos x="853" y="2"/>
                </a:cxn>
                <a:cxn ang="0">
                  <a:pos x="855" y="0"/>
                </a:cxn>
              </a:cxnLst>
              <a:rect l="0" t="0" r="r" b="b"/>
              <a:pathLst>
                <a:path w="908" h="509">
                  <a:moveTo>
                    <a:pt x="855" y="0"/>
                  </a:moveTo>
                  <a:lnTo>
                    <a:pt x="857" y="0"/>
                  </a:lnTo>
                  <a:lnTo>
                    <a:pt x="861" y="2"/>
                  </a:lnTo>
                  <a:lnTo>
                    <a:pt x="875" y="6"/>
                  </a:lnTo>
                  <a:lnTo>
                    <a:pt x="888" y="18"/>
                  </a:lnTo>
                  <a:lnTo>
                    <a:pt x="902" y="38"/>
                  </a:lnTo>
                  <a:lnTo>
                    <a:pt x="906" y="50"/>
                  </a:lnTo>
                  <a:lnTo>
                    <a:pt x="908" y="64"/>
                  </a:lnTo>
                  <a:lnTo>
                    <a:pt x="906" y="90"/>
                  </a:lnTo>
                  <a:lnTo>
                    <a:pt x="902" y="110"/>
                  </a:lnTo>
                  <a:lnTo>
                    <a:pt x="900" y="116"/>
                  </a:lnTo>
                  <a:lnTo>
                    <a:pt x="900" y="118"/>
                  </a:lnTo>
                  <a:lnTo>
                    <a:pt x="52" y="509"/>
                  </a:lnTo>
                  <a:lnTo>
                    <a:pt x="54" y="491"/>
                  </a:lnTo>
                  <a:lnTo>
                    <a:pt x="56" y="481"/>
                  </a:lnTo>
                  <a:lnTo>
                    <a:pt x="58" y="473"/>
                  </a:lnTo>
                  <a:lnTo>
                    <a:pt x="60" y="465"/>
                  </a:lnTo>
                  <a:lnTo>
                    <a:pt x="60" y="449"/>
                  </a:lnTo>
                  <a:lnTo>
                    <a:pt x="56" y="437"/>
                  </a:lnTo>
                  <a:lnTo>
                    <a:pt x="52" y="415"/>
                  </a:lnTo>
                  <a:lnTo>
                    <a:pt x="46" y="396"/>
                  </a:lnTo>
                  <a:lnTo>
                    <a:pt x="40" y="382"/>
                  </a:lnTo>
                  <a:lnTo>
                    <a:pt x="36" y="370"/>
                  </a:lnTo>
                  <a:lnTo>
                    <a:pt x="30" y="364"/>
                  </a:lnTo>
                  <a:lnTo>
                    <a:pt x="18" y="354"/>
                  </a:lnTo>
                  <a:lnTo>
                    <a:pt x="0" y="344"/>
                  </a:lnTo>
                  <a:lnTo>
                    <a:pt x="8" y="340"/>
                  </a:lnTo>
                  <a:lnTo>
                    <a:pt x="18" y="336"/>
                  </a:lnTo>
                  <a:lnTo>
                    <a:pt x="36" y="330"/>
                  </a:lnTo>
                  <a:lnTo>
                    <a:pt x="54" y="322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0" y="290"/>
                  </a:lnTo>
                  <a:lnTo>
                    <a:pt x="164" y="278"/>
                  </a:lnTo>
                  <a:lnTo>
                    <a:pt x="196" y="264"/>
                  </a:lnTo>
                  <a:lnTo>
                    <a:pt x="267" y="234"/>
                  </a:lnTo>
                  <a:lnTo>
                    <a:pt x="345" y="204"/>
                  </a:lnTo>
                  <a:lnTo>
                    <a:pt x="423" y="172"/>
                  </a:lnTo>
                  <a:lnTo>
                    <a:pt x="505" y="140"/>
                  </a:lnTo>
                  <a:lnTo>
                    <a:pt x="583" y="110"/>
                  </a:lnTo>
                  <a:lnTo>
                    <a:pt x="655" y="80"/>
                  </a:lnTo>
                  <a:lnTo>
                    <a:pt x="721" y="54"/>
                  </a:lnTo>
                  <a:lnTo>
                    <a:pt x="749" y="42"/>
                  </a:lnTo>
                  <a:lnTo>
                    <a:pt x="775" y="32"/>
                  </a:lnTo>
                  <a:lnTo>
                    <a:pt x="799" y="24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5" y="4"/>
                  </a:lnTo>
                  <a:lnTo>
                    <a:pt x="853" y="2"/>
                  </a:lnTo>
                  <a:lnTo>
                    <a:pt x="855" y="0"/>
                  </a:lnTo>
                  <a:close/>
                </a:path>
              </a:pathLst>
            </a:custGeom>
            <a:solidFill>
              <a:srgbClr val="F0E3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7" name="Freeform 140"/>
            <p:cNvSpPr>
              <a:spLocks/>
            </p:cNvSpPr>
            <p:nvPr/>
          </p:nvSpPr>
          <p:spPr bwMode="auto">
            <a:xfrm>
              <a:off x="2210" y="1694"/>
              <a:ext cx="453" cy="252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5" y="0"/>
                </a:cxn>
                <a:cxn ang="0">
                  <a:pos x="857" y="2"/>
                </a:cxn>
                <a:cxn ang="0">
                  <a:pos x="871" y="6"/>
                </a:cxn>
                <a:cxn ang="0">
                  <a:pos x="886" y="18"/>
                </a:cxn>
                <a:cxn ang="0">
                  <a:pos x="892" y="26"/>
                </a:cxn>
                <a:cxn ang="0">
                  <a:pos x="898" y="36"/>
                </a:cxn>
                <a:cxn ang="0">
                  <a:pos x="902" y="48"/>
                </a:cxn>
                <a:cxn ang="0">
                  <a:pos x="904" y="60"/>
                </a:cxn>
                <a:cxn ang="0">
                  <a:pos x="902" y="84"/>
                </a:cxn>
                <a:cxn ang="0">
                  <a:pos x="900" y="104"/>
                </a:cxn>
                <a:cxn ang="0">
                  <a:pos x="898" y="110"/>
                </a:cxn>
                <a:cxn ang="0">
                  <a:pos x="898" y="112"/>
                </a:cxn>
                <a:cxn ang="0">
                  <a:pos x="48" y="503"/>
                </a:cxn>
                <a:cxn ang="0">
                  <a:pos x="52" y="487"/>
                </a:cxn>
                <a:cxn ang="0">
                  <a:pos x="54" y="475"/>
                </a:cxn>
                <a:cxn ang="0">
                  <a:pos x="56" y="463"/>
                </a:cxn>
                <a:cxn ang="0">
                  <a:pos x="56" y="447"/>
                </a:cxn>
                <a:cxn ang="0">
                  <a:pos x="54" y="433"/>
                </a:cxn>
                <a:cxn ang="0">
                  <a:pos x="48" y="413"/>
                </a:cxn>
                <a:cxn ang="0">
                  <a:pos x="44" y="394"/>
                </a:cxn>
                <a:cxn ang="0">
                  <a:pos x="36" y="380"/>
                </a:cxn>
                <a:cxn ang="0">
                  <a:pos x="34" y="370"/>
                </a:cxn>
                <a:cxn ang="0">
                  <a:pos x="28" y="362"/>
                </a:cxn>
                <a:cxn ang="0">
                  <a:pos x="16" y="352"/>
                </a:cxn>
                <a:cxn ang="0">
                  <a:pos x="10" y="350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8" y="340"/>
                </a:cxn>
                <a:cxn ang="0">
                  <a:pos x="20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2"/>
                </a:cxn>
                <a:cxn ang="0">
                  <a:pos x="104" y="300"/>
                </a:cxn>
                <a:cxn ang="0">
                  <a:pos x="132" y="290"/>
                </a:cxn>
                <a:cxn ang="0">
                  <a:pos x="162" y="276"/>
                </a:cxn>
                <a:cxn ang="0">
                  <a:pos x="196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3" y="170"/>
                </a:cxn>
                <a:cxn ang="0">
                  <a:pos x="503" y="140"/>
                </a:cxn>
                <a:cxn ang="0">
                  <a:pos x="581" y="108"/>
                </a:cxn>
                <a:cxn ang="0">
                  <a:pos x="653" y="80"/>
                </a:cxn>
                <a:cxn ang="0">
                  <a:pos x="687" y="66"/>
                </a:cxn>
                <a:cxn ang="0">
                  <a:pos x="719" y="54"/>
                </a:cxn>
                <a:cxn ang="0">
                  <a:pos x="747" y="42"/>
                </a:cxn>
                <a:cxn ang="0">
                  <a:pos x="773" y="30"/>
                </a:cxn>
                <a:cxn ang="0">
                  <a:pos x="797" y="22"/>
                </a:cxn>
                <a:cxn ang="0">
                  <a:pos x="815" y="14"/>
                </a:cxn>
                <a:cxn ang="0">
                  <a:pos x="831" y="8"/>
                </a:cxn>
                <a:cxn ang="0">
                  <a:pos x="843" y="4"/>
                </a:cxn>
                <a:cxn ang="0">
                  <a:pos x="849" y="2"/>
                </a:cxn>
                <a:cxn ang="0">
                  <a:pos x="853" y="0"/>
                </a:cxn>
              </a:cxnLst>
              <a:rect l="0" t="0" r="r" b="b"/>
              <a:pathLst>
                <a:path w="904" h="503">
                  <a:moveTo>
                    <a:pt x="853" y="0"/>
                  </a:moveTo>
                  <a:lnTo>
                    <a:pt x="855" y="0"/>
                  </a:lnTo>
                  <a:lnTo>
                    <a:pt x="857" y="2"/>
                  </a:lnTo>
                  <a:lnTo>
                    <a:pt x="871" y="6"/>
                  </a:lnTo>
                  <a:lnTo>
                    <a:pt x="886" y="18"/>
                  </a:lnTo>
                  <a:lnTo>
                    <a:pt x="892" y="26"/>
                  </a:lnTo>
                  <a:lnTo>
                    <a:pt x="898" y="36"/>
                  </a:lnTo>
                  <a:lnTo>
                    <a:pt x="902" y="48"/>
                  </a:lnTo>
                  <a:lnTo>
                    <a:pt x="904" y="60"/>
                  </a:lnTo>
                  <a:lnTo>
                    <a:pt x="902" y="84"/>
                  </a:lnTo>
                  <a:lnTo>
                    <a:pt x="900" y="104"/>
                  </a:lnTo>
                  <a:lnTo>
                    <a:pt x="898" y="110"/>
                  </a:lnTo>
                  <a:lnTo>
                    <a:pt x="898" y="112"/>
                  </a:lnTo>
                  <a:lnTo>
                    <a:pt x="48" y="503"/>
                  </a:lnTo>
                  <a:lnTo>
                    <a:pt x="52" y="487"/>
                  </a:lnTo>
                  <a:lnTo>
                    <a:pt x="54" y="475"/>
                  </a:lnTo>
                  <a:lnTo>
                    <a:pt x="56" y="463"/>
                  </a:lnTo>
                  <a:lnTo>
                    <a:pt x="56" y="447"/>
                  </a:lnTo>
                  <a:lnTo>
                    <a:pt x="54" y="433"/>
                  </a:lnTo>
                  <a:lnTo>
                    <a:pt x="48" y="413"/>
                  </a:lnTo>
                  <a:lnTo>
                    <a:pt x="44" y="394"/>
                  </a:lnTo>
                  <a:lnTo>
                    <a:pt x="36" y="380"/>
                  </a:lnTo>
                  <a:lnTo>
                    <a:pt x="34" y="370"/>
                  </a:lnTo>
                  <a:lnTo>
                    <a:pt x="28" y="362"/>
                  </a:lnTo>
                  <a:lnTo>
                    <a:pt x="16" y="352"/>
                  </a:lnTo>
                  <a:lnTo>
                    <a:pt x="10" y="350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8" y="340"/>
                  </a:lnTo>
                  <a:lnTo>
                    <a:pt x="20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2"/>
                  </a:lnTo>
                  <a:lnTo>
                    <a:pt x="104" y="300"/>
                  </a:lnTo>
                  <a:lnTo>
                    <a:pt x="132" y="290"/>
                  </a:lnTo>
                  <a:lnTo>
                    <a:pt x="162" y="276"/>
                  </a:lnTo>
                  <a:lnTo>
                    <a:pt x="196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3" y="170"/>
                  </a:lnTo>
                  <a:lnTo>
                    <a:pt x="503" y="140"/>
                  </a:lnTo>
                  <a:lnTo>
                    <a:pt x="581" y="108"/>
                  </a:lnTo>
                  <a:lnTo>
                    <a:pt x="653" y="80"/>
                  </a:lnTo>
                  <a:lnTo>
                    <a:pt x="687" y="66"/>
                  </a:lnTo>
                  <a:lnTo>
                    <a:pt x="719" y="54"/>
                  </a:lnTo>
                  <a:lnTo>
                    <a:pt x="747" y="42"/>
                  </a:lnTo>
                  <a:lnTo>
                    <a:pt x="773" y="30"/>
                  </a:lnTo>
                  <a:lnTo>
                    <a:pt x="797" y="22"/>
                  </a:lnTo>
                  <a:lnTo>
                    <a:pt x="815" y="14"/>
                  </a:lnTo>
                  <a:lnTo>
                    <a:pt x="831" y="8"/>
                  </a:lnTo>
                  <a:lnTo>
                    <a:pt x="843" y="4"/>
                  </a:lnTo>
                  <a:lnTo>
                    <a:pt x="849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5ED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8" name="Freeform 141"/>
            <p:cNvSpPr>
              <a:spLocks/>
            </p:cNvSpPr>
            <p:nvPr/>
          </p:nvSpPr>
          <p:spPr bwMode="auto">
            <a:xfrm>
              <a:off x="2210" y="1694"/>
              <a:ext cx="452" cy="250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5" y="0"/>
                </a:cxn>
                <a:cxn ang="0">
                  <a:pos x="859" y="2"/>
                </a:cxn>
                <a:cxn ang="0">
                  <a:pos x="871" y="8"/>
                </a:cxn>
                <a:cxn ang="0">
                  <a:pos x="886" y="18"/>
                </a:cxn>
                <a:cxn ang="0">
                  <a:pos x="892" y="26"/>
                </a:cxn>
                <a:cxn ang="0">
                  <a:pos x="896" y="36"/>
                </a:cxn>
                <a:cxn ang="0">
                  <a:pos x="900" y="48"/>
                </a:cxn>
                <a:cxn ang="0">
                  <a:pos x="902" y="60"/>
                </a:cxn>
                <a:cxn ang="0">
                  <a:pos x="902" y="84"/>
                </a:cxn>
                <a:cxn ang="0">
                  <a:pos x="898" y="104"/>
                </a:cxn>
                <a:cxn ang="0">
                  <a:pos x="896" y="110"/>
                </a:cxn>
                <a:cxn ang="0">
                  <a:pos x="896" y="112"/>
                </a:cxn>
                <a:cxn ang="0">
                  <a:pos x="50" y="499"/>
                </a:cxn>
                <a:cxn ang="0">
                  <a:pos x="52" y="483"/>
                </a:cxn>
                <a:cxn ang="0">
                  <a:pos x="52" y="471"/>
                </a:cxn>
                <a:cxn ang="0">
                  <a:pos x="54" y="465"/>
                </a:cxn>
                <a:cxn ang="0">
                  <a:pos x="54" y="455"/>
                </a:cxn>
                <a:cxn ang="0">
                  <a:pos x="52" y="447"/>
                </a:cxn>
                <a:cxn ang="0">
                  <a:pos x="52" y="433"/>
                </a:cxn>
                <a:cxn ang="0">
                  <a:pos x="46" y="415"/>
                </a:cxn>
                <a:cxn ang="0">
                  <a:pos x="42" y="396"/>
                </a:cxn>
                <a:cxn ang="0">
                  <a:pos x="36" y="382"/>
                </a:cxn>
                <a:cxn ang="0">
                  <a:pos x="32" y="372"/>
                </a:cxn>
                <a:cxn ang="0">
                  <a:pos x="26" y="364"/>
                </a:cxn>
                <a:cxn ang="0">
                  <a:pos x="16" y="356"/>
                </a:cxn>
                <a:cxn ang="0">
                  <a:pos x="0" y="348"/>
                </a:cxn>
                <a:cxn ang="0">
                  <a:pos x="0" y="346"/>
                </a:cxn>
                <a:cxn ang="0">
                  <a:pos x="8" y="342"/>
                </a:cxn>
                <a:cxn ang="0">
                  <a:pos x="18" y="338"/>
                </a:cxn>
                <a:cxn ang="0">
                  <a:pos x="34" y="330"/>
                </a:cxn>
                <a:cxn ang="0">
                  <a:pos x="54" y="322"/>
                </a:cxn>
                <a:cxn ang="0">
                  <a:pos x="78" y="314"/>
                </a:cxn>
                <a:cxn ang="0">
                  <a:pos x="104" y="304"/>
                </a:cxn>
                <a:cxn ang="0">
                  <a:pos x="130" y="292"/>
                </a:cxn>
                <a:cxn ang="0">
                  <a:pos x="162" y="278"/>
                </a:cxn>
                <a:cxn ang="0">
                  <a:pos x="196" y="266"/>
                </a:cxn>
                <a:cxn ang="0">
                  <a:pos x="267" y="236"/>
                </a:cxn>
                <a:cxn ang="0">
                  <a:pos x="345" y="206"/>
                </a:cxn>
                <a:cxn ang="0">
                  <a:pos x="503" y="140"/>
                </a:cxn>
                <a:cxn ang="0">
                  <a:pos x="581" y="110"/>
                </a:cxn>
                <a:cxn ang="0">
                  <a:pos x="653" y="80"/>
                </a:cxn>
                <a:cxn ang="0">
                  <a:pos x="689" y="68"/>
                </a:cxn>
                <a:cxn ang="0">
                  <a:pos x="719" y="54"/>
                </a:cxn>
                <a:cxn ang="0">
                  <a:pos x="749" y="44"/>
                </a:cxn>
                <a:cxn ang="0">
                  <a:pos x="775" y="32"/>
                </a:cxn>
                <a:cxn ang="0">
                  <a:pos x="797" y="24"/>
                </a:cxn>
                <a:cxn ang="0">
                  <a:pos x="817" y="16"/>
                </a:cxn>
                <a:cxn ang="0">
                  <a:pos x="833" y="10"/>
                </a:cxn>
                <a:cxn ang="0">
                  <a:pos x="843" y="4"/>
                </a:cxn>
                <a:cxn ang="0">
                  <a:pos x="851" y="2"/>
                </a:cxn>
                <a:cxn ang="0">
                  <a:pos x="853" y="0"/>
                </a:cxn>
              </a:cxnLst>
              <a:rect l="0" t="0" r="r" b="b"/>
              <a:pathLst>
                <a:path w="902" h="499">
                  <a:moveTo>
                    <a:pt x="853" y="0"/>
                  </a:moveTo>
                  <a:lnTo>
                    <a:pt x="855" y="0"/>
                  </a:lnTo>
                  <a:lnTo>
                    <a:pt x="859" y="2"/>
                  </a:lnTo>
                  <a:lnTo>
                    <a:pt x="871" y="8"/>
                  </a:lnTo>
                  <a:lnTo>
                    <a:pt x="886" y="18"/>
                  </a:lnTo>
                  <a:lnTo>
                    <a:pt x="892" y="26"/>
                  </a:lnTo>
                  <a:lnTo>
                    <a:pt x="896" y="36"/>
                  </a:lnTo>
                  <a:lnTo>
                    <a:pt x="900" y="48"/>
                  </a:lnTo>
                  <a:lnTo>
                    <a:pt x="902" y="60"/>
                  </a:lnTo>
                  <a:lnTo>
                    <a:pt x="902" y="84"/>
                  </a:lnTo>
                  <a:lnTo>
                    <a:pt x="898" y="104"/>
                  </a:lnTo>
                  <a:lnTo>
                    <a:pt x="896" y="110"/>
                  </a:lnTo>
                  <a:lnTo>
                    <a:pt x="896" y="112"/>
                  </a:lnTo>
                  <a:lnTo>
                    <a:pt x="50" y="499"/>
                  </a:lnTo>
                  <a:lnTo>
                    <a:pt x="52" y="483"/>
                  </a:lnTo>
                  <a:lnTo>
                    <a:pt x="52" y="471"/>
                  </a:lnTo>
                  <a:lnTo>
                    <a:pt x="54" y="465"/>
                  </a:lnTo>
                  <a:lnTo>
                    <a:pt x="54" y="455"/>
                  </a:lnTo>
                  <a:lnTo>
                    <a:pt x="52" y="447"/>
                  </a:lnTo>
                  <a:lnTo>
                    <a:pt x="52" y="433"/>
                  </a:lnTo>
                  <a:lnTo>
                    <a:pt x="46" y="415"/>
                  </a:lnTo>
                  <a:lnTo>
                    <a:pt x="42" y="396"/>
                  </a:lnTo>
                  <a:lnTo>
                    <a:pt x="36" y="382"/>
                  </a:lnTo>
                  <a:lnTo>
                    <a:pt x="32" y="372"/>
                  </a:lnTo>
                  <a:lnTo>
                    <a:pt x="26" y="364"/>
                  </a:lnTo>
                  <a:lnTo>
                    <a:pt x="16" y="356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8" y="342"/>
                  </a:lnTo>
                  <a:lnTo>
                    <a:pt x="18" y="338"/>
                  </a:lnTo>
                  <a:lnTo>
                    <a:pt x="34" y="330"/>
                  </a:lnTo>
                  <a:lnTo>
                    <a:pt x="54" y="322"/>
                  </a:lnTo>
                  <a:lnTo>
                    <a:pt x="78" y="314"/>
                  </a:lnTo>
                  <a:lnTo>
                    <a:pt x="104" y="304"/>
                  </a:lnTo>
                  <a:lnTo>
                    <a:pt x="130" y="292"/>
                  </a:lnTo>
                  <a:lnTo>
                    <a:pt x="162" y="278"/>
                  </a:lnTo>
                  <a:lnTo>
                    <a:pt x="196" y="266"/>
                  </a:lnTo>
                  <a:lnTo>
                    <a:pt x="267" y="236"/>
                  </a:lnTo>
                  <a:lnTo>
                    <a:pt x="345" y="206"/>
                  </a:lnTo>
                  <a:lnTo>
                    <a:pt x="503" y="140"/>
                  </a:lnTo>
                  <a:lnTo>
                    <a:pt x="581" y="110"/>
                  </a:lnTo>
                  <a:lnTo>
                    <a:pt x="653" y="80"/>
                  </a:lnTo>
                  <a:lnTo>
                    <a:pt x="689" y="68"/>
                  </a:lnTo>
                  <a:lnTo>
                    <a:pt x="719" y="54"/>
                  </a:lnTo>
                  <a:lnTo>
                    <a:pt x="749" y="44"/>
                  </a:lnTo>
                  <a:lnTo>
                    <a:pt x="775" y="32"/>
                  </a:lnTo>
                  <a:lnTo>
                    <a:pt x="797" y="24"/>
                  </a:lnTo>
                  <a:lnTo>
                    <a:pt x="817" y="16"/>
                  </a:lnTo>
                  <a:lnTo>
                    <a:pt x="833" y="10"/>
                  </a:lnTo>
                  <a:lnTo>
                    <a:pt x="843" y="4"/>
                  </a:lnTo>
                  <a:lnTo>
                    <a:pt x="851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AF60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19" name="Freeform 142"/>
            <p:cNvSpPr>
              <a:spLocks/>
            </p:cNvSpPr>
            <p:nvPr/>
          </p:nvSpPr>
          <p:spPr bwMode="auto">
            <a:xfrm>
              <a:off x="2211" y="1695"/>
              <a:ext cx="451" cy="247"/>
            </a:xfrm>
            <a:custGeom>
              <a:avLst/>
              <a:gdLst/>
              <a:ahLst/>
              <a:cxnLst>
                <a:cxn ang="0">
                  <a:pos x="855" y="0"/>
                </a:cxn>
                <a:cxn ang="0">
                  <a:pos x="857" y="0"/>
                </a:cxn>
                <a:cxn ang="0">
                  <a:pos x="861" y="2"/>
                </a:cxn>
                <a:cxn ang="0">
                  <a:pos x="873" y="6"/>
                </a:cxn>
                <a:cxn ang="0">
                  <a:pos x="884" y="18"/>
                </a:cxn>
                <a:cxn ang="0">
                  <a:pos x="896" y="34"/>
                </a:cxn>
                <a:cxn ang="0">
                  <a:pos x="900" y="56"/>
                </a:cxn>
                <a:cxn ang="0">
                  <a:pos x="900" y="80"/>
                </a:cxn>
                <a:cxn ang="0">
                  <a:pos x="898" y="98"/>
                </a:cxn>
                <a:cxn ang="0">
                  <a:pos x="898" y="104"/>
                </a:cxn>
                <a:cxn ang="0">
                  <a:pos x="898" y="106"/>
                </a:cxn>
                <a:cxn ang="0">
                  <a:pos x="48" y="493"/>
                </a:cxn>
                <a:cxn ang="0">
                  <a:pos x="50" y="477"/>
                </a:cxn>
                <a:cxn ang="0">
                  <a:pos x="52" y="467"/>
                </a:cxn>
                <a:cxn ang="0">
                  <a:pos x="54" y="455"/>
                </a:cxn>
                <a:cxn ang="0">
                  <a:pos x="54" y="451"/>
                </a:cxn>
                <a:cxn ang="0">
                  <a:pos x="52" y="443"/>
                </a:cxn>
                <a:cxn ang="0">
                  <a:pos x="50" y="431"/>
                </a:cxn>
                <a:cxn ang="0">
                  <a:pos x="46" y="411"/>
                </a:cxn>
                <a:cxn ang="0">
                  <a:pos x="40" y="392"/>
                </a:cxn>
                <a:cxn ang="0">
                  <a:pos x="36" y="380"/>
                </a:cxn>
                <a:cxn ang="0">
                  <a:pos x="30" y="368"/>
                </a:cxn>
                <a:cxn ang="0">
                  <a:pos x="26" y="362"/>
                </a:cxn>
                <a:cxn ang="0">
                  <a:pos x="16" y="352"/>
                </a:cxn>
                <a:cxn ang="0">
                  <a:pos x="8" y="348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10" y="340"/>
                </a:cxn>
                <a:cxn ang="0">
                  <a:pos x="20" y="336"/>
                </a:cxn>
                <a:cxn ang="0">
                  <a:pos x="36" y="330"/>
                </a:cxn>
                <a:cxn ang="0">
                  <a:pos x="56" y="322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4" y="288"/>
                </a:cxn>
                <a:cxn ang="0">
                  <a:pos x="164" y="278"/>
                </a:cxn>
                <a:cxn ang="0">
                  <a:pos x="198" y="262"/>
                </a:cxn>
                <a:cxn ang="0">
                  <a:pos x="271" y="234"/>
                </a:cxn>
                <a:cxn ang="0">
                  <a:pos x="347" y="202"/>
                </a:cxn>
                <a:cxn ang="0">
                  <a:pos x="425" y="172"/>
                </a:cxn>
                <a:cxn ang="0">
                  <a:pos x="505" y="140"/>
                </a:cxn>
                <a:cxn ang="0">
                  <a:pos x="583" y="108"/>
                </a:cxn>
                <a:cxn ang="0">
                  <a:pos x="657" y="80"/>
                </a:cxn>
                <a:cxn ang="0">
                  <a:pos x="691" y="66"/>
                </a:cxn>
                <a:cxn ang="0">
                  <a:pos x="721" y="54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799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2"/>
                </a:cxn>
                <a:cxn ang="0">
                  <a:pos x="855" y="0"/>
                </a:cxn>
              </a:cxnLst>
              <a:rect l="0" t="0" r="r" b="b"/>
              <a:pathLst>
                <a:path w="900" h="493">
                  <a:moveTo>
                    <a:pt x="855" y="0"/>
                  </a:moveTo>
                  <a:lnTo>
                    <a:pt x="857" y="0"/>
                  </a:lnTo>
                  <a:lnTo>
                    <a:pt x="861" y="2"/>
                  </a:lnTo>
                  <a:lnTo>
                    <a:pt x="873" y="6"/>
                  </a:lnTo>
                  <a:lnTo>
                    <a:pt x="884" y="18"/>
                  </a:lnTo>
                  <a:lnTo>
                    <a:pt x="896" y="34"/>
                  </a:lnTo>
                  <a:lnTo>
                    <a:pt x="900" y="56"/>
                  </a:lnTo>
                  <a:lnTo>
                    <a:pt x="900" y="80"/>
                  </a:lnTo>
                  <a:lnTo>
                    <a:pt x="898" y="98"/>
                  </a:lnTo>
                  <a:lnTo>
                    <a:pt x="898" y="104"/>
                  </a:lnTo>
                  <a:lnTo>
                    <a:pt x="898" y="106"/>
                  </a:lnTo>
                  <a:lnTo>
                    <a:pt x="48" y="493"/>
                  </a:lnTo>
                  <a:lnTo>
                    <a:pt x="50" y="477"/>
                  </a:lnTo>
                  <a:lnTo>
                    <a:pt x="52" y="467"/>
                  </a:lnTo>
                  <a:lnTo>
                    <a:pt x="54" y="455"/>
                  </a:lnTo>
                  <a:lnTo>
                    <a:pt x="54" y="451"/>
                  </a:lnTo>
                  <a:lnTo>
                    <a:pt x="52" y="443"/>
                  </a:lnTo>
                  <a:lnTo>
                    <a:pt x="50" y="431"/>
                  </a:lnTo>
                  <a:lnTo>
                    <a:pt x="46" y="411"/>
                  </a:lnTo>
                  <a:lnTo>
                    <a:pt x="40" y="392"/>
                  </a:lnTo>
                  <a:lnTo>
                    <a:pt x="36" y="380"/>
                  </a:lnTo>
                  <a:lnTo>
                    <a:pt x="30" y="368"/>
                  </a:lnTo>
                  <a:lnTo>
                    <a:pt x="26" y="362"/>
                  </a:lnTo>
                  <a:lnTo>
                    <a:pt x="16" y="352"/>
                  </a:lnTo>
                  <a:lnTo>
                    <a:pt x="8" y="348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10" y="340"/>
                  </a:lnTo>
                  <a:lnTo>
                    <a:pt x="20" y="336"/>
                  </a:lnTo>
                  <a:lnTo>
                    <a:pt x="36" y="330"/>
                  </a:lnTo>
                  <a:lnTo>
                    <a:pt x="56" y="322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4" y="288"/>
                  </a:lnTo>
                  <a:lnTo>
                    <a:pt x="164" y="278"/>
                  </a:lnTo>
                  <a:lnTo>
                    <a:pt x="198" y="262"/>
                  </a:lnTo>
                  <a:lnTo>
                    <a:pt x="271" y="234"/>
                  </a:lnTo>
                  <a:lnTo>
                    <a:pt x="347" y="202"/>
                  </a:lnTo>
                  <a:lnTo>
                    <a:pt x="425" y="172"/>
                  </a:lnTo>
                  <a:lnTo>
                    <a:pt x="505" y="140"/>
                  </a:lnTo>
                  <a:lnTo>
                    <a:pt x="583" y="108"/>
                  </a:lnTo>
                  <a:lnTo>
                    <a:pt x="657" y="80"/>
                  </a:lnTo>
                  <a:lnTo>
                    <a:pt x="691" y="66"/>
                  </a:lnTo>
                  <a:lnTo>
                    <a:pt x="721" y="54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799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2"/>
                  </a:lnTo>
                  <a:lnTo>
                    <a:pt x="855" y="0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0" name="Freeform 143"/>
            <p:cNvSpPr>
              <a:spLocks/>
            </p:cNvSpPr>
            <p:nvPr/>
          </p:nvSpPr>
          <p:spPr bwMode="auto">
            <a:xfrm>
              <a:off x="2213" y="1696"/>
              <a:ext cx="449" cy="245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9" y="0"/>
                </a:cxn>
                <a:cxn ang="0">
                  <a:pos x="869" y="6"/>
                </a:cxn>
                <a:cxn ang="0">
                  <a:pos x="880" y="16"/>
                </a:cxn>
                <a:cxn ang="0">
                  <a:pos x="892" y="32"/>
                </a:cxn>
                <a:cxn ang="0">
                  <a:pos x="896" y="52"/>
                </a:cxn>
                <a:cxn ang="0">
                  <a:pos x="896" y="76"/>
                </a:cxn>
                <a:cxn ang="0">
                  <a:pos x="894" y="94"/>
                </a:cxn>
                <a:cxn ang="0">
                  <a:pos x="894" y="98"/>
                </a:cxn>
                <a:cxn ang="0">
                  <a:pos x="894" y="100"/>
                </a:cxn>
                <a:cxn ang="0">
                  <a:pos x="44" y="489"/>
                </a:cxn>
                <a:cxn ang="0">
                  <a:pos x="46" y="473"/>
                </a:cxn>
                <a:cxn ang="0">
                  <a:pos x="48" y="463"/>
                </a:cxn>
                <a:cxn ang="0">
                  <a:pos x="50" y="451"/>
                </a:cxn>
                <a:cxn ang="0">
                  <a:pos x="50" y="449"/>
                </a:cxn>
                <a:cxn ang="0">
                  <a:pos x="48" y="441"/>
                </a:cxn>
                <a:cxn ang="0">
                  <a:pos x="46" y="429"/>
                </a:cxn>
                <a:cxn ang="0">
                  <a:pos x="42" y="409"/>
                </a:cxn>
                <a:cxn ang="0">
                  <a:pos x="36" y="392"/>
                </a:cxn>
                <a:cxn ang="0">
                  <a:pos x="32" y="378"/>
                </a:cxn>
                <a:cxn ang="0">
                  <a:pos x="28" y="368"/>
                </a:cxn>
                <a:cxn ang="0">
                  <a:pos x="24" y="362"/>
                </a:cxn>
                <a:cxn ang="0">
                  <a:pos x="14" y="354"/>
                </a:cxn>
                <a:cxn ang="0">
                  <a:pos x="0" y="344"/>
                </a:cxn>
                <a:cxn ang="0">
                  <a:pos x="0" y="342"/>
                </a:cxn>
                <a:cxn ang="0">
                  <a:pos x="8" y="338"/>
                </a:cxn>
                <a:cxn ang="0">
                  <a:pos x="18" y="336"/>
                </a:cxn>
                <a:cxn ang="0">
                  <a:pos x="34" y="330"/>
                </a:cxn>
                <a:cxn ang="0">
                  <a:pos x="54" y="320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0" y="288"/>
                </a:cxn>
                <a:cxn ang="0">
                  <a:pos x="162" y="278"/>
                </a:cxn>
                <a:cxn ang="0">
                  <a:pos x="196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3" y="172"/>
                </a:cxn>
                <a:cxn ang="0">
                  <a:pos x="503" y="138"/>
                </a:cxn>
                <a:cxn ang="0">
                  <a:pos x="581" y="108"/>
                </a:cxn>
                <a:cxn ang="0">
                  <a:pos x="653" y="78"/>
                </a:cxn>
                <a:cxn ang="0">
                  <a:pos x="687" y="66"/>
                </a:cxn>
                <a:cxn ang="0">
                  <a:pos x="719" y="52"/>
                </a:cxn>
                <a:cxn ang="0">
                  <a:pos x="749" y="42"/>
                </a:cxn>
                <a:cxn ang="0">
                  <a:pos x="775" y="30"/>
                </a:cxn>
                <a:cxn ang="0">
                  <a:pos x="797" y="22"/>
                </a:cxn>
                <a:cxn ang="0">
                  <a:pos x="817" y="14"/>
                </a:cxn>
                <a:cxn ang="0">
                  <a:pos x="833" y="8"/>
                </a:cxn>
                <a:cxn ang="0">
                  <a:pos x="843" y="2"/>
                </a:cxn>
                <a:cxn ang="0">
                  <a:pos x="851" y="0"/>
                </a:cxn>
                <a:cxn ang="0">
                  <a:pos x="853" y="0"/>
                </a:cxn>
              </a:cxnLst>
              <a:rect l="0" t="0" r="r" b="b"/>
              <a:pathLst>
                <a:path w="896" h="489">
                  <a:moveTo>
                    <a:pt x="853" y="0"/>
                  </a:moveTo>
                  <a:lnTo>
                    <a:pt x="859" y="0"/>
                  </a:lnTo>
                  <a:lnTo>
                    <a:pt x="869" y="6"/>
                  </a:lnTo>
                  <a:lnTo>
                    <a:pt x="880" y="16"/>
                  </a:lnTo>
                  <a:lnTo>
                    <a:pt x="892" y="32"/>
                  </a:lnTo>
                  <a:lnTo>
                    <a:pt x="896" y="52"/>
                  </a:lnTo>
                  <a:lnTo>
                    <a:pt x="896" y="76"/>
                  </a:lnTo>
                  <a:lnTo>
                    <a:pt x="894" y="94"/>
                  </a:lnTo>
                  <a:lnTo>
                    <a:pt x="894" y="98"/>
                  </a:lnTo>
                  <a:lnTo>
                    <a:pt x="894" y="100"/>
                  </a:lnTo>
                  <a:lnTo>
                    <a:pt x="44" y="489"/>
                  </a:lnTo>
                  <a:lnTo>
                    <a:pt x="46" y="473"/>
                  </a:lnTo>
                  <a:lnTo>
                    <a:pt x="48" y="463"/>
                  </a:lnTo>
                  <a:lnTo>
                    <a:pt x="50" y="451"/>
                  </a:lnTo>
                  <a:lnTo>
                    <a:pt x="50" y="449"/>
                  </a:lnTo>
                  <a:lnTo>
                    <a:pt x="48" y="441"/>
                  </a:lnTo>
                  <a:lnTo>
                    <a:pt x="46" y="429"/>
                  </a:lnTo>
                  <a:lnTo>
                    <a:pt x="42" y="409"/>
                  </a:lnTo>
                  <a:lnTo>
                    <a:pt x="36" y="392"/>
                  </a:lnTo>
                  <a:lnTo>
                    <a:pt x="32" y="378"/>
                  </a:lnTo>
                  <a:lnTo>
                    <a:pt x="28" y="368"/>
                  </a:lnTo>
                  <a:lnTo>
                    <a:pt x="24" y="362"/>
                  </a:lnTo>
                  <a:lnTo>
                    <a:pt x="14" y="354"/>
                  </a:lnTo>
                  <a:lnTo>
                    <a:pt x="0" y="344"/>
                  </a:lnTo>
                  <a:lnTo>
                    <a:pt x="0" y="342"/>
                  </a:lnTo>
                  <a:lnTo>
                    <a:pt x="8" y="338"/>
                  </a:lnTo>
                  <a:lnTo>
                    <a:pt x="18" y="336"/>
                  </a:lnTo>
                  <a:lnTo>
                    <a:pt x="34" y="330"/>
                  </a:lnTo>
                  <a:lnTo>
                    <a:pt x="54" y="320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0" y="288"/>
                  </a:lnTo>
                  <a:lnTo>
                    <a:pt x="162" y="278"/>
                  </a:lnTo>
                  <a:lnTo>
                    <a:pt x="196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3" y="172"/>
                  </a:lnTo>
                  <a:lnTo>
                    <a:pt x="503" y="138"/>
                  </a:lnTo>
                  <a:lnTo>
                    <a:pt x="581" y="108"/>
                  </a:lnTo>
                  <a:lnTo>
                    <a:pt x="653" y="78"/>
                  </a:lnTo>
                  <a:lnTo>
                    <a:pt x="687" y="66"/>
                  </a:lnTo>
                  <a:lnTo>
                    <a:pt x="719" y="52"/>
                  </a:lnTo>
                  <a:lnTo>
                    <a:pt x="749" y="42"/>
                  </a:lnTo>
                  <a:lnTo>
                    <a:pt x="775" y="30"/>
                  </a:lnTo>
                  <a:lnTo>
                    <a:pt x="797" y="22"/>
                  </a:lnTo>
                  <a:lnTo>
                    <a:pt x="817" y="14"/>
                  </a:lnTo>
                  <a:lnTo>
                    <a:pt x="833" y="8"/>
                  </a:lnTo>
                  <a:lnTo>
                    <a:pt x="843" y="2"/>
                  </a:lnTo>
                  <a:lnTo>
                    <a:pt x="851" y="0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F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1" name="Freeform 144"/>
            <p:cNvSpPr>
              <a:spLocks/>
            </p:cNvSpPr>
            <p:nvPr/>
          </p:nvSpPr>
          <p:spPr bwMode="auto">
            <a:xfrm>
              <a:off x="2214" y="1696"/>
              <a:ext cx="448" cy="244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9" y="0"/>
                </a:cxn>
                <a:cxn ang="0">
                  <a:pos x="867" y="6"/>
                </a:cxn>
                <a:cxn ang="0">
                  <a:pos x="878" y="16"/>
                </a:cxn>
                <a:cxn ang="0">
                  <a:pos x="890" y="32"/>
                </a:cxn>
                <a:cxn ang="0">
                  <a:pos x="894" y="52"/>
                </a:cxn>
                <a:cxn ang="0">
                  <a:pos x="894" y="76"/>
                </a:cxn>
                <a:cxn ang="0">
                  <a:pos x="892" y="92"/>
                </a:cxn>
                <a:cxn ang="0">
                  <a:pos x="892" y="96"/>
                </a:cxn>
                <a:cxn ang="0">
                  <a:pos x="892" y="98"/>
                </a:cxn>
                <a:cxn ang="0">
                  <a:pos x="44" y="487"/>
                </a:cxn>
                <a:cxn ang="0">
                  <a:pos x="46" y="471"/>
                </a:cxn>
                <a:cxn ang="0">
                  <a:pos x="46" y="459"/>
                </a:cxn>
                <a:cxn ang="0">
                  <a:pos x="48" y="451"/>
                </a:cxn>
                <a:cxn ang="0">
                  <a:pos x="48" y="445"/>
                </a:cxn>
                <a:cxn ang="0">
                  <a:pos x="46" y="439"/>
                </a:cxn>
                <a:cxn ang="0">
                  <a:pos x="44" y="429"/>
                </a:cxn>
                <a:cxn ang="0">
                  <a:pos x="40" y="411"/>
                </a:cxn>
                <a:cxn ang="0">
                  <a:pos x="36" y="393"/>
                </a:cxn>
                <a:cxn ang="0">
                  <a:pos x="32" y="382"/>
                </a:cxn>
                <a:cxn ang="0">
                  <a:pos x="28" y="372"/>
                </a:cxn>
                <a:cxn ang="0">
                  <a:pos x="26" y="364"/>
                </a:cxn>
                <a:cxn ang="0">
                  <a:pos x="16" y="356"/>
                </a:cxn>
                <a:cxn ang="0">
                  <a:pos x="8" y="352"/>
                </a:cxn>
                <a:cxn ang="0">
                  <a:pos x="0" y="346"/>
                </a:cxn>
                <a:cxn ang="0">
                  <a:pos x="2" y="346"/>
                </a:cxn>
                <a:cxn ang="0">
                  <a:pos x="10" y="342"/>
                </a:cxn>
                <a:cxn ang="0">
                  <a:pos x="20" y="338"/>
                </a:cxn>
                <a:cxn ang="0">
                  <a:pos x="36" y="330"/>
                </a:cxn>
                <a:cxn ang="0">
                  <a:pos x="54" y="322"/>
                </a:cxn>
                <a:cxn ang="0">
                  <a:pos x="78" y="314"/>
                </a:cxn>
                <a:cxn ang="0">
                  <a:pos x="104" y="304"/>
                </a:cxn>
                <a:cxn ang="0">
                  <a:pos x="132" y="292"/>
                </a:cxn>
                <a:cxn ang="0">
                  <a:pos x="164" y="278"/>
                </a:cxn>
                <a:cxn ang="0">
                  <a:pos x="198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3" y="172"/>
                </a:cxn>
                <a:cxn ang="0">
                  <a:pos x="505" y="138"/>
                </a:cxn>
                <a:cxn ang="0">
                  <a:pos x="581" y="108"/>
                </a:cxn>
                <a:cxn ang="0">
                  <a:pos x="653" y="78"/>
                </a:cxn>
                <a:cxn ang="0">
                  <a:pos x="687" y="66"/>
                </a:cxn>
                <a:cxn ang="0">
                  <a:pos x="719" y="52"/>
                </a:cxn>
                <a:cxn ang="0">
                  <a:pos x="747" y="42"/>
                </a:cxn>
                <a:cxn ang="0">
                  <a:pos x="773" y="32"/>
                </a:cxn>
                <a:cxn ang="0">
                  <a:pos x="797" y="22"/>
                </a:cxn>
                <a:cxn ang="0">
                  <a:pos x="815" y="14"/>
                </a:cxn>
                <a:cxn ang="0">
                  <a:pos x="833" y="8"/>
                </a:cxn>
                <a:cxn ang="0">
                  <a:pos x="843" y="2"/>
                </a:cxn>
                <a:cxn ang="0">
                  <a:pos x="849" y="0"/>
                </a:cxn>
                <a:cxn ang="0">
                  <a:pos x="853" y="0"/>
                </a:cxn>
              </a:cxnLst>
              <a:rect l="0" t="0" r="r" b="b"/>
              <a:pathLst>
                <a:path w="894" h="487">
                  <a:moveTo>
                    <a:pt x="853" y="0"/>
                  </a:moveTo>
                  <a:lnTo>
                    <a:pt x="859" y="0"/>
                  </a:lnTo>
                  <a:lnTo>
                    <a:pt x="867" y="6"/>
                  </a:lnTo>
                  <a:lnTo>
                    <a:pt x="878" y="16"/>
                  </a:lnTo>
                  <a:lnTo>
                    <a:pt x="890" y="32"/>
                  </a:lnTo>
                  <a:lnTo>
                    <a:pt x="894" y="52"/>
                  </a:lnTo>
                  <a:lnTo>
                    <a:pt x="894" y="76"/>
                  </a:lnTo>
                  <a:lnTo>
                    <a:pt x="892" y="92"/>
                  </a:lnTo>
                  <a:lnTo>
                    <a:pt x="892" y="96"/>
                  </a:lnTo>
                  <a:lnTo>
                    <a:pt x="892" y="98"/>
                  </a:lnTo>
                  <a:lnTo>
                    <a:pt x="44" y="487"/>
                  </a:lnTo>
                  <a:lnTo>
                    <a:pt x="46" y="471"/>
                  </a:lnTo>
                  <a:lnTo>
                    <a:pt x="46" y="459"/>
                  </a:lnTo>
                  <a:lnTo>
                    <a:pt x="48" y="451"/>
                  </a:lnTo>
                  <a:lnTo>
                    <a:pt x="48" y="445"/>
                  </a:lnTo>
                  <a:lnTo>
                    <a:pt x="46" y="439"/>
                  </a:lnTo>
                  <a:lnTo>
                    <a:pt x="44" y="429"/>
                  </a:lnTo>
                  <a:lnTo>
                    <a:pt x="40" y="411"/>
                  </a:lnTo>
                  <a:lnTo>
                    <a:pt x="36" y="393"/>
                  </a:lnTo>
                  <a:lnTo>
                    <a:pt x="32" y="382"/>
                  </a:lnTo>
                  <a:lnTo>
                    <a:pt x="28" y="372"/>
                  </a:lnTo>
                  <a:lnTo>
                    <a:pt x="26" y="364"/>
                  </a:lnTo>
                  <a:lnTo>
                    <a:pt x="16" y="356"/>
                  </a:lnTo>
                  <a:lnTo>
                    <a:pt x="8" y="352"/>
                  </a:lnTo>
                  <a:lnTo>
                    <a:pt x="0" y="346"/>
                  </a:lnTo>
                  <a:lnTo>
                    <a:pt x="2" y="346"/>
                  </a:lnTo>
                  <a:lnTo>
                    <a:pt x="10" y="342"/>
                  </a:lnTo>
                  <a:lnTo>
                    <a:pt x="20" y="338"/>
                  </a:lnTo>
                  <a:lnTo>
                    <a:pt x="36" y="330"/>
                  </a:lnTo>
                  <a:lnTo>
                    <a:pt x="54" y="322"/>
                  </a:lnTo>
                  <a:lnTo>
                    <a:pt x="78" y="314"/>
                  </a:lnTo>
                  <a:lnTo>
                    <a:pt x="104" y="304"/>
                  </a:lnTo>
                  <a:lnTo>
                    <a:pt x="132" y="292"/>
                  </a:lnTo>
                  <a:lnTo>
                    <a:pt x="164" y="278"/>
                  </a:lnTo>
                  <a:lnTo>
                    <a:pt x="198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3" y="172"/>
                  </a:lnTo>
                  <a:lnTo>
                    <a:pt x="505" y="138"/>
                  </a:lnTo>
                  <a:lnTo>
                    <a:pt x="581" y="108"/>
                  </a:lnTo>
                  <a:lnTo>
                    <a:pt x="653" y="78"/>
                  </a:lnTo>
                  <a:lnTo>
                    <a:pt x="687" y="66"/>
                  </a:lnTo>
                  <a:lnTo>
                    <a:pt x="719" y="52"/>
                  </a:lnTo>
                  <a:lnTo>
                    <a:pt x="747" y="42"/>
                  </a:lnTo>
                  <a:lnTo>
                    <a:pt x="773" y="32"/>
                  </a:lnTo>
                  <a:lnTo>
                    <a:pt x="797" y="22"/>
                  </a:lnTo>
                  <a:lnTo>
                    <a:pt x="815" y="14"/>
                  </a:lnTo>
                  <a:lnTo>
                    <a:pt x="833" y="8"/>
                  </a:lnTo>
                  <a:lnTo>
                    <a:pt x="843" y="2"/>
                  </a:lnTo>
                  <a:lnTo>
                    <a:pt x="849" y="0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E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2" name="Freeform 145"/>
            <p:cNvSpPr>
              <a:spLocks/>
            </p:cNvSpPr>
            <p:nvPr/>
          </p:nvSpPr>
          <p:spPr bwMode="auto">
            <a:xfrm>
              <a:off x="2215" y="1697"/>
              <a:ext cx="447" cy="242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7" y="2"/>
                </a:cxn>
                <a:cxn ang="0">
                  <a:pos x="865" y="4"/>
                </a:cxn>
                <a:cxn ang="0">
                  <a:pos x="878" y="14"/>
                </a:cxn>
                <a:cxn ang="0">
                  <a:pos x="888" y="30"/>
                </a:cxn>
                <a:cxn ang="0">
                  <a:pos x="892" y="52"/>
                </a:cxn>
                <a:cxn ang="0">
                  <a:pos x="892" y="72"/>
                </a:cxn>
                <a:cxn ang="0">
                  <a:pos x="890" y="90"/>
                </a:cxn>
                <a:cxn ang="0">
                  <a:pos x="890" y="94"/>
                </a:cxn>
                <a:cxn ang="0">
                  <a:pos x="890" y="96"/>
                </a:cxn>
                <a:cxn ang="0">
                  <a:pos x="42" y="483"/>
                </a:cxn>
                <a:cxn ang="0">
                  <a:pos x="44" y="467"/>
                </a:cxn>
                <a:cxn ang="0">
                  <a:pos x="46" y="457"/>
                </a:cxn>
                <a:cxn ang="0">
                  <a:pos x="46" y="443"/>
                </a:cxn>
                <a:cxn ang="0">
                  <a:pos x="44" y="437"/>
                </a:cxn>
                <a:cxn ang="0">
                  <a:pos x="42" y="427"/>
                </a:cxn>
                <a:cxn ang="0">
                  <a:pos x="38" y="411"/>
                </a:cxn>
                <a:cxn ang="0">
                  <a:pos x="32" y="393"/>
                </a:cxn>
                <a:cxn ang="0">
                  <a:pos x="30" y="382"/>
                </a:cxn>
                <a:cxn ang="0">
                  <a:pos x="26" y="372"/>
                </a:cxn>
                <a:cxn ang="0">
                  <a:pos x="22" y="366"/>
                </a:cxn>
                <a:cxn ang="0">
                  <a:pos x="14" y="356"/>
                </a:cxn>
                <a:cxn ang="0">
                  <a:pos x="0" y="348"/>
                </a:cxn>
                <a:cxn ang="0">
                  <a:pos x="2" y="346"/>
                </a:cxn>
                <a:cxn ang="0">
                  <a:pos x="8" y="342"/>
                </a:cxn>
                <a:cxn ang="0">
                  <a:pos x="20" y="338"/>
                </a:cxn>
                <a:cxn ang="0">
                  <a:pos x="36" y="332"/>
                </a:cxn>
                <a:cxn ang="0">
                  <a:pos x="56" y="324"/>
                </a:cxn>
                <a:cxn ang="0">
                  <a:pos x="78" y="316"/>
                </a:cxn>
                <a:cxn ang="0">
                  <a:pos x="102" y="304"/>
                </a:cxn>
                <a:cxn ang="0">
                  <a:pos x="132" y="292"/>
                </a:cxn>
                <a:cxn ang="0">
                  <a:pos x="162" y="280"/>
                </a:cxn>
                <a:cxn ang="0">
                  <a:pos x="196" y="264"/>
                </a:cxn>
                <a:cxn ang="0">
                  <a:pos x="267" y="236"/>
                </a:cxn>
                <a:cxn ang="0">
                  <a:pos x="345" y="204"/>
                </a:cxn>
                <a:cxn ang="0">
                  <a:pos x="423" y="172"/>
                </a:cxn>
                <a:cxn ang="0">
                  <a:pos x="503" y="140"/>
                </a:cxn>
                <a:cxn ang="0">
                  <a:pos x="579" y="108"/>
                </a:cxn>
                <a:cxn ang="0">
                  <a:pos x="653" y="80"/>
                </a:cxn>
                <a:cxn ang="0">
                  <a:pos x="687" y="66"/>
                </a:cxn>
                <a:cxn ang="0">
                  <a:pos x="719" y="54"/>
                </a:cxn>
                <a:cxn ang="0">
                  <a:pos x="747" y="42"/>
                </a:cxn>
                <a:cxn ang="0">
                  <a:pos x="773" y="32"/>
                </a:cxn>
                <a:cxn ang="0">
                  <a:pos x="795" y="22"/>
                </a:cxn>
                <a:cxn ang="0">
                  <a:pos x="815" y="14"/>
                </a:cxn>
                <a:cxn ang="0">
                  <a:pos x="831" y="8"/>
                </a:cxn>
                <a:cxn ang="0">
                  <a:pos x="843" y="4"/>
                </a:cxn>
                <a:cxn ang="0">
                  <a:pos x="849" y="2"/>
                </a:cxn>
                <a:cxn ang="0">
                  <a:pos x="853" y="0"/>
                </a:cxn>
              </a:cxnLst>
              <a:rect l="0" t="0" r="r" b="b"/>
              <a:pathLst>
                <a:path w="892" h="483">
                  <a:moveTo>
                    <a:pt x="853" y="0"/>
                  </a:moveTo>
                  <a:lnTo>
                    <a:pt x="857" y="2"/>
                  </a:lnTo>
                  <a:lnTo>
                    <a:pt x="865" y="4"/>
                  </a:lnTo>
                  <a:lnTo>
                    <a:pt x="878" y="14"/>
                  </a:lnTo>
                  <a:lnTo>
                    <a:pt x="888" y="30"/>
                  </a:lnTo>
                  <a:lnTo>
                    <a:pt x="892" y="52"/>
                  </a:lnTo>
                  <a:lnTo>
                    <a:pt x="892" y="72"/>
                  </a:lnTo>
                  <a:lnTo>
                    <a:pt x="890" y="90"/>
                  </a:lnTo>
                  <a:lnTo>
                    <a:pt x="890" y="94"/>
                  </a:lnTo>
                  <a:lnTo>
                    <a:pt x="890" y="96"/>
                  </a:lnTo>
                  <a:lnTo>
                    <a:pt x="42" y="483"/>
                  </a:lnTo>
                  <a:lnTo>
                    <a:pt x="44" y="467"/>
                  </a:lnTo>
                  <a:lnTo>
                    <a:pt x="46" y="457"/>
                  </a:lnTo>
                  <a:lnTo>
                    <a:pt x="46" y="443"/>
                  </a:lnTo>
                  <a:lnTo>
                    <a:pt x="44" y="437"/>
                  </a:lnTo>
                  <a:lnTo>
                    <a:pt x="42" y="427"/>
                  </a:lnTo>
                  <a:lnTo>
                    <a:pt x="38" y="411"/>
                  </a:lnTo>
                  <a:lnTo>
                    <a:pt x="32" y="393"/>
                  </a:lnTo>
                  <a:lnTo>
                    <a:pt x="30" y="382"/>
                  </a:lnTo>
                  <a:lnTo>
                    <a:pt x="26" y="372"/>
                  </a:lnTo>
                  <a:lnTo>
                    <a:pt x="22" y="366"/>
                  </a:lnTo>
                  <a:lnTo>
                    <a:pt x="14" y="356"/>
                  </a:lnTo>
                  <a:lnTo>
                    <a:pt x="0" y="348"/>
                  </a:lnTo>
                  <a:lnTo>
                    <a:pt x="2" y="346"/>
                  </a:lnTo>
                  <a:lnTo>
                    <a:pt x="8" y="342"/>
                  </a:lnTo>
                  <a:lnTo>
                    <a:pt x="20" y="338"/>
                  </a:lnTo>
                  <a:lnTo>
                    <a:pt x="36" y="332"/>
                  </a:lnTo>
                  <a:lnTo>
                    <a:pt x="56" y="324"/>
                  </a:lnTo>
                  <a:lnTo>
                    <a:pt x="78" y="316"/>
                  </a:lnTo>
                  <a:lnTo>
                    <a:pt x="102" y="304"/>
                  </a:lnTo>
                  <a:lnTo>
                    <a:pt x="132" y="292"/>
                  </a:lnTo>
                  <a:lnTo>
                    <a:pt x="162" y="280"/>
                  </a:lnTo>
                  <a:lnTo>
                    <a:pt x="196" y="264"/>
                  </a:lnTo>
                  <a:lnTo>
                    <a:pt x="267" y="236"/>
                  </a:lnTo>
                  <a:lnTo>
                    <a:pt x="345" y="204"/>
                  </a:lnTo>
                  <a:lnTo>
                    <a:pt x="423" y="172"/>
                  </a:lnTo>
                  <a:lnTo>
                    <a:pt x="503" y="140"/>
                  </a:lnTo>
                  <a:lnTo>
                    <a:pt x="579" y="108"/>
                  </a:lnTo>
                  <a:lnTo>
                    <a:pt x="653" y="80"/>
                  </a:lnTo>
                  <a:lnTo>
                    <a:pt x="687" y="66"/>
                  </a:lnTo>
                  <a:lnTo>
                    <a:pt x="719" y="54"/>
                  </a:lnTo>
                  <a:lnTo>
                    <a:pt x="747" y="42"/>
                  </a:lnTo>
                  <a:lnTo>
                    <a:pt x="773" y="32"/>
                  </a:lnTo>
                  <a:lnTo>
                    <a:pt x="795" y="22"/>
                  </a:lnTo>
                  <a:lnTo>
                    <a:pt x="815" y="14"/>
                  </a:lnTo>
                  <a:lnTo>
                    <a:pt x="831" y="8"/>
                  </a:lnTo>
                  <a:lnTo>
                    <a:pt x="843" y="4"/>
                  </a:lnTo>
                  <a:lnTo>
                    <a:pt x="849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E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3" name="Freeform 146"/>
            <p:cNvSpPr>
              <a:spLocks/>
            </p:cNvSpPr>
            <p:nvPr/>
          </p:nvSpPr>
          <p:spPr bwMode="auto">
            <a:xfrm>
              <a:off x="2216" y="1697"/>
              <a:ext cx="446" cy="240"/>
            </a:xfrm>
            <a:custGeom>
              <a:avLst/>
              <a:gdLst/>
              <a:ahLst/>
              <a:cxnLst>
                <a:cxn ang="0">
                  <a:pos x="851" y="0"/>
                </a:cxn>
                <a:cxn ang="0">
                  <a:pos x="855" y="0"/>
                </a:cxn>
                <a:cxn ang="0">
                  <a:pos x="863" y="6"/>
                </a:cxn>
                <a:cxn ang="0">
                  <a:pos x="876" y="14"/>
                </a:cxn>
                <a:cxn ang="0">
                  <a:pos x="880" y="20"/>
                </a:cxn>
                <a:cxn ang="0">
                  <a:pos x="886" y="30"/>
                </a:cxn>
                <a:cxn ang="0">
                  <a:pos x="890" y="50"/>
                </a:cxn>
                <a:cxn ang="0">
                  <a:pos x="890" y="72"/>
                </a:cxn>
                <a:cxn ang="0">
                  <a:pos x="888" y="86"/>
                </a:cxn>
                <a:cxn ang="0">
                  <a:pos x="888" y="92"/>
                </a:cxn>
                <a:cxn ang="0">
                  <a:pos x="888" y="94"/>
                </a:cxn>
                <a:cxn ang="0">
                  <a:pos x="40" y="479"/>
                </a:cxn>
                <a:cxn ang="0">
                  <a:pos x="42" y="463"/>
                </a:cxn>
                <a:cxn ang="0">
                  <a:pos x="42" y="453"/>
                </a:cxn>
                <a:cxn ang="0">
                  <a:pos x="44" y="443"/>
                </a:cxn>
                <a:cxn ang="0">
                  <a:pos x="42" y="435"/>
                </a:cxn>
                <a:cxn ang="0">
                  <a:pos x="38" y="425"/>
                </a:cxn>
                <a:cxn ang="0">
                  <a:pos x="36" y="409"/>
                </a:cxn>
                <a:cxn ang="0">
                  <a:pos x="32" y="393"/>
                </a:cxn>
                <a:cxn ang="0">
                  <a:pos x="28" y="380"/>
                </a:cxn>
                <a:cxn ang="0">
                  <a:pos x="26" y="372"/>
                </a:cxn>
                <a:cxn ang="0">
                  <a:pos x="22" y="366"/>
                </a:cxn>
                <a:cxn ang="0">
                  <a:pos x="14" y="358"/>
                </a:cxn>
                <a:cxn ang="0">
                  <a:pos x="8" y="354"/>
                </a:cxn>
                <a:cxn ang="0">
                  <a:pos x="0" y="348"/>
                </a:cxn>
                <a:cxn ang="0">
                  <a:pos x="2" y="346"/>
                </a:cxn>
                <a:cxn ang="0">
                  <a:pos x="10" y="344"/>
                </a:cxn>
                <a:cxn ang="0">
                  <a:pos x="20" y="338"/>
                </a:cxn>
                <a:cxn ang="0">
                  <a:pos x="36" y="334"/>
                </a:cxn>
                <a:cxn ang="0">
                  <a:pos x="54" y="326"/>
                </a:cxn>
                <a:cxn ang="0">
                  <a:pos x="78" y="316"/>
                </a:cxn>
                <a:cxn ang="0">
                  <a:pos x="104" y="304"/>
                </a:cxn>
                <a:cxn ang="0">
                  <a:pos x="132" y="292"/>
                </a:cxn>
                <a:cxn ang="0">
                  <a:pos x="196" y="266"/>
                </a:cxn>
                <a:cxn ang="0">
                  <a:pos x="269" y="238"/>
                </a:cxn>
                <a:cxn ang="0">
                  <a:pos x="345" y="206"/>
                </a:cxn>
                <a:cxn ang="0">
                  <a:pos x="501" y="142"/>
                </a:cxn>
                <a:cxn ang="0">
                  <a:pos x="579" y="110"/>
                </a:cxn>
                <a:cxn ang="0">
                  <a:pos x="653" y="80"/>
                </a:cxn>
                <a:cxn ang="0">
                  <a:pos x="717" y="54"/>
                </a:cxn>
                <a:cxn ang="0">
                  <a:pos x="745" y="42"/>
                </a:cxn>
                <a:cxn ang="0">
                  <a:pos x="771" y="32"/>
                </a:cxn>
                <a:cxn ang="0">
                  <a:pos x="793" y="24"/>
                </a:cxn>
                <a:cxn ang="0">
                  <a:pos x="813" y="16"/>
                </a:cxn>
                <a:cxn ang="0">
                  <a:pos x="829" y="8"/>
                </a:cxn>
                <a:cxn ang="0">
                  <a:pos x="841" y="4"/>
                </a:cxn>
                <a:cxn ang="0">
                  <a:pos x="847" y="2"/>
                </a:cxn>
                <a:cxn ang="0">
                  <a:pos x="851" y="0"/>
                </a:cxn>
              </a:cxnLst>
              <a:rect l="0" t="0" r="r" b="b"/>
              <a:pathLst>
                <a:path w="890" h="479">
                  <a:moveTo>
                    <a:pt x="851" y="0"/>
                  </a:moveTo>
                  <a:lnTo>
                    <a:pt x="855" y="0"/>
                  </a:lnTo>
                  <a:lnTo>
                    <a:pt x="863" y="6"/>
                  </a:lnTo>
                  <a:lnTo>
                    <a:pt x="876" y="14"/>
                  </a:lnTo>
                  <a:lnTo>
                    <a:pt x="880" y="20"/>
                  </a:lnTo>
                  <a:lnTo>
                    <a:pt x="886" y="30"/>
                  </a:lnTo>
                  <a:lnTo>
                    <a:pt x="890" y="50"/>
                  </a:lnTo>
                  <a:lnTo>
                    <a:pt x="890" y="72"/>
                  </a:lnTo>
                  <a:lnTo>
                    <a:pt x="888" y="86"/>
                  </a:lnTo>
                  <a:lnTo>
                    <a:pt x="888" y="92"/>
                  </a:lnTo>
                  <a:lnTo>
                    <a:pt x="888" y="94"/>
                  </a:lnTo>
                  <a:lnTo>
                    <a:pt x="40" y="479"/>
                  </a:lnTo>
                  <a:lnTo>
                    <a:pt x="42" y="463"/>
                  </a:lnTo>
                  <a:lnTo>
                    <a:pt x="42" y="453"/>
                  </a:lnTo>
                  <a:lnTo>
                    <a:pt x="44" y="443"/>
                  </a:lnTo>
                  <a:lnTo>
                    <a:pt x="42" y="435"/>
                  </a:lnTo>
                  <a:lnTo>
                    <a:pt x="38" y="425"/>
                  </a:lnTo>
                  <a:lnTo>
                    <a:pt x="36" y="409"/>
                  </a:lnTo>
                  <a:lnTo>
                    <a:pt x="32" y="393"/>
                  </a:lnTo>
                  <a:lnTo>
                    <a:pt x="28" y="380"/>
                  </a:lnTo>
                  <a:lnTo>
                    <a:pt x="26" y="372"/>
                  </a:lnTo>
                  <a:lnTo>
                    <a:pt x="22" y="366"/>
                  </a:lnTo>
                  <a:lnTo>
                    <a:pt x="14" y="358"/>
                  </a:lnTo>
                  <a:lnTo>
                    <a:pt x="8" y="354"/>
                  </a:lnTo>
                  <a:lnTo>
                    <a:pt x="0" y="348"/>
                  </a:lnTo>
                  <a:lnTo>
                    <a:pt x="2" y="346"/>
                  </a:lnTo>
                  <a:lnTo>
                    <a:pt x="10" y="344"/>
                  </a:lnTo>
                  <a:lnTo>
                    <a:pt x="20" y="338"/>
                  </a:lnTo>
                  <a:lnTo>
                    <a:pt x="36" y="334"/>
                  </a:lnTo>
                  <a:lnTo>
                    <a:pt x="54" y="326"/>
                  </a:lnTo>
                  <a:lnTo>
                    <a:pt x="78" y="316"/>
                  </a:lnTo>
                  <a:lnTo>
                    <a:pt x="104" y="304"/>
                  </a:lnTo>
                  <a:lnTo>
                    <a:pt x="132" y="292"/>
                  </a:lnTo>
                  <a:lnTo>
                    <a:pt x="196" y="266"/>
                  </a:lnTo>
                  <a:lnTo>
                    <a:pt x="269" y="238"/>
                  </a:lnTo>
                  <a:lnTo>
                    <a:pt x="345" y="206"/>
                  </a:lnTo>
                  <a:lnTo>
                    <a:pt x="501" y="142"/>
                  </a:lnTo>
                  <a:lnTo>
                    <a:pt x="579" y="110"/>
                  </a:lnTo>
                  <a:lnTo>
                    <a:pt x="653" y="80"/>
                  </a:lnTo>
                  <a:lnTo>
                    <a:pt x="717" y="54"/>
                  </a:lnTo>
                  <a:lnTo>
                    <a:pt x="745" y="42"/>
                  </a:lnTo>
                  <a:lnTo>
                    <a:pt x="771" y="32"/>
                  </a:lnTo>
                  <a:lnTo>
                    <a:pt x="793" y="24"/>
                  </a:lnTo>
                  <a:lnTo>
                    <a:pt x="813" y="16"/>
                  </a:lnTo>
                  <a:lnTo>
                    <a:pt x="829" y="8"/>
                  </a:lnTo>
                  <a:lnTo>
                    <a:pt x="841" y="4"/>
                  </a:lnTo>
                  <a:lnTo>
                    <a:pt x="847" y="2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rgbClr val="FFD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4" name="Freeform 147"/>
            <p:cNvSpPr>
              <a:spLocks/>
            </p:cNvSpPr>
            <p:nvPr/>
          </p:nvSpPr>
          <p:spPr bwMode="auto">
            <a:xfrm>
              <a:off x="2217" y="1697"/>
              <a:ext cx="445" cy="239"/>
            </a:xfrm>
            <a:custGeom>
              <a:avLst/>
              <a:gdLst/>
              <a:ahLst/>
              <a:cxnLst>
                <a:cxn ang="0">
                  <a:pos x="851" y="0"/>
                </a:cxn>
                <a:cxn ang="0">
                  <a:pos x="853" y="0"/>
                </a:cxn>
                <a:cxn ang="0">
                  <a:pos x="863" y="4"/>
                </a:cxn>
                <a:cxn ang="0">
                  <a:pos x="874" y="12"/>
                </a:cxn>
                <a:cxn ang="0">
                  <a:pos x="878" y="18"/>
                </a:cxn>
                <a:cxn ang="0">
                  <a:pos x="884" y="28"/>
                </a:cxn>
                <a:cxn ang="0">
                  <a:pos x="888" y="50"/>
                </a:cxn>
                <a:cxn ang="0">
                  <a:pos x="888" y="70"/>
                </a:cxn>
                <a:cxn ang="0">
                  <a:pos x="886" y="84"/>
                </a:cxn>
                <a:cxn ang="0">
                  <a:pos x="886" y="88"/>
                </a:cxn>
                <a:cxn ang="0">
                  <a:pos x="886" y="90"/>
                </a:cxn>
                <a:cxn ang="0">
                  <a:pos x="38" y="477"/>
                </a:cxn>
                <a:cxn ang="0">
                  <a:pos x="40" y="461"/>
                </a:cxn>
                <a:cxn ang="0">
                  <a:pos x="40" y="449"/>
                </a:cxn>
                <a:cxn ang="0">
                  <a:pos x="42" y="443"/>
                </a:cxn>
                <a:cxn ang="0">
                  <a:pos x="42" y="441"/>
                </a:cxn>
                <a:cxn ang="0">
                  <a:pos x="38" y="431"/>
                </a:cxn>
                <a:cxn ang="0">
                  <a:pos x="36" y="423"/>
                </a:cxn>
                <a:cxn ang="0">
                  <a:pos x="34" y="409"/>
                </a:cxn>
                <a:cxn ang="0">
                  <a:pos x="30" y="391"/>
                </a:cxn>
                <a:cxn ang="0">
                  <a:pos x="26" y="382"/>
                </a:cxn>
                <a:cxn ang="0">
                  <a:pos x="22" y="368"/>
                </a:cxn>
                <a:cxn ang="0">
                  <a:pos x="14" y="358"/>
                </a:cxn>
                <a:cxn ang="0">
                  <a:pos x="8" y="356"/>
                </a:cxn>
                <a:cxn ang="0">
                  <a:pos x="0" y="350"/>
                </a:cxn>
                <a:cxn ang="0">
                  <a:pos x="0" y="348"/>
                </a:cxn>
                <a:cxn ang="0">
                  <a:pos x="8" y="346"/>
                </a:cxn>
                <a:cxn ang="0">
                  <a:pos x="20" y="340"/>
                </a:cxn>
                <a:cxn ang="0">
                  <a:pos x="34" y="334"/>
                </a:cxn>
                <a:cxn ang="0">
                  <a:pos x="54" y="326"/>
                </a:cxn>
                <a:cxn ang="0">
                  <a:pos x="78" y="316"/>
                </a:cxn>
                <a:cxn ang="0">
                  <a:pos x="104" y="306"/>
                </a:cxn>
                <a:cxn ang="0">
                  <a:pos x="130" y="294"/>
                </a:cxn>
                <a:cxn ang="0">
                  <a:pos x="196" y="268"/>
                </a:cxn>
                <a:cxn ang="0">
                  <a:pos x="267" y="238"/>
                </a:cxn>
                <a:cxn ang="0">
                  <a:pos x="345" y="206"/>
                </a:cxn>
                <a:cxn ang="0">
                  <a:pos x="501" y="140"/>
                </a:cxn>
                <a:cxn ang="0">
                  <a:pos x="579" y="110"/>
                </a:cxn>
                <a:cxn ang="0">
                  <a:pos x="653" y="80"/>
                </a:cxn>
                <a:cxn ang="0">
                  <a:pos x="685" y="66"/>
                </a:cxn>
                <a:cxn ang="0">
                  <a:pos x="717" y="54"/>
                </a:cxn>
                <a:cxn ang="0">
                  <a:pos x="745" y="42"/>
                </a:cxn>
                <a:cxn ang="0">
                  <a:pos x="771" y="32"/>
                </a:cxn>
                <a:cxn ang="0">
                  <a:pos x="793" y="22"/>
                </a:cxn>
                <a:cxn ang="0">
                  <a:pos x="813" y="14"/>
                </a:cxn>
                <a:cxn ang="0">
                  <a:pos x="829" y="8"/>
                </a:cxn>
                <a:cxn ang="0">
                  <a:pos x="841" y="2"/>
                </a:cxn>
                <a:cxn ang="0">
                  <a:pos x="847" y="2"/>
                </a:cxn>
                <a:cxn ang="0">
                  <a:pos x="851" y="0"/>
                </a:cxn>
              </a:cxnLst>
              <a:rect l="0" t="0" r="r" b="b"/>
              <a:pathLst>
                <a:path w="888" h="477">
                  <a:moveTo>
                    <a:pt x="851" y="0"/>
                  </a:moveTo>
                  <a:lnTo>
                    <a:pt x="853" y="0"/>
                  </a:lnTo>
                  <a:lnTo>
                    <a:pt x="863" y="4"/>
                  </a:lnTo>
                  <a:lnTo>
                    <a:pt x="874" y="12"/>
                  </a:lnTo>
                  <a:lnTo>
                    <a:pt x="878" y="18"/>
                  </a:lnTo>
                  <a:lnTo>
                    <a:pt x="884" y="28"/>
                  </a:lnTo>
                  <a:lnTo>
                    <a:pt x="888" y="50"/>
                  </a:lnTo>
                  <a:lnTo>
                    <a:pt x="888" y="70"/>
                  </a:lnTo>
                  <a:lnTo>
                    <a:pt x="886" y="84"/>
                  </a:lnTo>
                  <a:lnTo>
                    <a:pt x="886" y="88"/>
                  </a:lnTo>
                  <a:lnTo>
                    <a:pt x="886" y="90"/>
                  </a:lnTo>
                  <a:lnTo>
                    <a:pt x="38" y="477"/>
                  </a:lnTo>
                  <a:lnTo>
                    <a:pt x="40" y="461"/>
                  </a:lnTo>
                  <a:lnTo>
                    <a:pt x="40" y="449"/>
                  </a:lnTo>
                  <a:lnTo>
                    <a:pt x="42" y="443"/>
                  </a:lnTo>
                  <a:lnTo>
                    <a:pt x="42" y="441"/>
                  </a:lnTo>
                  <a:lnTo>
                    <a:pt x="38" y="431"/>
                  </a:lnTo>
                  <a:lnTo>
                    <a:pt x="36" y="423"/>
                  </a:lnTo>
                  <a:lnTo>
                    <a:pt x="34" y="409"/>
                  </a:lnTo>
                  <a:lnTo>
                    <a:pt x="30" y="391"/>
                  </a:lnTo>
                  <a:lnTo>
                    <a:pt x="26" y="382"/>
                  </a:lnTo>
                  <a:lnTo>
                    <a:pt x="22" y="368"/>
                  </a:lnTo>
                  <a:lnTo>
                    <a:pt x="14" y="358"/>
                  </a:lnTo>
                  <a:lnTo>
                    <a:pt x="8" y="356"/>
                  </a:lnTo>
                  <a:lnTo>
                    <a:pt x="0" y="350"/>
                  </a:lnTo>
                  <a:lnTo>
                    <a:pt x="0" y="348"/>
                  </a:lnTo>
                  <a:lnTo>
                    <a:pt x="8" y="346"/>
                  </a:lnTo>
                  <a:lnTo>
                    <a:pt x="20" y="340"/>
                  </a:lnTo>
                  <a:lnTo>
                    <a:pt x="34" y="334"/>
                  </a:lnTo>
                  <a:lnTo>
                    <a:pt x="54" y="326"/>
                  </a:lnTo>
                  <a:lnTo>
                    <a:pt x="78" y="316"/>
                  </a:lnTo>
                  <a:lnTo>
                    <a:pt x="104" y="306"/>
                  </a:lnTo>
                  <a:lnTo>
                    <a:pt x="130" y="294"/>
                  </a:lnTo>
                  <a:lnTo>
                    <a:pt x="196" y="268"/>
                  </a:lnTo>
                  <a:lnTo>
                    <a:pt x="267" y="238"/>
                  </a:lnTo>
                  <a:lnTo>
                    <a:pt x="345" y="206"/>
                  </a:lnTo>
                  <a:lnTo>
                    <a:pt x="501" y="140"/>
                  </a:lnTo>
                  <a:lnTo>
                    <a:pt x="579" y="110"/>
                  </a:lnTo>
                  <a:lnTo>
                    <a:pt x="653" y="80"/>
                  </a:lnTo>
                  <a:lnTo>
                    <a:pt x="685" y="66"/>
                  </a:lnTo>
                  <a:lnTo>
                    <a:pt x="717" y="54"/>
                  </a:lnTo>
                  <a:lnTo>
                    <a:pt x="745" y="42"/>
                  </a:lnTo>
                  <a:lnTo>
                    <a:pt x="771" y="32"/>
                  </a:lnTo>
                  <a:lnTo>
                    <a:pt x="793" y="22"/>
                  </a:lnTo>
                  <a:lnTo>
                    <a:pt x="813" y="14"/>
                  </a:lnTo>
                  <a:lnTo>
                    <a:pt x="829" y="8"/>
                  </a:lnTo>
                  <a:lnTo>
                    <a:pt x="841" y="2"/>
                  </a:lnTo>
                  <a:lnTo>
                    <a:pt x="847" y="2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rgbClr val="FFD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5" name="Freeform 148"/>
            <p:cNvSpPr>
              <a:spLocks/>
            </p:cNvSpPr>
            <p:nvPr/>
          </p:nvSpPr>
          <p:spPr bwMode="auto">
            <a:xfrm>
              <a:off x="2218" y="1698"/>
              <a:ext cx="444" cy="237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61" y="4"/>
                </a:cxn>
                <a:cxn ang="0">
                  <a:pos x="870" y="12"/>
                </a:cxn>
                <a:cxn ang="0">
                  <a:pos x="876" y="18"/>
                </a:cxn>
                <a:cxn ang="0">
                  <a:pos x="880" y="28"/>
                </a:cxn>
                <a:cxn ang="0">
                  <a:pos x="886" y="48"/>
                </a:cxn>
                <a:cxn ang="0">
                  <a:pos x="886" y="66"/>
                </a:cxn>
                <a:cxn ang="0">
                  <a:pos x="884" y="82"/>
                </a:cxn>
                <a:cxn ang="0">
                  <a:pos x="882" y="84"/>
                </a:cxn>
                <a:cxn ang="0">
                  <a:pos x="882" y="86"/>
                </a:cxn>
                <a:cxn ang="0">
                  <a:pos x="36" y="473"/>
                </a:cxn>
                <a:cxn ang="0">
                  <a:pos x="36" y="455"/>
                </a:cxn>
                <a:cxn ang="0">
                  <a:pos x="36" y="447"/>
                </a:cxn>
                <a:cxn ang="0">
                  <a:pos x="38" y="439"/>
                </a:cxn>
                <a:cxn ang="0">
                  <a:pos x="38" y="437"/>
                </a:cxn>
                <a:cxn ang="0">
                  <a:pos x="36" y="429"/>
                </a:cxn>
                <a:cxn ang="0">
                  <a:pos x="34" y="421"/>
                </a:cxn>
                <a:cxn ang="0">
                  <a:pos x="30" y="407"/>
                </a:cxn>
                <a:cxn ang="0">
                  <a:pos x="28" y="393"/>
                </a:cxn>
                <a:cxn ang="0">
                  <a:pos x="26" y="382"/>
                </a:cxn>
                <a:cxn ang="0">
                  <a:pos x="20" y="370"/>
                </a:cxn>
                <a:cxn ang="0">
                  <a:pos x="14" y="360"/>
                </a:cxn>
                <a:cxn ang="0">
                  <a:pos x="8" y="356"/>
                </a:cxn>
                <a:cxn ang="0">
                  <a:pos x="0" y="352"/>
                </a:cxn>
                <a:cxn ang="0">
                  <a:pos x="2" y="350"/>
                </a:cxn>
                <a:cxn ang="0">
                  <a:pos x="8" y="346"/>
                </a:cxn>
                <a:cxn ang="0">
                  <a:pos x="18" y="342"/>
                </a:cxn>
                <a:cxn ang="0">
                  <a:pos x="36" y="334"/>
                </a:cxn>
                <a:cxn ang="0">
                  <a:pos x="54" y="326"/>
                </a:cxn>
                <a:cxn ang="0">
                  <a:pos x="76" y="318"/>
                </a:cxn>
                <a:cxn ang="0">
                  <a:pos x="102" y="308"/>
                </a:cxn>
                <a:cxn ang="0">
                  <a:pos x="132" y="296"/>
                </a:cxn>
                <a:cxn ang="0">
                  <a:pos x="162" y="282"/>
                </a:cxn>
                <a:cxn ang="0">
                  <a:pos x="194" y="268"/>
                </a:cxn>
                <a:cxn ang="0">
                  <a:pos x="267" y="238"/>
                </a:cxn>
                <a:cxn ang="0">
                  <a:pos x="343" y="208"/>
                </a:cxn>
                <a:cxn ang="0">
                  <a:pos x="499" y="144"/>
                </a:cxn>
                <a:cxn ang="0">
                  <a:pos x="577" y="110"/>
                </a:cxn>
                <a:cxn ang="0">
                  <a:pos x="651" y="82"/>
                </a:cxn>
                <a:cxn ang="0">
                  <a:pos x="683" y="66"/>
                </a:cxn>
                <a:cxn ang="0">
                  <a:pos x="715" y="56"/>
                </a:cxn>
                <a:cxn ang="0">
                  <a:pos x="743" y="42"/>
                </a:cxn>
                <a:cxn ang="0">
                  <a:pos x="769" y="32"/>
                </a:cxn>
                <a:cxn ang="0">
                  <a:pos x="793" y="22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4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6" h="473">
                  <a:moveTo>
                    <a:pt x="849" y="0"/>
                  </a:moveTo>
                  <a:lnTo>
                    <a:pt x="853" y="0"/>
                  </a:lnTo>
                  <a:lnTo>
                    <a:pt x="861" y="4"/>
                  </a:lnTo>
                  <a:lnTo>
                    <a:pt x="870" y="12"/>
                  </a:lnTo>
                  <a:lnTo>
                    <a:pt x="876" y="18"/>
                  </a:lnTo>
                  <a:lnTo>
                    <a:pt x="880" y="28"/>
                  </a:lnTo>
                  <a:lnTo>
                    <a:pt x="886" y="48"/>
                  </a:lnTo>
                  <a:lnTo>
                    <a:pt x="886" y="66"/>
                  </a:lnTo>
                  <a:lnTo>
                    <a:pt x="884" y="82"/>
                  </a:lnTo>
                  <a:lnTo>
                    <a:pt x="882" y="84"/>
                  </a:lnTo>
                  <a:lnTo>
                    <a:pt x="882" y="86"/>
                  </a:lnTo>
                  <a:lnTo>
                    <a:pt x="36" y="473"/>
                  </a:lnTo>
                  <a:lnTo>
                    <a:pt x="36" y="455"/>
                  </a:lnTo>
                  <a:lnTo>
                    <a:pt x="36" y="447"/>
                  </a:lnTo>
                  <a:lnTo>
                    <a:pt x="38" y="439"/>
                  </a:lnTo>
                  <a:lnTo>
                    <a:pt x="38" y="437"/>
                  </a:lnTo>
                  <a:lnTo>
                    <a:pt x="36" y="429"/>
                  </a:lnTo>
                  <a:lnTo>
                    <a:pt x="34" y="421"/>
                  </a:lnTo>
                  <a:lnTo>
                    <a:pt x="30" y="407"/>
                  </a:lnTo>
                  <a:lnTo>
                    <a:pt x="28" y="393"/>
                  </a:lnTo>
                  <a:lnTo>
                    <a:pt x="26" y="382"/>
                  </a:lnTo>
                  <a:lnTo>
                    <a:pt x="20" y="370"/>
                  </a:lnTo>
                  <a:lnTo>
                    <a:pt x="14" y="360"/>
                  </a:lnTo>
                  <a:lnTo>
                    <a:pt x="8" y="356"/>
                  </a:lnTo>
                  <a:lnTo>
                    <a:pt x="0" y="352"/>
                  </a:lnTo>
                  <a:lnTo>
                    <a:pt x="2" y="350"/>
                  </a:lnTo>
                  <a:lnTo>
                    <a:pt x="8" y="346"/>
                  </a:lnTo>
                  <a:lnTo>
                    <a:pt x="18" y="342"/>
                  </a:lnTo>
                  <a:lnTo>
                    <a:pt x="36" y="334"/>
                  </a:lnTo>
                  <a:lnTo>
                    <a:pt x="54" y="326"/>
                  </a:lnTo>
                  <a:lnTo>
                    <a:pt x="76" y="318"/>
                  </a:lnTo>
                  <a:lnTo>
                    <a:pt x="102" y="308"/>
                  </a:lnTo>
                  <a:lnTo>
                    <a:pt x="132" y="296"/>
                  </a:lnTo>
                  <a:lnTo>
                    <a:pt x="162" y="282"/>
                  </a:lnTo>
                  <a:lnTo>
                    <a:pt x="194" y="268"/>
                  </a:lnTo>
                  <a:lnTo>
                    <a:pt x="267" y="238"/>
                  </a:lnTo>
                  <a:lnTo>
                    <a:pt x="343" y="208"/>
                  </a:lnTo>
                  <a:lnTo>
                    <a:pt x="499" y="144"/>
                  </a:lnTo>
                  <a:lnTo>
                    <a:pt x="577" y="110"/>
                  </a:lnTo>
                  <a:lnTo>
                    <a:pt x="651" y="82"/>
                  </a:lnTo>
                  <a:lnTo>
                    <a:pt x="683" y="66"/>
                  </a:lnTo>
                  <a:lnTo>
                    <a:pt x="715" y="56"/>
                  </a:lnTo>
                  <a:lnTo>
                    <a:pt x="743" y="42"/>
                  </a:lnTo>
                  <a:lnTo>
                    <a:pt x="769" y="32"/>
                  </a:lnTo>
                  <a:lnTo>
                    <a:pt x="793" y="22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4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6" name="Freeform 149"/>
            <p:cNvSpPr>
              <a:spLocks/>
            </p:cNvSpPr>
            <p:nvPr/>
          </p:nvSpPr>
          <p:spPr bwMode="auto">
            <a:xfrm>
              <a:off x="2219" y="1699"/>
              <a:ext cx="443" cy="234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1" y="0"/>
                </a:cxn>
                <a:cxn ang="0">
                  <a:pos x="861" y="2"/>
                </a:cxn>
                <a:cxn ang="0">
                  <a:pos x="868" y="10"/>
                </a:cxn>
                <a:cxn ang="0">
                  <a:pos x="874" y="16"/>
                </a:cxn>
                <a:cxn ang="0">
                  <a:pos x="878" y="26"/>
                </a:cxn>
                <a:cxn ang="0">
                  <a:pos x="884" y="46"/>
                </a:cxn>
                <a:cxn ang="0">
                  <a:pos x="884" y="64"/>
                </a:cxn>
                <a:cxn ang="0">
                  <a:pos x="882" y="78"/>
                </a:cxn>
                <a:cxn ang="0">
                  <a:pos x="880" y="80"/>
                </a:cxn>
                <a:cxn ang="0">
                  <a:pos x="880" y="82"/>
                </a:cxn>
                <a:cxn ang="0">
                  <a:pos x="34" y="467"/>
                </a:cxn>
                <a:cxn ang="0">
                  <a:pos x="34" y="451"/>
                </a:cxn>
                <a:cxn ang="0">
                  <a:pos x="34" y="433"/>
                </a:cxn>
                <a:cxn ang="0">
                  <a:pos x="34" y="427"/>
                </a:cxn>
                <a:cxn ang="0">
                  <a:pos x="32" y="419"/>
                </a:cxn>
                <a:cxn ang="0">
                  <a:pos x="28" y="405"/>
                </a:cxn>
                <a:cxn ang="0">
                  <a:pos x="26" y="391"/>
                </a:cxn>
                <a:cxn ang="0">
                  <a:pos x="24" y="382"/>
                </a:cxn>
                <a:cxn ang="0">
                  <a:pos x="20" y="368"/>
                </a:cxn>
                <a:cxn ang="0">
                  <a:pos x="14" y="360"/>
                </a:cxn>
                <a:cxn ang="0">
                  <a:pos x="8" y="358"/>
                </a:cxn>
                <a:cxn ang="0">
                  <a:pos x="0" y="352"/>
                </a:cxn>
                <a:cxn ang="0">
                  <a:pos x="0" y="350"/>
                </a:cxn>
                <a:cxn ang="0">
                  <a:pos x="8" y="348"/>
                </a:cxn>
                <a:cxn ang="0">
                  <a:pos x="18" y="342"/>
                </a:cxn>
                <a:cxn ang="0">
                  <a:pos x="34" y="336"/>
                </a:cxn>
                <a:cxn ang="0">
                  <a:pos x="52" y="328"/>
                </a:cxn>
                <a:cxn ang="0">
                  <a:pos x="76" y="318"/>
                </a:cxn>
                <a:cxn ang="0">
                  <a:pos x="102" y="308"/>
                </a:cxn>
                <a:cxn ang="0">
                  <a:pos x="130" y="296"/>
                </a:cxn>
                <a:cxn ang="0">
                  <a:pos x="162" y="282"/>
                </a:cxn>
                <a:cxn ang="0">
                  <a:pos x="194" y="270"/>
                </a:cxn>
                <a:cxn ang="0">
                  <a:pos x="267" y="238"/>
                </a:cxn>
                <a:cxn ang="0">
                  <a:pos x="343" y="208"/>
                </a:cxn>
                <a:cxn ang="0">
                  <a:pos x="499" y="142"/>
                </a:cxn>
                <a:cxn ang="0">
                  <a:pos x="577" y="110"/>
                </a:cxn>
                <a:cxn ang="0">
                  <a:pos x="651" y="80"/>
                </a:cxn>
                <a:cxn ang="0">
                  <a:pos x="683" y="66"/>
                </a:cxn>
                <a:cxn ang="0">
                  <a:pos x="715" y="54"/>
                </a:cxn>
                <a:cxn ang="0">
                  <a:pos x="743" y="42"/>
                </a:cxn>
                <a:cxn ang="0">
                  <a:pos x="769" y="32"/>
                </a:cxn>
                <a:cxn ang="0">
                  <a:pos x="791" y="22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2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4" h="467">
                  <a:moveTo>
                    <a:pt x="849" y="0"/>
                  </a:moveTo>
                  <a:lnTo>
                    <a:pt x="851" y="0"/>
                  </a:lnTo>
                  <a:lnTo>
                    <a:pt x="861" y="2"/>
                  </a:lnTo>
                  <a:lnTo>
                    <a:pt x="868" y="10"/>
                  </a:lnTo>
                  <a:lnTo>
                    <a:pt x="874" y="16"/>
                  </a:lnTo>
                  <a:lnTo>
                    <a:pt x="878" y="26"/>
                  </a:lnTo>
                  <a:lnTo>
                    <a:pt x="884" y="46"/>
                  </a:lnTo>
                  <a:lnTo>
                    <a:pt x="884" y="64"/>
                  </a:lnTo>
                  <a:lnTo>
                    <a:pt x="882" y="78"/>
                  </a:lnTo>
                  <a:lnTo>
                    <a:pt x="880" y="80"/>
                  </a:lnTo>
                  <a:lnTo>
                    <a:pt x="880" y="82"/>
                  </a:lnTo>
                  <a:lnTo>
                    <a:pt x="34" y="467"/>
                  </a:lnTo>
                  <a:lnTo>
                    <a:pt x="34" y="451"/>
                  </a:lnTo>
                  <a:lnTo>
                    <a:pt x="34" y="433"/>
                  </a:lnTo>
                  <a:lnTo>
                    <a:pt x="34" y="427"/>
                  </a:lnTo>
                  <a:lnTo>
                    <a:pt x="32" y="419"/>
                  </a:lnTo>
                  <a:lnTo>
                    <a:pt x="28" y="405"/>
                  </a:lnTo>
                  <a:lnTo>
                    <a:pt x="26" y="391"/>
                  </a:lnTo>
                  <a:lnTo>
                    <a:pt x="24" y="382"/>
                  </a:lnTo>
                  <a:lnTo>
                    <a:pt x="20" y="368"/>
                  </a:lnTo>
                  <a:lnTo>
                    <a:pt x="14" y="360"/>
                  </a:lnTo>
                  <a:lnTo>
                    <a:pt x="8" y="358"/>
                  </a:lnTo>
                  <a:lnTo>
                    <a:pt x="0" y="352"/>
                  </a:lnTo>
                  <a:lnTo>
                    <a:pt x="0" y="350"/>
                  </a:lnTo>
                  <a:lnTo>
                    <a:pt x="8" y="348"/>
                  </a:lnTo>
                  <a:lnTo>
                    <a:pt x="18" y="342"/>
                  </a:lnTo>
                  <a:lnTo>
                    <a:pt x="34" y="336"/>
                  </a:lnTo>
                  <a:lnTo>
                    <a:pt x="52" y="328"/>
                  </a:lnTo>
                  <a:lnTo>
                    <a:pt x="76" y="318"/>
                  </a:lnTo>
                  <a:lnTo>
                    <a:pt x="102" y="308"/>
                  </a:lnTo>
                  <a:lnTo>
                    <a:pt x="130" y="296"/>
                  </a:lnTo>
                  <a:lnTo>
                    <a:pt x="162" y="282"/>
                  </a:lnTo>
                  <a:lnTo>
                    <a:pt x="194" y="270"/>
                  </a:lnTo>
                  <a:lnTo>
                    <a:pt x="267" y="238"/>
                  </a:lnTo>
                  <a:lnTo>
                    <a:pt x="343" y="208"/>
                  </a:lnTo>
                  <a:lnTo>
                    <a:pt x="499" y="142"/>
                  </a:lnTo>
                  <a:lnTo>
                    <a:pt x="577" y="110"/>
                  </a:lnTo>
                  <a:lnTo>
                    <a:pt x="651" y="80"/>
                  </a:lnTo>
                  <a:lnTo>
                    <a:pt x="683" y="66"/>
                  </a:lnTo>
                  <a:lnTo>
                    <a:pt x="715" y="54"/>
                  </a:lnTo>
                  <a:lnTo>
                    <a:pt x="743" y="42"/>
                  </a:lnTo>
                  <a:lnTo>
                    <a:pt x="769" y="32"/>
                  </a:lnTo>
                  <a:lnTo>
                    <a:pt x="791" y="22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2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7" name="Freeform 150"/>
            <p:cNvSpPr>
              <a:spLocks/>
            </p:cNvSpPr>
            <p:nvPr/>
          </p:nvSpPr>
          <p:spPr bwMode="auto">
            <a:xfrm>
              <a:off x="2220" y="1699"/>
              <a:ext cx="442" cy="233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59" y="2"/>
                </a:cxn>
                <a:cxn ang="0">
                  <a:pos x="868" y="10"/>
                </a:cxn>
                <a:cxn ang="0">
                  <a:pos x="872" y="16"/>
                </a:cxn>
                <a:cxn ang="0">
                  <a:pos x="878" y="26"/>
                </a:cxn>
                <a:cxn ang="0">
                  <a:pos x="882" y="46"/>
                </a:cxn>
                <a:cxn ang="0">
                  <a:pos x="882" y="64"/>
                </a:cxn>
                <a:cxn ang="0">
                  <a:pos x="880" y="76"/>
                </a:cxn>
                <a:cxn ang="0">
                  <a:pos x="880" y="80"/>
                </a:cxn>
                <a:cxn ang="0">
                  <a:pos x="32" y="465"/>
                </a:cxn>
                <a:cxn ang="0">
                  <a:pos x="34" y="449"/>
                </a:cxn>
                <a:cxn ang="0">
                  <a:pos x="34" y="431"/>
                </a:cxn>
                <a:cxn ang="0">
                  <a:pos x="28" y="405"/>
                </a:cxn>
                <a:cxn ang="0">
                  <a:pos x="24" y="393"/>
                </a:cxn>
                <a:cxn ang="0">
                  <a:pos x="22" y="384"/>
                </a:cxn>
                <a:cxn ang="0">
                  <a:pos x="20" y="370"/>
                </a:cxn>
                <a:cxn ang="0">
                  <a:pos x="14" y="362"/>
                </a:cxn>
                <a:cxn ang="0">
                  <a:pos x="8" y="358"/>
                </a:cxn>
                <a:cxn ang="0">
                  <a:pos x="0" y="354"/>
                </a:cxn>
                <a:cxn ang="0">
                  <a:pos x="2" y="352"/>
                </a:cxn>
                <a:cxn ang="0">
                  <a:pos x="10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8" y="322"/>
                </a:cxn>
                <a:cxn ang="0">
                  <a:pos x="104" y="310"/>
                </a:cxn>
                <a:cxn ang="0">
                  <a:pos x="132" y="298"/>
                </a:cxn>
                <a:cxn ang="0">
                  <a:pos x="162" y="286"/>
                </a:cxn>
                <a:cxn ang="0">
                  <a:pos x="196" y="272"/>
                </a:cxn>
                <a:cxn ang="0">
                  <a:pos x="267" y="242"/>
                </a:cxn>
                <a:cxn ang="0">
                  <a:pos x="345" y="210"/>
                </a:cxn>
                <a:cxn ang="0">
                  <a:pos x="423" y="176"/>
                </a:cxn>
                <a:cxn ang="0">
                  <a:pos x="501" y="142"/>
                </a:cxn>
                <a:cxn ang="0">
                  <a:pos x="579" y="112"/>
                </a:cxn>
                <a:cxn ang="0">
                  <a:pos x="651" y="80"/>
                </a:cxn>
                <a:cxn ang="0">
                  <a:pos x="717" y="54"/>
                </a:cxn>
                <a:cxn ang="0">
                  <a:pos x="743" y="44"/>
                </a:cxn>
                <a:cxn ang="0">
                  <a:pos x="769" y="32"/>
                </a:cxn>
                <a:cxn ang="0">
                  <a:pos x="793" y="22"/>
                </a:cxn>
                <a:cxn ang="0">
                  <a:pos x="811" y="14"/>
                </a:cxn>
                <a:cxn ang="0">
                  <a:pos x="829" y="8"/>
                </a:cxn>
                <a:cxn ang="0">
                  <a:pos x="839" y="2"/>
                </a:cxn>
                <a:cxn ang="0">
                  <a:pos x="847" y="2"/>
                </a:cxn>
                <a:cxn ang="0">
                  <a:pos x="849" y="0"/>
                </a:cxn>
              </a:cxnLst>
              <a:rect l="0" t="0" r="r" b="b"/>
              <a:pathLst>
                <a:path w="882" h="465">
                  <a:moveTo>
                    <a:pt x="849" y="0"/>
                  </a:moveTo>
                  <a:lnTo>
                    <a:pt x="853" y="0"/>
                  </a:lnTo>
                  <a:lnTo>
                    <a:pt x="859" y="2"/>
                  </a:lnTo>
                  <a:lnTo>
                    <a:pt x="868" y="10"/>
                  </a:lnTo>
                  <a:lnTo>
                    <a:pt x="872" y="16"/>
                  </a:lnTo>
                  <a:lnTo>
                    <a:pt x="878" y="26"/>
                  </a:lnTo>
                  <a:lnTo>
                    <a:pt x="882" y="46"/>
                  </a:lnTo>
                  <a:lnTo>
                    <a:pt x="882" y="64"/>
                  </a:lnTo>
                  <a:lnTo>
                    <a:pt x="880" y="76"/>
                  </a:lnTo>
                  <a:lnTo>
                    <a:pt x="880" y="80"/>
                  </a:lnTo>
                  <a:lnTo>
                    <a:pt x="32" y="465"/>
                  </a:lnTo>
                  <a:lnTo>
                    <a:pt x="34" y="449"/>
                  </a:lnTo>
                  <a:lnTo>
                    <a:pt x="34" y="431"/>
                  </a:lnTo>
                  <a:lnTo>
                    <a:pt x="28" y="405"/>
                  </a:lnTo>
                  <a:lnTo>
                    <a:pt x="24" y="393"/>
                  </a:lnTo>
                  <a:lnTo>
                    <a:pt x="22" y="384"/>
                  </a:lnTo>
                  <a:lnTo>
                    <a:pt x="20" y="370"/>
                  </a:lnTo>
                  <a:lnTo>
                    <a:pt x="14" y="362"/>
                  </a:lnTo>
                  <a:lnTo>
                    <a:pt x="8" y="358"/>
                  </a:lnTo>
                  <a:lnTo>
                    <a:pt x="0" y="354"/>
                  </a:lnTo>
                  <a:lnTo>
                    <a:pt x="2" y="352"/>
                  </a:lnTo>
                  <a:lnTo>
                    <a:pt x="10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8" y="322"/>
                  </a:lnTo>
                  <a:lnTo>
                    <a:pt x="104" y="310"/>
                  </a:lnTo>
                  <a:lnTo>
                    <a:pt x="132" y="298"/>
                  </a:lnTo>
                  <a:lnTo>
                    <a:pt x="162" y="286"/>
                  </a:lnTo>
                  <a:lnTo>
                    <a:pt x="196" y="272"/>
                  </a:lnTo>
                  <a:lnTo>
                    <a:pt x="267" y="242"/>
                  </a:lnTo>
                  <a:lnTo>
                    <a:pt x="345" y="210"/>
                  </a:lnTo>
                  <a:lnTo>
                    <a:pt x="423" y="176"/>
                  </a:lnTo>
                  <a:lnTo>
                    <a:pt x="501" y="142"/>
                  </a:lnTo>
                  <a:lnTo>
                    <a:pt x="579" y="112"/>
                  </a:lnTo>
                  <a:lnTo>
                    <a:pt x="651" y="80"/>
                  </a:lnTo>
                  <a:lnTo>
                    <a:pt x="717" y="54"/>
                  </a:lnTo>
                  <a:lnTo>
                    <a:pt x="743" y="44"/>
                  </a:lnTo>
                  <a:lnTo>
                    <a:pt x="769" y="32"/>
                  </a:lnTo>
                  <a:lnTo>
                    <a:pt x="793" y="22"/>
                  </a:lnTo>
                  <a:lnTo>
                    <a:pt x="811" y="14"/>
                  </a:lnTo>
                  <a:lnTo>
                    <a:pt x="829" y="8"/>
                  </a:lnTo>
                  <a:lnTo>
                    <a:pt x="839" y="2"/>
                  </a:lnTo>
                  <a:lnTo>
                    <a:pt x="847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8" name="Freeform 151"/>
            <p:cNvSpPr>
              <a:spLocks/>
            </p:cNvSpPr>
            <p:nvPr/>
          </p:nvSpPr>
          <p:spPr bwMode="auto">
            <a:xfrm>
              <a:off x="2221" y="1700"/>
              <a:ext cx="441" cy="231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59" y="2"/>
                </a:cxn>
                <a:cxn ang="0">
                  <a:pos x="866" y="8"/>
                </a:cxn>
                <a:cxn ang="0">
                  <a:pos x="870" y="14"/>
                </a:cxn>
                <a:cxn ang="0">
                  <a:pos x="876" y="24"/>
                </a:cxn>
                <a:cxn ang="0">
                  <a:pos x="880" y="44"/>
                </a:cxn>
                <a:cxn ang="0">
                  <a:pos x="880" y="62"/>
                </a:cxn>
                <a:cxn ang="0">
                  <a:pos x="878" y="74"/>
                </a:cxn>
                <a:cxn ang="0">
                  <a:pos x="878" y="76"/>
                </a:cxn>
                <a:cxn ang="0">
                  <a:pos x="878" y="78"/>
                </a:cxn>
                <a:cxn ang="0">
                  <a:pos x="30" y="461"/>
                </a:cxn>
                <a:cxn ang="0">
                  <a:pos x="32" y="445"/>
                </a:cxn>
                <a:cxn ang="0">
                  <a:pos x="32" y="427"/>
                </a:cxn>
                <a:cxn ang="0">
                  <a:pos x="30" y="421"/>
                </a:cxn>
                <a:cxn ang="0">
                  <a:pos x="28" y="415"/>
                </a:cxn>
                <a:cxn ang="0">
                  <a:pos x="26" y="405"/>
                </a:cxn>
                <a:cxn ang="0">
                  <a:pos x="24" y="393"/>
                </a:cxn>
                <a:cxn ang="0">
                  <a:pos x="22" y="384"/>
                </a:cxn>
                <a:cxn ang="0">
                  <a:pos x="18" y="372"/>
                </a:cxn>
                <a:cxn ang="0">
                  <a:pos x="14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0" y="352"/>
                </a:cxn>
                <a:cxn ang="0">
                  <a:pos x="10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8" y="322"/>
                </a:cxn>
                <a:cxn ang="0">
                  <a:pos x="104" y="310"/>
                </a:cxn>
                <a:cxn ang="0">
                  <a:pos x="130" y="300"/>
                </a:cxn>
                <a:cxn ang="0">
                  <a:pos x="162" y="286"/>
                </a:cxn>
                <a:cxn ang="0">
                  <a:pos x="196" y="272"/>
                </a:cxn>
                <a:cxn ang="0">
                  <a:pos x="267" y="242"/>
                </a:cxn>
                <a:cxn ang="0">
                  <a:pos x="345" y="210"/>
                </a:cxn>
                <a:cxn ang="0">
                  <a:pos x="421" y="178"/>
                </a:cxn>
                <a:cxn ang="0">
                  <a:pos x="501" y="144"/>
                </a:cxn>
                <a:cxn ang="0">
                  <a:pos x="577" y="112"/>
                </a:cxn>
                <a:cxn ang="0">
                  <a:pos x="651" y="82"/>
                </a:cxn>
                <a:cxn ang="0">
                  <a:pos x="715" y="56"/>
                </a:cxn>
                <a:cxn ang="0">
                  <a:pos x="743" y="44"/>
                </a:cxn>
                <a:cxn ang="0">
                  <a:pos x="769" y="32"/>
                </a:cxn>
                <a:cxn ang="0">
                  <a:pos x="793" y="24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4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0" h="461">
                  <a:moveTo>
                    <a:pt x="849" y="0"/>
                  </a:moveTo>
                  <a:lnTo>
                    <a:pt x="853" y="0"/>
                  </a:lnTo>
                  <a:lnTo>
                    <a:pt x="859" y="2"/>
                  </a:lnTo>
                  <a:lnTo>
                    <a:pt x="866" y="8"/>
                  </a:lnTo>
                  <a:lnTo>
                    <a:pt x="870" y="14"/>
                  </a:lnTo>
                  <a:lnTo>
                    <a:pt x="876" y="24"/>
                  </a:lnTo>
                  <a:lnTo>
                    <a:pt x="880" y="44"/>
                  </a:lnTo>
                  <a:lnTo>
                    <a:pt x="880" y="62"/>
                  </a:lnTo>
                  <a:lnTo>
                    <a:pt x="878" y="74"/>
                  </a:lnTo>
                  <a:lnTo>
                    <a:pt x="878" y="76"/>
                  </a:lnTo>
                  <a:lnTo>
                    <a:pt x="878" y="78"/>
                  </a:lnTo>
                  <a:lnTo>
                    <a:pt x="30" y="461"/>
                  </a:lnTo>
                  <a:lnTo>
                    <a:pt x="32" y="445"/>
                  </a:lnTo>
                  <a:lnTo>
                    <a:pt x="32" y="427"/>
                  </a:lnTo>
                  <a:lnTo>
                    <a:pt x="30" y="421"/>
                  </a:lnTo>
                  <a:lnTo>
                    <a:pt x="28" y="415"/>
                  </a:lnTo>
                  <a:lnTo>
                    <a:pt x="26" y="405"/>
                  </a:lnTo>
                  <a:lnTo>
                    <a:pt x="24" y="393"/>
                  </a:lnTo>
                  <a:lnTo>
                    <a:pt x="22" y="384"/>
                  </a:lnTo>
                  <a:lnTo>
                    <a:pt x="18" y="372"/>
                  </a:lnTo>
                  <a:lnTo>
                    <a:pt x="14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0" y="352"/>
                  </a:lnTo>
                  <a:lnTo>
                    <a:pt x="10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8" y="322"/>
                  </a:lnTo>
                  <a:lnTo>
                    <a:pt x="104" y="310"/>
                  </a:lnTo>
                  <a:lnTo>
                    <a:pt x="130" y="300"/>
                  </a:lnTo>
                  <a:lnTo>
                    <a:pt x="162" y="286"/>
                  </a:lnTo>
                  <a:lnTo>
                    <a:pt x="196" y="272"/>
                  </a:lnTo>
                  <a:lnTo>
                    <a:pt x="267" y="242"/>
                  </a:lnTo>
                  <a:lnTo>
                    <a:pt x="345" y="210"/>
                  </a:lnTo>
                  <a:lnTo>
                    <a:pt x="421" y="178"/>
                  </a:lnTo>
                  <a:lnTo>
                    <a:pt x="501" y="144"/>
                  </a:lnTo>
                  <a:lnTo>
                    <a:pt x="577" y="112"/>
                  </a:lnTo>
                  <a:lnTo>
                    <a:pt x="651" y="82"/>
                  </a:lnTo>
                  <a:lnTo>
                    <a:pt x="715" y="56"/>
                  </a:lnTo>
                  <a:lnTo>
                    <a:pt x="743" y="44"/>
                  </a:lnTo>
                  <a:lnTo>
                    <a:pt x="769" y="32"/>
                  </a:lnTo>
                  <a:lnTo>
                    <a:pt x="793" y="24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4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B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29" name="Freeform 152"/>
            <p:cNvSpPr>
              <a:spLocks/>
            </p:cNvSpPr>
            <p:nvPr/>
          </p:nvSpPr>
          <p:spPr bwMode="auto">
            <a:xfrm>
              <a:off x="2223" y="1701"/>
              <a:ext cx="439" cy="229"/>
            </a:xfrm>
            <a:custGeom>
              <a:avLst/>
              <a:gdLst/>
              <a:ahLst/>
              <a:cxnLst>
                <a:cxn ang="0">
                  <a:pos x="847" y="0"/>
                </a:cxn>
                <a:cxn ang="0">
                  <a:pos x="849" y="0"/>
                </a:cxn>
                <a:cxn ang="0">
                  <a:pos x="855" y="2"/>
                </a:cxn>
                <a:cxn ang="0">
                  <a:pos x="864" y="8"/>
                </a:cxn>
                <a:cxn ang="0">
                  <a:pos x="866" y="14"/>
                </a:cxn>
                <a:cxn ang="0">
                  <a:pos x="872" y="22"/>
                </a:cxn>
                <a:cxn ang="0">
                  <a:pos x="876" y="42"/>
                </a:cxn>
                <a:cxn ang="0">
                  <a:pos x="876" y="58"/>
                </a:cxn>
                <a:cxn ang="0">
                  <a:pos x="874" y="70"/>
                </a:cxn>
                <a:cxn ang="0">
                  <a:pos x="874" y="74"/>
                </a:cxn>
                <a:cxn ang="0">
                  <a:pos x="28" y="457"/>
                </a:cxn>
                <a:cxn ang="0">
                  <a:pos x="28" y="441"/>
                </a:cxn>
                <a:cxn ang="0">
                  <a:pos x="28" y="423"/>
                </a:cxn>
                <a:cxn ang="0">
                  <a:pos x="26" y="419"/>
                </a:cxn>
                <a:cxn ang="0">
                  <a:pos x="24" y="411"/>
                </a:cxn>
                <a:cxn ang="0">
                  <a:pos x="22" y="403"/>
                </a:cxn>
                <a:cxn ang="0">
                  <a:pos x="20" y="391"/>
                </a:cxn>
                <a:cxn ang="0">
                  <a:pos x="20" y="383"/>
                </a:cxn>
                <a:cxn ang="0">
                  <a:pos x="18" y="372"/>
                </a:cxn>
                <a:cxn ang="0">
                  <a:pos x="12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2" y="352"/>
                </a:cxn>
                <a:cxn ang="0">
                  <a:pos x="8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6" y="322"/>
                </a:cxn>
                <a:cxn ang="0">
                  <a:pos x="102" y="310"/>
                </a:cxn>
                <a:cxn ang="0">
                  <a:pos x="132" y="298"/>
                </a:cxn>
                <a:cxn ang="0">
                  <a:pos x="162" y="286"/>
                </a:cxn>
                <a:cxn ang="0">
                  <a:pos x="194" y="272"/>
                </a:cxn>
                <a:cxn ang="0">
                  <a:pos x="265" y="242"/>
                </a:cxn>
                <a:cxn ang="0">
                  <a:pos x="343" y="210"/>
                </a:cxn>
                <a:cxn ang="0">
                  <a:pos x="421" y="178"/>
                </a:cxn>
                <a:cxn ang="0">
                  <a:pos x="499" y="142"/>
                </a:cxn>
                <a:cxn ang="0">
                  <a:pos x="575" y="112"/>
                </a:cxn>
                <a:cxn ang="0">
                  <a:pos x="649" y="82"/>
                </a:cxn>
                <a:cxn ang="0">
                  <a:pos x="713" y="56"/>
                </a:cxn>
                <a:cxn ang="0">
                  <a:pos x="741" y="44"/>
                </a:cxn>
                <a:cxn ang="0">
                  <a:pos x="767" y="32"/>
                </a:cxn>
                <a:cxn ang="0">
                  <a:pos x="789" y="22"/>
                </a:cxn>
                <a:cxn ang="0">
                  <a:pos x="809" y="14"/>
                </a:cxn>
                <a:cxn ang="0">
                  <a:pos x="825" y="8"/>
                </a:cxn>
                <a:cxn ang="0">
                  <a:pos x="837" y="4"/>
                </a:cxn>
                <a:cxn ang="0">
                  <a:pos x="843" y="2"/>
                </a:cxn>
                <a:cxn ang="0">
                  <a:pos x="847" y="0"/>
                </a:cxn>
              </a:cxnLst>
              <a:rect l="0" t="0" r="r" b="b"/>
              <a:pathLst>
                <a:path w="876" h="457">
                  <a:moveTo>
                    <a:pt x="847" y="0"/>
                  </a:moveTo>
                  <a:lnTo>
                    <a:pt x="849" y="0"/>
                  </a:lnTo>
                  <a:lnTo>
                    <a:pt x="855" y="2"/>
                  </a:lnTo>
                  <a:lnTo>
                    <a:pt x="864" y="8"/>
                  </a:lnTo>
                  <a:lnTo>
                    <a:pt x="866" y="14"/>
                  </a:lnTo>
                  <a:lnTo>
                    <a:pt x="872" y="22"/>
                  </a:lnTo>
                  <a:lnTo>
                    <a:pt x="876" y="42"/>
                  </a:lnTo>
                  <a:lnTo>
                    <a:pt x="876" y="58"/>
                  </a:lnTo>
                  <a:lnTo>
                    <a:pt x="874" y="70"/>
                  </a:lnTo>
                  <a:lnTo>
                    <a:pt x="874" y="74"/>
                  </a:lnTo>
                  <a:lnTo>
                    <a:pt x="28" y="457"/>
                  </a:lnTo>
                  <a:lnTo>
                    <a:pt x="28" y="441"/>
                  </a:lnTo>
                  <a:lnTo>
                    <a:pt x="28" y="423"/>
                  </a:lnTo>
                  <a:lnTo>
                    <a:pt x="26" y="419"/>
                  </a:lnTo>
                  <a:lnTo>
                    <a:pt x="24" y="411"/>
                  </a:lnTo>
                  <a:lnTo>
                    <a:pt x="22" y="403"/>
                  </a:lnTo>
                  <a:lnTo>
                    <a:pt x="20" y="391"/>
                  </a:lnTo>
                  <a:lnTo>
                    <a:pt x="20" y="383"/>
                  </a:lnTo>
                  <a:lnTo>
                    <a:pt x="18" y="372"/>
                  </a:lnTo>
                  <a:lnTo>
                    <a:pt x="12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2" y="352"/>
                  </a:lnTo>
                  <a:lnTo>
                    <a:pt x="8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6" y="322"/>
                  </a:lnTo>
                  <a:lnTo>
                    <a:pt x="102" y="310"/>
                  </a:lnTo>
                  <a:lnTo>
                    <a:pt x="132" y="298"/>
                  </a:lnTo>
                  <a:lnTo>
                    <a:pt x="162" y="286"/>
                  </a:lnTo>
                  <a:lnTo>
                    <a:pt x="194" y="272"/>
                  </a:lnTo>
                  <a:lnTo>
                    <a:pt x="265" y="242"/>
                  </a:lnTo>
                  <a:lnTo>
                    <a:pt x="343" y="210"/>
                  </a:lnTo>
                  <a:lnTo>
                    <a:pt x="421" y="178"/>
                  </a:lnTo>
                  <a:lnTo>
                    <a:pt x="499" y="142"/>
                  </a:lnTo>
                  <a:lnTo>
                    <a:pt x="575" y="112"/>
                  </a:lnTo>
                  <a:lnTo>
                    <a:pt x="649" y="82"/>
                  </a:lnTo>
                  <a:lnTo>
                    <a:pt x="713" y="56"/>
                  </a:lnTo>
                  <a:lnTo>
                    <a:pt x="741" y="44"/>
                  </a:lnTo>
                  <a:lnTo>
                    <a:pt x="767" y="32"/>
                  </a:lnTo>
                  <a:lnTo>
                    <a:pt x="789" y="22"/>
                  </a:lnTo>
                  <a:lnTo>
                    <a:pt x="809" y="14"/>
                  </a:lnTo>
                  <a:lnTo>
                    <a:pt x="825" y="8"/>
                  </a:lnTo>
                  <a:lnTo>
                    <a:pt x="837" y="4"/>
                  </a:lnTo>
                  <a:lnTo>
                    <a:pt x="843" y="2"/>
                  </a:lnTo>
                  <a:lnTo>
                    <a:pt x="847" y="0"/>
                  </a:lnTo>
                  <a:close/>
                </a:path>
              </a:pathLst>
            </a:custGeom>
            <a:solidFill>
              <a:srgbClr val="FFB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0" name="Freeform 153"/>
            <p:cNvSpPr>
              <a:spLocks/>
            </p:cNvSpPr>
            <p:nvPr/>
          </p:nvSpPr>
          <p:spPr bwMode="auto">
            <a:xfrm>
              <a:off x="2223" y="1702"/>
              <a:ext cx="440" cy="226"/>
            </a:xfrm>
            <a:custGeom>
              <a:avLst/>
              <a:gdLst/>
              <a:ahLst/>
              <a:cxnLst>
                <a:cxn ang="0">
                  <a:pos x="847" y="0"/>
                </a:cxn>
                <a:cxn ang="0">
                  <a:pos x="855" y="0"/>
                </a:cxn>
                <a:cxn ang="0">
                  <a:pos x="862" y="6"/>
                </a:cxn>
                <a:cxn ang="0">
                  <a:pos x="866" y="12"/>
                </a:cxn>
                <a:cxn ang="0">
                  <a:pos x="870" y="20"/>
                </a:cxn>
                <a:cxn ang="0">
                  <a:pos x="876" y="38"/>
                </a:cxn>
                <a:cxn ang="0">
                  <a:pos x="878" y="54"/>
                </a:cxn>
                <a:cxn ang="0">
                  <a:pos x="876" y="66"/>
                </a:cxn>
                <a:cxn ang="0">
                  <a:pos x="874" y="70"/>
                </a:cxn>
                <a:cxn ang="0">
                  <a:pos x="26" y="451"/>
                </a:cxn>
                <a:cxn ang="0">
                  <a:pos x="28" y="435"/>
                </a:cxn>
                <a:cxn ang="0">
                  <a:pos x="28" y="421"/>
                </a:cxn>
                <a:cxn ang="0">
                  <a:pos x="26" y="419"/>
                </a:cxn>
                <a:cxn ang="0">
                  <a:pos x="26" y="417"/>
                </a:cxn>
                <a:cxn ang="0">
                  <a:pos x="26" y="413"/>
                </a:cxn>
                <a:cxn ang="0">
                  <a:pos x="22" y="409"/>
                </a:cxn>
                <a:cxn ang="0">
                  <a:pos x="20" y="399"/>
                </a:cxn>
                <a:cxn ang="0">
                  <a:pos x="18" y="389"/>
                </a:cxn>
                <a:cxn ang="0">
                  <a:pos x="18" y="381"/>
                </a:cxn>
                <a:cxn ang="0">
                  <a:pos x="18" y="370"/>
                </a:cxn>
                <a:cxn ang="0">
                  <a:pos x="12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0" y="352"/>
                </a:cxn>
                <a:cxn ang="0">
                  <a:pos x="8" y="350"/>
                </a:cxn>
                <a:cxn ang="0">
                  <a:pos x="18" y="344"/>
                </a:cxn>
                <a:cxn ang="0">
                  <a:pos x="34" y="338"/>
                </a:cxn>
                <a:cxn ang="0">
                  <a:pos x="54" y="330"/>
                </a:cxn>
                <a:cxn ang="0">
                  <a:pos x="78" y="320"/>
                </a:cxn>
                <a:cxn ang="0">
                  <a:pos x="102" y="308"/>
                </a:cxn>
                <a:cxn ang="0">
                  <a:pos x="130" y="298"/>
                </a:cxn>
                <a:cxn ang="0">
                  <a:pos x="162" y="284"/>
                </a:cxn>
                <a:cxn ang="0">
                  <a:pos x="196" y="270"/>
                </a:cxn>
                <a:cxn ang="0">
                  <a:pos x="267" y="240"/>
                </a:cxn>
                <a:cxn ang="0">
                  <a:pos x="343" y="210"/>
                </a:cxn>
                <a:cxn ang="0">
                  <a:pos x="421" y="176"/>
                </a:cxn>
                <a:cxn ang="0">
                  <a:pos x="499" y="142"/>
                </a:cxn>
                <a:cxn ang="0">
                  <a:pos x="577" y="112"/>
                </a:cxn>
                <a:cxn ang="0">
                  <a:pos x="649" y="80"/>
                </a:cxn>
                <a:cxn ang="0">
                  <a:pos x="683" y="68"/>
                </a:cxn>
                <a:cxn ang="0">
                  <a:pos x="715" y="54"/>
                </a:cxn>
                <a:cxn ang="0">
                  <a:pos x="743" y="44"/>
                </a:cxn>
                <a:cxn ang="0">
                  <a:pos x="767" y="32"/>
                </a:cxn>
                <a:cxn ang="0">
                  <a:pos x="791" y="22"/>
                </a:cxn>
                <a:cxn ang="0">
                  <a:pos x="809" y="14"/>
                </a:cxn>
                <a:cxn ang="0">
                  <a:pos x="827" y="8"/>
                </a:cxn>
                <a:cxn ang="0">
                  <a:pos x="837" y="2"/>
                </a:cxn>
                <a:cxn ang="0">
                  <a:pos x="843" y="2"/>
                </a:cxn>
                <a:cxn ang="0">
                  <a:pos x="847" y="0"/>
                </a:cxn>
              </a:cxnLst>
              <a:rect l="0" t="0" r="r" b="b"/>
              <a:pathLst>
                <a:path w="878" h="451">
                  <a:moveTo>
                    <a:pt x="847" y="0"/>
                  </a:moveTo>
                  <a:lnTo>
                    <a:pt x="855" y="0"/>
                  </a:lnTo>
                  <a:lnTo>
                    <a:pt x="862" y="6"/>
                  </a:lnTo>
                  <a:lnTo>
                    <a:pt x="866" y="12"/>
                  </a:lnTo>
                  <a:lnTo>
                    <a:pt x="870" y="20"/>
                  </a:lnTo>
                  <a:lnTo>
                    <a:pt x="876" y="38"/>
                  </a:lnTo>
                  <a:lnTo>
                    <a:pt x="878" y="54"/>
                  </a:lnTo>
                  <a:lnTo>
                    <a:pt x="876" y="66"/>
                  </a:lnTo>
                  <a:lnTo>
                    <a:pt x="874" y="70"/>
                  </a:lnTo>
                  <a:lnTo>
                    <a:pt x="26" y="451"/>
                  </a:lnTo>
                  <a:lnTo>
                    <a:pt x="28" y="435"/>
                  </a:lnTo>
                  <a:lnTo>
                    <a:pt x="28" y="421"/>
                  </a:lnTo>
                  <a:lnTo>
                    <a:pt x="26" y="419"/>
                  </a:lnTo>
                  <a:lnTo>
                    <a:pt x="26" y="417"/>
                  </a:lnTo>
                  <a:lnTo>
                    <a:pt x="26" y="413"/>
                  </a:lnTo>
                  <a:lnTo>
                    <a:pt x="22" y="409"/>
                  </a:lnTo>
                  <a:lnTo>
                    <a:pt x="20" y="399"/>
                  </a:lnTo>
                  <a:lnTo>
                    <a:pt x="18" y="389"/>
                  </a:lnTo>
                  <a:lnTo>
                    <a:pt x="18" y="381"/>
                  </a:lnTo>
                  <a:lnTo>
                    <a:pt x="18" y="370"/>
                  </a:lnTo>
                  <a:lnTo>
                    <a:pt x="12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0" y="352"/>
                  </a:lnTo>
                  <a:lnTo>
                    <a:pt x="8" y="350"/>
                  </a:lnTo>
                  <a:lnTo>
                    <a:pt x="18" y="344"/>
                  </a:lnTo>
                  <a:lnTo>
                    <a:pt x="34" y="338"/>
                  </a:lnTo>
                  <a:lnTo>
                    <a:pt x="54" y="330"/>
                  </a:lnTo>
                  <a:lnTo>
                    <a:pt x="78" y="320"/>
                  </a:lnTo>
                  <a:lnTo>
                    <a:pt x="102" y="308"/>
                  </a:lnTo>
                  <a:lnTo>
                    <a:pt x="130" y="298"/>
                  </a:lnTo>
                  <a:lnTo>
                    <a:pt x="162" y="284"/>
                  </a:lnTo>
                  <a:lnTo>
                    <a:pt x="196" y="270"/>
                  </a:lnTo>
                  <a:lnTo>
                    <a:pt x="267" y="240"/>
                  </a:lnTo>
                  <a:lnTo>
                    <a:pt x="343" y="210"/>
                  </a:lnTo>
                  <a:lnTo>
                    <a:pt x="421" y="176"/>
                  </a:lnTo>
                  <a:lnTo>
                    <a:pt x="499" y="142"/>
                  </a:lnTo>
                  <a:lnTo>
                    <a:pt x="577" y="112"/>
                  </a:lnTo>
                  <a:lnTo>
                    <a:pt x="649" y="80"/>
                  </a:lnTo>
                  <a:lnTo>
                    <a:pt x="683" y="68"/>
                  </a:lnTo>
                  <a:lnTo>
                    <a:pt x="715" y="54"/>
                  </a:lnTo>
                  <a:lnTo>
                    <a:pt x="743" y="44"/>
                  </a:lnTo>
                  <a:lnTo>
                    <a:pt x="767" y="32"/>
                  </a:lnTo>
                  <a:lnTo>
                    <a:pt x="791" y="22"/>
                  </a:lnTo>
                  <a:lnTo>
                    <a:pt x="809" y="14"/>
                  </a:lnTo>
                  <a:lnTo>
                    <a:pt x="827" y="8"/>
                  </a:lnTo>
                  <a:lnTo>
                    <a:pt x="837" y="2"/>
                  </a:lnTo>
                  <a:lnTo>
                    <a:pt x="843" y="2"/>
                  </a:lnTo>
                  <a:lnTo>
                    <a:pt x="847" y="0"/>
                  </a:lnTo>
                  <a:close/>
                </a:path>
              </a:pathLst>
            </a:custGeom>
            <a:solidFill>
              <a:srgbClr val="FFA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1" name="Freeform 154"/>
            <p:cNvSpPr>
              <a:spLocks/>
            </p:cNvSpPr>
            <p:nvPr/>
          </p:nvSpPr>
          <p:spPr bwMode="auto">
            <a:xfrm>
              <a:off x="2225" y="1702"/>
              <a:ext cx="438" cy="225"/>
            </a:xfrm>
            <a:custGeom>
              <a:avLst/>
              <a:gdLst/>
              <a:ahLst/>
              <a:cxnLst>
                <a:cxn ang="0">
                  <a:pos x="845" y="0"/>
                </a:cxn>
                <a:cxn ang="0">
                  <a:pos x="852" y="0"/>
                </a:cxn>
                <a:cxn ang="0">
                  <a:pos x="860" y="6"/>
                </a:cxn>
                <a:cxn ang="0">
                  <a:pos x="862" y="12"/>
                </a:cxn>
                <a:cxn ang="0">
                  <a:pos x="868" y="20"/>
                </a:cxn>
                <a:cxn ang="0">
                  <a:pos x="872" y="38"/>
                </a:cxn>
                <a:cxn ang="0">
                  <a:pos x="874" y="54"/>
                </a:cxn>
                <a:cxn ang="0">
                  <a:pos x="872" y="64"/>
                </a:cxn>
                <a:cxn ang="0">
                  <a:pos x="870" y="68"/>
                </a:cxn>
                <a:cxn ang="0">
                  <a:pos x="24" y="449"/>
                </a:cxn>
                <a:cxn ang="0">
                  <a:pos x="26" y="433"/>
                </a:cxn>
                <a:cxn ang="0">
                  <a:pos x="26" y="421"/>
                </a:cxn>
                <a:cxn ang="0">
                  <a:pos x="24" y="417"/>
                </a:cxn>
                <a:cxn ang="0">
                  <a:pos x="24" y="415"/>
                </a:cxn>
                <a:cxn ang="0">
                  <a:pos x="20" y="413"/>
                </a:cxn>
                <a:cxn ang="0">
                  <a:pos x="18" y="407"/>
                </a:cxn>
                <a:cxn ang="0">
                  <a:pos x="18" y="399"/>
                </a:cxn>
                <a:cxn ang="0">
                  <a:pos x="16" y="389"/>
                </a:cxn>
                <a:cxn ang="0">
                  <a:pos x="16" y="374"/>
                </a:cxn>
                <a:cxn ang="0">
                  <a:pos x="12" y="366"/>
                </a:cxn>
                <a:cxn ang="0">
                  <a:pos x="8" y="362"/>
                </a:cxn>
                <a:cxn ang="0">
                  <a:pos x="0" y="356"/>
                </a:cxn>
                <a:cxn ang="0">
                  <a:pos x="2" y="354"/>
                </a:cxn>
                <a:cxn ang="0">
                  <a:pos x="8" y="352"/>
                </a:cxn>
                <a:cxn ang="0">
                  <a:pos x="18" y="346"/>
                </a:cxn>
                <a:cxn ang="0">
                  <a:pos x="36" y="340"/>
                </a:cxn>
                <a:cxn ang="0">
                  <a:pos x="54" y="332"/>
                </a:cxn>
                <a:cxn ang="0">
                  <a:pos x="76" y="322"/>
                </a:cxn>
                <a:cxn ang="0">
                  <a:pos x="102" y="312"/>
                </a:cxn>
                <a:cxn ang="0">
                  <a:pos x="130" y="300"/>
                </a:cxn>
                <a:cxn ang="0">
                  <a:pos x="194" y="274"/>
                </a:cxn>
                <a:cxn ang="0">
                  <a:pos x="265" y="242"/>
                </a:cxn>
                <a:cxn ang="0">
                  <a:pos x="341" y="210"/>
                </a:cxn>
                <a:cxn ang="0">
                  <a:pos x="419" y="178"/>
                </a:cxn>
                <a:cxn ang="0">
                  <a:pos x="499" y="144"/>
                </a:cxn>
                <a:cxn ang="0">
                  <a:pos x="577" y="112"/>
                </a:cxn>
                <a:cxn ang="0">
                  <a:pos x="647" y="82"/>
                </a:cxn>
                <a:cxn ang="0">
                  <a:pos x="681" y="68"/>
                </a:cxn>
                <a:cxn ang="0">
                  <a:pos x="713" y="54"/>
                </a:cxn>
                <a:cxn ang="0">
                  <a:pos x="741" y="44"/>
                </a:cxn>
                <a:cxn ang="0">
                  <a:pos x="767" y="32"/>
                </a:cxn>
                <a:cxn ang="0">
                  <a:pos x="789" y="22"/>
                </a:cxn>
                <a:cxn ang="0">
                  <a:pos x="809" y="14"/>
                </a:cxn>
                <a:cxn ang="0">
                  <a:pos x="825" y="8"/>
                </a:cxn>
                <a:cxn ang="0">
                  <a:pos x="837" y="2"/>
                </a:cxn>
                <a:cxn ang="0">
                  <a:pos x="843" y="2"/>
                </a:cxn>
                <a:cxn ang="0">
                  <a:pos x="845" y="0"/>
                </a:cxn>
              </a:cxnLst>
              <a:rect l="0" t="0" r="r" b="b"/>
              <a:pathLst>
                <a:path w="874" h="449">
                  <a:moveTo>
                    <a:pt x="845" y="0"/>
                  </a:moveTo>
                  <a:lnTo>
                    <a:pt x="852" y="0"/>
                  </a:lnTo>
                  <a:lnTo>
                    <a:pt x="860" y="6"/>
                  </a:lnTo>
                  <a:lnTo>
                    <a:pt x="862" y="12"/>
                  </a:lnTo>
                  <a:lnTo>
                    <a:pt x="868" y="20"/>
                  </a:lnTo>
                  <a:lnTo>
                    <a:pt x="872" y="38"/>
                  </a:lnTo>
                  <a:lnTo>
                    <a:pt x="874" y="54"/>
                  </a:lnTo>
                  <a:lnTo>
                    <a:pt x="872" y="64"/>
                  </a:lnTo>
                  <a:lnTo>
                    <a:pt x="870" y="68"/>
                  </a:lnTo>
                  <a:lnTo>
                    <a:pt x="24" y="449"/>
                  </a:lnTo>
                  <a:lnTo>
                    <a:pt x="26" y="433"/>
                  </a:lnTo>
                  <a:lnTo>
                    <a:pt x="26" y="421"/>
                  </a:lnTo>
                  <a:lnTo>
                    <a:pt x="24" y="417"/>
                  </a:lnTo>
                  <a:lnTo>
                    <a:pt x="24" y="415"/>
                  </a:lnTo>
                  <a:lnTo>
                    <a:pt x="20" y="413"/>
                  </a:lnTo>
                  <a:lnTo>
                    <a:pt x="18" y="407"/>
                  </a:lnTo>
                  <a:lnTo>
                    <a:pt x="18" y="399"/>
                  </a:lnTo>
                  <a:lnTo>
                    <a:pt x="16" y="389"/>
                  </a:lnTo>
                  <a:lnTo>
                    <a:pt x="16" y="374"/>
                  </a:lnTo>
                  <a:lnTo>
                    <a:pt x="12" y="366"/>
                  </a:lnTo>
                  <a:lnTo>
                    <a:pt x="8" y="362"/>
                  </a:lnTo>
                  <a:lnTo>
                    <a:pt x="0" y="356"/>
                  </a:lnTo>
                  <a:lnTo>
                    <a:pt x="2" y="354"/>
                  </a:lnTo>
                  <a:lnTo>
                    <a:pt x="8" y="352"/>
                  </a:lnTo>
                  <a:lnTo>
                    <a:pt x="18" y="346"/>
                  </a:lnTo>
                  <a:lnTo>
                    <a:pt x="36" y="340"/>
                  </a:lnTo>
                  <a:lnTo>
                    <a:pt x="54" y="332"/>
                  </a:lnTo>
                  <a:lnTo>
                    <a:pt x="76" y="322"/>
                  </a:lnTo>
                  <a:lnTo>
                    <a:pt x="102" y="312"/>
                  </a:lnTo>
                  <a:lnTo>
                    <a:pt x="130" y="300"/>
                  </a:lnTo>
                  <a:lnTo>
                    <a:pt x="194" y="274"/>
                  </a:lnTo>
                  <a:lnTo>
                    <a:pt x="265" y="242"/>
                  </a:lnTo>
                  <a:lnTo>
                    <a:pt x="341" y="210"/>
                  </a:lnTo>
                  <a:lnTo>
                    <a:pt x="419" y="178"/>
                  </a:lnTo>
                  <a:lnTo>
                    <a:pt x="499" y="144"/>
                  </a:lnTo>
                  <a:lnTo>
                    <a:pt x="577" y="112"/>
                  </a:lnTo>
                  <a:lnTo>
                    <a:pt x="647" y="82"/>
                  </a:lnTo>
                  <a:lnTo>
                    <a:pt x="681" y="68"/>
                  </a:lnTo>
                  <a:lnTo>
                    <a:pt x="713" y="54"/>
                  </a:lnTo>
                  <a:lnTo>
                    <a:pt x="741" y="44"/>
                  </a:lnTo>
                  <a:lnTo>
                    <a:pt x="767" y="32"/>
                  </a:lnTo>
                  <a:lnTo>
                    <a:pt x="789" y="22"/>
                  </a:lnTo>
                  <a:lnTo>
                    <a:pt x="809" y="14"/>
                  </a:lnTo>
                  <a:lnTo>
                    <a:pt x="825" y="8"/>
                  </a:lnTo>
                  <a:lnTo>
                    <a:pt x="837" y="2"/>
                  </a:lnTo>
                  <a:lnTo>
                    <a:pt x="843" y="2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FFA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2" name="Freeform 155"/>
            <p:cNvSpPr>
              <a:spLocks/>
            </p:cNvSpPr>
            <p:nvPr/>
          </p:nvSpPr>
          <p:spPr bwMode="auto">
            <a:xfrm>
              <a:off x="2226" y="1702"/>
              <a:ext cx="437" cy="224"/>
            </a:xfrm>
            <a:custGeom>
              <a:avLst/>
              <a:gdLst/>
              <a:ahLst/>
              <a:cxnLst>
                <a:cxn ang="0">
                  <a:pos x="845" y="2"/>
                </a:cxn>
                <a:cxn ang="0">
                  <a:pos x="847" y="0"/>
                </a:cxn>
                <a:cxn ang="0">
                  <a:pos x="850" y="2"/>
                </a:cxn>
                <a:cxn ang="0">
                  <a:pos x="858" y="6"/>
                </a:cxn>
                <a:cxn ang="0">
                  <a:pos x="860" y="12"/>
                </a:cxn>
                <a:cxn ang="0">
                  <a:pos x="866" y="20"/>
                </a:cxn>
                <a:cxn ang="0">
                  <a:pos x="870" y="38"/>
                </a:cxn>
                <a:cxn ang="0">
                  <a:pos x="872" y="54"/>
                </a:cxn>
                <a:cxn ang="0">
                  <a:pos x="870" y="62"/>
                </a:cxn>
                <a:cxn ang="0">
                  <a:pos x="868" y="66"/>
                </a:cxn>
                <a:cxn ang="0">
                  <a:pos x="22" y="447"/>
                </a:cxn>
                <a:cxn ang="0">
                  <a:pos x="24" y="431"/>
                </a:cxn>
                <a:cxn ang="0">
                  <a:pos x="24" y="421"/>
                </a:cxn>
                <a:cxn ang="0">
                  <a:pos x="22" y="417"/>
                </a:cxn>
                <a:cxn ang="0">
                  <a:pos x="22" y="415"/>
                </a:cxn>
                <a:cxn ang="0">
                  <a:pos x="18" y="411"/>
                </a:cxn>
                <a:cxn ang="0">
                  <a:pos x="16" y="409"/>
                </a:cxn>
                <a:cxn ang="0">
                  <a:pos x="16" y="401"/>
                </a:cxn>
                <a:cxn ang="0">
                  <a:pos x="14" y="391"/>
                </a:cxn>
                <a:cxn ang="0">
                  <a:pos x="14" y="385"/>
                </a:cxn>
                <a:cxn ang="0">
                  <a:pos x="16" y="376"/>
                </a:cxn>
                <a:cxn ang="0">
                  <a:pos x="12" y="368"/>
                </a:cxn>
                <a:cxn ang="0">
                  <a:pos x="8" y="366"/>
                </a:cxn>
                <a:cxn ang="0">
                  <a:pos x="0" y="360"/>
                </a:cxn>
                <a:cxn ang="0">
                  <a:pos x="0" y="358"/>
                </a:cxn>
                <a:cxn ang="0">
                  <a:pos x="8" y="356"/>
                </a:cxn>
                <a:cxn ang="0">
                  <a:pos x="18" y="350"/>
                </a:cxn>
                <a:cxn ang="0">
                  <a:pos x="34" y="344"/>
                </a:cxn>
                <a:cxn ang="0">
                  <a:pos x="54" y="336"/>
                </a:cxn>
                <a:cxn ang="0">
                  <a:pos x="78" y="326"/>
                </a:cxn>
                <a:cxn ang="0">
                  <a:pos x="102" y="314"/>
                </a:cxn>
                <a:cxn ang="0">
                  <a:pos x="130" y="304"/>
                </a:cxn>
                <a:cxn ang="0">
                  <a:pos x="162" y="290"/>
                </a:cxn>
                <a:cxn ang="0">
                  <a:pos x="194" y="276"/>
                </a:cxn>
                <a:cxn ang="0">
                  <a:pos x="267" y="244"/>
                </a:cxn>
                <a:cxn ang="0">
                  <a:pos x="343" y="212"/>
                </a:cxn>
                <a:cxn ang="0">
                  <a:pos x="419" y="180"/>
                </a:cxn>
                <a:cxn ang="0">
                  <a:pos x="499" y="146"/>
                </a:cxn>
                <a:cxn ang="0">
                  <a:pos x="575" y="114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3" y="56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91" y="24"/>
                </a:cxn>
                <a:cxn ang="0">
                  <a:pos x="809" y="16"/>
                </a:cxn>
                <a:cxn ang="0">
                  <a:pos x="825" y="10"/>
                </a:cxn>
                <a:cxn ang="0">
                  <a:pos x="835" y="4"/>
                </a:cxn>
                <a:cxn ang="0">
                  <a:pos x="843" y="2"/>
                </a:cxn>
                <a:cxn ang="0">
                  <a:pos x="845" y="2"/>
                </a:cxn>
              </a:cxnLst>
              <a:rect l="0" t="0" r="r" b="b"/>
              <a:pathLst>
                <a:path w="872" h="447">
                  <a:moveTo>
                    <a:pt x="845" y="2"/>
                  </a:moveTo>
                  <a:lnTo>
                    <a:pt x="847" y="0"/>
                  </a:lnTo>
                  <a:lnTo>
                    <a:pt x="850" y="2"/>
                  </a:lnTo>
                  <a:lnTo>
                    <a:pt x="858" y="6"/>
                  </a:lnTo>
                  <a:lnTo>
                    <a:pt x="860" y="12"/>
                  </a:lnTo>
                  <a:lnTo>
                    <a:pt x="866" y="20"/>
                  </a:lnTo>
                  <a:lnTo>
                    <a:pt x="870" y="38"/>
                  </a:lnTo>
                  <a:lnTo>
                    <a:pt x="872" y="54"/>
                  </a:lnTo>
                  <a:lnTo>
                    <a:pt x="870" y="62"/>
                  </a:lnTo>
                  <a:lnTo>
                    <a:pt x="868" y="66"/>
                  </a:lnTo>
                  <a:lnTo>
                    <a:pt x="22" y="447"/>
                  </a:lnTo>
                  <a:lnTo>
                    <a:pt x="24" y="431"/>
                  </a:lnTo>
                  <a:lnTo>
                    <a:pt x="24" y="421"/>
                  </a:lnTo>
                  <a:lnTo>
                    <a:pt x="22" y="417"/>
                  </a:lnTo>
                  <a:lnTo>
                    <a:pt x="22" y="415"/>
                  </a:lnTo>
                  <a:lnTo>
                    <a:pt x="18" y="411"/>
                  </a:lnTo>
                  <a:lnTo>
                    <a:pt x="16" y="409"/>
                  </a:lnTo>
                  <a:lnTo>
                    <a:pt x="16" y="401"/>
                  </a:lnTo>
                  <a:lnTo>
                    <a:pt x="14" y="391"/>
                  </a:lnTo>
                  <a:lnTo>
                    <a:pt x="14" y="385"/>
                  </a:lnTo>
                  <a:lnTo>
                    <a:pt x="16" y="376"/>
                  </a:lnTo>
                  <a:lnTo>
                    <a:pt x="12" y="368"/>
                  </a:lnTo>
                  <a:lnTo>
                    <a:pt x="8" y="366"/>
                  </a:lnTo>
                  <a:lnTo>
                    <a:pt x="0" y="360"/>
                  </a:lnTo>
                  <a:lnTo>
                    <a:pt x="0" y="358"/>
                  </a:lnTo>
                  <a:lnTo>
                    <a:pt x="8" y="356"/>
                  </a:lnTo>
                  <a:lnTo>
                    <a:pt x="18" y="350"/>
                  </a:lnTo>
                  <a:lnTo>
                    <a:pt x="34" y="344"/>
                  </a:lnTo>
                  <a:lnTo>
                    <a:pt x="54" y="336"/>
                  </a:lnTo>
                  <a:lnTo>
                    <a:pt x="78" y="326"/>
                  </a:lnTo>
                  <a:lnTo>
                    <a:pt x="102" y="314"/>
                  </a:lnTo>
                  <a:lnTo>
                    <a:pt x="130" y="304"/>
                  </a:lnTo>
                  <a:lnTo>
                    <a:pt x="162" y="290"/>
                  </a:lnTo>
                  <a:lnTo>
                    <a:pt x="194" y="276"/>
                  </a:lnTo>
                  <a:lnTo>
                    <a:pt x="267" y="244"/>
                  </a:lnTo>
                  <a:lnTo>
                    <a:pt x="343" y="212"/>
                  </a:lnTo>
                  <a:lnTo>
                    <a:pt x="419" y="180"/>
                  </a:lnTo>
                  <a:lnTo>
                    <a:pt x="499" y="146"/>
                  </a:lnTo>
                  <a:lnTo>
                    <a:pt x="575" y="114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3" y="56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91" y="24"/>
                  </a:lnTo>
                  <a:lnTo>
                    <a:pt x="809" y="16"/>
                  </a:lnTo>
                  <a:lnTo>
                    <a:pt x="825" y="10"/>
                  </a:lnTo>
                  <a:lnTo>
                    <a:pt x="835" y="4"/>
                  </a:lnTo>
                  <a:lnTo>
                    <a:pt x="843" y="2"/>
                  </a:lnTo>
                  <a:lnTo>
                    <a:pt x="845" y="2"/>
                  </a:lnTo>
                  <a:close/>
                </a:path>
              </a:pathLst>
            </a:custGeom>
            <a:solidFill>
              <a:srgbClr val="FF9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3" name="Freeform 156"/>
            <p:cNvSpPr>
              <a:spLocks/>
            </p:cNvSpPr>
            <p:nvPr/>
          </p:nvSpPr>
          <p:spPr bwMode="auto">
            <a:xfrm>
              <a:off x="2227" y="1702"/>
              <a:ext cx="436" cy="222"/>
            </a:xfrm>
            <a:custGeom>
              <a:avLst/>
              <a:gdLst/>
              <a:ahLst/>
              <a:cxnLst>
                <a:cxn ang="0">
                  <a:pos x="845" y="2"/>
                </a:cxn>
                <a:cxn ang="0">
                  <a:pos x="847" y="0"/>
                </a:cxn>
                <a:cxn ang="0">
                  <a:pos x="848" y="0"/>
                </a:cxn>
                <a:cxn ang="0">
                  <a:pos x="856" y="6"/>
                </a:cxn>
                <a:cxn ang="0">
                  <a:pos x="858" y="12"/>
                </a:cxn>
                <a:cxn ang="0">
                  <a:pos x="864" y="20"/>
                </a:cxn>
                <a:cxn ang="0">
                  <a:pos x="868" y="38"/>
                </a:cxn>
                <a:cxn ang="0">
                  <a:pos x="870" y="52"/>
                </a:cxn>
                <a:cxn ang="0">
                  <a:pos x="868" y="60"/>
                </a:cxn>
                <a:cxn ang="0">
                  <a:pos x="866" y="64"/>
                </a:cxn>
                <a:cxn ang="0">
                  <a:pos x="20" y="443"/>
                </a:cxn>
                <a:cxn ang="0">
                  <a:pos x="20" y="427"/>
                </a:cxn>
                <a:cxn ang="0">
                  <a:pos x="22" y="417"/>
                </a:cxn>
                <a:cxn ang="0">
                  <a:pos x="20" y="413"/>
                </a:cxn>
                <a:cxn ang="0">
                  <a:pos x="20" y="411"/>
                </a:cxn>
                <a:cxn ang="0">
                  <a:pos x="18" y="409"/>
                </a:cxn>
                <a:cxn ang="0">
                  <a:pos x="16" y="405"/>
                </a:cxn>
                <a:cxn ang="0">
                  <a:pos x="14" y="399"/>
                </a:cxn>
                <a:cxn ang="0">
                  <a:pos x="14" y="387"/>
                </a:cxn>
                <a:cxn ang="0">
                  <a:pos x="16" y="378"/>
                </a:cxn>
                <a:cxn ang="0">
                  <a:pos x="12" y="370"/>
                </a:cxn>
                <a:cxn ang="0">
                  <a:pos x="8" y="366"/>
                </a:cxn>
                <a:cxn ang="0">
                  <a:pos x="0" y="362"/>
                </a:cxn>
                <a:cxn ang="0">
                  <a:pos x="2" y="360"/>
                </a:cxn>
                <a:cxn ang="0">
                  <a:pos x="10" y="356"/>
                </a:cxn>
                <a:cxn ang="0">
                  <a:pos x="20" y="352"/>
                </a:cxn>
                <a:cxn ang="0">
                  <a:pos x="36" y="344"/>
                </a:cxn>
                <a:cxn ang="0">
                  <a:pos x="54" y="336"/>
                </a:cxn>
                <a:cxn ang="0">
                  <a:pos x="78" y="326"/>
                </a:cxn>
                <a:cxn ang="0">
                  <a:pos x="102" y="318"/>
                </a:cxn>
                <a:cxn ang="0">
                  <a:pos x="132" y="304"/>
                </a:cxn>
                <a:cxn ang="0">
                  <a:pos x="162" y="292"/>
                </a:cxn>
                <a:cxn ang="0">
                  <a:pos x="194" y="276"/>
                </a:cxn>
                <a:cxn ang="0">
                  <a:pos x="267" y="248"/>
                </a:cxn>
                <a:cxn ang="0">
                  <a:pos x="343" y="214"/>
                </a:cxn>
                <a:cxn ang="0">
                  <a:pos x="421" y="180"/>
                </a:cxn>
                <a:cxn ang="0">
                  <a:pos x="499" y="148"/>
                </a:cxn>
                <a:cxn ang="0">
                  <a:pos x="575" y="116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1" y="58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89" y="24"/>
                </a:cxn>
                <a:cxn ang="0">
                  <a:pos x="807" y="16"/>
                </a:cxn>
                <a:cxn ang="0">
                  <a:pos x="823" y="10"/>
                </a:cxn>
                <a:cxn ang="0">
                  <a:pos x="835" y="6"/>
                </a:cxn>
                <a:cxn ang="0">
                  <a:pos x="841" y="4"/>
                </a:cxn>
                <a:cxn ang="0">
                  <a:pos x="845" y="2"/>
                </a:cxn>
              </a:cxnLst>
              <a:rect l="0" t="0" r="r" b="b"/>
              <a:pathLst>
                <a:path w="870" h="443">
                  <a:moveTo>
                    <a:pt x="845" y="2"/>
                  </a:moveTo>
                  <a:lnTo>
                    <a:pt x="847" y="0"/>
                  </a:lnTo>
                  <a:lnTo>
                    <a:pt x="848" y="0"/>
                  </a:lnTo>
                  <a:lnTo>
                    <a:pt x="856" y="6"/>
                  </a:lnTo>
                  <a:lnTo>
                    <a:pt x="858" y="12"/>
                  </a:lnTo>
                  <a:lnTo>
                    <a:pt x="864" y="20"/>
                  </a:lnTo>
                  <a:lnTo>
                    <a:pt x="868" y="38"/>
                  </a:lnTo>
                  <a:lnTo>
                    <a:pt x="870" y="52"/>
                  </a:lnTo>
                  <a:lnTo>
                    <a:pt x="868" y="60"/>
                  </a:lnTo>
                  <a:lnTo>
                    <a:pt x="866" y="64"/>
                  </a:lnTo>
                  <a:lnTo>
                    <a:pt x="20" y="443"/>
                  </a:lnTo>
                  <a:lnTo>
                    <a:pt x="20" y="427"/>
                  </a:lnTo>
                  <a:lnTo>
                    <a:pt x="22" y="417"/>
                  </a:lnTo>
                  <a:lnTo>
                    <a:pt x="20" y="413"/>
                  </a:lnTo>
                  <a:lnTo>
                    <a:pt x="20" y="411"/>
                  </a:lnTo>
                  <a:lnTo>
                    <a:pt x="18" y="409"/>
                  </a:lnTo>
                  <a:lnTo>
                    <a:pt x="16" y="405"/>
                  </a:lnTo>
                  <a:lnTo>
                    <a:pt x="14" y="399"/>
                  </a:lnTo>
                  <a:lnTo>
                    <a:pt x="14" y="387"/>
                  </a:lnTo>
                  <a:lnTo>
                    <a:pt x="16" y="378"/>
                  </a:lnTo>
                  <a:lnTo>
                    <a:pt x="12" y="370"/>
                  </a:lnTo>
                  <a:lnTo>
                    <a:pt x="8" y="366"/>
                  </a:lnTo>
                  <a:lnTo>
                    <a:pt x="0" y="362"/>
                  </a:lnTo>
                  <a:lnTo>
                    <a:pt x="2" y="360"/>
                  </a:lnTo>
                  <a:lnTo>
                    <a:pt x="10" y="356"/>
                  </a:lnTo>
                  <a:lnTo>
                    <a:pt x="20" y="352"/>
                  </a:lnTo>
                  <a:lnTo>
                    <a:pt x="36" y="344"/>
                  </a:lnTo>
                  <a:lnTo>
                    <a:pt x="54" y="336"/>
                  </a:lnTo>
                  <a:lnTo>
                    <a:pt x="78" y="326"/>
                  </a:lnTo>
                  <a:lnTo>
                    <a:pt x="102" y="318"/>
                  </a:lnTo>
                  <a:lnTo>
                    <a:pt x="132" y="304"/>
                  </a:lnTo>
                  <a:lnTo>
                    <a:pt x="162" y="292"/>
                  </a:lnTo>
                  <a:lnTo>
                    <a:pt x="194" y="276"/>
                  </a:lnTo>
                  <a:lnTo>
                    <a:pt x="267" y="248"/>
                  </a:lnTo>
                  <a:lnTo>
                    <a:pt x="343" y="214"/>
                  </a:lnTo>
                  <a:lnTo>
                    <a:pt x="421" y="180"/>
                  </a:lnTo>
                  <a:lnTo>
                    <a:pt x="499" y="148"/>
                  </a:lnTo>
                  <a:lnTo>
                    <a:pt x="575" y="116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1" y="58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89" y="24"/>
                  </a:lnTo>
                  <a:lnTo>
                    <a:pt x="807" y="16"/>
                  </a:lnTo>
                  <a:lnTo>
                    <a:pt x="823" y="10"/>
                  </a:lnTo>
                  <a:lnTo>
                    <a:pt x="835" y="6"/>
                  </a:lnTo>
                  <a:lnTo>
                    <a:pt x="841" y="4"/>
                  </a:lnTo>
                  <a:lnTo>
                    <a:pt x="845" y="2"/>
                  </a:lnTo>
                  <a:close/>
                </a:path>
              </a:pathLst>
            </a:custGeom>
            <a:solidFill>
              <a:srgbClr val="FF9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4" name="Freeform 157"/>
            <p:cNvSpPr>
              <a:spLocks/>
            </p:cNvSpPr>
            <p:nvPr/>
          </p:nvSpPr>
          <p:spPr bwMode="auto">
            <a:xfrm>
              <a:off x="2228" y="1702"/>
              <a:ext cx="435" cy="221"/>
            </a:xfrm>
            <a:custGeom>
              <a:avLst/>
              <a:gdLst/>
              <a:ahLst/>
              <a:cxnLst>
                <a:cxn ang="0">
                  <a:pos x="845" y="0"/>
                </a:cxn>
                <a:cxn ang="0">
                  <a:pos x="846" y="0"/>
                </a:cxn>
                <a:cxn ang="0">
                  <a:pos x="848" y="0"/>
                </a:cxn>
                <a:cxn ang="0">
                  <a:pos x="854" y="4"/>
                </a:cxn>
                <a:cxn ang="0">
                  <a:pos x="858" y="10"/>
                </a:cxn>
                <a:cxn ang="0">
                  <a:pos x="862" y="18"/>
                </a:cxn>
                <a:cxn ang="0">
                  <a:pos x="866" y="36"/>
                </a:cxn>
                <a:cxn ang="0">
                  <a:pos x="868" y="50"/>
                </a:cxn>
                <a:cxn ang="0">
                  <a:pos x="866" y="58"/>
                </a:cxn>
                <a:cxn ang="0">
                  <a:pos x="864" y="60"/>
                </a:cxn>
                <a:cxn ang="0">
                  <a:pos x="18" y="441"/>
                </a:cxn>
                <a:cxn ang="0">
                  <a:pos x="18" y="425"/>
                </a:cxn>
                <a:cxn ang="0">
                  <a:pos x="20" y="415"/>
                </a:cxn>
                <a:cxn ang="0">
                  <a:pos x="18" y="409"/>
                </a:cxn>
                <a:cxn ang="0">
                  <a:pos x="18" y="407"/>
                </a:cxn>
                <a:cxn ang="0">
                  <a:pos x="14" y="407"/>
                </a:cxn>
                <a:cxn ang="0">
                  <a:pos x="12" y="405"/>
                </a:cxn>
                <a:cxn ang="0">
                  <a:pos x="12" y="399"/>
                </a:cxn>
                <a:cxn ang="0">
                  <a:pos x="12" y="387"/>
                </a:cxn>
                <a:cxn ang="0">
                  <a:pos x="14" y="380"/>
                </a:cxn>
                <a:cxn ang="0">
                  <a:pos x="12" y="372"/>
                </a:cxn>
                <a:cxn ang="0">
                  <a:pos x="8" y="368"/>
                </a:cxn>
                <a:cxn ang="0">
                  <a:pos x="0" y="364"/>
                </a:cxn>
                <a:cxn ang="0">
                  <a:pos x="2" y="362"/>
                </a:cxn>
                <a:cxn ang="0">
                  <a:pos x="8" y="358"/>
                </a:cxn>
                <a:cxn ang="0">
                  <a:pos x="20" y="354"/>
                </a:cxn>
                <a:cxn ang="0">
                  <a:pos x="36" y="346"/>
                </a:cxn>
                <a:cxn ang="0">
                  <a:pos x="54" y="338"/>
                </a:cxn>
                <a:cxn ang="0">
                  <a:pos x="76" y="330"/>
                </a:cxn>
                <a:cxn ang="0">
                  <a:pos x="102" y="318"/>
                </a:cxn>
                <a:cxn ang="0">
                  <a:pos x="130" y="304"/>
                </a:cxn>
                <a:cxn ang="0">
                  <a:pos x="160" y="292"/>
                </a:cxn>
                <a:cxn ang="0">
                  <a:pos x="194" y="278"/>
                </a:cxn>
                <a:cxn ang="0">
                  <a:pos x="265" y="248"/>
                </a:cxn>
                <a:cxn ang="0">
                  <a:pos x="341" y="214"/>
                </a:cxn>
                <a:cxn ang="0">
                  <a:pos x="419" y="182"/>
                </a:cxn>
                <a:cxn ang="0">
                  <a:pos x="499" y="148"/>
                </a:cxn>
                <a:cxn ang="0">
                  <a:pos x="575" y="114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1" y="58"/>
                </a:cxn>
                <a:cxn ang="0">
                  <a:pos x="741" y="44"/>
                </a:cxn>
                <a:cxn ang="0">
                  <a:pos x="767" y="34"/>
                </a:cxn>
                <a:cxn ang="0">
                  <a:pos x="789" y="26"/>
                </a:cxn>
                <a:cxn ang="0">
                  <a:pos x="807" y="18"/>
                </a:cxn>
                <a:cxn ang="0">
                  <a:pos x="823" y="8"/>
                </a:cxn>
                <a:cxn ang="0">
                  <a:pos x="835" y="4"/>
                </a:cxn>
                <a:cxn ang="0">
                  <a:pos x="841" y="2"/>
                </a:cxn>
                <a:cxn ang="0">
                  <a:pos x="845" y="0"/>
                </a:cxn>
              </a:cxnLst>
              <a:rect l="0" t="0" r="r" b="b"/>
              <a:pathLst>
                <a:path w="868" h="441">
                  <a:moveTo>
                    <a:pt x="845" y="0"/>
                  </a:moveTo>
                  <a:lnTo>
                    <a:pt x="846" y="0"/>
                  </a:lnTo>
                  <a:lnTo>
                    <a:pt x="848" y="0"/>
                  </a:lnTo>
                  <a:lnTo>
                    <a:pt x="854" y="4"/>
                  </a:lnTo>
                  <a:lnTo>
                    <a:pt x="858" y="10"/>
                  </a:lnTo>
                  <a:lnTo>
                    <a:pt x="862" y="18"/>
                  </a:lnTo>
                  <a:lnTo>
                    <a:pt x="866" y="36"/>
                  </a:lnTo>
                  <a:lnTo>
                    <a:pt x="868" y="50"/>
                  </a:lnTo>
                  <a:lnTo>
                    <a:pt x="866" y="58"/>
                  </a:lnTo>
                  <a:lnTo>
                    <a:pt x="864" y="60"/>
                  </a:lnTo>
                  <a:lnTo>
                    <a:pt x="18" y="441"/>
                  </a:lnTo>
                  <a:lnTo>
                    <a:pt x="18" y="425"/>
                  </a:lnTo>
                  <a:lnTo>
                    <a:pt x="20" y="415"/>
                  </a:lnTo>
                  <a:lnTo>
                    <a:pt x="18" y="409"/>
                  </a:lnTo>
                  <a:lnTo>
                    <a:pt x="18" y="407"/>
                  </a:lnTo>
                  <a:lnTo>
                    <a:pt x="14" y="407"/>
                  </a:lnTo>
                  <a:lnTo>
                    <a:pt x="12" y="405"/>
                  </a:lnTo>
                  <a:lnTo>
                    <a:pt x="12" y="399"/>
                  </a:lnTo>
                  <a:lnTo>
                    <a:pt x="12" y="387"/>
                  </a:lnTo>
                  <a:lnTo>
                    <a:pt x="14" y="380"/>
                  </a:lnTo>
                  <a:lnTo>
                    <a:pt x="12" y="372"/>
                  </a:lnTo>
                  <a:lnTo>
                    <a:pt x="8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8" y="358"/>
                  </a:lnTo>
                  <a:lnTo>
                    <a:pt x="20" y="354"/>
                  </a:lnTo>
                  <a:lnTo>
                    <a:pt x="36" y="346"/>
                  </a:lnTo>
                  <a:lnTo>
                    <a:pt x="54" y="338"/>
                  </a:lnTo>
                  <a:lnTo>
                    <a:pt x="76" y="330"/>
                  </a:lnTo>
                  <a:lnTo>
                    <a:pt x="102" y="318"/>
                  </a:lnTo>
                  <a:lnTo>
                    <a:pt x="130" y="304"/>
                  </a:lnTo>
                  <a:lnTo>
                    <a:pt x="160" y="292"/>
                  </a:lnTo>
                  <a:lnTo>
                    <a:pt x="194" y="278"/>
                  </a:lnTo>
                  <a:lnTo>
                    <a:pt x="265" y="248"/>
                  </a:lnTo>
                  <a:lnTo>
                    <a:pt x="341" y="214"/>
                  </a:lnTo>
                  <a:lnTo>
                    <a:pt x="419" y="182"/>
                  </a:lnTo>
                  <a:lnTo>
                    <a:pt x="499" y="148"/>
                  </a:lnTo>
                  <a:lnTo>
                    <a:pt x="575" y="114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1" y="58"/>
                  </a:lnTo>
                  <a:lnTo>
                    <a:pt x="741" y="44"/>
                  </a:lnTo>
                  <a:lnTo>
                    <a:pt x="767" y="34"/>
                  </a:lnTo>
                  <a:lnTo>
                    <a:pt x="789" y="26"/>
                  </a:lnTo>
                  <a:lnTo>
                    <a:pt x="807" y="18"/>
                  </a:lnTo>
                  <a:lnTo>
                    <a:pt x="823" y="8"/>
                  </a:lnTo>
                  <a:lnTo>
                    <a:pt x="835" y="4"/>
                  </a:lnTo>
                  <a:lnTo>
                    <a:pt x="841" y="2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FF8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5" name="Freeform 158"/>
            <p:cNvSpPr>
              <a:spLocks/>
            </p:cNvSpPr>
            <p:nvPr/>
          </p:nvSpPr>
          <p:spPr bwMode="auto">
            <a:xfrm>
              <a:off x="2229" y="1703"/>
              <a:ext cx="434" cy="219"/>
            </a:xfrm>
            <a:custGeom>
              <a:avLst/>
              <a:gdLst/>
              <a:ahLst/>
              <a:cxnLst>
                <a:cxn ang="0">
                  <a:pos x="844" y="2"/>
                </a:cxn>
                <a:cxn ang="0">
                  <a:pos x="846" y="0"/>
                </a:cxn>
                <a:cxn ang="0">
                  <a:pos x="852" y="4"/>
                </a:cxn>
                <a:cxn ang="0">
                  <a:pos x="856" y="10"/>
                </a:cxn>
                <a:cxn ang="0">
                  <a:pos x="860" y="18"/>
                </a:cxn>
                <a:cxn ang="0">
                  <a:pos x="864" y="36"/>
                </a:cxn>
                <a:cxn ang="0">
                  <a:pos x="866" y="46"/>
                </a:cxn>
                <a:cxn ang="0">
                  <a:pos x="864" y="56"/>
                </a:cxn>
                <a:cxn ang="0">
                  <a:pos x="862" y="56"/>
                </a:cxn>
                <a:cxn ang="0">
                  <a:pos x="16" y="437"/>
                </a:cxn>
                <a:cxn ang="0">
                  <a:pos x="16" y="405"/>
                </a:cxn>
                <a:cxn ang="0">
                  <a:pos x="14" y="403"/>
                </a:cxn>
                <a:cxn ang="0">
                  <a:pos x="10" y="403"/>
                </a:cxn>
                <a:cxn ang="0">
                  <a:pos x="10" y="401"/>
                </a:cxn>
                <a:cxn ang="0">
                  <a:pos x="10" y="397"/>
                </a:cxn>
                <a:cxn ang="0">
                  <a:pos x="10" y="385"/>
                </a:cxn>
                <a:cxn ang="0">
                  <a:pos x="14" y="379"/>
                </a:cxn>
                <a:cxn ang="0">
                  <a:pos x="12" y="374"/>
                </a:cxn>
                <a:cxn ang="0">
                  <a:pos x="8" y="368"/>
                </a:cxn>
                <a:cxn ang="0">
                  <a:pos x="0" y="364"/>
                </a:cxn>
                <a:cxn ang="0">
                  <a:pos x="2" y="362"/>
                </a:cxn>
                <a:cxn ang="0">
                  <a:pos x="10" y="360"/>
                </a:cxn>
                <a:cxn ang="0">
                  <a:pos x="20" y="354"/>
                </a:cxn>
                <a:cxn ang="0">
                  <a:pos x="36" y="348"/>
                </a:cxn>
                <a:cxn ang="0">
                  <a:pos x="54" y="340"/>
                </a:cxn>
                <a:cxn ang="0">
                  <a:pos x="76" y="330"/>
                </a:cxn>
                <a:cxn ang="0">
                  <a:pos x="102" y="318"/>
                </a:cxn>
                <a:cxn ang="0">
                  <a:pos x="132" y="306"/>
                </a:cxn>
                <a:cxn ang="0">
                  <a:pos x="162" y="292"/>
                </a:cxn>
                <a:cxn ang="0">
                  <a:pos x="194" y="278"/>
                </a:cxn>
                <a:cxn ang="0">
                  <a:pos x="265" y="248"/>
                </a:cxn>
                <a:cxn ang="0">
                  <a:pos x="341" y="214"/>
                </a:cxn>
                <a:cxn ang="0">
                  <a:pos x="419" y="182"/>
                </a:cxn>
                <a:cxn ang="0">
                  <a:pos x="499" y="148"/>
                </a:cxn>
                <a:cxn ang="0">
                  <a:pos x="575" y="116"/>
                </a:cxn>
                <a:cxn ang="0">
                  <a:pos x="647" y="84"/>
                </a:cxn>
                <a:cxn ang="0">
                  <a:pos x="681" y="72"/>
                </a:cxn>
                <a:cxn ang="0">
                  <a:pos x="711" y="58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89" y="26"/>
                </a:cxn>
                <a:cxn ang="0">
                  <a:pos x="807" y="18"/>
                </a:cxn>
                <a:cxn ang="0">
                  <a:pos x="823" y="10"/>
                </a:cxn>
                <a:cxn ang="0">
                  <a:pos x="835" y="4"/>
                </a:cxn>
                <a:cxn ang="0">
                  <a:pos x="841" y="4"/>
                </a:cxn>
                <a:cxn ang="0">
                  <a:pos x="844" y="2"/>
                </a:cxn>
              </a:cxnLst>
              <a:rect l="0" t="0" r="r" b="b"/>
              <a:pathLst>
                <a:path w="866" h="437">
                  <a:moveTo>
                    <a:pt x="844" y="2"/>
                  </a:moveTo>
                  <a:lnTo>
                    <a:pt x="846" y="0"/>
                  </a:lnTo>
                  <a:lnTo>
                    <a:pt x="852" y="4"/>
                  </a:lnTo>
                  <a:lnTo>
                    <a:pt x="856" y="10"/>
                  </a:lnTo>
                  <a:lnTo>
                    <a:pt x="860" y="18"/>
                  </a:lnTo>
                  <a:lnTo>
                    <a:pt x="864" y="36"/>
                  </a:lnTo>
                  <a:lnTo>
                    <a:pt x="866" y="46"/>
                  </a:lnTo>
                  <a:lnTo>
                    <a:pt x="864" y="56"/>
                  </a:lnTo>
                  <a:lnTo>
                    <a:pt x="862" y="56"/>
                  </a:lnTo>
                  <a:lnTo>
                    <a:pt x="16" y="437"/>
                  </a:lnTo>
                  <a:lnTo>
                    <a:pt x="16" y="405"/>
                  </a:lnTo>
                  <a:lnTo>
                    <a:pt x="14" y="403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85"/>
                  </a:lnTo>
                  <a:lnTo>
                    <a:pt x="14" y="379"/>
                  </a:lnTo>
                  <a:lnTo>
                    <a:pt x="12" y="374"/>
                  </a:lnTo>
                  <a:lnTo>
                    <a:pt x="8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10" y="360"/>
                  </a:lnTo>
                  <a:lnTo>
                    <a:pt x="20" y="354"/>
                  </a:lnTo>
                  <a:lnTo>
                    <a:pt x="36" y="348"/>
                  </a:lnTo>
                  <a:lnTo>
                    <a:pt x="54" y="340"/>
                  </a:lnTo>
                  <a:lnTo>
                    <a:pt x="76" y="330"/>
                  </a:lnTo>
                  <a:lnTo>
                    <a:pt x="102" y="318"/>
                  </a:lnTo>
                  <a:lnTo>
                    <a:pt x="132" y="306"/>
                  </a:lnTo>
                  <a:lnTo>
                    <a:pt x="162" y="292"/>
                  </a:lnTo>
                  <a:lnTo>
                    <a:pt x="194" y="278"/>
                  </a:lnTo>
                  <a:lnTo>
                    <a:pt x="265" y="248"/>
                  </a:lnTo>
                  <a:lnTo>
                    <a:pt x="341" y="214"/>
                  </a:lnTo>
                  <a:lnTo>
                    <a:pt x="419" y="182"/>
                  </a:lnTo>
                  <a:lnTo>
                    <a:pt x="499" y="148"/>
                  </a:lnTo>
                  <a:lnTo>
                    <a:pt x="575" y="116"/>
                  </a:lnTo>
                  <a:lnTo>
                    <a:pt x="647" y="84"/>
                  </a:lnTo>
                  <a:lnTo>
                    <a:pt x="681" y="72"/>
                  </a:lnTo>
                  <a:lnTo>
                    <a:pt x="711" y="58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89" y="26"/>
                  </a:lnTo>
                  <a:lnTo>
                    <a:pt x="807" y="18"/>
                  </a:lnTo>
                  <a:lnTo>
                    <a:pt x="823" y="10"/>
                  </a:lnTo>
                  <a:lnTo>
                    <a:pt x="835" y="4"/>
                  </a:lnTo>
                  <a:lnTo>
                    <a:pt x="841" y="4"/>
                  </a:lnTo>
                  <a:lnTo>
                    <a:pt x="844" y="2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6" name="Freeform 159"/>
            <p:cNvSpPr>
              <a:spLocks/>
            </p:cNvSpPr>
            <p:nvPr/>
          </p:nvSpPr>
          <p:spPr bwMode="auto">
            <a:xfrm>
              <a:off x="2166" y="1858"/>
              <a:ext cx="83" cy="116"/>
            </a:xfrm>
            <a:custGeom>
              <a:avLst/>
              <a:gdLst/>
              <a:ahLst/>
              <a:cxnLst>
                <a:cxn ang="0">
                  <a:pos x="6" y="135"/>
                </a:cxn>
                <a:cxn ang="0">
                  <a:pos x="14" y="157"/>
                </a:cxn>
                <a:cxn ang="0">
                  <a:pos x="24" y="179"/>
                </a:cxn>
                <a:cxn ang="0">
                  <a:pos x="34" y="195"/>
                </a:cxn>
                <a:cxn ang="0">
                  <a:pos x="50" y="209"/>
                </a:cxn>
                <a:cxn ang="0">
                  <a:pos x="64" y="221"/>
                </a:cxn>
                <a:cxn ang="0">
                  <a:pos x="80" y="227"/>
                </a:cxn>
                <a:cxn ang="0">
                  <a:pos x="94" y="231"/>
                </a:cxn>
                <a:cxn ang="0">
                  <a:pos x="110" y="229"/>
                </a:cxn>
                <a:cxn ang="0">
                  <a:pos x="126" y="221"/>
                </a:cxn>
                <a:cxn ang="0">
                  <a:pos x="140" y="213"/>
                </a:cxn>
                <a:cxn ang="0">
                  <a:pos x="150" y="199"/>
                </a:cxn>
                <a:cxn ang="0">
                  <a:pos x="160" y="181"/>
                </a:cxn>
                <a:cxn ang="0">
                  <a:pos x="164" y="163"/>
                </a:cxn>
                <a:cxn ang="0">
                  <a:pos x="168" y="141"/>
                </a:cxn>
                <a:cxn ang="0">
                  <a:pos x="166" y="117"/>
                </a:cxn>
                <a:cxn ang="0">
                  <a:pos x="162" y="95"/>
                </a:cxn>
                <a:cxn ang="0">
                  <a:pos x="154" y="73"/>
                </a:cxn>
                <a:cxn ang="0">
                  <a:pos x="144" y="54"/>
                </a:cxn>
                <a:cxn ang="0">
                  <a:pos x="134" y="36"/>
                </a:cxn>
                <a:cxn ang="0">
                  <a:pos x="118" y="22"/>
                </a:cxn>
                <a:cxn ang="0">
                  <a:pos x="104" y="10"/>
                </a:cxn>
                <a:cxn ang="0">
                  <a:pos x="88" y="4"/>
                </a:cxn>
                <a:cxn ang="0">
                  <a:pos x="74" y="0"/>
                </a:cxn>
                <a:cxn ang="0">
                  <a:pos x="58" y="2"/>
                </a:cxn>
                <a:cxn ang="0">
                  <a:pos x="42" y="8"/>
                </a:cxn>
                <a:cxn ang="0">
                  <a:pos x="28" y="18"/>
                </a:cxn>
                <a:cxn ang="0">
                  <a:pos x="16" y="32"/>
                </a:cxn>
                <a:cxn ang="0">
                  <a:pos x="8" y="50"/>
                </a:cxn>
                <a:cxn ang="0">
                  <a:pos x="4" y="68"/>
                </a:cxn>
                <a:cxn ang="0">
                  <a:pos x="0" y="89"/>
                </a:cxn>
                <a:cxn ang="0">
                  <a:pos x="0" y="111"/>
                </a:cxn>
                <a:cxn ang="0">
                  <a:pos x="6" y="135"/>
                </a:cxn>
              </a:cxnLst>
              <a:rect l="0" t="0" r="r" b="b"/>
              <a:pathLst>
                <a:path w="168" h="231">
                  <a:moveTo>
                    <a:pt x="6" y="135"/>
                  </a:moveTo>
                  <a:lnTo>
                    <a:pt x="14" y="157"/>
                  </a:lnTo>
                  <a:lnTo>
                    <a:pt x="24" y="179"/>
                  </a:lnTo>
                  <a:lnTo>
                    <a:pt x="34" y="195"/>
                  </a:lnTo>
                  <a:lnTo>
                    <a:pt x="50" y="209"/>
                  </a:lnTo>
                  <a:lnTo>
                    <a:pt x="64" y="221"/>
                  </a:lnTo>
                  <a:lnTo>
                    <a:pt x="80" y="227"/>
                  </a:lnTo>
                  <a:lnTo>
                    <a:pt x="94" y="231"/>
                  </a:lnTo>
                  <a:lnTo>
                    <a:pt x="110" y="229"/>
                  </a:lnTo>
                  <a:lnTo>
                    <a:pt x="126" y="221"/>
                  </a:lnTo>
                  <a:lnTo>
                    <a:pt x="140" y="213"/>
                  </a:lnTo>
                  <a:lnTo>
                    <a:pt x="150" y="199"/>
                  </a:lnTo>
                  <a:lnTo>
                    <a:pt x="160" y="181"/>
                  </a:lnTo>
                  <a:lnTo>
                    <a:pt x="164" y="163"/>
                  </a:lnTo>
                  <a:lnTo>
                    <a:pt x="168" y="141"/>
                  </a:lnTo>
                  <a:lnTo>
                    <a:pt x="166" y="117"/>
                  </a:lnTo>
                  <a:lnTo>
                    <a:pt x="162" y="95"/>
                  </a:lnTo>
                  <a:lnTo>
                    <a:pt x="154" y="73"/>
                  </a:lnTo>
                  <a:lnTo>
                    <a:pt x="144" y="54"/>
                  </a:lnTo>
                  <a:lnTo>
                    <a:pt x="134" y="36"/>
                  </a:lnTo>
                  <a:lnTo>
                    <a:pt x="118" y="22"/>
                  </a:lnTo>
                  <a:lnTo>
                    <a:pt x="104" y="10"/>
                  </a:lnTo>
                  <a:lnTo>
                    <a:pt x="88" y="4"/>
                  </a:lnTo>
                  <a:lnTo>
                    <a:pt x="74" y="0"/>
                  </a:lnTo>
                  <a:lnTo>
                    <a:pt x="58" y="2"/>
                  </a:lnTo>
                  <a:lnTo>
                    <a:pt x="42" y="8"/>
                  </a:lnTo>
                  <a:lnTo>
                    <a:pt x="28" y="18"/>
                  </a:lnTo>
                  <a:lnTo>
                    <a:pt x="16" y="32"/>
                  </a:lnTo>
                  <a:lnTo>
                    <a:pt x="8" y="50"/>
                  </a:lnTo>
                  <a:lnTo>
                    <a:pt x="4" y="68"/>
                  </a:lnTo>
                  <a:lnTo>
                    <a:pt x="0" y="89"/>
                  </a:lnTo>
                  <a:lnTo>
                    <a:pt x="0" y="111"/>
                  </a:lnTo>
                  <a:lnTo>
                    <a:pt x="6" y="135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7" name="Freeform 160"/>
            <p:cNvSpPr>
              <a:spLocks/>
            </p:cNvSpPr>
            <p:nvPr/>
          </p:nvSpPr>
          <p:spPr bwMode="auto">
            <a:xfrm>
              <a:off x="2168" y="1859"/>
              <a:ext cx="80" cy="112"/>
            </a:xfrm>
            <a:custGeom>
              <a:avLst/>
              <a:gdLst/>
              <a:ahLst/>
              <a:cxnLst>
                <a:cxn ang="0">
                  <a:pos x="4" y="131"/>
                </a:cxn>
                <a:cxn ang="0">
                  <a:pos x="12" y="151"/>
                </a:cxn>
                <a:cxn ang="0">
                  <a:pos x="22" y="171"/>
                </a:cxn>
                <a:cxn ang="0">
                  <a:pos x="34" y="189"/>
                </a:cxn>
                <a:cxn ang="0">
                  <a:pos x="46" y="203"/>
                </a:cxn>
                <a:cxn ang="0">
                  <a:pos x="62" y="213"/>
                </a:cxn>
                <a:cxn ang="0">
                  <a:pos x="76" y="219"/>
                </a:cxn>
                <a:cxn ang="0">
                  <a:pos x="90" y="223"/>
                </a:cxn>
                <a:cxn ang="0">
                  <a:pos x="106" y="221"/>
                </a:cxn>
                <a:cxn ang="0">
                  <a:pos x="122" y="215"/>
                </a:cxn>
                <a:cxn ang="0">
                  <a:pos x="134" y="205"/>
                </a:cxn>
                <a:cxn ang="0">
                  <a:pos x="146" y="193"/>
                </a:cxn>
                <a:cxn ang="0">
                  <a:pos x="154" y="177"/>
                </a:cxn>
                <a:cxn ang="0">
                  <a:pos x="158" y="157"/>
                </a:cxn>
                <a:cxn ang="0">
                  <a:pos x="162" y="137"/>
                </a:cxn>
                <a:cxn ang="0">
                  <a:pos x="160" y="115"/>
                </a:cxn>
                <a:cxn ang="0">
                  <a:pos x="158" y="93"/>
                </a:cxn>
                <a:cxn ang="0">
                  <a:pos x="148" y="71"/>
                </a:cxn>
                <a:cxn ang="0">
                  <a:pos x="140" y="52"/>
                </a:cxn>
                <a:cxn ang="0">
                  <a:pos x="128" y="36"/>
                </a:cxn>
                <a:cxn ang="0">
                  <a:pos x="114" y="20"/>
                </a:cxn>
                <a:cxn ang="0">
                  <a:pos x="100" y="10"/>
                </a:cxn>
                <a:cxn ang="0">
                  <a:pos x="86" y="4"/>
                </a:cxn>
                <a:cxn ang="0">
                  <a:pos x="72" y="0"/>
                </a:cxn>
                <a:cxn ang="0">
                  <a:pos x="56" y="2"/>
                </a:cxn>
                <a:cxn ang="0">
                  <a:pos x="40" y="8"/>
                </a:cxn>
                <a:cxn ang="0">
                  <a:pos x="28" y="18"/>
                </a:cxn>
                <a:cxn ang="0">
                  <a:pos x="16" y="30"/>
                </a:cxn>
                <a:cxn ang="0">
                  <a:pos x="8" y="48"/>
                </a:cxn>
                <a:cxn ang="0">
                  <a:pos x="4" y="66"/>
                </a:cxn>
                <a:cxn ang="0">
                  <a:pos x="0" y="85"/>
                </a:cxn>
                <a:cxn ang="0">
                  <a:pos x="2" y="107"/>
                </a:cxn>
                <a:cxn ang="0">
                  <a:pos x="4" y="131"/>
                </a:cxn>
              </a:cxnLst>
              <a:rect l="0" t="0" r="r" b="b"/>
              <a:pathLst>
                <a:path w="162" h="223">
                  <a:moveTo>
                    <a:pt x="4" y="131"/>
                  </a:moveTo>
                  <a:lnTo>
                    <a:pt x="12" y="151"/>
                  </a:lnTo>
                  <a:lnTo>
                    <a:pt x="22" y="171"/>
                  </a:lnTo>
                  <a:lnTo>
                    <a:pt x="34" y="189"/>
                  </a:lnTo>
                  <a:lnTo>
                    <a:pt x="46" y="203"/>
                  </a:lnTo>
                  <a:lnTo>
                    <a:pt x="62" y="213"/>
                  </a:lnTo>
                  <a:lnTo>
                    <a:pt x="76" y="219"/>
                  </a:lnTo>
                  <a:lnTo>
                    <a:pt x="90" y="223"/>
                  </a:lnTo>
                  <a:lnTo>
                    <a:pt x="106" y="221"/>
                  </a:lnTo>
                  <a:lnTo>
                    <a:pt x="122" y="215"/>
                  </a:lnTo>
                  <a:lnTo>
                    <a:pt x="134" y="205"/>
                  </a:lnTo>
                  <a:lnTo>
                    <a:pt x="146" y="193"/>
                  </a:lnTo>
                  <a:lnTo>
                    <a:pt x="154" y="177"/>
                  </a:lnTo>
                  <a:lnTo>
                    <a:pt x="158" y="157"/>
                  </a:lnTo>
                  <a:lnTo>
                    <a:pt x="162" y="137"/>
                  </a:lnTo>
                  <a:lnTo>
                    <a:pt x="160" y="115"/>
                  </a:lnTo>
                  <a:lnTo>
                    <a:pt x="158" y="93"/>
                  </a:lnTo>
                  <a:lnTo>
                    <a:pt x="148" y="71"/>
                  </a:lnTo>
                  <a:lnTo>
                    <a:pt x="140" y="52"/>
                  </a:lnTo>
                  <a:lnTo>
                    <a:pt x="128" y="36"/>
                  </a:lnTo>
                  <a:lnTo>
                    <a:pt x="114" y="20"/>
                  </a:lnTo>
                  <a:lnTo>
                    <a:pt x="100" y="10"/>
                  </a:lnTo>
                  <a:lnTo>
                    <a:pt x="86" y="4"/>
                  </a:lnTo>
                  <a:lnTo>
                    <a:pt x="72" y="0"/>
                  </a:lnTo>
                  <a:lnTo>
                    <a:pt x="56" y="2"/>
                  </a:lnTo>
                  <a:lnTo>
                    <a:pt x="40" y="8"/>
                  </a:lnTo>
                  <a:lnTo>
                    <a:pt x="28" y="18"/>
                  </a:lnTo>
                  <a:lnTo>
                    <a:pt x="16" y="30"/>
                  </a:lnTo>
                  <a:lnTo>
                    <a:pt x="8" y="48"/>
                  </a:lnTo>
                  <a:lnTo>
                    <a:pt x="4" y="66"/>
                  </a:lnTo>
                  <a:lnTo>
                    <a:pt x="0" y="85"/>
                  </a:lnTo>
                  <a:lnTo>
                    <a:pt x="2" y="107"/>
                  </a:lnTo>
                  <a:lnTo>
                    <a:pt x="4" y="131"/>
                  </a:lnTo>
                  <a:close/>
                </a:path>
              </a:pathLst>
            </a:custGeom>
            <a:solidFill>
              <a:srgbClr val="8444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8" name="Freeform 161"/>
            <p:cNvSpPr>
              <a:spLocks/>
            </p:cNvSpPr>
            <p:nvPr/>
          </p:nvSpPr>
          <p:spPr bwMode="auto">
            <a:xfrm>
              <a:off x="2170" y="1861"/>
              <a:ext cx="76" cy="108"/>
            </a:xfrm>
            <a:custGeom>
              <a:avLst/>
              <a:gdLst/>
              <a:ahLst/>
              <a:cxnLst>
                <a:cxn ang="0">
                  <a:pos x="4" y="125"/>
                </a:cxn>
                <a:cxn ang="0">
                  <a:pos x="12" y="147"/>
                </a:cxn>
                <a:cxn ang="0">
                  <a:pos x="20" y="163"/>
                </a:cxn>
                <a:cxn ang="0">
                  <a:pos x="30" y="181"/>
                </a:cxn>
                <a:cxn ang="0">
                  <a:pos x="44" y="193"/>
                </a:cxn>
                <a:cxn ang="0">
                  <a:pos x="58" y="205"/>
                </a:cxn>
                <a:cxn ang="0">
                  <a:pos x="72" y="211"/>
                </a:cxn>
                <a:cxn ang="0">
                  <a:pos x="88" y="215"/>
                </a:cxn>
                <a:cxn ang="0">
                  <a:pos x="102" y="213"/>
                </a:cxn>
                <a:cxn ang="0">
                  <a:pos x="116" y="207"/>
                </a:cxn>
                <a:cxn ang="0">
                  <a:pos x="128" y="199"/>
                </a:cxn>
                <a:cxn ang="0">
                  <a:pos x="140" y="183"/>
                </a:cxn>
                <a:cxn ang="0">
                  <a:pos x="146" y="169"/>
                </a:cxn>
                <a:cxn ang="0">
                  <a:pos x="152" y="151"/>
                </a:cxn>
                <a:cxn ang="0">
                  <a:pos x="154" y="129"/>
                </a:cxn>
                <a:cxn ang="0">
                  <a:pos x="154" y="109"/>
                </a:cxn>
                <a:cxn ang="0">
                  <a:pos x="150" y="87"/>
                </a:cxn>
                <a:cxn ang="0">
                  <a:pos x="142" y="67"/>
                </a:cxn>
                <a:cxn ang="0">
                  <a:pos x="134" y="48"/>
                </a:cxn>
                <a:cxn ang="0">
                  <a:pos x="122" y="32"/>
                </a:cxn>
                <a:cxn ang="0">
                  <a:pos x="110" y="18"/>
                </a:cxn>
                <a:cxn ang="0">
                  <a:pos x="96" y="8"/>
                </a:cxn>
                <a:cxn ang="0">
                  <a:pos x="80" y="0"/>
                </a:cxn>
                <a:cxn ang="0">
                  <a:pos x="66" y="0"/>
                </a:cxn>
                <a:cxn ang="0">
                  <a:pos x="52" y="0"/>
                </a:cxn>
                <a:cxn ang="0">
                  <a:pos x="38" y="8"/>
                </a:cxn>
                <a:cxn ang="0">
                  <a:pos x="24" y="16"/>
                </a:cxn>
                <a:cxn ang="0">
                  <a:pos x="14" y="28"/>
                </a:cxn>
                <a:cxn ang="0">
                  <a:pos x="6" y="44"/>
                </a:cxn>
                <a:cxn ang="0">
                  <a:pos x="2" y="62"/>
                </a:cxn>
                <a:cxn ang="0">
                  <a:pos x="0" y="81"/>
                </a:cxn>
                <a:cxn ang="0">
                  <a:pos x="2" y="103"/>
                </a:cxn>
                <a:cxn ang="0">
                  <a:pos x="4" y="125"/>
                </a:cxn>
              </a:cxnLst>
              <a:rect l="0" t="0" r="r" b="b"/>
              <a:pathLst>
                <a:path w="154" h="215">
                  <a:moveTo>
                    <a:pt x="4" y="125"/>
                  </a:moveTo>
                  <a:lnTo>
                    <a:pt x="12" y="147"/>
                  </a:lnTo>
                  <a:lnTo>
                    <a:pt x="20" y="163"/>
                  </a:lnTo>
                  <a:lnTo>
                    <a:pt x="30" y="181"/>
                  </a:lnTo>
                  <a:lnTo>
                    <a:pt x="44" y="193"/>
                  </a:lnTo>
                  <a:lnTo>
                    <a:pt x="58" y="205"/>
                  </a:lnTo>
                  <a:lnTo>
                    <a:pt x="72" y="211"/>
                  </a:lnTo>
                  <a:lnTo>
                    <a:pt x="88" y="215"/>
                  </a:lnTo>
                  <a:lnTo>
                    <a:pt x="102" y="213"/>
                  </a:lnTo>
                  <a:lnTo>
                    <a:pt x="116" y="207"/>
                  </a:lnTo>
                  <a:lnTo>
                    <a:pt x="128" y="199"/>
                  </a:lnTo>
                  <a:lnTo>
                    <a:pt x="140" y="183"/>
                  </a:lnTo>
                  <a:lnTo>
                    <a:pt x="146" y="169"/>
                  </a:lnTo>
                  <a:lnTo>
                    <a:pt x="152" y="151"/>
                  </a:lnTo>
                  <a:lnTo>
                    <a:pt x="154" y="129"/>
                  </a:lnTo>
                  <a:lnTo>
                    <a:pt x="154" y="109"/>
                  </a:lnTo>
                  <a:lnTo>
                    <a:pt x="150" y="87"/>
                  </a:lnTo>
                  <a:lnTo>
                    <a:pt x="142" y="67"/>
                  </a:lnTo>
                  <a:lnTo>
                    <a:pt x="134" y="48"/>
                  </a:lnTo>
                  <a:lnTo>
                    <a:pt x="122" y="32"/>
                  </a:lnTo>
                  <a:lnTo>
                    <a:pt x="110" y="18"/>
                  </a:lnTo>
                  <a:lnTo>
                    <a:pt x="96" y="8"/>
                  </a:lnTo>
                  <a:lnTo>
                    <a:pt x="80" y="0"/>
                  </a:lnTo>
                  <a:lnTo>
                    <a:pt x="66" y="0"/>
                  </a:lnTo>
                  <a:lnTo>
                    <a:pt x="52" y="0"/>
                  </a:lnTo>
                  <a:lnTo>
                    <a:pt x="38" y="8"/>
                  </a:lnTo>
                  <a:lnTo>
                    <a:pt x="24" y="16"/>
                  </a:lnTo>
                  <a:lnTo>
                    <a:pt x="14" y="28"/>
                  </a:lnTo>
                  <a:lnTo>
                    <a:pt x="6" y="44"/>
                  </a:lnTo>
                  <a:lnTo>
                    <a:pt x="2" y="62"/>
                  </a:lnTo>
                  <a:lnTo>
                    <a:pt x="0" y="81"/>
                  </a:lnTo>
                  <a:lnTo>
                    <a:pt x="2" y="103"/>
                  </a:lnTo>
                  <a:lnTo>
                    <a:pt x="4" y="125"/>
                  </a:lnTo>
                  <a:close/>
                </a:path>
              </a:pathLst>
            </a:custGeom>
            <a:solidFill>
              <a:srgbClr val="8C5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39" name="Freeform 162"/>
            <p:cNvSpPr>
              <a:spLocks/>
            </p:cNvSpPr>
            <p:nvPr/>
          </p:nvSpPr>
          <p:spPr bwMode="auto">
            <a:xfrm>
              <a:off x="2172" y="1862"/>
              <a:ext cx="73" cy="104"/>
            </a:xfrm>
            <a:custGeom>
              <a:avLst/>
              <a:gdLst/>
              <a:ahLst/>
              <a:cxnLst>
                <a:cxn ang="0">
                  <a:pos x="4" y="121"/>
                </a:cxn>
                <a:cxn ang="0">
                  <a:pos x="10" y="141"/>
                </a:cxn>
                <a:cxn ang="0">
                  <a:pos x="20" y="159"/>
                </a:cxn>
                <a:cxn ang="0">
                  <a:pos x="30" y="175"/>
                </a:cxn>
                <a:cxn ang="0">
                  <a:pos x="42" y="187"/>
                </a:cxn>
                <a:cxn ang="0">
                  <a:pos x="56" y="197"/>
                </a:cxn>
                <a:cxn ang="0">
                  <a:pos x="70" y="203"/>
                </a:cxn>
                <a:cxn ang="0">
                  <a:pos x="84" y="207"/>
                </a:cxn>
                <a:cxn ang="0">
                  <a:pos x="98" y="205"/>
                </a:cxn>
                <a:cxn ang="0">
                  <a:pos x="112" y="201"/>
                </a:cxn>
                <a:cxn ang="0">
                  <a:pos x="124" y="191"/>
                </a:cxn>
                <a:cxn ang="0">
                  <a:pos x="134" y="177"/>
                </a:cxn>
                <a:cxn ang="0">
                  <a:pos x="142" y="163"/>
                </a:cxn>
                <a:cxn ang="0">
                  <a:pos x="146" y="145"/>
                </a:cxn>
                <a:cxn ang="0">
                  <a:pos x="148" y="127"/>
                </a:cxn>
                <a:cxn ang="0">
                  <a:pos x="146" y="107"/>
                </a:cxn>
                <a:cxn ang="0">
                  <a:pos x="144" y="87"/>
                </a:cxn>
                <a:cxn ang="0">
                  <a:pos x="136" y="65"/>
                </a:cxn>
                <a:cxn ang="0">
                  <a:pos x="128" y="48"/>
                </a:cxn>
                <a:cxn ang="0">
                  <a:pos x="118" y="32"/>
                </a:cxn>
                <a:cxn ang="0">
                  <a:pos x="106" y="20"/>
                </a:cxn>
                <a:cxn ang="0">
                  <a:pos x="92" y="10"/>
                </a:cxn>
                <a:cxn ang="0">
                  <a:pos x="76" y="2"/>
                </a:cxn>
                <a:cxn ang="0">
                  <a:pos x="64" y="0"/>
                </a:cxn>
                <a:cxn ang="0">
                  <a:pos x="50" y="2"/>
                </a:cxn>
                <a:cxn ang="0">
                  <a:pos x="36" y="6"/>
                </a:cxn>
                <a:cxn ang="0">
                  <a:pos x="24" y="16"/>
                </a:cxn>
                <a:cxn ang="0">
                  <a:pos x="14" y="28"/>
                </a:cxn>
                <a:cxn ang="0">
                  <a:pos x="8" y="44"/>
                </a:cxn>
                <a:cxn ang="0">
                  <a:pos x="2" y="61"/>
                </a:cxn>
                <a:cxn ang="0">
                  <a:pos x="0" y="81"/>
                </a:cxn>
                <a:cxn ang="0">
                  <a:pos x="0" y="99"/>
                </a:cxn>
                <a:cxn ang="0">
                  <a:pos x="4" y="121"/>
                </a:cxn>
              </a:cxnLst>
              <a:rect l="0" t="0" r="r" b="b"/>
              <a:pathLst>
                <a:path w="148" h="207">
                  <a:moveTo>
                    <a:pt x="4" y="121"/>
                  </a:moveTo>
                  <a:lnTo>
                    <a:pt x="10" y="141"/>
                  </a:lnTo>
                  <a:lnTo>
                    <a:pt x="20" y="159"/>
                  </a:lnTo>
                  <a:lnTo>
                    <a:pt x="30" y="175"/>
                  </a:lnTo>
                  <a:lnTo>
                    <a:pt x="42" y="187"/>
                  </a:lnTo>
                  <a:lnTo>
                    <a:pt x="56" y="197"/>
                  </a:lnTo>
                  <a:lnTo>
                    <a:pt x="70" y="203"/>
                  </a:lnTo>
                  <a:lnTo>
                    <a:pt x="84" y="207"/>
                  </a:lnTo>
                  <a:lnTo>
                    <a:pt x="98" y="205"/>
                  </a:lnTo>
                  <a:lnTo>
                    <a:pt x="112" y="201"/>
                  </a:lnTo>
                  <a:lnTo>
                    <a:pt x="124" y="191"/>
                  </a:lnTo>
                  <a:lnTo>
                    <a:pt x="134" y="177"/>
                  </a:lnTo>
                  <a:lnTo>
                    <a:pt x="142" y="163"/>
                  </a:lnTo>
                  <a:lnTo>
                    <a:pt x="146" y="145"/>
                  </a:lnTo>
                  <a:lnTo>
                    <a:pt x="148" y="127"/>
                  </a:lnTo>
                  <a:lnTo>
                    <a:pt x="146" y="107"/>
                  </a:lnTo>
                  <a:lnTo>
                    <a:pt x="144" y="87"/>
                  </a:lnTo>
                  <a:lnTo>
                    <a:pt x="136" y="65"/>
                  </a:lnTo>
                  <a:lnTo>
                    <a:pt x="128" y="48"/>
                  </a:lnTo>
                  <a:lnTo>
                    <a:pt x="118" y="32"/>
                  </a:lnTo>
                  <a:lnTo>
                    <a:pt x="106" y="20"/>
                  </a:lnTo>
                  <a:lnTo>
                    <a:pt x="92" y="10"/>
                  </a:lnTo>
                  <a:lnTo>
                    <a:pt x="76" y="2"/>
                  </a:lnTo>
                  <a:lnTo>
                    <a:pt x="64" y="0"/>
                  </a:lnTo>
                  <a:lnTo>
                    <a:pt x="50" y="2"/>
                  </a:lnTo>
                  <a:lnTo>
                    <a:pt x="36" y="6"/>
                  </a:lnTo>
                  <a:lnTo>
                    <a:pt x="24" y="16"/>
                  </a:lnTo>
                  <a:lnTo>
                    <a:pt x="14" y="28"/>
                  </a:lnTo>
                  <a:lnTo>
                    <a:pt x="8" y="44"/>
                  </a:lnTo>
                  <a:lnTo>
                    <a:pt x="2" y="61"/>
                  </a:lnTo>
                  <a:lnTo>
                    <a:pt x="0" y="81"/>
                  </a:lnTo>
                  <a:lnTo>
                    <a:pt x="0" y="99"/>
                  </a:lnTo>
                  <a:lnTo>
                    <a:pt x="4" y="121"/>
                  </a:lnTo>
                  <a:close/>
                </a:path>
              </a:pathLst>
            </a:custGeom>
            <a:solidFill>
              <a:srgbClr val="955D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0" name="Freeform 163"/>
            <p:cNvSpPr>
              <a:spLocks/>
            </p:cNvSpPr>
            <p:nvPr/>
          </p:nvSpPr>
          <p:spPr bwMode="auto">
            <a:xfrm>
              <a:off x="2174" y="1863"/>
              <a:ext cx="70" cy="100"/>
            </a:xfrm>
            <a:custGeom>
              <a:avLst/>
              <a:gdLst/>
              <a:ahLst/>
              <a:cxnLst>
                <a:cxn ang="0">
                  <a:pos x="4" y="117"/>
                </a:cxn>
                <a:cxn ang="0">
                  <a:pos x="10" y="135"/>
                </a:cxn>
                <a:cxn ang="0">
                  <a:pos x="18" y="153"/>
                </a:cxn>
                <a:cxn ang="0">
                  <a:pos x="28" y="169"/>
                </a:cxn>
                <a:cxn ang="0">
                  <a:pos x="40" y="181"/>
                </a:cxn>
                <a:cxn ang="0">
                  <a:pos x="54" y="191"/>
                </a:cxn>
                <a:cxn ang="0">
                  <a:pos x="68" y="197"/>
                </a:cxn>
                <a:cxn ang="0">
                  <a:pos x="80" y="199"/>
                </a:cxn>
                <a:cxn ang="0">
                  <a:pos x="94" y="197"/>
                </a:cxn>
                <a:cxn ang="0">
                  <a:pos x="106" y="193"/>
                </a:cxn>
                <a:cxn ang="0">
                  <a:pos x="118" y="183"/>
                </a:cxn>
                <a:cxn ang="0">
                  <a:pos x="128" y="171"/>
                </a:cxn>
                <a:cxn ang="0">
                  <a:pos x="136" y="157"/>
                </a:cxn>
                <a:cxn ang="0">
                  <a:pos x="142" y="121"/>
                </a:cxn>
                <a:cxn ang="0">
                  <a:pos x="140" y="101"/>
                </a:cxn>
                <a:cxn ang="0">
                  <a:pos x="138" y="81"/>
                </a:cxn>
                <a:cxn ang="0">
                  <a:pos x="132" y="63"/>
                </a:cxn>
                <a:cxn ang="0">
                  <a:pos x="122" y="46"/>
                </a:cxn>
                <a:cxn ang="0">
                  <a:pos x="114" y="30"/>
                </a:cxn>
                <a:cxn ang="0">
                  <a:pos x="100" y="18"/>
                </a:cxn>
                <a:cxn ang="0">
                  <a:pos x="88" y="8"/>
                </a:cxn>
                <a:cxn ang="0">
                  <a:pos x="72" y="4"/>
                </a:cxn>
                <a:cxn ang="0">
                  <a:pos x="62" y="0"/>
                </a:cxn>
                <a:cxn ang="0">
                  <a:pos x="46" y="2"/>
                </a:cxn>
                <a:cxn ang="0">
                  <a:pos x="34" y="6"/>
                </a:cxn>
                <a:cxn ang="0">
                  <a:pos x="22" y="14"/>
                </a:cxn>
                <a:cxn ang="0">
                  <a:pos x="12" y="28"/>
                </a:cxn>
                <a:cxn ang="0">
                  <a:pos x="6" y="42"/>
                </a:cxn>
                <a:cxn ang="0">
                  <a:pos x="2" y="58"/>
                </a:cxn>
                <a:cxn ang="0">
                  <a:pos x="0" y="75"/>
                </a:cxn>
                <a:cxn ang="0">
                  <a:pos x="0" y="95"/>
                </a:cxn>
                <a:cxn ang="0">
                  <a:pos x="4" y="117"/>
                </a:cxn>
              </a:cxnLst>
              <a:rect l="0" t="0" r="r" b="b"/>
              <a:pathLst>
                <a:path w="142" h="199">
                  <a:moveTo>
                    <a:pt x="4" y="117"/>
                  </a:moveTo>
                  <a:lnTo>
                    <a:pt x="10" y="135"/>
                  </a:lnTo>
                  <a:lnTo>
                    <a:pt x="18" y="153"/>
                  </a:lnTo>
                  <a:lnTo>
                    <a:pt x="28" y="169"/>
                  </a:lnTo>
                  <a:lnTo>
                    <a:pt x="40" y="181"/>
                  </a:lnTo>
                  <a:lnTo>
                    <a:pt x="54" y="191"/>
                  </a:lnTo>
                  <a:lnTo>
                    <a:pt x="68" y="197"/>
                  </a:lnTo>
                  <a:lnTo>
                    <a:pt x="80" y="199"/>
                  </a:lnTo>
                  <a:lnTo>
                    <a:pt x="94" y="197"/>
                  </a:lnTo>
                  <a:lnTo>
                    <a:pt x="106" y="193"/>
                  </a:lnTo>
                  <a:lnTo>
                    <a:pt x="118" y="183"/>
                  </a:lnTo>
                  <a:lnTo>
                    <a:pt x="128" y="171"/>
                  </a:lnTo>
                  <a:lnTo>
                    <a:pt x="136" y="157"/>
                  </a:lnTo>
                  <a:lnTo>
                    <a:pt x="142" y="121"/>
                  </a:lnTo>
                  <a:lnTo>
                    <a:pt x="140" y="101"/>
                  </a:lnTo>
                  <a:lnTo>
                    <a:pt x="138" y="81"/>
                  </a:lnTo>
                  <a:lnTo>
                    <a:pt x="132" y="63"/>
                  </a:lnTo>
                  <a:lnTo>
                    <a:pt x="122" y="46"/>
                  </a:lnTo>
                  <a:lnTo>
                    <a:pt x="114" y="30"/>
                  </a:lnTo>
                  <a:lnTo>
                    <a:pt x="100" y="18"/>
                  </a:lnTo>
                  <a:lnTo>
                    <a:pt x="88" y="8"/>
                  </a:lnTo>
                  <a:lnTo>
                    <a:pt x="72" y="4"/>
                  </a:lnTo>
                  <a:lnTo>
                    <a:pt x="62" y="0"/>
                  </a:lnTo>
                  <a:lnTo>
                    <a:pt x="46" y="2"/>
                  </a:lnTo>
                  <a:lnTo>
                    <a:pt x="34" y="6"/>
                  </a:lnTo>
                  <a:lnTo>
                    <a:pt x="22" y="14"/>
                  </a:lnTo>
                  <a:lnTo>
                    <a:pt x="12" y="28"/>
                  </a:lnTo>
                  <a:lnTo>
                    <a:pt x="6" y="42"/>
                  </a:lnTo>
                  <a:lnTo>
                    <a:pt x="2" y="58"/>
                  </a:lnTo>
                  <a:lnTo>
                    <a:pt x="0" y="75"/>
                  </a:lnTo>
                  <a:lnTo>
                    <a:pt x="0" y="95"/>
                  </a:lnTo>
                  <a:lnTo>
                    <a:pt x="4" y="117"/>
                  </a:lnTo>
                  <a:close/>
                </a:path>
              </a:pathLst>
            </a:custGeom>
            <a:solidFill>
              <a:srgbClr val="9D6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1" name="Freeform 164"/>
            <p:cNvSpPr>
              <a:spLocks/>
            </p:cNvSpPr>
            <p:nvPr/>
          </p:nvSpPr>
          <p:spPr bwMode="auto">
            <a:xfrm>
              <a:off x="2176" y="1864"/>
              <a:ext cx="67" cy="97"/>
            </a:xfrm>
            <a:custGeom>
              <a:avLst/>
              <a:gdLst/>
              <a:ahLst/>
              <a:cxnLst>
                <a:cxn ang="0">
                  <a:pos x="2" y="111"/>
                </a:cxn>
                <a:cxn ang="0">
                  <a:pos x="8" y="131"/>
                </a:cxn>
                <a:cxn ang="0">
                  <a:pos x="18" y="147"/>
                </a:cxn>
                <a:cxn ang="0">
                  <a:pos x="26" y="161"/>
                </a:cxn>
                <a:cxn ang="0">
                  <a:pos x="38" y="175"/>
                </a:cxn>
                <a:cxn ang="0">
                  <a:pos x="52" y="183"/>
                </a:cxn>
                <a:cxn ang="0">
                  <a:pos x="64" y="189"/>
                </a:cxn>
                <a:cxn ang="0">
                  <a:pos x="76" y="193"/>
                </a:cxn>
                <a:cxn ang="0">
                  <a:pos x="90" y="191"/>
                </a:cxn>
                <a:cxn ang="0">
                  <a:pos x="102" y="185"/>
                </a:cxn>
                <a:cxn ang="0">
                  <a:pos x="112" y="175"/>
                </a:cxn>
                <a:cxn ang="0">
                  <a:pos x="122" y="165"/>
                </a:cxn>
                <a:cxn ang="0">
                  <a:pos x="128" y="149"/>
                </a:cxn>
                <a:cxn ang="0">
                  <a:pos x="134" y="133"/>
                </a:cxn>
                <a:cxn ang="0">
                  <a:pos x="136" y="115"/>
                </a:cxn>
                <a:cxn ang="0">
                  <a:pos x="136" y="97"/>
                </a:cxn>
                <a:cxn ang="0">
                  <a:pos x="132" y="79"/>
                </a:cxn>
                <a:cxn ang="0">
                  <a:pos x="126" y="61"/>
                </a:cxn>
                <a:cxn ang="0">
                  <a:pos x="118" y="44"/>
                </a:cxn>
                <a:cxn ang="0">
                  <a:pos x="108" y="28"/>
                </a:cxn>
                <a:cxn ang="0">
                  <a:pos x="96" y="18"/>
                </a:cxn>
                <a:cxn ang="0">
                  <a:pos x="84" y="8"/>
                </a:cxn>
                <a:cxn ang="0">
                  <a:pos x="70" y="2"/>
                </a:cxn>
                <a:cxn ang="0">
                  <a:pos x="58" y="0"/>
                </a:cxn>
                <a:cxn ang="0">
                  <a:pos x="44" y="2"/>
                </a:cxn>
                <a:cxn ang="0">
                  <a:pos x="32" y="6"/>
                </a:cxn>
                <a:cxn ang="0">
                  <a:pos x="22" y="14"/>
                </a:cxn>
                <a:cxn ang="0">
                  <a:pos x="12" y="26"/>
                </a:cxn>
                <a:cxn ang="0">
                  <a:pos x="6" y="40"/>
                </a:cxn>
                <a:cxn ang="0">
                  <a:pos x="0" y="56"/>
                </a:cxn>
                <a:cxn ang="0">
                  <a:pos x="0" y="73"/>
                </a:cxn>
                <a:cxn ang="0">
                  <a:pos x="0" y="91"/>
                </a:cxn>
                <a:cxn ang="0">
                  <a:pos x="2" y="111"/>
                </a:cxn>
              </a:cxnLst>
              <a:rect l="0" t="0" r="r" b="b"/>
              <a:pathLst>
                <a:path w="136" h="193">
                  <a:moveTo>
                    <a:pt x="2" y="111"/>
                  </a:moveTo>
                  <a:lnTo>
                    <a:pt x="8" y="131"/>
                  </a:lnTo>
                  <a:lnTo>
                    <a:pt x="18" y="147"/>
                  </a:lnTo>
                  <a:lnTo>
                    <a:pt x="26" y="161"/>
                  </a:lnTo>
                  <a:lnTo>
                    <a:pt x="38" y="175"/>
                  </a:lnTo>
                  <a:lnTo>
                    <a:pt x="52" y="183"/>
                  </a:lnTo>
                  <a:lnTo>
                    <a:pt x="64" y="189"/>
                  </a:lnTo>
                  <a:lnTo>
                    <a:pt x="76" y="193"/>
                  </a:lnTo>
                  <a:lnTo>
                    <a:pt x="90" y="191"/>
                  </a:lnTo>
                  <a:lnTo>
                    <a:pt x="102" y="185"/>
                  </a:lnTo>
                  <a:lnTo>
                    <a:pt x="112" y="175"/>
                  </a:lnTo>
                  <a:lnTo>
                    <a:pt x="122" y="165"/>
                  </a:lnTo>
                  <a:lnTo>
                    <a:pt x="128" y="149"/>
                  </a:lnTo>
                  <a:lnTo>
                    <a:pt x="134" y="133"/>
                  </a:lnTo>
                  <a:lnTo>
                    <a:pt x="136" y="115"/>
                  </a:lnTo>
                  <a:lnTo>
                    <a:pt x="136" y="97"/>
                  </a:lnTo>
                  <a:lnTo>
                    <a:pt x="132" y="79"/>
                  </a:lnTo>
                  <a:lnTo>
                    <a:pt x="126" y="61"/>
                  </a:lnTo>
                  <a:lnTo>
                    <a:pt x="118" y="44"/>
                  </a:lnTo>
                  <a:lnTo>
                    <a:pt x="108" y="28"/>
                  </a:lnTo>
                  <a:lnTo>
                    <a:pt x="96" y="18"/>
                  </a:lnTo>
                  <a:lnTo>
                    <a:pt x="84" y="8"/>
                  </a:lnTo>
                  <a:lnTo>
                    <a:pt x="70" y="2"/>
                  </a:lnTo>
                  <a:lnTo>
                    <a:pt x="58" y="0"/>
                  </a:lnTo>
                  <a:lnTo>
                    <a:pt x="44" y="2"/>
                  </a:lnTo>
                  <a:lnTo>
                    <a:pt x="32" y="6"/>
                  </a:lnTo>
                  <a:lnTo>
                    <a:pt x="22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56"/>
                  </a:lnTo>
                  <a:lnTo>
                    <a:pt x="0" y="73"/>
                  </a:lnTo>
                  <a:lnTo>
                    <a:pt x="0" y="91"/>
                  </a:lnTo>
                  <a:lnTo>
                    <a:pt x="2" y="111"/>
                  </a:lnTo>
                  <a:close/>
                </a:path>
              </a:pathLst>
            </a:custGeom>
            <a:solidFill>
              <a:srgbClr val="A576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2" name="Freeform 165"/>
            <p:cNvSpPr>
              <a:spLocks/>
            </p:cNvSpPr>
            <p:nvPr/>
          </p:nvSpPr>
          <p:spPr bwMode="auto">
            <a:xfrm>
              <a:off x="2177" y="1866"/>
              <a:ext cx="65" cy="92"/>
            </a:xfrm>
            <a:custGeom>
              <a:avLst/>
              <a:gdLst/>
              <a:ahLst/>
              <a:cxnLst>
                <a:cxn ang="0">
                  <a:pos x="4" y="107"/>
                </a:cxn>
                <a:cxn ang="0">
                  <a:pos x="10" y="125"/>
                </a:cxn>
                <a:cxn ang="0">
                  <a:pos x="18" y="141"/>
                </a:cxn>
                <a:cxn ang="0">
                  <a:pos x="28" y="153"/>
                </a:cxn>
                <a:cxn ang="0">
                  <a:pos x="40" y="167"/>
                </a:cxn>
                <a:cxn ang="0">
                  <a:pos x="50" y="175"/>
                </a:cxn>
                <a:cxn ang="0">
                  <a:pos x="64" y="179"/>
                </a:cxn>
                <a:cxn ang="0">
                  <a:pos x="74" y="183"/>
                </a:cxn>
                <a:cxn ang="0">
                  <a:pos x="88" y="181"/>
                </a:cxn>
                <a:cxn ang="0">
                  <a:pos x="100" y="177"/>
                </a:cxn>
                <a:cxn ang="0">
                  <a:pos x="110" y="167"/>
                </a:cxn>
                <a:cxn ang="0">
                  <a:pos x="118" y="157"/>
                </a:cxn>
                <a:cxn ang="0">
                  <a:pos x="126" y="143"/>
                </a:cxn>
                <a:cxn ang="0">
                  <a:pos x="130" y="129"/>
                </a:cxn>
                <a:cxn ang="0">
                  <a:pos x="132" y="113"/>
                </a:cxn>
                <a:cxn ang="0">
                  <a:pos x="132" y="93"/>
                </a:cxn>
                <a:cxn ang="0">
                  <a:pos x="128" y="75"/>
                </a:cxn>
                <a:cxn ang="0">
                  <a:pos x="122" y="57"/>
                </a:cxn>
                <a:cxn ang="0">
                  <a:pos x="114" y="42"/>
                </a:cxn>
                <a:cxn ang="0">
                  <a:pos x="106" y="28"/>
                </a:cxn>
                <a:cxn ang="0">
                  <a:pos x="94" y="16"/>
                </a:cxn>
                <a:cxn ang="0">
                  <a:pos x="82" y="8"/>
                </a:cxn>
                <a:cxn ang="0">
                  <a:pos x="68" y="2"/>
                </a:cxn>
                <a:cxn ang="0">
                  <a:pos x="58" y="0"/>
                </a:cxn>
                <a:cxn ang="0">
                  <a:pos x="44" y="2"/>
                </a:cxn>
                <a:cxn ang="0">
                  <a:pos x="32" y="6"/>
                </a:cxn>
                <a:cxn ang="0">
                  <a:pos x="22" y="14"/>
                </a:cxn>
                <a:cxn ang="0">
                  <a:pos x="14" y="26"/>
                </a:cxn>
                <a:cxn ang="0">
                  <a:pos x="6" y="38"/>
                </a:cxn>
                <a:cxn ang="0">
                  <a:pos x="2" y="53"/>
                </a:cxn>
                <a:cxn ang="0">
                  <a:pos x="0" y="69"/>
                </a:cxn>
                <a:cxn ang="0">
                  <a:pos x="0" y="89"/>
                </a:cxn>
                <a:cxn ang="0">
                  <a:pos x="4" y="107"/>
                </a:cxn>
              </a:cxnLst>
              <a:rect l="0" t="0" r="r" b="b"/>
              <a:pathLst>
                <a:path w="132" h="183">
                  <a:moveTo>
                    <a:pt x="4" y="107"/>
                  </a:moveTo>
                  <a:lnTo>
                    <a:pt x="10" y="125"/>
                  </a:lnTo>
                  <a:lnTo>
                    <a:pt x="18" y="141"/>
                  </a:lnTo>
                  <a:lnTo>
                    <a:pt x="28" y="153"/>
                  </a:lnTo>
                  <a:lnTo>
                    <a:pt x="40" y="167"/>
                  </a:lnTo>
                  <a:lnTo>
                    <a:pt x="50" y="175"/>
                  </a:lnTo>
                  <a:lnTo>
                    <a:pt x="64" y="179"/>
                  </a:lnTo>
                  <a:lnTo>
                    <a:pt x="74" y="183"/>
                  </a:lnTo>
                  <a:lnTo>
                    <a:pt x="88" y="181"/>
                  </a:lnTo>
                  <a:lnTo>
                    <a:pt x="100" y="177"/>
                  </a:lnTo>
                  <a:lnTo>
                    <a:pt x="110" y="167"/>
                  </a:lnTo>
                  <a:lnTo>
                    <a:pt x="118" y="157"/>
                  </a:lnTo>
                  <a:lnTo>
                    <a:pt x="126" y="143"/>
                  </a:lnTo>
                  <a:lnTo>
                    <a:pt x="130" y="129"/>
                  </a:lnTo>
                  <a:lnTo>
                    <a:pt x="132" y="113"/>
                  </a:lnTo>
                  <a:lnTo>
                    <a:pt x="132" y="93"/>
                  </a:lnTo>
                  <a:lnTo>
                    <a:pt x="128" y="75"/>
                  </a:lnTo>
                  <a:lnTo>
                    <a:pt x="122" y="57"/>
                  </a:lnTo>
                  <a:lnTo>
                    <a:pt x="114" y="42"/>
                  </a:lnTo>
                  <a:lnTo>
                    <a:pt x="106" y="28"/>
                  </a:lnTo>
                  <a:lnTo>
                    <a:pt x="94" y="16"/>
                  </a:lnTo>
                  <a:lnTo>
                    <a:pt x="82" y="8"/>
                  </a:lnTo>
                  <a:lnTo>
                    <a:pt x="68" y="2"/>
                  </a:lnTo>
                  <a:lnTo>
                    <a:pt x="58" y="0"/>
                  </a:lnTo>
                  <a:lnTo>
                    <a:pt x="44" y="2"/>
                  </a:lnTo>
                  <a:lnTo>
                    <a:pt x="32" y="6"/>
                  </a:lnTo>
                  <a:lnTo>
                    <a:pt x="22" y="14"/>
                  </a:lnTo>
                  <a:lnTo>
                    <a:pt x="14" y="26"/>
                  </a:lnTo>
                  <a:lnTo>
                    <a:pt x="6" y="38"/>
                  </a:lnTo>
                  <a:lnTo>
                    <a:pt x="2" y="53"/>
                  </a:lnTo>
                  <a:lnTo>
                    <a:pt x="0" y="69"/>
                  </a:lnTo>
                  <a:lnTo>
                    <a:pt x="0" y="89"/>
                  </a:lnTo>
                  <a:lnTo>
                    <a:pt x="4" y="107"/>
                  </a:lnTo>
                  <a:close/>
                </a:path>
              </a:pathLst>
            </a:custGeom>
            <a:solidFill>
              <a:srgbClr val="AD8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3" name="Freeform 166"/>
            <p:cNvSpPr>
              <a:spLocks/>
            </p:cNvSpPr>
            <p:nvPr/>
          </p:nvSpPr>
          <p:spPr bwMode="auto">
            <a:xfrm>
              <a:off x="2178" y="1866"/>
              <a:ext cx="63" cy="89"/>
            </a:xfrm>
            <a:custGeom>
              <a:avLst/>
              <a:gdLst/>
              <a:ahLst/>
              <a:cxnLst>
                <a:cxn ang="0">
                  <a:pos x="4" y="101"/>
                </a:cxn>
                <a:cxn ang="0">
                  <a:pos x="10" y="119"/>
                </a:cxn>
                <a:cxn ang="0">
                  <a:pos x="26" y="149"/>
                </a:cxn>
                <a:cxn ang="0">
                  <a:pos x="36" y="161"/>
                </a:cxn>
                <a:cxn ang="0">
                  <a:pos x="48" y="169"/>
                </a:cxn>
                <a:cxn ang="0">
                  <a:pos x="60" y="173"/>
                </a:cxn>
                <a:cxn ang="0">
                  <a:pos x="72" y="177"/>
                </a:cxn>
                <a:cxn ang="0">
                  <a:pos x="86" y="175"/>
                </a:cxn>
                <a:cxn ang="0">
                  <a:pos x="98" y="171"/>
                </a:cxn>
                <a:cxn ang="0">
                  <a:pos x="108" y="163"/>
                </a:cxn>
                <a:cxn ang="0">
                  <a:pos x="116" y="153"/>
                </a:cxn>
                <a:cxn ang="0">
                  <a:pos x="122" y="139"/>
                </a:cxn>
                <a:cxn ang="0">
                  <a:pos x="126" y="125"/>
                </a:cxn>
                <a:cxn ang="0">
                  <a:pos x="128" y="109"/>
                </a:cxn>
                <a:cxn ang="0">
                  <a:pos x="126" y="91"/>
                </a:cxn>
                <a:cxn ang="0">
                  <a:pos x="124" y="73"/>
                </a:cxn>
                <a:cxn ang="0">
                  <a:pos x="118" y="57"/>
                </a:cxn>
                <a:cxn ang="0">
                  <a:pos x="110" y="42"/>
                </a:cxn>
                <a:cxn ang="0">
                  <a:pos x="102" y="28"/>
                </a:cxn>
                <a:cxn ang="0">
                  <a:pos x="90" y="16"/>
                </a:cxn>
                <a:cxn ang="0">
                  <a:pos x="80" y="8"/>
                </a:cxn>
                <a:cxn ang="0">
                  <a:pos x="68" y="4"/>
                </a:cxn>
                <a:cxn ang="0">
                  <a:pos x="54" y="0"/>
                </a:cxn>
                <a:cxn ang="0">
                  <a:pos x="42" y="2"/>
                </a:cxn>
                <a:cxn ang="0">
                  <a:pos x="30" y="6"/>
                </a:cxn>
                <a:cxn ang="0">
                  <a:pos x="20" y="16"/>
                </a:cxn>
                <a:cxn ang="0">
                  <a:pos x="12" y="24"/>
                </a:cxn>
                <a:cxn ang="0">
                  <a:pos x="6" y="38"/>
                </a:cxn>
                <a:cxn ang="0">
                  <a:pos x="2" y="52"/>
                </a:cxn>
                <a:cxn ang="0">
                  <a:pos x="0" y="67"/>
                </a:cxn>
                <a:cxn ang="0">
                  <a:pos x="2" y="85"/>
                </a:cxn>
                <a:cxn ang="0">
                  <a:pos x="4" y="101"/>
                </a:cxn>
              </a:cxnLst>
              <a:rect l="0" t="0" r="r" b="b"/>
              <a:pathLst>
                <a:path w="128" h="177">
                  <a:moveTo>
                    <a:pt x="4" y="101"/>
                  </a:moveTo>
                  <a:lnTo>
                    <a:pt x="10" y="119"/>
                  </a:lnTo>
                  <a:lnTo>
                    <a:pt x="26" y="149"/>
                  </a:lnTo>
                  <a:lnTo>
                    <a:pt x="36" y="161"/>
                  </a:lnTo>
                  <a:lnTo>
                    <a:pt x="48" y="169"/>
                  </a:lnTo>
                  <a:lnTo>
                    <a:pt x="60" y="173"/>
                  </a:lnTo>
                  <a:lnTo>
                    <a:pt x="72" y="177"/>
                  </a:lnTo>
                  <a:lnTo>
                    <a:pt x="86" y="175"/>
                  </a:lnTo>
                  <a:lnTo>
                    <a:pt x="98" y="171"/>
                  </a:lnTo>
                  <a:lnTo>
                    <a:pt x="108" y="163"/>
                  </a:lnTo>
                  <a:lnTo>
                    <a:pt x="116" y="153"/>
                  </a:lnTo>
                  <a:lnTo>
                    <a:pt x="122" y="139"/>
                  </a:lnTo>
                  <a:lnTo>
                    <a:pt x="126" y="125"/>
                  </a:lnTo>
                  <a:lnTo>
                    <a:pt x="128" y="109"/>
                  </a:lnTo>
                  <a:lnTo>
                    <a:pt x="126" y="91"/>
                  </a:lnTo>
                  <a:lnTo>
                    <a:pt x="124" y="73"/>
                  </a:lnTo>
                  <a:lnTo>
                    <a:pt x="118" y="57"/>
                  </a:lnTo>
                  <a:lnTo>
                    <a:pt x="110" y="42"/>
                  </a:lnTo>
                  <a:lnTo>
                    <a:pt x="102" y="28"/>
                  </a:lnTo>
                  <a:lnTo>
                    <a:pt x="90" y="16"/>
                  </a:lnTo>
                  <a:lnTo>
                    <a:pt x="80" y="8"/>
                  </a:lnTo>
                  <a:lnTo>
                    <a:pt x="68" y="4"/>
                  </a:lnTo>
                  <a:lnTo>
                    <a:pt x="54" y="0"/>
                  </a:lnTo>
                  <a:lnTo>
                    <a:pt x="42" y="2"/>
                  </a:lnTo>
                  <a:lnTo>
                    <a:pt x="30" y="6"/>
                  </a:lnTo>
                  <a:lnTo>
                    <a:pt x="20" y="16"/>
                  </a:lnTo>
                  <a:lnTo>
                    <a:pt x="12" y="24"/>
                  </a:lnTo>
                  <a:lnTo>
                    <a:pt x="6" y="38"/>
                  </a:lnTo>
                  <a:lnTo>
                    <a:pt x="2" y="52"/>
                  </a:lnTo>
                  <a:lnTo>
                    <a:pt x="0" y="67"/>
                  </a:lnTo>
                  <a:lnTo>
                    <a:pt x="2" y="85"/>
                  </a:lnTo>
                  <a:lnTo>
                    <a:pt x="4" y="101"/>
                  </a:lnTo>
                  <a:close/>
                </a:path>
              </a:pathLst>
            </a:custGeom>
            <a:solidFill>
              <a:srgbClr val="B58F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4" name="Freeform 167"/>
            <p:cNvSpPr>
              <a:spLocks/>
            </p:cNvSpPr>
            <p:nvPr/>
          </p:nvSpPr>
          <p:spPr bwMode="auto">
            <a:xfrm>
              <a:off x="2181" y="1867"/>
              <a:ext cx="59" cy="85"/>
            </a:xfrm>
            <a:custGeom>
              <a:avLst/>
              <a:gdLst/>
              <a:ahLst/>
              <a:cxnLst>
                <a:cxn ang="0">
                  <a:pos x="2" y="99"/>
                </a:cxn>
                <a:cxn ang="0">
                  <a:pos x="8" y="115"/>
                </a:cxn>
                <a:cxn ang="0">
                  <a:pos x="16" y="131"/>
                </a:cxn>
                <a:cxn ang="0">
                  <a:pos x="24" y="143"/>
                </a:cxn>
                <a:cxn ang="0">
                  <a:pos x="34" y="153"/>
                </a:cxn>
                <a:cxn ang="0">
                  <a:pos x="44" y="161"/>
                </a:cxn>
                <a:cxn ang="0">
                  <a:pos x="56" y="167"/>
                </a:cxn>
                <a:cxn ang="0">
                  <a:pos x="66" y="169"/>
                </a:cxn>
                <a:cxn ang="0">
                  <a:pos x="80" y="167"/>
                </a:cxn>
                <a:cxn ang="0">
                  <a:pos x="92" y="161"/>
                </a:cxn>
                <a:cxn ang="0">
                  <a:pos x="100" y="155"/>
                </a:cxn>
                <a:cxn ang="0">
                  <a:pos x="108" y="143"/>
                </a:cxn>
                <a:cxn ang="0">
                  <a:pos x="116" y="133"/>
                </a:cxn>
                <a:cxn ang="0">
                  <a:pos x="118" y="117"/>
                </a:cxn>
                <a:cxn ang="0">
                  <a:pos x="120" y="103"/>
                </a:cxn>
                <a:cxn ang="0">
                  <a:pos x="118" y="87"/>
                </a:cxn>
                <a:cxn ang="0">
                  <a:pos x="116" y="69"/>
                </a:cxn>
                <a:cxn ang="0">
                  <a:pos x="110" y="53"/>
                </a:cxn>
                <a:cxn ang="0">
                  <a:pos x="104" y="40"/>
                </a:cxn>
                <a:cxn ang="0">
                  <a:pos x="94" y="26"/>
                </a:cxn>
                <a:cxn ang="0">
                  <a:pos x="84" y="16"/>
                </a:cxn>
                <a:cxn ang="0">
                  <a:pos x="74" y="8"/>
                </a:cxn>
                <a:cxn ang="0">
                  <a:pos x="62" y="4"/>
                </a:cxn>
                <a:cxn ang="0">
                  <a:pos x="52" y="0"/>
                </a:cxn>
                <a:cxn ang="0">
                  <a:pos x="38" y="2"/>
                </a:cxn>
                <a:cxn ang="0">
                  <a:pos x="28" y="6"/>
                </a:cxn>
                <a:cxn ang="0">
                  <a:pos x="18" y="14"/>
                </a:cxn>
                <a:cxn ang="0">
                  <a:pos x="10" y="24"/>
                </a:cxn>
                <a:cxn ang="0">
                  <a:pos x="4" y="36"/>
                </a:cxn>
                <a:cxn ang="0">
                  <a:pos x="2" y="50"/>
                </a:cxn>
                <a:cxn ang="0">
                  <a:pos x="0" y="65"/>
                </a:cxn>
                <a:cxn ang="0">
                  <a:pos x="0" y="83"/>
                </a:cxn>
                <a:cxn ang="0">
                  <a:pos x="2" y="99"/>
                </a:cxn>
              </a:cxnLst>
              <a:rect l="0" t="0" r="r" b="b"/>
              <a:pathLst>
                <a:path w="120" h="169">
                  <a:moveTo>
                    <a:pt x="2" y="99"/>
                  </a:moveTo>
                  <a:lnTo>
                    <a:pt x="8" y="115"/>
                  </a:lnTo>
                  <a:lnTo>
                    <a:pt x="16" y="131"/>
                  </a:lnTo>
                  <a:lnTo>
                    <a:pt x="24" y="143"/>
                  </a:lnTo>
                  <a:lnTo>
                    <a:pt x="34" y="153"/>
                  </a:lnTo>
                  <a:lnTo>
                    <a:pt x="44" y="161"/>
                  </a:lnTo>
                  <a:lnTo>
                    <a:pt x="56" y="167"/>
                  </a:lnTo>
                  <a:lnTo>
                    <a:pt x="66" y="169"/>
                  </a:lnTo>
                  <a:lnTo>
                    <a:pt x="80" y="167"/>
                  </a:lnTo>
                  <a:lnTo>
                    <a:pt x="92" y="161"/>
                  </a:lnTo>
                  <a:lnTo>
                    <a:pt x="100" y="155"/>
                  </a:lnTo>
                  <a:lnTo>
                    <a:pt x="108" y="143"/>
                  </a:lnTo>
                  <a:lnTo>
                    <a:pt x="116" y="133"/>
                  </a:lnTo>
                  <a:lnTo>
                    <a:pt x="118" y="117"/>
                  </a:lnTo>
                  <a:lnTo>
                    <a:pt x="120" y="103"/>
                  </a:lnTo>
                  <a:lnTo>
                    <a:pt x="118" y="87"/>
                  </a:lnTo>
                  <a:lnTo>
                    <a:pt x="116" y="69"/>
                  </a:lnTo>
                  <a:lnTo>
                    <a:pt x="110" y="53"/>
                  </a:lnTo>
                  <a:lnTo>
                    <a:pt x="104" y="40"/>
                  </a:lnTo>
                  <a:lnTo>
                    <a:pt x="94" y="26"/>
                  </a:lnTo>
                  <a:lnTo>
                    <a:pt x="84" y="16"/>
                  </a:lnTo>
                  <a:lnTo>
                    <a:pt x="74" y="8"/>
                  </a:lnTo>
                  <a:lnTo>
                    <a:pt x="62" y="4"/>
                  </a:lnTo>
                  <a:lnTo>
                    <a:pt x="52" y="0"/>
                  </a:lnTo>
                  <a:lnTo>
                    <a:pt x="38" y="2"/>
                  </a:lnTo>
                  <a:lnTo>
                    <a:pt x="28" y="6"/>
                  </a:lnTo>
                  <a:lnTo>
                    <a:pt x="18" y="14"/>
                  </a:lnTo>
                  <a:lnTo>
                    <a:pt x="10" y="24"/>
                  </a:lnTo>
                  <a:lnTo>
                    <a:pt x="4" y="36"/>
                  </a:lnTo>
                  <a:lnTo>
                    <a:pt x="2" y="50"/>
                  </a:lnTo>
                  <a:lnTo>
                    <a:pt x="0" y="65"/>
                  </a:lnTo>
                  <a:lnTo>
                    <a:pt x="0" y="83"/>
                  </a:lnTo>
                  <a:lnTo>
                    <a:pt x="2" y="99"/>
                  </a:lnTo>
                  <a:close/>
                </a:path>
              </a:pathLst>
            </a:custGeom>
            <a:solidFill>
              <a:srgbClr val="BE9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5" name="Freeform 168"/>
            <p:cNvSpPr>
              <a:spLocks/>
            </p:cNvSpPr>
            <p:nvPr/>
          </p:nvSpPr>
          <p:spPr bwMode="auto">
            <a:xfrm>
              <a:off x="2181" y="1869"/>
              <a:ext cx="58" cy="80"/>
            </a:xfrm>
            <a:custGeom>
              <a:avLst/>
              <a:gdLst/>
              <a:ahLst/>
              <a:cxnLst>
                <a:cxn ang="0">
                  <a:pos x="4" y="93"/>
                </a:cxn>
                <a:cxn ang="0">
                  <a:pos x="14" y="121"/>
                </a:cxn>
                <a:cxn ang="0">
                  <a:pos x="24" y="135"/>
                </a:cxn>
                <a:cxn ang="0">
                  <a:pos x="34" y="145"/>
                </a:cxn>
                <a:cxn ang="0">
                  <a:pos x="44" y="153"/>
                </a:cxn>
                <a:cxn ang="0">
                  <a:pos x="54" y="157"/>
                </a:cxn>
                <a:cxn ang="0">
                  <a:pos x="66" y="159"/>
                </a:cxn>
                <a:cxn ang="0">
                  <a:pos x="78" y="157"/>
                </a:cxn>
                <a:cxn ang="0">
                  <a:pos x="90" y="155"/>
                </a:cxn>
                <a:cxn ang="0">
                  <a:pos x="98" y="147"/>
                </a:cxn>
                <a:cxn ang="0">
                  <a:pos x="106" y="137"/>
                </a:cxn>
                <a:cxn ang="0">
                  <a:pos x="110" y="125"/>
                </a:cxn>
                <a:cxn ang="0">
                  <a:pos x="114" y="113"/>
                </a:cxn>
                <a:cxn ang="0">
                  <a:pos x="116" y="97"/>
                </a:cxn>
                <a:cxn ang="0">
                  <a:pos x="116" y="81"/>
                </a:cxn>
                <a:cxn ang="0">
                  <a:pos x="112" y="65"/>
                </a:cxn>
                <a:cxn ang="0">
                  <a:pos x="106" y="49"/>
                </a:cxn>
                <a:cxn ang="0">
                  <a:pos x="100" y="36"/>
                </a:cxn>
                <a:cxn ang="0">
                  <a:pos x="92" y="24"/>
                </a:cxn>
                <a:cxn ang="0">
                  <a:pos x="82" y="14"/>
                </a:cxn>
                <a:cxn ang="0">
                  <a:pos x="72" y="6"/>
                </a:cxn>
                <a:cxn ang="0">
                  <a:pos x="62" y="0"/>
                </a:cxn>
                <a:cxn ang="0">
                  <a:pos x="50" y="0"/>
                </a:cxn>
                <a:cxn ang="0">
                  <a:pos x="38" y="0"/>
                </a:cxn>
                <a:cxn ang="0">
                  <a:pos x="28" y="4"/>
                </a:cxn>
                <a:cxn ang="0">
                  <a:pos x="20" y="10"/>
                </a:cxn>
                <a:cxn ang="0">
                  <a:pos x="12" y="20"/>
                </a:cxn>
                <a:cxn ang="0">
                  <a:pos x="4" y="34"/>
                </a:cxn>
                <a:cxn ang="0">
                  <a:pos x="2" y="46"/>
                </a:cxn>
                <a:cxn ang="0">
                  <a:pos x="0" y="61"/>
                </a:cxn>
                <a:cxn ang="0">
                  <a:pos x="0" y="77"/>
                </a:cxn>
                <a:cxn ang="0">
                  <a:pos x="4" y="93"/>
                </a:cxn>
              </a:cxnLst>
              <a:rect l="0" t="0" r="r" b="b"/>
              <a:pathLst>
                <a:path w="116" h="159">
                  <a:moveTo>
                    <a:pt x="4" y="93"/>
                  </a:moveTo>
                  <a:lnTo>
                    <a:pt x="14" y="121"/>
                  </a:lnTo>
                  <a:lnTo>
                    <a:pt x="24" y="135"/>
                  </a:lnTo>
                  <a:lnTo>
                    <a:pt x="34" y="145"/>
                  </a:lnTo>
                  <a:lnTo>
                    <a:pt x="44" y="153"/>
                  </a:lnTo>
                  <a:lnTo>
                    <a:pt x="54" y="157"/>
                  </a:lnTo>
                  <a:lnTo>
                    <a:pt x="66" y="159"/>
                  </a:lnTo>
                  <a:lnTo>
                    <a:pt x="78" y="157"/>
                  </a:lnTo>
                  <a:lnTo>
                    <a:pt x="90" y="155"/>
                  </a:lnTo>
                  <a:lnTo>
                    <a:pt x="98" y="147"/>
                  </a:lnTo>
                  <a:lnTo>
                    <a:pt x="106" y="137"/>
                  </a:lnTo>
                  <a:lnTo>
                    <a:pt x="110" y="125"/>
                  </a:lnTo>
                  <a:lnTo>
                    <a:pt x="114" y="113"/>
                  </a:lnTo>
                  <a:lnTo>
                    <a:pt x="116" y="97"/>
                  </a:lnTo>
                  <a:lnTo>
                    <a:pt x="116" y="81"/>
                  </a:lnTo>
                  <a:lnTo>
                    <a:pt x="112" y="65"/>
                  </a:lnTo>
                  <a:lnTo>
                    <a:pt x="106" y="49"/>
                  </a:lnTo>
                  <a:lnTo>
                    <a:pt x="100" y="36"/>
                  </a:lnTo>
                  <a:lnTo>
                    <a:pt x="92" y="24"/>
                  </a:lnTo>
                  <a:lnTo>
                    <a:pt x="82" y="14"/>
                  </a:lnTo>
                  <a:lnTo>
                    <a:pt x="72" y="6"/>
                  </a:lnTo>
                  <a:lnTo>
                    <a:pt x="62" y="0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20" y="10"/>
                  </a:lnTo>
                  <a:lnTo>
                    <a:pt x="12" y="20"/>
                  </a:lnTo>
                  <a:lnTo>
                    <a:pt x="4" y="34"/>
                  </a:lnTo>
                  <a:lnTo>
                    <a:pt x="2" y="46"/>
                  </a:lnTo>
                  <a:lnTo>
                    <a:pt x="0" y="61"/>
                  </a:lnTo>
                  <a:lnTo>
                    <a:pt x="0" y="77"/>
                  </a:lnTo>
                  <a:lnTo>
                    <a:pt x="4" y="93"/>
                  </a:lnTo>
                  <a:close/>
                </a:path>
              </a:pathLst>
            </a:custGeom>
            <a:solidFill>
              <a:srgbClr val="C6A8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6" name="Freeform 169"/>
            <p:cNvSpPr>
              <a:spLocks/>
            </p:cNvSpPr>
            <p:nvPr/>
          </p:nvSpPr>
          <p:spPr bwMode="auto">
            <a:xfrm>
              <a:off x="2183" y="1870"/>
              <a:ext cx="55" cy="77"/>
            </a:xfrm>
            <a:custGeom>
              <a:avLst/>
              <a:gdLst/>
              <a:ahLst/>
              <a:cxnLst>
                <a:cxn ang="0">
                  <a:pos x="2" y="89"/>
                </a:cxn>
                <a:cxn ang="0">
                  <a:pos x="8" y="103"/>
                </a:cxn>
                <a:cxn ang="0">
                  <a:pos x="14" y="117"/>
                </a:cxn>
                <a:cxn ang="0">
                  <a:pos x="22" y="129"/>
                </a:cxn>
                <a:cxn ang="0">
                  <a:pos x="32" y="139"/>
                </a:cxn>
                <a:cxn ang="0">
                  <a:pos x="42" y="145"/>
                </a:cxn>
                <a:cxn ang="0">
                  <a:pos x="50" y="151"/>
                </a:cxn>
                <a:cxn ang="0">
                  <a:pos x="62" y="153"/>
                </a:cxn>
                <a:cxn ang="0">
                  <a:pos x="74" y="151"/>
                </a:cxn>
                <a:cxn ang="0">
                  <a:pos x="84" y="147"/>
                </a:cxn>
                <a:cxn ang="0">
                  <a:pos x="92" y="141"/>
                </a:cxn>
                <a:cxn ang="0">
                  <a:pos x="100" y="131"/>
                </a:cxn>
                <a:cxn ang="0">
                  <a:pos x="104" y="119"/>
                </a:cxn>
                <a:cxn ang="0">
                  <a:pos x="108" y="107"/>
                </a:cxn>
                <a:cxn ang="0">
                  <a:pos x="110" y="93"/>
                </a:cxn>
                <a:cxn ang="0">
                  <a:pos x="110" y="79"/>
                </a:cxn>
                <a:cxn ang="0">
                  <a:pos x="106" y="63"/>
                </a:cxn>
                <a:cxn ang="0">
                  <a:pos x="102" y="47"/>
                </a:cxn>
                <a:cxn ang="0">
                  <a:pos x="94" y="36"/>
                </a:cxn>
                <a:cxn ang="0">
                  <a:pos x="86" y="24"/>
                </a:cxn>
                <a:cxn ang="0">
                  <a:pos x="78" y="14"/>
                </a:cxn>
                <a:cxn ang="0">
                  <a:pos x="68" y="8"/>
                </a:cxn>
                <a:cxn ang="0">
                  <a:pos x="58" y="4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26" y="4"/>
                </a:cxn>
                <a:cxn ang="0">
                  <a:pos x="16" y="12"/>
                </a:cxn>
                <a:cxn ang="0">
                  <a:pos x="10" y="22"/>
                </a:cxn>
                <a:cxn ang="0">
                  <a:pos x="6" y="32"/>
                </a:cxn>
                <a:cxn ang="0">
                  <a:pos x="0" y="45"/>
                </a:cxn>
                <a:cxn ang="0">
                  <a:pos x="0" y="59"/>
                </a:cxn>
                <a:cxn ang="0">
                  <a:pos x="2" y="89"/>
                </a:cxn>
              </a:cxnLst>
              <a:rect l="0" t="0" r="r" b="b"/>
              <a:pathLst>
                <a:path w="110" h="153">
                  <a:moveTo>
                    <a:pt x="2" y="89"/>
                  </a:moveTo>
                  <a:lnTo>
                    <a:pt x="8" y="103"/>
                  </a:lnTo>
                  <a:lnTo>
                    <a:pt x="14" y="117"/>
                  </a:lnTo>
                  <a:lnTo>
                    <a:pt x="22" y="129"/>
                  </a:lnTo>
                  <a:lnTo>
                    <a:pt x="32" y="139"/>
                  </a:lnTo>
                  <a:lnTo>
                    <a:pt x="42" y="145"/>
                  </a:lnTo>
                  <a:lnTo>
                    <a:pt x="50" y="151"/>
                  </a:lnTo>
                  <a:lnTo>
                    <a:pt x="62" y="153"/>
                  </a:lnTo>
                  <a:lnTo>
                    <a:pt x="74" y="151"/>
                  </a:lnTo>
                  <a:lnTo>
                    <a:pt x="84" y="147"/>
                  </a:lnTo>
                  <a:lnTo>
                    <a:pt x="92" y="141"/>
                  </a:lnTo>
                  <a:lnTo>
                    <a:pt x="100" y="131"/>
                  </a:lnTo>
                  <a:lnTo>
                    <a:pt x="104" y="119"/>
                  </a:lnTo>
                  <a:lnTo>
                    <a:pt x="108" y="107"/>
                  </a:lnTo>
                  <a:lnTo>
                    <a:pt x="110" y="93"/>
                  </a:lnTo>
                  <a:lnTo>
                    <a:pt x="110" y="79"/>
                  </a:lnTo>
                  <a:lnTo>
                    <a:pt x="106" y="63"/>
                  </a:lnTo>
                  <a:lnTo>
                    <a:pt x="102" y="47"/>
                  </a:lnTo>
                  <a:lnTo>
                    <a:pt x="94" y="36"/>
                  </a:lnTo>
                  <a:lnTo>
                    <a:pt x="86" y="24"/>
                  </a:lnTo>
                  <a:lnTo>
                    <a:pt x="78" y="14"/>
                  </a:lnTo>
                  <a:lnTo>
                    <a:pt x="68" y="8"/>
                  </a:lnTo>
                  <a:lnTo>
                    <a:pt x="58" y="4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6" y="12"/>
                  </a:lnTo>
                  <a:lnTo>
                    <a:pt x="10" y="22"/>
                  </a:lnTo>
                  <a:lnTo>
                    <a:pt x="6" y="32"/>
                  </a:lnTo>
                  <a:lnTo>
                    <a:pt x="0" y="45"/>
                  </a:lnTo>
                  <a:lnTo>
                    <a:pt x="0" y="59"/>
                  </a:lnTo>
                  <a:lnTo>
                    <a:pt x="2" y="89"/>
                  </a:lnTo>
                  <a:close/>
                </a:path>
              </a:pathLst>
            </a:custGeom>
            <a:solidFill>
              <a:srgbClr val="CEB4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7" name="Freeform 170"/>
            <p:cNvSpPr>
              <a:spLocks/>
            </p:cNvSpPr>
            <p:nvPr/>
          </p:nvSpPr>
          <p:spPr bwMode="auto">
            <a:xfrm>
              <a:off x="2184" y="1871"/>
              <a:ext cx="53" cy="73"/>
            </a:xfrm>
            <a:custGeom>
              <a:avLst/>
              <a:gdLst/>
              <a:ahLst/>
              <a:cxnLst>
                <a:cxn ang="0">
                  <a:pos x="4" y="85"/>
                </a:cxn>
                <a:cxn ang="0">
                  <a:pos x="14" y="111"/>
                </a:cxn>
                <a:cxn ang="0">
                  <a:pos x="32" y="131"/>
                </a:cxn>
                <a:cxn ang="0">
                  <a:pos x="40" y="139"/>
                </a:cxn>
                <a:cxn ang="0">
                  <a:pos x="50" y="143"/>
                </a:cxn>
                <a:cxn ang="0">
                  <a:pos x="62" y="145"/>
                </a:cxn>
                <a:cxn ang="0">
                  <a:pos x="72" y="143"/>
                </a:cxn>
                <a:cxn ang="0">
                  <a:pos x="82" y="141"/>
                </a:cxn>
                <a:cxn ang="0">
                  <a:pos x="90" y="133"/>
                </a:cxn>
                <a:cxn ang="0">
                  <a:pos x="96" y="123"/>
                </a:cxn>
                <a:cxn ang="0">
                  <a:pos x="100" y="115"/>
                </a:cxn>
                <a:cxn ang="0">
                  <a:pos x="106" y="89"/>
                </a:cxn>
                <a:cxn ang="0">
                  <a:pos x="102" y="61"/>
                </a:cxn>
                <a:cxn ang="0">
                  <a:pos x="92" y="34"/>
                </a:cxn>
                <a:cxn ang="0">
                  <a:pos x="84" y="22"/>
                </a:cxn>
                <a:cxn ang="0">
                  <a:pos x="76" y="14"/>
                </a:cxn>
                <a:cxn ang="0">
                  <a:pos x="66" y="6"/>
                </a:cxn>
                <a:cxn ang="0">
                  <a:pos x="58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26" y="6"/>
                </a:cxn>
                <a:cxn ang="0">
                  <a:pos x="18" y="12"/>
                </a:cxn>
                <a:cxn ang="0">
                  <a:pos x="12" y="20"/>
                </a:cxn>
                <a:cxn ang="0">
                  <a:pos x="6" y="32"/>
                </a:cxn>
                <a:cxn ang="0">
                  <a:pos x="0" y="55"/>
                </a:cxn>
                <a:cxn ang="0">
                  <a:pos x="4" y="85"/>
                </a:cxn>
              </a:cxnLst>
              <a:rect l="0" t="0" r="r" b="b"/>
              <a:pathLst>
                <a:path w="106" h="145">
                  <a:moveTo>
                    <a:pt x="4" y="85"/>
                  </a:moveTo>
                  <a:lnTo>
                    <a:pt x="14" y="111"/>
                  </a:lnTo>
                  <a:lnTo>
                    <a:pt x="32" y="131"/>
                  </a:lnTo>
                  <a:lnTo>
                    <a:pt x="40" y="139"/>
                  </a:lnTo>
                  <a:lnTo>
                    <a:pt x="50" y="143"/>
                  </a:lnTo>
                  <a:lnTo>
                    <a:pt x="62" y="145"/>
                  </a:lnTo>
                  <a:lnTo>
                    <a:pt x="72" y="143"/>
                  </a:lnTo>
                  <a:lnTo>
                    <a:pt x="82" y="141"/>
                  </a:lnTo>
                  <a:lnTo>
                    <a:pt x="90" y="133"/>
                  </a:lnTo>
                  <a:lnTo>
                    <a:pt x="96" y="123"/>
                  </a:lnTo>
                  <a:lnTo>
                    <a:pt x="100" y="115"/>
                  </a:lnTo>
                  <a:lnTo>
                    <a:pt x="106" y="89"/>
                  </a:lnTo>
                  <a:lnTo>
                    <a:pt x="102" y="61"/>
                  </a:lnTo>
                  <a:lnTo>
                    <a:pt x="92" y="34"/>
                  </a:lnTo>
                  <a:lnTo>
                    <a:pt x="84" y="22"/>
                  </a:lnTo>
                  <a:lnTo>
                    <a:pt x="76" y="14"/>
                  </a:lnTo>
                  <a:lnTo>
                    <a:pt x="66" y="6"/>
                  </a:lnTo>
                  <a:lnTo>
                    <a:pt x="58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26" y="6"/>
                  </a:lnTo>
                  <a:lnTo>
                    <a:pt x="18" y="12"/>
                  </a:lnTo>
                  <a:lnTo>
                    <a:pt x="12" y="20"/>
                  </a:lnTo>
                  <a:lnTo>
                    <a:pt x="6" y="32"/>
                  </a:lnTo>
                  <a:lnTo>
                    <a:pt x="0" y="55"/>
                  </a:lnTo>
                  <a:lnTo>
                    <a:pt x="4" y="85"/>
                  </a:lnTo>
                  <a:close/>
                </a:path>
              </a:pathLst>
            </a:custGeom>
            <a:solidFill>
              <a:srgbClr val="D6C1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8" name="Freeform 171"/>
            <p:cNvSpPr>
              <a:spLocks/>
            </p:cNvSpPr>
            <p:nvPr/>
          </p:nvSpPr>
          <p:spPr bwMode="auto">
            <a:xfrm>
              <a:off x="2187" y="1872"/>
              <a:ext cx="49" cy="69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2" y="105"/>
                </a:cxn>
                <a:cxn ang="0">
                  <a:pos x="26" y="125"/>
                </a:cxn>
                <a:cxn ang="0">
                  <a:pos x="36" y="131"/>
                </a:cxn>
                <a:cxn ang="0">
                  <a:pos x="56" y="137"/>
                </a:cxn>
                <a:cxn ang="0">
                  <a:pos x="66" y="135"/>
                </a:cxn>
                <a:cxn ang="0">
                  <a:pos x="76" y="133"/>
                </a:cxn>
                <a:cxn ang="0">
                  <a:pos x="82" y="125"/>
                </a:cxn>
                <a:cxn ang="0">
                  <a:pos x="88" y="117"/>
                </a:cxn>
                <a:cxn ang="0">
                  <a:pos x="94" y="107"/>
                </a:cxn>
                <a:cxn ang="0">
                  <a:pos x="98" y="83"/>
                </a:cxn>
                <a:cxn ang="0">
                  <a:pos x="94" y="55"/>
                </a:cxn>
                <a:cxn ang="0">
                  <a:pos x="86" y="30"/>
                </a:cxn>
                <a:cxn ang="0">
                  <a:pos x="68" y="12"/>
                </a:cxn>
                <a:cxn ang="0">
                  <a:pos x="60" y="6"/>
                </a:cxn>
                <a:cxn ang="0">
                  <a:pos x="52" y="2"/>
                </a:cxn>
                <a:cxn ang="0">
                  <a:pos x="42" y="0"/>
                </a:cxn>
                <a:cxn ang="0">
                  <a:pos x="32" y="2"/>
                </a:cxn>
                <a:cxn ang="0">
                  <a:pos x="22" y="4"/>
                </a:cxn>
                <a:cxn ang="0">
                  <a:pos x="16" y="12"/>
                </a:cxn>
                <a:cxn ang="0">
                  <a:pos x="4" y="30"/>
                </a:cxn>
                <a:cxn ang="0">
                  <a:pos x="0" y="53"/>
                </a:cxn>
                <a:cxn ang="0">
                  <a:pos x="2" y="79"/>
                </a:cxn>
              </a:cxnLst>
              <a:rect l="0" t="0" r="r" b="b"/>
              <a:pathLst>
                <a:path w="98" h="137">
                  <a:moveTo>
                    <a:pt x="2" y="79"/>
                  </a:moveTo>
                  <a:lnTo>
                    <a:pt x="12" y="105"/>
                  </a:lnTo>
                  <a:lnTo>
                    <a:pt x="26" y="125"/>
                  </a:lnTo>
                  <a:lnTo>
                    <a:pt x="36" y="131"/>
                  </a:lnTo>
                  <a:lnTo>
                    <a:pt x="56" y="137"/>
                  </a:lnTo>
                  <a:lnTo>
                    <a:pt x="66" y="135"/>
                  </a:lnTo>
                  <a:lnTo>
                    <a:pt x="76" y="133"/>
                  </a:lnTo>
                  <a:lnTo>
                    <a:pt x="82" y="125"/>
                  </a:lnTo>
                  <a:lnTo>
                    <a:pt x="88" y="117"/>
                  </a:lnTo>
                  <a:lnTo>
                    <a:pt x="94" y="107"/>
                  </a:lnTo>
                  <a:lnTo>
                    <a:pt x="98" y="83"/>
                  </a:lnTo>
                  <a:lnTo>
                    <a:pt x="94" y="55"/>
                  </a:lnTo>
                  <a:lnTo>
                    <a:pt x="86" y="30"/>
                  </a:lnTo>
                  <a:lnTo>
                    <a:pt x="68" y="12"/>
                  </a:lnTo>
                  <a:lnTo>
                    <a:pt x="60" y="6"/>
                  </a:lnTo>
                  <a:lnTo>
                    <a:pt x="52" y="2"/>
                  </a:lnTo>
                  <a:lnTo>
                    <a:pt x="42" y="0"/>
                  </a:lnTo>
                  <a:lnTo>
                    <a:pt x="32" y="2"/>
                  </a:lnTo>
                  <a:lnTo>
                    <a:pt x="22" y="4"/>
                  </a:lnTo>
                  <a:lnTo>
                    <a:pt x="16" y="12"/>
                  </a:lnTo>
                  <a:lnTo>
                    <a:pt x="4" y="30"/>
                  </a:lnTo>
                  <a:lnTo>
                    <a:pt x="0" y="53"/>
                  </a:lnTo>
                  <a:lnTo>
                    <a:pt x="2" y="79"/>
                  </a:lnTo>
                  <a:close/>
                </a:path>
              </a:pathLst>
            </a:custGeom>
            <a:solidFill>
              <a:srgbClr val="DECD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49" name="Freeform 172"/>
            <p:cNvSpPr>
              <a:spLocks/>
            </p:cNvSpPr>
            <p:nvPr/>
          </p:nvSpPr>
          <p:spPr bwMode="auto">
            <a:xfrm>
              <a:off x="2188" y="1874"/>
              <a:ext cx="48" cy="65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4" y="97"/>
                </a:cxn>
                <a:cxn ang="0">
                  <a:pos x="28" y="115"/>
                </a:cxn>
                <a:cxn ang="0">
                  <a:pos x="46" y="127"/>
                </a:cxn>
                <a:cxn ang="0">
                  <a:pos x="54" y="129"/>
                </a:cxn>
                <a:cxn ang="0">
                  <a:pos x="64" y="127"/>
                </a:cxn>
                <a:cxn ang="0">
                  <a:pos x="72" y="123"/>
                </a:cxn>
                <a:cxn ang="0">
                  <a:pos x="80" y="117"/>
                </a:cxn>
                <a:cxn ang="0">
                  <a:pos x="90" y="99"/>
                </a:cxn>
                <a:cxn ang="0">
                  <a:pos x="96" y="77"/>
                </a:cxn>
                <a:cxn ang="0">
                  <a:pos x="92" y="51"/>
                </a:cxn>
                <a:cxn ang="0">
                  <a:pos x="82" y="28"/>
                </a:cxn>
                <a:cxn ang="0">
                  <a:pos x="68" y="10"/>
                </a:cxn>
                <a:cxn ang="0">
                  <a:pos x="50" y="0"/>
                </a:cxn>
                <a:cxn ang="0">
                  <a:pos x="32" y="0"/>
                </a:cxn>
                <a:cxn ang="0">
                  <a:pos x="24" y="2"/>
                </a:cxn>
                <a:cxn ang="0">
                  <a:pos x="14" y="8"/>
                </a:cxn>
                <a:cxn ang="0">
                  <a:pos x="6" y="26"/>
                </a:cxn>
                <a:cxn ang="0">
                  <a:pos x="0" y="49"/>
                </a:cxn>
                <a:cxn ang="0">
                  <a:pos x="4" y="73"/>
                </a:cxn>
              </a:cxnLst>
              <a:rect l="0" t="0" r="r" b="b"/>
              <a:pathLst>
                <a:path w="96" h="129">
                  <a:moveTo>
                    <a:pt x="4" y="73"/>
                  </a:moveTo>
                  <a:lnTo>
                    <a:pt x="14" y="97"/>
                  </a:lnTo>
                  <a:lnTo>
                    <a:pt x="28" y="115"/>
                  </a:lnTo>
                  <a:lnTo>
                    <a:pt x="46" y="127"/>
                  </a:lnTo>
                  <a:lnTo>
                    <a:pt x="54" y="129"/>
                  </a:lnTo>
                  <a:lnTo>
                    <a:pt x="64" y="127"/>
                  </a:lnTo>
                  <a:lnTo>
                    <a:pt x="72" y="123"/>
                  </a:lnTo>
                  <a:lnTo>
                    <a:pt x="80" y="117"/>
                  </a:lnTo>
                  <a:lnTo>
                    <a:pt x="90" y="99"/>
                  </a:lnTo>
                  <a:lnTo>
                    <a:pt x="96" y="77"/>
                  </a:lnTo>
                  <a:lnTo>
                    <a:pt x="92" y="51"/>
                  </a:lnTo>
                  <a:lnTo>
                    <a:pt x="82" y="28"/>
                  </a:lnTo>
                  <a:lnTo>
                    <a:pt x="68" y="10"/>
                  </a:lnTo>
                  <a:lnTo>
                    <a:pt x="5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4" y="8"/>
                  </a:lnTo>
                  <a:lnTo>
                    <a:pt x="6" y="26"/>
                  </a:lnTo>
                  <a:lnTo>
                    <a:pt x="0" y="49"/>
                  </a:lnTo>
                  <a:lnTo>
                    <a:pt x="4" y="73"/>
                  </a:lnTo>
                  <a:close/>
                </a:path>
              </a:pathLst>
            </a:custGeom>
            <a:solidFill>
              <a:srgbClr val="E6DA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0" name="Freeform 173"/>
            <p:cNvSpPr>
              <a:spLocks/>
            </p:cNvSpPr>
            <p:nvPr/>
          </p:nvSpPr>
          <p:spPr bwMode="auto">
            <a:xfrm>
              <a:off x="2190" y="1875"/>
              <a:ext cx="45" cy="61"/>
            </a:xfrm>
            <a:custGeom>
              <a:avLst/>
              <a:gdLst/>
              <a:ahLst/>
              <a:cxnLst>
                <a:cxn ang="0">
                  <a:pos x="4" y="71"/>
                </a:cxn>
                <a:cxn ang="0">
                  <a:pos x="12" y="93"/>
                </a:cxn>
                <a:cxn ang="0">
                  <a:pos x="26" y="109"/>
                </a:cxn>
                <a:cxn ang="0">
                  <a:pos x="42" y="119"/>
                </a:cxn>
                <a:cxn ang="0">
                  <a:pos x="50" y="121"/>
                </a:cxn>
                <a:cxn ang="0">
                  <a:pos x="60" y="119"/>
                </a:cxn>
                <a:cxn ang="0">
                  <a:pos x="68" y="115"/>
                </a:cxn>
                <a:cxn ang="0">
                  <a:pos x="76" y="111"/>
                </a:cxn>
                <a:cxn ang="0">
                  <a:pos x="86" y="95"/>
                </a:cxn>
                <a:cxn ang="0">
                  <a:pos x="90" y="73"/>
                </a:cxn>
                <a:cxn ang="0">
                  <a:pos x="86" y="49"/>
                </a:cxn>
                <a:cxn ang="0">
                  <a:pos x="76" y="28"/>
                </a:cxn>
                <a:cxn ang="0">
                  <a:pos x="64" y="12"/>
                </a:cxn>
                <a:cxn ang="0">
                  <a:pos x="48" y="2"/>
                </a:cxn>
                <a:cxn ang="0">
                  <a:pos x="38" y="0"/>
                </a:cxn>
                <a:cxn ang="0">
                  <a:pos x="30" y="2"/>
                </a:cxn>
                <a:cxn ang="0">
                  <a:pos x="22" y="4"/>
                </a:cxn>
                <a:cxn ang="0">
                  <a:pos x="16" y="10"/>
                </a:cxn>
                <a:cxn ang="0">
                  <a:pos x="6" y="26"/>
                </a:cxn>
                <a:cxn ang="0">
                  <a:pos x="0" y="45"/>
                </a:cxn>
                <a:cxn ang="0">
                  <a:pos x="4" y="71"/>
                </a:cxn>
              </a:cxnLst>
              <a:rect l="0" t="0" r="r" b="b"/>
              <a:pathLst>
                <a:path w="90" h="121">
                  <a:moveTo>
                    <a:pt x="4" y="71"/>
                  </a:moveTo>
                  <a:lnTo>
                    <a:pt x="12" y="93"/>
                  </a:lnTo>
                  <a:lnTo>
                    <a:pt x="26" y="109"/>
                  </a:lnTo>
                  <a:lnTo>
                    <a:pt x="42" y="119"/>
                  </a:lnTo>
                  <a:lnTo>
                    <a:pt x="50" y="121"/>
                  </a:lnTo>
                  <a:lnTo>
                    <a:pt x="60" y="119"/>
                  </a:lnTo>
                  <a:lnTo>
                    <a:pt x="68" y="115"/>
                  </a:lnTo>
                  <a:lnTo>
                    <a:pt x="76" y="111"/>
                  </a:lnTo>
                  <a:lnTo>
                    <a:pt x="86" y="95"/>
                  </a:lnTo>
                  <a:lnTo>
                    <a:pt x="90" y="73"/>
                  </a:lnTo>
                  <a:lnTo>
                    <a:pt x="86" y="49"/>
                  </a:lnTo>
                  <a:lnTo>
                    <a:pt x="76" y="28"/>
                  </a:lnTo>
                  <a:lnTo>
                    <a:pt x="64" y="12"/>
                  </a:lnTo>
                  <a:lnTo>
                    <a:pt x="48" y="2"/>
                  </a:lnTo>
                  <a:lnTo>
                    <a:pt x="38" y="0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16" y="10"/>
                  </a:lnTo>
                  <a:lnTo>
                    <a:pt x="6" y="26"/>
                  </a:lnTo>
                  <a:lnTo>
                    <a:pt x="0" y="45"/>
                  </a:lnTo>
                  <a:lnTo>
                    <a:pt x="4" y="71"/>
                  </a:lnTo>
                  <a:close/>
                </a:path>
              </a:pathLst>
            </a:custGeom>
            <a:solidFill>
              <a:srgbClr val="EFE6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1" name="Freeform 174"/>
            <p:cNvSpPr>
              <a:spLocks/>
            </p:cNvSpPr>
            <p:nvPr/>
          </p:nvSpPr>
          <p:spPr bwMode="auto">
            <a:xfrm>
              <a:off x="2192" y="1875"/>
              <a:ext cx="42" cy="57"/>
            </a:xfrm>
            <a:custGeom>
              <a:avLst/>
              <a:gdLst/>
              <a:ahLst/>
              <a:cxnLst>
                <a:cxn ang="0">
                  <a:pos x="4" y="65"/>
                </a:cxn>
                <a:cxn ang="0">
                  <a:pos x="12" y="87"/>
                </a:cxn>
                <a:cxn ang="0">
                  <a:pos x="26" y="103"/>
                </a:cxn>
                <a:cxn ang="0">
                  <a:pos x="40" y="111"/>
                </a:cxn>
                <a:cxn ang="0">
                  <a:pos x="56" y="113"/>
                </a:cxn>
                <a:cxn ang="0">
                  <a:pos x="64" y="109"/>
                </a:cxn>
                <a:cxn ang="0">
                  <a:pos x="72" y="105"/>
                </a:cxn>
                <a:cxn ang="0">
                  <a:pos x="80" y="89"/>
                </a:cxn>
                <a:cxn ang="0">
                  <a:pos x="84" y="69"/>
                </a:cxn>
                <a:cxn ang="0">
                  <a:pos x="82" y="45"/>
                </a:cxn>
                <a:cxn ang="0">
                  <a:pos x="72" y="26"/>
                </a:cxn>
                <a:cxn ang="0">
                  <a:pos x="60" y="10"/>
                </a:cxn>
                <a:cxn ang="0">
                  <a:pos x="44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0" y="4"/>
                </a:cxn>
                <a:cxn ang="0">
                  <a:pos x="12" y="10"/>
                </a:cxn>
                <a:cxn ang="0">
                  <a:pos x="4" y="24"/>
                </a:cxn>
                <a:cxn ang="0">
                  <a:pos x="0" y="43"/>
                </a:cxn>
                <a:cxn ang="0">
                  <a:pos x="4" y="65"/>
                </a:cxn>
              </a:cxnLst>
              <a:rect l="0" t="0" r="r" b="b"/>
              <a:pathLst>
                <a:path w="84" h="113">
                  <a:moveTo>
                    <a:pt x="4" y="65"/>
                  </a:moveTo>
                  <a:lnTo>
                    <a:pt x="12" y="87"/>
                  </a:lnTo>
                  <a:lnTo>
                    <a:pt x="26" y="103"/>
                  </a:lnTo>
                  <a:lnTo>
                    <a:pt x="40" y="111"/>
                  </a:lnTo>
                  <a:lnTo>
                    <a:pt x="56" y="113"/>
                  </a:lnTo>
                  <a:lnTo>
                    <a:pt x="64" y="109"/>
                  </a:lnTo>
                  <a:lnTo>
                    <a:pt x="72" y="105"/>
                  </a:lnTo>
                  <a:lnTo>
                    <a:pt x="80" y="89"/>
                  </a:lnTo>
                  <a:lnTo>
                    <a:pt x="84" y="69"/>
                  </a:lnTo>
                  <a:lnTo>
                    <a:pt x="82" y="45"/>
                  </a:lnTo>
                  <a:lnTo>
                    <a:pt x="72" y="26"/>
                  </a:lnTo>
                  <a:lnTo>
                    <a:pt x="60" y="10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0" y="4"/>
                  </a:lnTo>
                  <a:lnTo>
                    <a:pt x="12" y="10"/>
                  </a:lnTo>
                  <a:lnTo>
                    <a:pt x="4" y="24"/>
                  </a:lnTo>
                  <a:lnTo>
                    <a:pt x="0" y="43"/>
                  </a:lnTo>
                  <a:lnTo>
                    <a:pt x="4" y="65"/>
                  </a:lnTo>
                  <a:close/>
                </a:path>
              </a:pathLst>
            </a:custGeom>
            <a:solidFill>
              <a:srgbClr val="F7F3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2" name="Freeform 175"/>
            <p:cNvSpPr>
              <a:spLocks/>
            </p:cNvSpPr>
            <p:nvPr/>
          </p:nvSpPr>
          <p:spPr bwMode="auto">
            <a:xfrm>
              <a:off x="2194" y="1877"/>
              <a:ext cx="38" cy="52"/>
            </a:xfrm>
            <a:custGeom>
              <a:avLst/>
              <a:gdLst/>
              <a:ahLst/>
              <a:cxnLst>
                <a:cxn ang="0">
                  <a:pos x="2" y="61"/>
                </a:cxn>
                <a:cxn ang="0">
                  <a:pos x="10" y="79"/>
                </a:cxn>
                <a:cxn ang="0">
                  <a:pos x="20" y="95"/>
                </a:cxn>
                <a:cxn ang="0">
                  <a:pos x="36" y="103"/>
                </a:cxn>
                <a:cxn ang="0">
                  <a:pos x="50" y="103"/>
                </a:cxn>
                <a:cxn ang="0">
                  <a:pos x="58" y="101"/>
                </a:cxn>
                <a:cxn ang="0">
                  <a:pos x="64" y="97"/>
                </a:cxn>
                <a:cxn ang="0">
                  <a:pos x="72" y="81"/>
                </a:cxn>
                <a:cxn ang="0">
                  <a:pos x="76" y="63"/>
                </a:cxn>
                <a:cxn ang="0">
                  <a:pos x="74" y="43"/>
                </a:cxn>
                <a:cxn ang="0">
                  <a:pos x="66" y="24"/>
                </a:cxn>
                <a:cxn ang="0">
                  <a:pos x="54" y="10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12" y="8"/>
                </a:cxn>
                <a:cxn ang="0">
                  <a:pos x="2" y="22"/>
                </a:cxn>
                <a:cxn ang="0">
                  <a:pos x="0" y="39"/>
                </a:cxn>
                <a:cxn ang="0">
                  <a:pos x="2" y="61"/>
                </a:cxn>
              </a:cxnLst>
              <a:rect l="0" t="0" r="r" b="b"/>
              <a:pathLst>
                <a:path w="76" h="103">
                  <a:moveTo>
                    <a:pt x="2" y="61"/>
                  </a:moveTo>
                  <a:lnTo>
                    <a:pt x="10" y="79"/>
                  </a:lnTo>
                  <a:lnTo>
                    <a:pt x="20" y="95"/>
                  </a:lnTo>
                  <a:lnTo>
                    <a:pt x="36" y="103"/>
                  </a:lnTo>
                  <a:lnTo>
                    <a:pt x="50" y="103"/>
                  </a:lnTo>
                  <a:lnTo>
                    <a:pt x="58" y="101"/>
                  </a:lnTo>
                  <a:lnTo>
                    <a:pt x="64" y="97"/>
                  </a:lnTo>
                  <a:lnTo>
                    <a:pt x="72" y="81"/>
                  </a:lnTo>
                  <a:lnTo>
                    <a:pt x="76" y="63"/>
                  </a:lnTo>
                  <a:lnTo>
                    <a:pt x="74" y="43"/>
                  </a:lnTo>
                  <a:lnTo>
                    <a:pt x="66" y="24"/>
                  </a:lnTo>
                  <a:lnTo>
                    <a:pt x="54" y="10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12" y="8"/>
                  </a:lnTo>
                  <a:lnTo>
                    <a:pt x="2" y="22"/>
                  </a:lnTo>
                  <a:lnTo>
                    <a:pt x="0" y="39"/>
                  </a:lnTo>
                  <a:lnTo>
                    <a:pt x="2" y="61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grpSp>
        <p:nvGrpSpPr>
          <p:cNvPr id="253" name="252 Grupo"/>
          <p:cNvGrpSpPr/>
          <p:nvPr/>
        </p:nvGrpSpPr>
        <p:grpSpPr>
          <a:xfrm>
            <a:off x="2724338" y="4473782"/>
            <a:ext cx="1171987" cy="1622620"/>
            <a:chOff x="2524108" y="4071942"/>
            <a:chExt cx="1085850" cy="1503363"/>
          </a:xfrm>
        </p:grpSpPr>
        <p:sp>
          <p:nvSpPr>
            <p:cNvPr id="254" name="Freeform 177"/>
            <p:cNvSpPr>
              <a:spLocks/>
            </p:cNvSpPr>
            <p:nvPr/>
          </p:nvSpPr>
          <p:spPr bwMode="auto">
            <a:xfrm>
              <a:off x="2543158" y="4086230"/>
              <a:ext cx="765175" cy="522288"/>
            </a:xfrm>
            <a:custGeom>
              <a:avLst/>
              <a:gdLst/>
              <a:ahLst/>
              <a:cxnLst>
                <a:cxn ang="0">
                  <a:pos x="20" y="659"/>
                </a:cxn>
                <a:cxn ang="0">
                  <a:pos x="6" y="581"/>
                </a:cxn>
                <a:cxn ang="0">
                  <a:pos x="0" y="505"/>
                </a:cxn>
                <a:cxn ang="0">
                  <a:pos x="2" y="453"/>
                </a:cxn>
                <a:cxn ang="0">
                  <a:pos x="12" y="407"/>
                </a:cxn>
                <a:cxn ang="0">
                  <a:pos x="26" y="355"/>
                </a:cxn>
                <a:cxn ang="0">
                  <a:pos x="50" y="303"/>
                </a:cxn>
                <a:cxn ang="0">
                  <a:pos x="78" y="250"/>
                </a:cxn>
                <a:cxn ang="0">
                  <a:pos x="108" y="204"/>
                </a:cxn>
                <a:cxn ang="0">
                  <a:pos x="142" y="162"/>
                </a:cxn>
                <a:cxn ang="0">
                  <a:pos x="182" y="124"/>
                </a:cxn>
                <a:cxn ang="0">
                  <a:pos x="222" y="94"/>
                </a:cxn>
                <a:cxn ang="0">
                  <a:pos x="266" y="68"/>
                </a:cxn>
                <a:cxn ang="0">
                  <a:pos x="319" y="44"/>
                </a:cxn>
                <a:cxn ang="0">
                  <a:pos x="381" y="24"/>
                </a:cxn>
                <a:cxn ang="0">
                  <a:pos x="431" y="10"/>
                </a:cxn>
                <a:cxn ang="0">
                  <a:pos x="493" y="0"/>
                </a:cxn>
                <a:cxn ang="0">
                  <a:pos x="573" y="0"/>
                </a:cxn>
                <a:cxn ang="0">
                  <a:pos x="635" y="12"/>
                </a:cxn>
                <a:cxn ang="0">
                  <a:pos x="707" y="30"/>
                </a:cxn>
                <a:cxn ang="0">
                  <a:pos x="781" y="62"/>
                </a:cxn>
                <a:cxn ang="0">
                  <a:pos x="843" y="98"/>
                </a:cxn>
                <a:cxn ang="0">
                  <a:pos x="887" y="136"/>
                </a:cxn>
                <a:cxn ang="0">
                  <a:pos x="928" y="178"/>
                </a:cxn>
                <a:cxn ang="0">
                  <a:pos x="964" y="222"/>
                </a:cxn>
                <a:cxn ang="0">
                  <a:pos x="873" y="154"/>
                </a:cxn>
                <a:cxn ang="0">
                  <a:pos x="823" y="124"/>
                </a:cxn>
                <a:cxn ang="0">
                  <a:pos x="771" y="104"/>
                </a:cxn>
                <a:cxn ang="0">
                  <a:pos x="705" y="84"/>
                </a:cxn>
                <a:cxn ang="0">
                  <a:pos x="641" y="74"/>
                </a:cxn>
                <a:cxn ang="0">
                  <a:pos x="571" y="72"/>
                </a:cxn>
                <a:cxn ang="0">
                  <a:pos x="519" y="74"/>
                </a:cxn>
                <a:cxn ang="0">
                  <a:pos x="463" y="84"/>
                </a:cxn>
                <a:cxn ang="0">
                  <a:pos x="411" y="98"/>
                </a:cxn>
                <a:cxn ang="0">
                  <a:pos x="359" y="116"/>
                </a:cxn>
                <a:cxn ang="0">
                  <a:pos x="301" y="146"/>
                </a:cxn>
                <a:cxn ang="0">
                  <a:pos x="258" y="172"/>
                </a:cxn>
                <a:cxn ang="0">
                  <a:pos x="220" y="204"/>
                </a:cxn>
                <a:cxn ang="0">
                  <a:pos x="176" y="236"/>
                </a:cxn>
                <a:cxn ang="0">
                  <a:pos x="142" y="276"/>
                </a:cxn>
                <a:cxn ang="0">
                  <a:pos x="108" y="327"/>
                </a:cxn>
                <a:cxn ang="0">
                  <a:pos x="74" y="381"/>
                </a:cxn>
                <a:cxn ang="0">
                  <a:pos x="54" y="433"/>
                </a:cxn>
                <a:cxn ang="0">
                  <a:pos x="38" y="493"/>
                </a:cxn>
                <a:cxn ang="0">
                  <a:pos x="26" y="569"/>
                </a:cxn>
                <a:cxn ang="0">
                  <a:pos x="20" y="659"/>
                </a:cxn>
              </a:cxnLst>
              <a:rect l="0" t="0" r="r" b="b"/>
              <a:pathLst>
                <a:path w="964" h="659">
                  <a:moveTo>
                    <a:pt x="20" y="659"/>
                  </a:moveTo>
                  <a:lnTo>
                    <a:pt x="6" y="581"/>
                  </a:lnTo>
                  <a:lnTo>
                    <a:pt x="0" y="505"/>
                  </a:lnTo>
                  <a:lnTo>
                    <a:pt x="2" y="453"/>
                  </a:lnTo>
                  <a:lnTo>
                    <a:pt x="12" y="407"/>
                  </a:lnTo>
                  <a:lnTo>
                    <a:pt x="26" y="355"/>
                  </a:lnTo>
                  <a:lnTo>
                    <a:pt x="50" y="303"/>
                  </a:lnTo>
                  <a:lnTo>
                    <a:pt x="78" y="250"/>
                  </a:lnTo>
                  <a:lnTo>
                    <a:pt x="108" y="204"/>
                  </a:lnTo>
                  <a:lnTo>
                    <a:pt x="142" y="162"/>
                  </a:lnTo>
                  <a:lnTo>
                    <a:pt x="182" y="124"/>
                  </a:lnTo>
                  <a:lnTo>
                    <a:pt x="222" y="94"/>
                  </a:lnTo>
                  <a:lnTo>
                    <a:pt x="266" y="68"/>
                  </a:lnTo>
                  <a:lnTo>
                    <a:pt x="319" y="44"/>
                  </a:lnTo>
                  <a:lnTo>
                    <a:pt x="381" y="24"/>
                  </a:lnTo>
                  <a:lnTo>
                    <a:pt x="431" y="10"/>
                  </a:lnTo>
                  <a:lnTo>
                    <a:pt x="493" y="0"/>
                  </a:lnTo>
                  <a:lnTo>
                    <a:pt x="573" y="0"/>
                  </a:lnTo>
                  <a:lnTo>
                    <a:pt x="635" y="12"/>
                  </a:lnTo>
                  <a:lnTo>
                    <a:pt x="707" y="30"/>
                  </a:lnTo>
                  <a:lnTo>
                    <a:pt x="781" y="62"/>
                  </a:lnTo>
                  <a:lnTo>
                    <a:pt x="843" y="98"/>
                  </a:lnTo>
                  <a:lnTo>
                    <a:pt x="887" y="136"/>
                  </a:lnTo>
                  <a:lnTo>
                    <a:pt x="928" y="178"/>
                  </a:lnTo>
                  <a:lnTo>
                    <a:pt x="964" y="222"/>
                  </a:lnTo>
                  <a:lnTo>
                    <a:pt x="873" y="154"/>
                  </a:lnTo>
                  <a:lnTo>
                    <a:pt x="823" y="124"/>
                  </a:lnTo>
                  <a:lnTo>
                    <a:pt x="771" y="104"/>
                  </a:lnTo>
                  <a:lnTo>
                    <a:pt x="705" y="84"/>
                  </a:lnTo>
                  <a:lnTo>
                    <a:pt x="641" y="74"/>
                  </a:lnTo>
                  <a:lnTo>
                    <a:pt x="571" y="72"/>
                  </a:lnTo>
                  <a:lnTo>
                    <a:pt x="519" y="74"/>
                  </a:lnTo>
                  <a:lnTo>
                    <a:pt x="463" y="84"/>
                  </a:lnTo>
                  <a:lnTo>
                    <a:pt x="411" y="98"/>
                  </a:lnTo>
                  <a:lnTo>
                    <a:pt x="359" y="116"/>
                  </a:lnTo>
                  <a:lnTo>
                    <a:pt x="301" y="146"/>
                  </a:lnTo>
                  <a:lnTo>
                    <a:pt x="258" y="172"/>
                  </a:lnTo>
                  <a:lnTo>
                    <a:pt x="220" y="204"/>
                  </a:lnTo>
                  <a:lnTo>
                    <a:pt x="176" y="236"/>
                  </a:lnTo>
                  <a:lnTo>
                    <a:pt x="142" y="276"/>
                  </a:lnTo>
                  <a:lnTo>
                    <a:pt x="108" y="327"/>
                  </a:lnTo>
                  <a:lnTo>
                    <a:pt x="74" y="381"/>
                  </a:lnTo>
                  <a:lnTo>
                    <a:pt x="54" y="433"/>
                  </a:lnTo>
                  <a:lnTo>
                    <a:pt x="38" y="493"/>
                  </a:lnTo>
                  <a:lnTo>
                    <a:pt x="26" y="569"/>
                  </a:lnTo>
                  <a:lnTo>
                    <a:pt x="20" y="659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5" name="Freeform 178"/>
            <p:cNvSpPr>
              <a:spLocks/>
            </p:cNvSpPr>
            <p:nvPr/>
          </p:nvSpPr>
          <p:spPr bwMode="auto">
            <a:xfrm>
              <a:off x="2600308" y="4346580"/>
              <a:ext cx="842963" cy="638175"/>
            </a:xfrm>
            <a:custGeom>
              <a:avLst/>
              <a:gdLst/>
              <a:ahLst/>
              <a:cxnLst>
                <a:cxn ang="0">
                  <a:pos x="0" y="488"/>
                </a:cxn>
                <a:cxn ang="0">
                  <a:pos x="60" y="558"/>
                </a:cxn>
                <a:cxn ang="0">
                  <a:pos x="128" y="617"/>
                </a:cxn>
                <a:cxn ang="0">
                  <a:pos x="188" y="653"/>
                </a:cxn>
                <a:cxn ang="0">
                  <a:pos x="275" y="691"/>
                </a:cxn>
                <a:cxn ang="0">
                  <a:pos x="343" y="711"/>
                </a:cxn>
                <a:cxn ang="0">
                  <a:pos x="407" y="719"/>
                </a:cxn>
                <a:cxn ang="0">
                  <a:pos x="481" y="719"/>
                </a:cxn>
                <a:cxn ang="0">
                  <a:pos x="537" y="713"/>
                </a:cxn>
                <a:cxn ang="0">
                  <a:pos x="603" y="701"/>
                </a:cxn>
                <a:cxn ang="0">
                  <a:pos x="669" y="681"/>
                </a:cxn>
                <a:cxn ang="0">
                  <a:pos x="725" y="653"/>
                </a:cxn>
                <a:cxn ang="0">
                  <a:pos x="777" y="621"/>
                </a:cxn>
                <a:cxn ang="0">
                  <a:pos x="823" y="590"/>
                </a:cxn>
                <a:cxn ang="0">
                  <a:pos x="868" y="544"/>
                </a:cxn>
                <a:cxn ang="0">
                  <a:pos x="914" y="492"/>
                </a:cxn>
                <a:cxn ang="0">
                  <a:pos x="950" y="444"/>
                </a:cxn>
                <a:cxn ang="0">
                  <a:pos x="970" y="394"/>
                </a:cxn>
                <a:cxn ang="0">
                  <a:pos x="996" y="316"/>
                </a:cxn>
                <a:cxn ang="0">
                  <a:pos x="1012" y="236"/>
                </a:cxn>
                <a:cxn ang="0">
                  <a:pos x="1016" y="164"/>
                </a:cxn>
                <a:cxn ang="0">
                  <a:pos x="1006" y="88"/>
                </a:cxn>
                <a:cxn ang="0">
                  <a:pos x="980" y="0"/>
                </a:cxn>
                <a:cxn ang="0">
                  <a:pos x="1006" y="46"/>
                </a:cxn>
                <a:cxn ang="0">
                  <a:pos x="1034" y="112"/>
                </a:cxn>
                <a:cxn ang="0">
                  <a:pos x="1048" y="172"/>
                </a:cxn>
                <a:cxn ang="0">
                  <a:pos x="1062" y="230"/>
                </a:cxn>
                <a:cxn ang="0">
                  <a:pos x="1060" y="278"/>
                </a:cxn>
                <a:cxn ang="0">
                  <a:pos x="1058" y="346"/>
                </a:cxn>
                <a:cxn ang="0">
                  <a:pos x="1022" y="472"/>
                </a:cxn>
                <a:cxn ang="0">
                  <a:pos x="988" y="542"/>
                </a:cxn>
                <a:cxn ang="0">
                  <a:pos x="944" y="601"/>
                </a:cxn>
                <a:cxn ang="0">
                  <a:pos x="898" y="653"/>
                </a:cxn>
                <a:cxn ang="0">
                  <a:pos x="852" y="691"/>
                </a:cxn>
                <a:cxn ang="0">
                  <a:pos x="789" y="733"/>
                </a:cxn>
                <a:cxn ang="0">
                  <a:pos x="725" y="763"/>
                </a:cxn>
                <a:cxn ang="0">
                  <a:pos x="665" y="783"/>
                </a:cxn>
                <a:cxn ang="0">
                  <a:pos x="585" y="803"/>
                </a:cxn>
                <a:cxn ang="0">
                  <a:pos x="527" y="805"/>
                </a:cxn>
                <a:cxn ang="0">
                  <a:pos x="463" y="805"/>
                </a:cxn>
                <a:cxn ang="0">
                  <a:pos x="401" y="795"/>
                </a:cxn>
                <a:cxn ang="0">
                  <a:pos x="333" y="779"/>
                </a:cxn>
                <a:cxn ang="0">
                  <a:pos x="285" y="763"/>
                </a:cxn>
                <a:cxn ang="0">
                  <a:pos x="225" y="731"/>
                </a:cxn>
                <a:cxn ang="0">
                  <a:pos x="174" y="701"/>
                </a:cxn>
                <a:cxn ang="0">
                  <a:pos x="126" y="661"/>
                </a:cxn>
                <a:cxn ang="0">
                  <a:pos x="74" y="607"/>
                </a:cxn>
                <a:cxn ang="0">
                  <a:pos x="22" y="538"/>
                </a:cxn>
                <a:cxn ang="0">
                  <a:pos x="0" y="488"/>
                </a:cxn>
              </a:cxnLst>
              <a:rect l="0" t="0" r="r" b="b"/>
              <a:pathLst>
                <a:path w="1062" h="805">
                  <a:moveTo>
                    <a:pt x="0" y="488"/>
                  </a:moveTo>
                  <a:lnTo>
                    <a:pt x="60" y="558"/>
                  </a:lnTo>
                  <a:lnTo>
                    <a:pt x="128" y="617"/>
                  </a:lnTo>
                  <a:lnTo>
                    <a:pt x="188" y="653"/>
                  </a:lnTo>
                  <a:lnTo>
                    <a:pt x="275" y="691"/>
                  </a:lnTo>
                  <a:lnTo>
                    <a:pt x="343" y="711"/>
                  </a:lnTo>
                  <a:lnTo>
                    <a:pt x="407" y="719"/>
                  </a:lnTo>
                  <a:lnTo>
                    <a:pt x="481" y="719"/>
                  </a:lnTo>
                  <a:lnTo>
                    <a:pt x="537" y="713"/>
                  </a:lnTo>
                  <a:lnTo>
                    <a:pt x="603" y="701"/>
                  </a:lnTo>
                  <a:lnTo>
                    <a:pt x="669" y="681"/>
                  </a:lnTo>
                  <a:lnTo>
                    <a:pt x="725" y="653"/>
                  </a:lnTo>
                  <a:lnTo>
                    <a:pt x="777" y="621"/>
                  </a:lnTo>
                  <a:lnTo>
                    <a:pt x="823" y="590"/>
                  </a:lnTo>
                  <a:lnTo>
                    <a:pt x="868" y="544"/>
                  </a:lnTo>
                  <a:lnTo>
                    <a:pt x="914" y="492"/>
                  </a:lnTo>
                  <a:lnTo>
                    <a:pt x="950" y="444"/>
                  </a:lnTo>
                  <a:lnTo>
                    <a:pt x="970" y="394"/>
                  </a:lnTo>
                  <a:lnTo>
                    <a:pt x="996" y="316"/>
                  </a:lnTo>
                  <a:lnTo>
                    <a:pt x="1012" y="236"/>
                  </a:lnTo>
                  <a:lnTo>
                    <a:pt x="1016" y="164"/>
                  </a:lnTo>
                  <a:lnTo>
                    <a:pt x="1006" y="88"/>
                  </a:lnTo>
                  <a:lnTo>
                    <a:pt x="980" y="0"/>
                  </a:lnTo>
                  <a:lnTo>
                    <a:pt x="1006" y="46"/>
                  </a:lnTo>
                  <a:lnTo>
                    <a:pt x="1034" y="112"/>
                  </a:lnTo>
                  <a:lnTo>
                    <a:pt x="1048" y="172"/>
                  </a:lnTo>
                  <a:lnTo>
                    <a:pt x="1062" y="230"/>
                  </a:lnTo>
                  <a:lnTo>
                    <a:pt x="1060" y="278"/>
                  </a:lnTo>
                  <a:lnTo>
                    <a:pt x="1058" y="346"/>
                  </a:lnTo>
                  <a:lnTo>
                    <a:pt x="1022" y="472"/>
                  </a:lnTo>
                  <a:lnTo>
                    <a:pt x="988" y="542"/>
                  </a:lnTo>
                  <a:lnTo>
                    <a:pt x="944" y="601"/>
                  </a:lnTo>
                  <a:lnTo>
                    <a:pt x="898" y="653"/>
                  </a:lnTo>
                  <a:lnTo>
                    <a:pt x="852" y="691"/>
                  </a:lnTo>
                  <a:lnTo>
                    <a:pt x="789" y="733"/>
                  </a:lnTo>
                  <a:lnTo>
                    <a:pt x="725" y="763"/>
                  </a:lnTo>
                  <a:lnTo>
                    <a:pt x="665" y="783"/>
                  </a:lnTo>
                  <a:lnTo>
                    <a:pt x="585" y="803"/>
                  </a:lnTo>
                  <a:lnTo>
                    <a:pt x="527" y="805"/>
                  </a:lnTo>
                  <a:lnTo>
                    <a:pt x="463" y="805"/>
                  </a:lnTo>
                  <a:lnTo>
                    <a:pt x="401" y="795"/>
                  </a:lnTo>
                  <a:lnTo>
                    <a:pt x="333" y="779"/>
                  </a:lnTo>
                  <a:lnTo>
                    <a:pt x="285" y="763"/>
                  </a:lnTo>
                  <a:lnTo>
                    <a:pt x="225" y="731"/>
                  </a:lnTo>
                  <a:lnTo>
                    <a:pt x="174" y="701"/>
                  </a:lnTo>
                  <a:lnTo>
                    <a:pt x="126" y="661"/>
                  </a:lnTo>
                  <a:lnTo>
                    <a:pt x="74" y="607"/>
                  </a:lnTo>
                  <a:lnTo>
                    <a:pt x="22" y="538"/>
                  </a:lnTo>
                  <a:lnTo>
                    <a:pt x="0" y="488"/>
                  </a:lnTo>
                  <a:close/>
                </a:path>
              </a:pathLst>
            </a:cu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6" name="Freeform 179"/>
            <p:cNvSpPr>
              <a:spLocks/>
            </p:cNvSpPr>
            <p:nvPr/>
          </p:nvSpPr>
          <p:spPr bwMode="auto">
            <a:xfrm>
              <a:off x="2600308" y="4735517"/>
              <a:ext cx="219075" cy="2111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8" y="54"/>
                </a:cxn>
                <a:cxn ang="0">
                  <a:pos x="56" y="94"/>
                </a:cxn>
                <a:cxn ang="0">
                  <a:pos x="86" y="131"/>
                </a:cxn>
                <a:cxn ang="0">
                  <a:pos x="132" y="175"/>
                </a:cxn>
                <a:cxn ang="0">
                  <a:pos x="168" y="203"/>
                </a:cxn>
                <a:cxn ang="0">
                  <a:pos x="211" y="233"/>
                </a:cxn>
                <a:cxn ang="0">
                  <a:pos x="275" y="265"/>
                </a:cxn>
                <a:cxn ang="0">
                  <a:pos x="204" y="167"/>
                </a:cxn>
                <a:cxn ang="0">
                  <a:pos x="164" y="143"/>
                </a:cxn>
                <a:cxn ang="0">
                  <a:pos x="134" y="125"/>
                </a:cxn>
                <a:cxn ang="0">
                  <a:pos x="92" y="96"/>
                </a:cxn>
                <a:cxn ang="0">
                  <a:pos x="60" y="66"/>
                </a:cxn>
                <a:cxn ang="0">
                  <a:pos x="34" y="40"/>
                </a:cxn>
                <a:cxn ang="0">
                  <a:pos x="0" y="0"/>
                </a:cxn>
              </a:cxnLst>
              <a:rect l="0" t="0" r="r" b="b"/>
              <a:pathLst>
                <a:path w="275" h="265">
                  <a:moveTo>
                    <a:pt x="0" y="0"/>
                  </a:moveTo>
                  <a:lnTo>
                    <a:pt x="28" y="54"/>
                  </a:lnTo>
                  <a:lnTo>
                    <a:pt x="56" y="94"/>
                  </a:lnTo>
                  <a:lnTo>
                    <a:pt x="86" y="131"/>
                  </a:lnTo>
                  <a:lnTo>
                    <a:pt x="132" y="175"/>
                  </a:lnTo>
                  <a:lnTo>
                    <a:pt x="168" y="203"/>
                  </a:lnTo>
                  <a:lnTo>
                    <a:pt x="211" y="233"/>
                  </a:lnTo>
                  <a:lnTo>
                    <a:pt x="275" y="265"/>
                  </a:lnTo>
                  <a:lnTo>
                    <a:pt x="204" y="167"/>
                  </a:lnTo>
                  <a:lnTo>
                    <a:pt x="164" y="143"/>
                  </a:lnTo>
                  <a:lnTo>
                    <a:pt x="134" y="125"/>
                  </a:lnTo>
                  <a:lnTo>
                    <a:pt x="92" y="96"/>
                  </a:lnTo>
                  <a:lnTo>
                    <a:pt x="60" y="66"/>
                  </a:lnTo>
                  <a:lnTo>
                    <a:pt x="34" y="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7" name="Freeform 180"/>
            <p:cNvSpPr>
              <a:spLocks/>
            </p:cNvSpPr>
            <p:nvPr/>
          </p:nvSpPr>
          <p:spPr bwMode="auto">
            <a:xfrm>
              <a:off x="3363896" y="4341817"/>
              <a:ext cx="77788" cy="41433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8" y="34"/>
                </a:cxn>
                <a:cxn ang="0">
                  <a:pos x="50" y="66"/>
                </a:cxn>
                <a:cxn ang="0">
                  <a:pos x="64" y="98"/>
                </a:cxn>
                <a:cxn ang="0">
                  <a:pos x="72" y="130"/>
                </a:cxn>
                <a:cxn ang="0">
                  <a:pos x="80" y="158"/>
                </a:cxn>
                <a:cxn ang="0">
                  <a:pos x="94" y="208"/>
                </a:cxn>
                <a:cxn ang="0">
                  <a:pos x="98" y="258"/>
                </a:cxn>
                <a:cxn ang="0">
                  <a:pos x="94" y="336"/>
                </a:cxn>
                <a:cxn ang="0">
                  <a:pos x="88" y="386"/>
                </a:cxn>
                <a:cxn ang="0">
                  <a:pos x="78" y="430"/>
                </a:cxn>
                <a:cxn ang="0">
                  <a:pos x="62" y="474"/>
                </a:cxn>
                <a:cxn ang="0">
                  <a:pos x="40" y="524"/>
                </a:cxn>
                <a:cxn ang="0">
                  <a:pos x="0" y="424"/>
                </a:cxn>
                <a:cxn ang="0">
                  <a:pos x="18" y="382"/>
                </a:cxn>
                <a:cxn ang="0">
                  <a:pos x="26" y="360"/>
                </a:cxn>
                <a:cxn ang="0">
                  <a:pos x="38" y="328"/>
                </a:cxn>
                <a:cxn ang="0">
                  <a:pos x="44" y="298"/>
                </a:cxn>
                <a:cxn ang="0">
                  <a:pos x="50" y="252"/>
                </a:cxn>
                <a:cxn ang="0">
                  <a:pos x="54" y="212"/>
                </a:cxn>
                <a:cxn ang="0">
                  <a:pos x="54" y="154"/>
                </a:cxn>
                <a:cxn ang="0">
                  <a:pos x="44" y="100"/>
                </a:cxn>
                <a:cxn ang="0">
                  <a:pos x="34" y="58"/>
                </a:cxn>
                <a:cxn ang="0">
                  <a:pos x="28" y="34"/>
                </a:cxn>
                <a:cxn ang="0">
                  <a:pos x="18" y="0"/>
                </a:cxn>
              </a:cxnLst>
              <a:rect l="0" t="0" r="r" b="b"/>
              <a:pathLst>
                <a:path w="98" h="524">
                  <a:moveTo>
                    <a:pt x="18" y="0"/>
                  </a:moveTo>
                  <a:lnTo>
                    <a:pt x="38" y="34"/>
                  </a:lnTo>
                  <a:lnTo>
                    <a:pt x="50" y="66"/>
                  </a:lnTo>
                  <a:lnTo>
                    <a:pt x="64" y="98"/>
                  </a:lnTo>
                  <a:lnTo>
                    <a:pt x="72" y="130"/>
                  </a:lnTo>
                  <a:lnTo>
                    <a:pt x="80" y="158"/>
                  </a:lnTo>
                  <a:lnTo>
                    <a:pt x="94" y="208"/>
                  </a:lnTo>
                  <a:lnTo>
                    <a:pt x="98" y="258"/>
                  </a:lnTo>
                  <a:lnTo>
                    <a:pt x="94" y="336"/>
                  </a:lnTo>
                  <a:lnTo>
                    <a:pt x="88" y="386"/>
                  </a:lnTo>
                  <a:lnTo>
                    <a:pt x="78" y="430"/>
                  </a:lnTo>
                  <a:lnTo>
                    <a:pt x="62" y="474"/>
                  </a:lnTo>
                  <a:lnTo>
                    <a:pt x="40" y="524"/>
                  </a:lnTo>
                  <a:lnTo>
                    <a:pt x="0" y="424"/>
                  </a:lnTo>
                  <a:lnTo>
                    <a:pt x="18" y="382"/>
                  </a:lnTo>
                  <a:lnTo>
                    <a:pt x="26" y="360"/>
                  </a:lnTo>
                  <a:lnTo>
                    <a:pt x="38" y="328"/>
                  </a:lnTo>
                  <a:lnTo>
                    <a:pt x="44" y="298"/>
                  </a:lnTo>
                  <a:lnTo>
                    <a:pt x="50" y="252"/>
                  </a:lnTo>
                  <a:lnTo>
                    <a:pt x="54" y="212"/>
                  </a:lnTo>
                  <a:lnTo>
                    <a:pt x="54" y="154"/>
                  </a:lnTo>
                  <a:lnTo>
                    <a:pt x="44" y="100"/>
                  </a:lnTo>
                  <a:lnTo>
                    <a:pt x="34" y="58"/>
                  </a:lnTo>
                  <a:lnTo>
                    <a:pt x="28" y="3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8" name="Freeform 181"/>
            <p:cNvSpPr>
              <a:spLocks/>
            </p:cNvSpPr>
            <p:nvPr/>
          </p:nvSpPr>
          <p:spPr bwMode="auto">
            <a:xfrm>
              <a:off x="2955908" y="4098930"/>
              <a:ext cx="307975" cy="1254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58"/>
                </a:cxn>
                <a:cxn ang="0">
                  <a:pos x="74" y="54"/>
                </a:cxn>
                <a:cxn ang="0">
                  <a:pos x="118" y="58"/>
                </a:cxn>
                <a:cxn ang="0">
                  <a:pos x="156" y="64"/>
                </a:cxn>
                <a:cxn ang="0">
                  <a:pos x="194" y="70"/>
                </a:cxn>
                <a:cxn ang="0">
                  <a:pos x="228" y="80"/>
                </a:cxn>
                <a:cxn ang="0">
                  <a:pos x="254" y="88"/>
                </a:cxn>
                <a:cxn ang="0">
                  <a:pos x="286" y="100"/>
                </a:cxn>
                <a:cxn ang="0">
                  <a:pos x="324" y="118"/>
                </a:cxn>
                <a:cxn ang="0">
                  <a:pos x="390" y="158"/>
                </a:cxn>
                <a:cxn ang="0">
                  <a:pos x="352" y="118"/>
                </a:cxn>
                <a:cxn ang="0">
                  <a:pos x="324" y="98"/>
                </a:cxn>
                <a:cxn ang="0">
                  <a:pos x="290" y="74"/>
                </a:cxn>
                <a:cxn ang="0">
                  <a:pos x="266" y="62"/>
                </a:cxn>
                <a:cxn ang="0">
                  <a:pos x="218" y="38"/>
                </a:cxn>
                <a:cxn ang="0">
                  <a:pos x="188" y="28"/>
                </a:cxn>
                <a:cxn ang="0">
                  <a:pos x="162" y="18"/>
                </a:cxn>
                <a:cxn ang="0">
                  <a:pos x="136" y="12"/>
                </a:cxn>
                <a:cxn ang="0">
                  <a:pos x="100" y="6"/>
                </a:cxn>
                <a:cxn ang="0">
                  <a:pos x="60" y="2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390" h="158">
                  <a:moveTo>
                    <a:pt x="0" y="0"/>
                  </a:moveTo>
                  <a:lnTo>
                    <a:pt x="30" y="58"/>
                  </a:lnTo>
                  <a:lnTo>
                    <a:pt x="74" y="54"/>
                  </a:lnTo>
                  <a:lnTo>
                    <a:pt x="118" y="58"/>
                  </a:lnTo>
                  <a:lnTo>
                    <a:pt x="156" y="64"/>
                  </a:lnTo>
                  <a:lnTo>
                    <a:pt x="194" y="70"/>
                  </a:lnTo>
                  <a:lnTo>
                    <a:pt x="228" y="80"/>
                  </a:lnTo>
                  <a:lnTo>
                    <a:pt x="254" y="88"/>
                  </a:lnTo>
                  <a:lnTo>
                    <a:pt x="286" y="100"/>
                  </a:lnTo>
                  <a:lnTo>
                    <a:pt x="324" y="118"/>
                  </a:lnTo>
                  <a:lnTo>
                    <a:pt x="390" y="158"/>
                  </a:lnTo>
                  <a:lnTo>
                    <a:pt x="352" y="118"/>
                  </a:lnTo>
                  <a:lnTo>
                    <a:pt x="324" y="98"/>
                  </a:lnTo>
                  <a:lnTo>
                    <a:pt x="290" y="74"/>
                  </a:lnTo>
                  <a:lnTo>
                    <a:pt x="266" y="62"/>
                  </a:lnTo>
                  <a:lnTo>
                    <a:pt x="218" y="38"/>
                  </a:lnTo>
                  <a:lnTo>
                    <a:pt x="188" y="28"/>
                  </a:lnTo>
                  <a:lnTo>
                    <a:pt x="162" y="18"/>
                  </a:lnTo>
                  <a:lnTo>
                    <a:pt x="136" y="12"/>
                  </a:lnTo>
                  <a:lnTo>
                    <a:pt x="100" y="6"/>
                  </a:lnTo>
                  <a:lnTo>
                    <a:pt x="60" y="2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59" name="Freeform 182"/>
            <p:cNvSpPr>
              <a:spLocks/>
            </p:cNvSpPr>
            <p:nvPr/>
          </p:nvSpPr>
          <p:spPr bwMode="auto">
            <a:xfrm>
              <a:off x="2549508" y="4276730"/>
              <a:ext cx="98425" cy="293688"/>
            </a:xfrm>
            <a:custGeom>
              <a:avLst/>
              <a:gdLst/>
              <a:ahLst/>
              <a:cxnLst>
                <a:cxn ang="0">
                  <a:pos x="0" y="283"/>
                </a:cxn>
                <a:cxn ang="0">
                  <a:pos x="2" y="255"/>
                </a:cxn>
                <a:cxn ang="0">
                  <a:pos x="6" y="223"/>
                </a:cxn>
                <a:cxn ang="0">
                  <a:pos x="14" y="173"/>
                </a:cxn>
                <a:cxn ang="0">
                  <a:pos x="24" y="131"/>
                </a:cxn>
                <a:cxn ang="0">
                  <a:pos x="36" y="95"/>
                </a:cxn>
                <a:cxn ang="0">
                  <a:pos x="54" y="59"/>
                </a:cxn>
                <a:cxn ang="0">
                  <a:pos x="68" y="30"/>
                </a:cxn>
                <a:cxn ang="0">
                  <a:pos x="88" y="0"/>
                </a:cxn>
                <a:cxn ang="0">
                  <a:pos x="124" y="48"/>
                </a:cxn>
                <a:cxn ang="0">
                  <a:pos x="104" y="75"/>
                </a:cxn>
                <a:cxn ang="0">
                  <a:pos x="88" y="101"/>
                </a:cxn>
                <a:cxn ang="0">
                  <a:pos x="76" y="125"/>
                </a:cxn>
                <a:cxn ang="0">
                  <a:pos x="58" y="159"/>
                </a:cxn>
                <a:cxn ang="0">
                  <a:pos x="46" y="187"/>
                </a:cxn>
                <a:cxn ang="0">
                  <a:pos x="40" y="217"/>
                </a:cxn>
                <a:cxn ang="0">
                  <a:pos x="32" y="245"/>
                </a:cxn>
                <a:cxn ang="0">
                  <a:pos x="26" y="277"/>
                </a:cxn>
                <a:cxn ang="0">
                  <a:pos x="22" y="317"/>
                </a:cxn>
                <a:cxn ang="0">
                  <a:pos x="16" y="355"/>
                </a:cxn>
                <a:cxn ang="0">
                  <a:pos x="10" y="371"/>
                </a:cxn>
                <a:cxn ang="0">
                  <a:pos x="0" y="283"/>
                </a:cxn>
              </a:cxnLst>
              <a:rect l="0" t="0" r="r" b="b"/>
              <a:pathLst>
                <a:path w="124" h="371">
                  <a:moveTo>
                    <a:pt x="0" y="283"/>
                  </a:moveTo>
                  <a:lnTo>
                    <a:pt x="2" y="255"/>
                  </a:lnTo>
                  <a:lnTo>
                    <a:pt x="6" y="223"/>
                  </a:lnTo>
                  <a:lnTo>
                    <a:pt x="14" y="173"/>
                  </a:lnTo>
                  <a:lnTo>
                    <a:pt x="24" y="131"/>
                  </a:lnTo>
                  <a:lnTo>
                    <a:pt x="36" y="95"/>
                  </a:lnTo>
                  <a:lnTo>
                    <a:pt x="54" y="59"/>
                  </a:lnTo>
                  <a:lnTo>
                    <a:pt x="68" y="30"/>
                  </a:lnTo>
                  <a:lnTo>
                    <a:pt x="88" y="0"/>
                  </a:lnTo>
                  <a:lnTo>
                    <a:pt x="124" y="48"/>
                  </a:lnTo>
                  <a:lnTo>
                    <a:pt x="104" y="75"/>
                  </a:lnTo>
                  <a:lnTo>
                    <a:pt x="88" y="101"/>
                  </a:lnTo>
                  <a:lnTo>
                    <a:pt x="76" y="125"/>
                  </a:lnTo>
                  <a:lnTo>
                    <a:pt x="58" y="159"/>
                  </a:lnTo>
                  <a:lnTo>
                    <a:pt x="46" y="187"/>
                  </a:lnTo>
                  <a:lnTo>
                    <a:pt x="40" y="217"/>
                  </a:lnTo>
                  <a:lnTo>
                    <a:pt x="32" y="245"/>
                  </a:lnTo>
                  <a:lnTo>
                    <a:pt x="26" y="277"/>
                  </a:lnTo>
                  <a:lnTo>
                    <a:pt x="22" y="317"/>
                  </a:lnTo>
                  <a:lnTo>
                    <a:pt x="16" y="355"/>
                  </a:lnTo>
                  <a:lnTo>
                    <a:pt x="10" y="371"/>
                  </a:lnTo>
                  <a:lnTo>
                    <a:pt x="0" y="283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0" name="Oval 183"/>
            <p:cNvSpPr>
              <a:spLocks noChangeArrowheads="1"/>
            </p:cNvSpPr>
            <p:nvPr/>
          </p:nvSpPr>
          <p:spPr bwMode="auto">
            <a:xfrm>
              <a:off x="2560621" y="4141792"/>
              <a:ext cx="890588" cy="852488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1" name="Oval 184"/>
            <p:cNvSpPr>
              <a:spLocks noChangeArrowheads="1"/>
            </p:cNvSpPr>
            <p:nvPr/>
          </p:nvSpPr>
          <p:spPr bwMode="auto">
            <a:xfrm>
              <a:off x="2538396" y="4087817"/>
              <a:ext cx="860425" cy="823913"/>
            </a:xfrm>
            <a:prstGeom prst="ellipse">
              <a:avLst/>
            </a:prstGeom>
            <a:noFill/>
            <a:ln w="31750">
              <a:solidFill>
                <a:srgbClr val="A2A2A2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2" name="Oval 185"/>
            <p:cNvSpPr>
              <a:spLocks noChangeArrowheads="1"/>
            </p:cNvSpPr>
            <p:nvPr/>
          </p:nvSpPr>
          <p:spPr bwMode="auto">
            <a:xfrm>
              <a:off x="2524108" y="4071942"/>
              <a:ext cx="890588" cy="852488"/>
            </a:xfrm>
            <a:prstGeom prst="ellips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3" name="Oval 186"/>
            <p:cNvSpPr>
              <a:spLocks noChangeArrowheads="1"/>
            </p:cNvSpPr>
            <p:nvPr/>
          </p:nvSpPr>
          <p:spPr bwMode="auto">
            <a:xfrm>
              <a:off x="2549508" y="4095755"/>
              <a:ext cx="839788" cy="806450"/>
            </a:xfrm>
            <a:prstGeom prst="ellipse">
              <a:avLst/>
            </a:prstGeom>
            <a:noFill/>
            <a:ln w="1588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4" name="Freeform 187"/>
            <p:cNvSpPr>
              <a:spLocks/>
            </p:cNvSpPr>
            <p:nvPr/>
          </p:nvSpPr>
          <p:spPr bwMode="auto">
            <a:xfrm>
              <a:off x="3160696" y="4905380"/>
              <a:ext cx="430213" cy="6175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385" y="777"/>
                </a:cxn>
                <a:cxn ang="0">
                  <a:pos x="541" y="697"/>
                </a:cxn>
                <a:cxn ang="0">
                  <a:pos x="157" y="0"/>
                </a:cxn>
                <a:cxn ang="0">
                  <a:pos x="0" y="58"/>
                </a:cxn>
              </a:cxnLst>
              <a:rect l="0" t="0" r="r" b="b"/>
              <a:pathLst>
                <a:path w="541" h="777">
                  <a:moveTo>
                    <a:pt x="0" y="58"/>
                  </a:moveTo>
                  <a:lnTo>
                    <a:pt x="385" y="777"/>
                  </a:lnTo>
                  <a:lnTo>
                    <a:pt x="541" y="697"/>
                  </a:lnTo>
                  <a:lnTo>
                    <a:pt x="157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5222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5" name="Freeform 188"/>
            <p:cNvSpPr>
              <a:spLocks/>
            </p:cNvSpPr>
            <p:nvPr/>
          </p:nvSpPr>
          <p:spPr bwMode="auto">
            <a:xfrm>
              <a:off x="3157521" y="4868867"/>
              <a:ext cx="131763" cy="80963"/>
            </a:xfrm>
            <a:custGeom>
              <a:avLst/>
              <a:gdLst/>
              <a:ahLst/>
              <a:cxnLst>
                <a:cxn ang="0">
                  <a:pos x="84" y="80"/>
                </a:cxn>
                <a:cxn ang="0">
                  <a:pos x="2" y="102"/>
                </a:cxn>
                <a:cxn ang="0">
                  <a:pos x="0" y="80"/>
                </a:cxn>
                <a:cxn ang="0">
                  <a:pos x="22" y="24"/>
                </a:cxn>
                <a:cxn ang="0">
                  <a:pos x="74" y="0"/>
                </a:cxn>
                <a:cxn ang="0">
                  <a:pos x="100" y="0"/>
                </a:cxn>
                <a:cxn ang="0">
                  <a:pos x="126" y="10"/>
                </a:cxn>
                <a:cxn ang="0">
                  <a:pos x="165" y="58"/>
                </a:cxn>
                <a:cxn ang="0">
                  <a:pos x="84" y="80"/>
                </a:cxn>
              </a:cxnLst>
              <a:rect l="0" t="0" r="r" b="b"/>
              <a:pathLst>
                <a:path w="165" h="102">
                  <a:moveTo>
                    <a:pt x="84" y="80"/>
                  </a:moveTo>
                  <a:lnTo>
                    <a:pt x="2" y="102"/>
                  </a:lnTo>
                  <a:lnTo>
                    <a:pt x="0" y="80"/>
                  </a:lnTo>
                  <a:lnTo>
                    <a:pt x="22" y="24"/>
                  </a:lnTo>
                  <a:lnTo>
                    <a:pt x="74" y="0"/>
                  </a:lnTo>
                  <a:lnTo>
                    <a:pt x="100" y="0"/>
                  </a:lnTo>
                  <a:lnTo>
                    <a:pt x="126" y="10"/>
                  </a:lnTo>
                  <a:lnTo>
                    <a:pt x="165" y="58"/>
                  </a:lnTo>
                  <a:lnTo>
                    <a:pt x="84" y="80"/>
                  </a:lnTo>
                  <a:close/>
                </a:path>
              </a:pathLst>
            </a:custGeom>
            <a:solidFill>
              <a:srgbClr val="5222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6" name="Freeform 189"/>
            <p:cNvSpPr>
              <a:spLocks/>
            </p:cNvSpPr>
            <p:nvPr/>
          </p:nvSpPr>
          <p:spPr bwMode="auto">
            <a:xfrm>
              <a:off x="3157521" y="4868867"/>
              <a:ext cx="133350" cy="80963"/>
            </a:xfrm>
            <a:custGeom>
              <a:avLst/>
              <a:gdLst/>
              <a:ahLst/>
              <a:cxnLst>
                <a:cxn ang="0">
                  <a:pos x="2" y="102"/>
                </a:cxn>
                <a:cxn ang="0">
                  <a:pos x="0" y="80"/>
                </a:cxn>
                <a:cxn ang="0">
                  <a:pos x="22" y="24"/>
                </a:cxn>
                <a:cxn ang="0">
                  <a:pos x="74" y="0"/>
                </a:cxn>
                <a:cxn ang="0">
                  <a:pos x="100" y="0"/>
                </a:cxn>
                <a:cxn ang="0">
                  <a:pos x="128" y="10"/>
                </a:cxn>
                <a:cxn ang="0">
                  <a:pos x="167" y="58"/>
                </a:cxn>
              </a:cxnLst>
              <a:rect l="0" t="0" r="r" b="b"/>
              <a:pathLst>
                <a:path w="167" h="102">
                  <a:moveTo>
                    <a:pt x="2" y="102"/>
                  </a:moveTo>
                  <a:lnTo>
                    <a:pt x="0" y="80"/>
                  </a:lnTo>
                  <a:lnTo>
                    <a:pt x="22" y="24"/>
                  </a:lnTo>
                  <a:lnTo>
                    <a:pt x="74" y="0"/>
                  </a:lnTo>
                  <a:lnTo>
                    <a:pt x="100" y="0"/>
                  </a:lnTo>
                  <a:lnTo>
                    <a:pt x="128" y="10"/>
                  </a:lnTo>
                  <a:lnTo>
                    <a:pt x="167" y="58"/>
                  </a:lnTo>
                </a:path>
              </a:pathLst>
            </a:custGeom>
            <a:noFill/>
            <a:ln w="158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7" name="Freeform 190"/>
            <p:cNvSpPr>
              <a:spLocks/>
            </p:cNvSpPr>
            <p:nvPr/>
          </p:nvSpPr>
          <p:spPr bwMode="auto">
            <a:xfrm>
              <a:off x="3159108" y="4933955"/>
              <a:ext cx="73025" cy="19050"/>
            </a:xfrm>
            <a:custGeom>
              <a:avLst/>
              <a:gdLst/>
              <a:ahLst/>
              <a:cxnLst>
                <a:cxn ang="0">
                  <a:pos x="92" y="0"/>
                </a:cxn>
                <a:cxn ang="0">
                  <a:pos x="0" y="24"/>
                </a:cxn>
                <a:cxn ang="0">
                  <a:pos x="92" y="0"/>
                </a:cxn>
              </a:cxnLst>
              <a:rect l="0" t="0" r="r" b="b"/>
              <a:pathLst>
                <a:path w="92" h="24">
                  <a:moveTo>
                    <a:pt x="92" y="0"/>
                  </a:moveTo>
                  <a:lnTo>
                    <a:pt x="0" y="24"/>
                  </a:lnTo>
                  <a:lnTo>
                    <a:pt x="92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8" name="Freeform 191"/>
            <p:cNvSpPr>
              <a:spLocks/>
            </p:cNvSpPr>
            <p:nvPr/>
          </p:nvSpPr>
          <p:spPr bwMode="auto">
            <a:xfrm>
              <a:off x="3225783" y="4933955"/>
              <a:ext cx="6350" cy="158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8" y="0"/>
                </a:cxn>
                <a:cxn ang="0">
                  <a:pos x="0" y="2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8" y="0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69" name="Freeform 192"/>
            <p:cNvSpPr>
              <a:spLocks/>
            </p:cNvSpPr>
            <p:nvPr/>
          </p:nvSpPr>
          <p:spPr bwMode="auto">
            <a:xfrm>
              <a:off x="3163871" y="4879980"/>
              <a:ext cx="128588" cy="74613"/>
            </a:xfrm>
            <a:custGeom>
              <a:avLst/>
              <a:gdLst/>
              <a:ahLst/>
              <a:cxnLst>
                <a:cxn ang="0">
                  <a:pos x="82" y="86"/>
                </a:cxn>
                <a:cxn ang="0">
                  <a:pos x="0" y="94"/>
                </a:cxn>
                <a:cxn ang="0">
                  <a:pos x="0" y="86"/>
                </a:cxn>
                <a:cxn ang="0">
                  <a:pos x="22" y="28"/>
                </a:cxn>
                <a:cxn ang="0">
                  <a:pos x="70" y="0"/>
                </a:cxn>
                <a:cxn ang="0">
                  <a:pos x="96" y="0"/>
                </a:cxn>
                <a:cxn ang="0">
                  <a:pos x="122" y="8"/>
                </a:cxn>
                <a:cxn ang="0">
                  <a:pos x="161" y="58"/>
                </a:cxn>
                <a:cxn ang="0">
                  <a:pos x="82" y="86"/>
                </a:cxn>
              </a:cxnLst>
              <a:rect l="0" t="0" r="r" b="b"/>
              <a:pathLst>
                <a:path w="161" h="94">
                  <a:moveTo>
                    <a:pt x="82" y="86"/>
                  </a:moveTo>
                  <a:lnTo>
                    <a:pt x="0" y="94"/>
                  </a:lnTo>
                  <a:lnTo>
                    <a:pt x="0" y="86"/>
                  </a:lnTo>
                  <a:lnTo>
                    <a:pt x="22" y="28"/>
                  </a:lnTo>
                  <a:lnTo>
                    <a:pt x="70" y="0"/>
                  </a:lnTo>
                  <a:lnTo>
                    <a:pt x="96" y="0"/>
                  </a:lnTo>
                  <a:lnTo>
                    <a:pt x="122" y="8"/>
                  </a:lnTo>
                  <a:lnTo>
                    <a:pt x="161" y="58"/>
                  </a:lnTo>
                  <a:lnTo>
                    <a:pt x="82" y="86"/>
                  </a:lnTo>
                  <a:close/>
                </a:path>
              </a:pathLst>
            </a:custGeom>
            <a:solidFill>
              <a:srgbClr val="5222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0" name="Freeform 193"/>
            <p:cNvSpPr>
              <a:spLocks/>
            </p:cNvSpPr>
            <p:nvPr/>
          </p:nvSpPr>
          <p:spPr bwMode="auto">
            <a:xfrm>
              <a:off x="3157521" y="4878392"/>
              <a:ext cx="82550" cy="158750"/>
            </a:xfrm>
            <a:custGeom>
              <a:avLst/>
              <a:gdLst/>
              <a:ahLst/>
              <a:cxnLst>
                <a:cxn ang="0">
                  <a:pos x="2" y="92"/>
                </a:cxn>
                <a:cxn ang="0">
                  <a:pos x="0" y="80"/>
                </a:cxn>
                <a:cxn ang="0">
                  <a:pos x="0" y="66"/>
                </a:cxn>
                <a:cxn ang="0">
                  <a:pos x="2" y="56"/>
                </a:cxn>
                <a:cxn ang="0">
                  <a:pos x="6" y="40"/>
                </a:cxn>
                <a:cxn ang="0">
                  <a:pos x="12" y="26"/>
                </a:cxn>
                <a:cxn ang="0">
                  <a:pos x="20" y="16"/>
                </a:cxn>
                <a:cxn ang="0">
                  <a:pos x="30" y="6"/>
                </a:cxn>
                <a:cxn ang="0">
                  <a:pos x="40" y="0"/>
                </a:cxn>
                <a:cxn ang="0">
                  <a:pos x="104" y="110"/>
                </a:cxn>
                <a:cxn ang="0">
                  <a:pos x="92" y="114"/>
                </a:cxn>
                <a:cxn ang="0">
                  <a:pos x="84" y="124"/>
                </a:cxn>
                <a:cxn ang="0">
                  <a:pos x="76" y="130"/>
                </a:cxn>
                <a:cxn ang="0">
                  <a:pos x="70" y="140"/>
                </a:cxn>
                <a:cxn ang="0">
                  <a:pos x="64" y="158"/>
                </a:cxn>
                <a:cxn ang="0">
                  <a:pos x="60" y="182"/>
                </a:cxn>
                <a:cxn ang="0">
                  <a:pos x="60" y="200"/>
                </a:cxn>
                <a:cxn ang="0">
                  <a:pos x="2" y="92"/>
                </a:cxn>
              </a:cxnLst>
              <a:rect l="0" t="0" r="r" b="b"/>
              <a:pathLst>
                <a:path w="104" h="200">
                  <a:moveTo>
                    <a:pt x="2" y="92"/>
                  </a:moveTo>
                  <a:lnTo>
                    <a:pt x="0" y="80"/>
                  </a:lnTo>
                  <a:lnTo>
                    <a:pt x="0" y="66"/>
                  </a:lnTo>
                  <a:lnTo>
                    <a:pt x="2" y="56"/>
                  </a:lnTo>
                  <a:lnTo>
                    <a:pt x="6" y="40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0" y="6"/>
                  </a:lnTo>
                  <a:lnTo>
                    <a:pt x="40" y="0"/>
                  </a:lnTo>
                  <a:lnTo>
                    <a:pt x="104" y="110"/>
                  </a:lnTo>
                  <a:lnTo>
                    <a:pt x="92" y="114"/>
                  </a:lnTo>
                  <a:lnTo>
                    <a:pt x="84" y="124"/>
                  </a:lnTo>
                  <a:lnTo>
                    <a:pt x="76" y="130"/>
                  </a:lnTo>
                  <a:lnTo>
                    <a:pt x="70" y="140"/>
                  </a:lnTo>
                  <a:lnTo>
                    <a:pt x="64" y="158"/>
                  </a:lnTo>
                  <a:lnTo>
                    <a:pt x="60" y="182"/>
                  </a:lnTo>
                  <a:lnTo>
                    <a:pt x="60" y="200"/>
                  </a:lnTo>
                  <a:lnTo>
                    <a:pt x="2" y="92"/>
                  </a:lnTo>
                  <a:close/>
                </a:path>
              </a:pathLst>
            </a:custGeom>
            <a:solidFill>
              <a:srgbClr val="412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1" name="Freeform 194"/>
            <p:cNvSpPr>
              <a:spLocks/>
            </p:cNvSpPr>
            <p:nvPr/>
          </p:nvSpPr>
          <p:spPr bwMode="auto">
            <a:xfrm>
              <a:off x="3155933" y="4870455"/>
              <a:ext cx="44450" cy="76200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0" y="78"/>
                </a:cxn>
                <a:cxn ang="0">
                  <a:pos x="16" y="32"/>
                </a:cxn>
                <a:cxn ang="0">
                  <a:pos x="56" y="0"/>
                </a:cxn>
              </a:cxnLst>
              <a:rect l="0" t="0" r="r" b="b"/>
              <a:pathLst>
                <a:path w="56" h="96">
                  <a:moveTo>
                    <a:pt x="4" y="96"/>
                  </a:moveTo>
                  <a:lnTo>
                    <a:pt x="0" y="78"/>
                  </a:lnTo>
                  <a:lnTo>
                    <a:pt x="16" y="32"/>
                  </a:lnTo>
                  <a:lnTo>
                    <a:pt x="56" y="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2" name="Freeform 195"/>
            <p:cNvSpPr>
              <a:spLocks/>
            </p:cNvSpPr>
            <p:nvPr/>
          </p:nvSpPr>
          <p:spPr bwMode="auto">
            <a:xfrm>
              <a:off x="3205146" y="4956180"/>
              <a:ext cx="134938" cy="77788"/>
            </a:xfrm>
            <a:custGeom>
              <a:avLst/>
              <a:gdLst/>
              <a:ahLst/>
              <a:cxnLst>
                <a:cxn ang="0">
                  <a:pos x="85" y="78"/>
                </a:cxn>
                <a:cxn ang="0">
                  <a:pos x="2" y="98"/>
                </a:cxn>
                <a:cxn ang="0">
                  <a:pos x="0" y="78"/>
                </a:cxn>
                <a:cxn ang="0">
                  <a:pos x="22" y="24"/>
                </a:cxn>
                <a:cxn ang="0">
                  <a:pos x="75" y="0"/>
                </a:cxn>
                <a:cxn ang="0">
                  <a:pos x="103" y="0"/>
                </a:cxn>
                <a:cxn ang="0">
                  <a:pos x="131" y="10"/>
                </a:cxn>
                <a:cxn ang="0">
                  <a:pos x="169" y="58"/>
                </a:cxn>
                <a:cxn ang="0">
                  <a:pos x="85" y="78"/>
                </a:cxn>
              </a:cxnLst>
              <a:rect l="0" t="0" r="r" b="b"/>
              <a:pathLst>
                <a:path w="169" h="98">
                  <a:moveTo>
                    <a:pt x="85" y="78"/>
                  </a:moveTo>
                  <a:lnTo>
                    <a:pt x="2" y="98"/>
                  </a:lnTo>
                  <a:lnTo>
                    <a:pt x="0" y="78"/>
                  </a:lnTo>
                  <a:lnTo>
                    <a:pt x="22" y="24"/>
                  </a:lnTo>
                  <a:lnTo>
                    <a:pt x="75" y="0"/>
                  </a:lnTo>
                  <a:lnTo>
                    <a:pt x="103" y="0"/>
                  </a:lnTo>
                  <a:lnTo>
                    <a:pt x="131" y="10"/>
                  </a:lnTo>
                  <a:lnTo>
                    <a:pt x="169" y="58"/>
                  </a:lnTo>
                  <a:lnTo>
                    <a:pt x="85" y="78"/>
                  </a:lnTo>
                  <a:close/>
                </a:path>
              </a:pathLst>
            </a:custGeom>
            <a:solidFill>
              <a:srgbClr val="8242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3" name="Freeform 196"/>
            <p:cNvSpPr>
              <a:spLocks/>
            </p:cNvSpPr>
            <p:nvPr/>
          </p:nvSpPr>
          <p:spPr bwMode="auto">
            <a:xfrm>
              <a:off x="3203558" y="4954592"/>
              <a:ext cx="134938" cy="79375"/>
            </a:xfrm>
            <a:custGeom>
              <a:avLst/>
              <a:gdLst/>
              <a:ahLst/>
              <a:cxnLst>
                <a:cxn ang="0">
                  <a:pos x="2" y="100"/>
                </a:cxn>
                <a:cxn ang="0">
                  <a:pos x="0" y="80"/>
                </a:cxn>
                <a:cxn ang="0">
                  <a:pos x="22" y="24"/>
                </a:cxn>
                <a:cxn ang="0">
                  <a:pos x="76" y="0"/>
                </a:cxn>
                <a:cxn ang="0">
                  <a:pos x="103" y="0"/>
                </a:cxn>
                <a:cxn ang="0">
                  <a:pos x="131" y="10"/>
                </a:cxn>
                <a:cxn ang="0">
                  <a:pos x="169" y="60"/>
                </a:cxn>
              </a:cxnLst>
              <a:rect l="0" t="0" r="r" b="b"/>
              <a:pathLst>
                <a:path w="169" h="100">
                  <a:moveTo>
                    <a:pt x="2" y="100"/>
                  </a:moveTo>
                  <a:lnTo>
                    <a:pt x="0" y="80"/>
                  </a:lnTo>
                  <a:lnTo>
                    <a:pt x="22" y="24"/>
                  </a:lnTo>
                  <a:lnTo>
                    <a:pt x="76" y="0"/>
                  </a:lnTo>
                  <a:lnTo>
                    <a:pt x="103" y="0"/>
                  </a:lnTo>
                  <a:lnTo>
                    <a:pt x="131" y="10"/>
                  </a:lnTo>
                  <a:lnTo>
                    <a:pt x="169" y="6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4" name="Freeform 199"/>
            <p:cNvSpPr>
              <a:spLocks/>
            </p:cNvSpPr>
            <p:nvPr/>
          </p:nvSpPr>
          <p:spPr bwMode="auto">
            <a:xfrm>
              <a:off x="3211496" y="4970467"/>
              <a:ext cx="128588" cy="71438"/>
            </a:xfrm>
            <a:custGeom>
              <a:avLst/>
              <a:gdLst/>
              <a:ahLst/>
              <a:cxnLst>
                <a:cxn ang="0">
                  <a:pos x="79" y="76"/>
                </a:cxn>
                <a:cxn ang="0">
                  <a:pos x="2" y="90"/>
                </a:cxn>
                <a:cxn ang="0">
                  <a:pos x="0" y="76"/>
                </a:cxn>
                <a:cxn ang="0">
                  <a:pos x="22" y="24"/>
                </a:cxn>
                <a:cxn ang="0">
                  <a:pos x="73" y="0"/>
                </a:cxn>
                <a:cxn ang="0">
                  <a:pos x="97" y="0"/>
                </a:cxn>
                <a:cxn ang="0">
                  <a:pos x="125" y="10"/>
                </a:cxn>
                <a:cxn ang="0">
                  <a:pos x="161" y="60"/>
                </a:cxn>
                <a:cxn ang="0">
                  <a:pos x="79" y="76"/>
                </a:cxn>
              </a:cxnLst>
              <a:rect l="0" t="0" r="r" b="b"/>
              <a:pathLst>
                <a:path w="161" h="90">
                  <a:moveTo>
                    <a:pt x="79" y="76"/>
                  </a:moveTo>
                  <a:lnTo>
                    <a:pt x="2" y="90"/>
                  </a:lnTo>
                  <a:lnTo>
                    <a:pt x="0" y="76"/>
                  </a:lnTo>
                  <a:lnTo>
                    <a:pt x="22" y="24"/>
                  </a:lnTo>
                  <a:lnTo>
                    <a:pt x="73" y="0"/>
                  </a:lnTo>
                  <a:lnTo>
                    <a:pt x="97" y="0"/>
                  </a:lnTo>
                  <a:lnTo>
                    <a:pt x="125" y="10"/>
                  </a:lnTo>
                  <a:lnTo>
                    <a:pt x="161" y="60"/>
                  </a:lnTo>
                  <a:lnTo>
                    <a:pt x="79" y="76"/>
                  </a:lnTo>
                  <a:close/>
                </a:path>
              </a:pathLst>
            </a:custGeom>
            <a:solidFill>
              <a:srgbClr val="52221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5" name="Freeform 200"/>
            <p:cNvSpPr>
              <a:spLocks/>
            </p:cNvSpPr>
            <p:nvPr/>
          </p:nvSpPr>
          <p:spPr bwMode="auto">
            <a:xfrm>
              <a:off x="3211496" y="4978405"/>
              <a:ext cx="65088" cy="63500"/>
            </a:xfrm>
            <a:custGeom>
              <a:avLst/>
              <a:gdLst/>
              <a:ahLst/>
              <a:cxnLst>
                <a:cxn ang="0">
                  <a:pos x="81" y="66"/>
                </a:cxn>
                <a:cxn ang="0">
                  <a:pos x="2" y="80"/>
                </a:cxn>
                <a:cxn ang="0">
                  <a:pos x="0" y="66"/>
                </a:cxn>
                <a:cxn ang="0">
                  <a:pos x="10" y="28"/>
                </a:cxn>
                <a:cxn ang="0">
                  <a:pos x="40" y="0"/>
                </a:cxn>
                <a:cxn ang="0">
                  <a:pos x="81" y="66"/>
                </a:cxn>
              </a:cxnLst>
              <a:rect l="0" t="0" r="r" b="b"/>
              <a:pathLst>
                <a:path w="81" h="80">
                  <a:moveTo>
                    <a:pt x="81" y="66"/>
                  </a:moveTo>
                  <a:lnTo>
                    <a:pt x="2" y="80"/>
                  </a:lnTo>
                  <a:lnTo>
                    <a:pt x="0" y="66"/>
                  </a:lnTo>
                  <a:lnTo>
                    <a:pt x="10" y="28"/>
                  </a:lnTo>
                  <a:lnTo>
                    <a:pt x="40" y="0"/>
                  </a:lnTo>
                  <a:lnTo>
                    <a:pt x="81" y="66"/>
                  </a:lnTo>
                  <a:close/>
                </a:path>
              </a:pathLst>
            </a:custGeom>
            <a:solidFill>
              <a:srgbClr val="412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6" name="Freeform 201"/>
            <p:cNvSpPr>
              <a:spLocks/>
            </p:cNvSpPr>
            <p:nvPr/>
          </p:nvSpPr>
          <p:spPr bwMode="auto">
            <a:xfrm>
              <a:off x="3208321" y="4967292"/>
              <a:ext cx="136525" cy="76200"/>
            </a:xfrm>
            <a:custGeom>
              <a:avLst/>
              <a:gdLst/>
              <a:ahLst/>
              <a:cxnLst>
                <a:cxn ang="0">
                  <a:pos x="2" y="96"/>
                </a:cxn>
                <a:cxn ang="0">
                  <a:pos x="0" y="80"/>
                </a:cxn>
                <a:cxn ang="0">
                  <a:pos x="24" y="24"/>
                </a:cxn>
                <a:cxn ang="0">
                  <a:pos x="77" y="0"/>
                </a:cxn>
                <a:cxn ang="0">
                  <a:pos x="103" y="0"/>
                </a:cxn>
                <a:cxn ang="0">
                  <a:pos x="133" y="10"/>
                </a:cxn>
                <a:cxn ang="0">
                  <a:pos x="171" y="60"/>
                </a:cxn>
              </a:cxnLst>
              <a:rect l="0" t="0" r="r" b="b"/>
              <a:pathLst>
                <a:path w="171" h="96">
                  <a:moveTo>
                    <a:pt x="2" y="96"/>
                  </a:moveTo>
                  <a:lnTo>
                    <a:pt x="0" y="80"/>
                  </a:lnTo>
                  <a:lnTo>
                    <a:pt x="24" y="24"/>
                  </a:lnTo>
                  <a:lnTo>
                    <a:pt x="77" y="0"/>
                  </a:lnTo>
                  <a:lnTo>
                    <a:pt x="103" y="0"/>
                  </a:lnTo>
                  <a:lnTo>
                    <a:pt x="133" y="10"/>
                  </a:lnTo>
                  <a:lnTo>
                    <a:pt x="171" y="60"/>
                  </a:lnTo>
                </a:path>
              </a:pathLst>
            </a:custGeom>
            <a:noFill/>
            <a:ln w="635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7" name="Line 220"/>
            <p:cNvSpPr>
              <a:spLocks noChangeShapeType="1"/>
            </p:cNvSpPr>
            <p:nvPr/>
          </p:nvSpPr>
          <p:spPr bwMode="auto">
            <a:xfrm>
              <a:off x="3282933" y="4903792"/>
              <a:ext cx="306388" cy="552450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8" name="Line 221"/>
            <p:cNvSpPr>
              <a:spLocks noChangeShapeType="1"/>
            </p:cNvSpPr>
            <p:nvPr/>
          </p:nvSpPr>
          <p:spPr bwMode="auto">
            <a:xfrm>
              <a:off x="3159108" y="4949830"/>
              <a:ext cx="306388" cy="576263"/>
            </a:xfrm>
            <a:prstGeom prst="line">
              <a:avLst/>
            </a:prstGeom>
            <a:noFill/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79" name="Freeform 226"/>
            <p:cNvSpPr>
              <a:spLocks/>
            </p:cNvSpPr>
            <p:nvPr/>
          </p:nvSpPr>
          <p:spPr bwMode="auto">
            <a:xfrm>
              <a:off x="3255946" y="5057780"/>
              <a:ext cx="265113" cy="457200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29" y="8"/>
                </a:cxn>
                <a:cxn ang="0">
                  <a:pos x="19" y="16"/>
                </a:cxn>
                <a:cxn ang="0">
                  <a:pos x="11" y="26"/>
                </a:cxn>
                <a:cxn ang="0">
                  <a:pos x="8" y="34"/>
                </a:cxn>
                <a:cxn ang="0">
                  <a:pos x="2" y="46"/>
                </a:cxn>
                <a:cxn ang="0">
                  <a:pos x="2" y="56"/>
                </a:cxn>
                <a:cxn ang="0">
                  <a:pos x="0" y="68"/>
                </a:cxn>
                <a:cxn ang="0">
                  <a:pos x="0" y="84"/>
                </a:cxn>
                <a:cxn ang="0">
                  <a:pos x="257" y="575"/>
                </a:cxn>
                <a:cxn ang="0">
                  <a:pos x="333" y="523"/>
                </a:cxn>
                <a:cxn ang="0">
                  <a:pos x="41" y="0"/>
                </a:cxn>
              </a:cxnLst>
              <a:rect l="0" t="0" r="r" b="b"/>
              <a:pathLst>
                <a:path w="333" h="575">
                  <a:moveTo>
                    <a:pt x="41" y="0"/>
                  </a:moveTo>
                  <a:lnTo>
                    <a:pt x="29" y="8"/>
                  </a:lnTo>
                  <a:lnTo>
                    <a:pt x="19" y="16"/>
                  </a:lnTo>
                  <a:lnTo>
                    <a:pt x="11" y="26"/>
                  </a:lnTo>
                  <a:lnTo>
                    <a:pt x="8" y="34"/>
                  </a:lnTo>
                  <a:lnTo>
                    <a:pt x="2" y="46"/>
                  </a:lnTo>
                  <a:lnTo>
                    <a:pt x="2" y="56"/>
                  </a:lnTo>
                  <a:lnTo>
                    <a:pt x="0" y="68"/>
                  </a:lnTo>
                  <a:lnTo>
                    <a:pt x="0" y="84"/>
                  </a:lnTo>
                  <a:lnTo>
                    <a:pt x="257" y="575"/>
                  </a:lnTo>
                  <a:lnTo>
                    <a:pt x="333" y="523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412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0" name="Oval 227"/>
            <p:cNvSpPr>
              <a:spLocks noChangeArrowheads="1"/>
            </p:cNvSpPr>
            <p:nvPr/>
          </p:nvSpPr>
          <p:spPr bwMode="auto">
            <a:xfrm>
              <a:off x="3467083" y="5438780"/>
              <a:ext cx="142875" cy="136525"/>
            </a:xfrm>
            <a:prstGeom prst="ellipse">
              <a:avLst/>
            </a:prstGeom>
            <a:solidFill>
              <a:srgbClr val="7F604F"/>
            </a:solidFill>
            <a:ln w="6350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graphicFrame>
        <p:nvGraphicFramePr>
          <p:cNvPr id="281" name="Object 228"/>
          <p:cNvGraphicFramePr>
            <a:graphicFrameLocks noChangeAspect="1"/>
          </p:cNvGraphicFramePr>
          <p:nvPr/>
        </p:nvGraphicFramePr>
        <p:xfrm>
          <a:off x="3869223" y="4323878"/>
          <a:ext cx="1442709" cy="13039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Imagen" r:id="rId4" imgW="2352074" imgH="2128031" progId="StaticMetafile">
                  <p:embed/>
                </p:oleObj>
              </mc:Choice>
              <mc:Fallback>
                <p:oleObj name="Imagen" r:id="rId4" imgW="2352074" imgH="2128031" progId="StaticMetafile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69223" y="4323878"/>
                        <a:ext cx="1442709" cy="130392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2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2" name="Group 229"/>
          <p:cNvGrpSpPr>
            <a:grpSpLocks/>
          </p:cNvGrpSpPr>
          <p:nvPr/>
        </p:nvGrpSpPr>
        <p:grpSpPr bwMode="auto">
          <a:xfrm rot="19829171">
            <a:off x="2302687" y="5647627"/>
            <a:ext cx="764410" cy="467629"/>
            <a:chOff x="4321" y="2610"/>
            <a:chExt cx="953" cy="583"/>
          </a:xfrm>
        </p:grpSpPr>
        <p:sp>
          <p:nvSpPr>
            <p:cNvPr id="283" name="Freeform 230"/>
            <p:cNvSpPr>
              <a:spLocks/>
            </p:cNvSpPr>
            <p:nvPr/>
          </p:nvSpPr>
          <p:spPr bwMode="auto">
            <a:xfrm flipH="1">
              <a:off x="4782" y="2665"/>
              <a:ext cx="77" cy="195"/>
            </a:xfrm>
            <a:custGeom>
              <a:avLst/>
              <a:gdLst/>
              <a:ahLst/>
              <a:cxnLst>
                <a:cxn ang="0">
                  <a:pos x="2" y="299"/>
                </a:cxn>
                <a:cxn ang="0">
                  <a:pos x="2" y="283"/>
                </a:cxn>
                <a:cxn ang="0">
                  <a:pos x="0" y="265"/>
                </a:cxn>
                <a:cxn ang="0">
                  <a:pos x="0" y="244"/>
                </a:cxn>
                <a:cxn ang="0">
                  <a:pos x="4" y="198"/>
                </a:cxn>
                <a:cxn ang="0">
                  <a:pos x="6" y="178"/>
                </a:cxn>
                <a:cxn ang="0">
                  <a:pos x="12" y="160"/>
                </a:cxn>
                <a:cxn ang="0">
                  <a:pos x="24" y="132"/>
                </a:cxn>
                <a:cxn ang="0">
                  <a:pos x="38" y="106"/>
                </a:cxn>
                <a:cxn ang="0">
                  <a:pos x="56" y="84"/>
                </a:cxn>
                <a:cxn ang="0">
                  <a:pos x="72" y="64"/>
                </a:cxn>
                <a:cxn ang="0">
                  <a:pos x="82" y="54"/>
                </a:cxn>
                <a:cxn ang="0">
                  <a:pos x="92" y="44"/>
                </a:cxn>
                <a:cxn ang="0">
                  <a:pos x="122" y="22"/>
                </a:cxn>
                <a:cxn ang="0">
                  <a:pos x="134" y="14"/>
                </a:cxn>
                <a:cxn ang="0">
                  <a:pos x="143" y="6"/>
                </a:cxn>
                <a:cxn ang="0">
                  <a:pos x="151" y="2"/>
                </a:cxn>
                <a:cxn ang="0">
                  <a:pos x="153" y="0"/>
                </a:cxn>
                <a:cxn ang="0">
                  <a:pos x="151" y="2"/>
                </a:cxn>
                <a:cxn ang="0">
                  <a:pos x="145" y="8"/>
                </a:cxn>
                <a:cxn ang="0">
                  <a:pos x="136" y="18"/>
                </a:cxn>
                <a:cxn ang="0">
                  <a:pos x="126" y="32"/>
                </a:cxn>
                <a:cxn ang="0">
                  <a:pos x="112" y="48"/>
                </a:cxn>
                <a:cxn ang="0">
                  <a:pos x="100" y="68"/>
                </a:cxn>
                <a:cxn ang="0">
                  <a:pos x="76" y="110"/>
                </a:cxn>
                <a:cxn ang="0">
                  <a:pos x="72" y="124"/>
                </a:cxn>
                <a:cxn ang="0">
                  <a:pos x="68" y="138"/>
                </a:cxn>
                <a:cxn ang="0">
                  <a:pos x="60" y="174"/>
                </a:cxn>
                <a:cxn ang="0">
                  <a:pos x="48" y="256"/>
                </a:cxn>
                <a:cxn ang="0">
                  <a:pos x="46" y="295"/>
                </a:cxn>
                <a:cxn ang="0">
                  <a:pos x="42" y="331"/>
                </a:cxn>
                <a:cxn ang="0">
                  <a:pos x="42" y="357"/>
                </a:cxn>
                <a:cxn ang="0">
                  <a:pos x="40" y="367"/>
                </a:cxn>
                <a:cxn ang="0">
                  <a:pos x="40" y="373"/>
                </a:cxn>
                <a:cxn ang="0">
                  <a:pos x="38" y="381"/>
                </a:cxn>
                <a:cxn ang="0">
                  <a:pos x="34" y="385"/>
                </a:cxn>
                <a:cxn ang="0">
                  <a:pos x="24" y="389"/>
                </a:cxn>
                <a:cxn ang="0">
                  <a:pos x="10" y="389"/>
                </a:cxn>
                <a:cxn ang="0">
                  <a:pos x="2" y="299"/>
                </a:cxn>
              </a:cxnLst>
              <a:rect l="0" t="0" r="r" b="b"/>
              <a:pathLst>
                <a:path w="153" h="389">
                  <a:moveTo>
                    <a:pt x="2" y="299"/>
                  </a:moveTo>
                  <a:lnTo>
                    <a:pt x="2" y="283"/>
                  </a:lnTo>
                  <a:lnTo>
                    <a:pt x="0" y="265"/>
                  </a:lnTo>
                  <a:lnTo>
                    <a:pt x="0" y="244"/>
                  </a:lnTo>
                  <a:lnTo>
                    <a:pt x="4" y="198"/>
                  </a:lnTo>
                  <a:lnTo>
                    <a:pt x="6" y="178"/>
                  </a:lnTo>
                  <a:lnTo>
                    <a:pt x="12" y="160"/>
                  </a:lnTo>
                  <a:lnTo>
                    <a:pt x="24" y="132"/>
                  </a:lnTo>
                  <a:lnTo>
                    <a:pt x="38" y="106"/>
                  </a:lnTo>
                  <a:lnTo>
                    <a:pt x="56" y="84"/>
                  </a:lnTo>
                  <a:lnTo>
                    <a:pt x="72" y="64"/>
                  </a:lnTo>
                  <a:lnTo>
                    <a:pt x="82" y="54"/>
                  </a:lnTo>
                  <a:lnTo>
                    <a:pt x="92" y="44"/>
                  </a:lnTo>
                  <a:lnTo>
                    <a:pt x="122" y="22"/>
                  </a:lnTo>
                  <a:lnTo>
                    <a:pt x="134" y="14"/>
                  </a:lnTo>
                  <a:lnTo>
                    <a:pt x="143" y="6"/>
                  </a:lnTo>
                  <a:lnTo>
                    <a:pt x="151" y="2"/>
                  </a:lnTo>
                  <a:lnTo>
                    <a:pt x="153" y="0"/>
                  </a:lnTo>
                  <a:lnTo>
                    <a:pt x="151" y="2"/>
                  </a:lnTo>
                  <a:lnTo>
                    <a:pt x="145" y="8"/>
                  </a:lnTo>
                  <a:lnTo>
                    <a:pt x="136" y="18"/>
                  </a:lnTo>
                  <a:lnTo>
                    <a:pt x="126" y="32"/>
                  </a:lnTo>
                  <a:lnTo>
                    <a:pt x="112" y="48"/>
                  </a:lnTo>
                  <a:lnTo>
                    <a:pt x="100" y="68"/>
                  </a:lnTo>
                  <a:lnTo>
                    <a:pt x="76" y="110"/>
                  </a:lnTo>
                  <a:lnTo>
                    <a:pt x="72" y="124"/>
                  </a:lnTo>
                  <a:lnTo>
                    <a:pt x="68" y="138"/>
                  </a:lnTo>
                  <a:lnTo>
                    <a:pt x="60" y="174"/>
                  </a:lnTo>
                  <a:lnTo>
                    <a:pt x="48" y="256"/>
                  </a:lnTo>
                  <a:lnTo>
                    <a:pt x="46" y="295"/>
                  </a:lnTo>
                  <a:lnTo>
                    <a:pt x="42" y="331"/>
                  </a:lnTo>
                  <a:lnTo>
                    <a:pt x="42" y="357"/>
                  </a:lnTo>
                  <a:lnTo>
                    <a:pt x="40" y="367"/>
                  </a:lnTo>
                  <a:lnTo>
                    <a:pt x="40" y="373"/>
                  </a:lnTo>
                  <a:lnTo>
                    <a:pt x="38" y="381"/>
                  </a:lnTo>
                  <a:lnTo>
                    <a:pt x="34" y="385"/>
                  </a:lnTo>
                  <a:lnTo>
                    <a:pt x="24" y="389"/>
                  </a:lnTo>
                  <a:lnTo>
                    <a:pt x="10" y="389"/>
                  </a:lnTo>
                  <a:lnTo>
                    <a:pt x="2" y="299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4" name="Freeform 231"/>
            <p:cNvSpPr>
              <a:spLocks/>
            </p:cNvSpPr>
            <p:nvPr/>
          </p:nvSpPr>
          <p:spPr bwMode="auto">
            <a:xfrm flipH="1">
              <a:off x="4328" y="2637"/>
              <a:ext cx="526" cy="193"/>
            </a:xfrm>
            <a:custGeom>
              <a:avLst/>
              <a:gdLst/>
              <a:ahLst/>
              <a:cxnLst>
                <a:cxn ang="0">
                  <a:pos x="2" y="385"/>
                </a:cxn>
                <a:cxn ang="0">
                  <a:pos x="8" y="367"/>
                </a:cxn>
                <a:cxn ang="0">
                  <a:pos x="24" y="337"/>
                </a:cxn>
                <a:cxn ang="0">
                  <a:pos x="60" y="278"/>
                </a:cxn>
                <a:cxn ang="0">
                  <a:pos x="128" y="188"/>
                </a:cxn>
                <a:cxn ang="0">
                  <a:pos x="193" y="132"/>
                </a:cxn>
                <a:cxn ang="0">
                  <a:pos x="267" y="96"/>
                </a:cxn>
                <a:cxn ang="0">
                  <a:pos x="357" y="64"/>
                </a:cxn>
                <a:cxn ang="0">
                  <a:pos x="443" y="44"/>
                </a:cxn>
                <a:cxn ang="0">
                  <a:pos x="529" y="36"/>
                </a:cxn>
                <a:cxn ang="0">
                  <a:pos x="617" y="38"/>
                </a:cxn>
                <a:cxn ang="0">
                  <a:pos x="693" y="44"/>
                </a:cxn>
                <a:cxn ang="0">
                  <a:pos x="764" y="58"/>
                </a:cxn>
                <a:cxn ang="0">
                  <a:pos x="834" y="88"/>
                </a:cxn>
                <a:cxn ang="0">
                  <a:pos x="906" y="128"/>
                </a:cxn>
                <a:cxn ang="0">
                  <a:pos x="956" y="166"/>
                </a:cxn>
                <a:cxn ang="0">
                  <a:pos x="986" y="194"/>
                </a:cxn>
                <a:cxn ang="0">
                  <a:pos x="1016" y="240"/>
                </a:cxn>
                <a:cxn ang="0">
                  <a:pos x="1032" y="268"/>
                </a:cxn>
                <a:cxn ang="0">
                  <a:pos x="1044" y="288"/>
                </a:cxn>
                <a:cxn ang="0">
                  <a:pos x="1052" y="300"/>
                </a:cxn>
                <a:cxn ang="0">
                  <a:pos x="1052" y="304"/>
                </a:cxn>
                <a:cxn ang="0">
                  <a:pos x="1048" y="290"/>
                </a:cxn>
                <a:cxn ang="0">
                  <a:pos x="1036" y="262"/>
                </a:cxn>
                <a:cxn ang="0">
                  <a:pos x="1018" y="216"/>
                </a:cxn>
                <a:cxn ang="0">
                  <a:pos x="1008" y="200"/>
                </a:cxn>
                <a:cxn ang="0">
                  <a:pos x="986" y="176"/>
                </a:cxn>
                <a:cxn ang="0">
                  <a:pos x="936" y="126"/>
                </a:cxn>
                <a:cxn ang="0">
                  <a:pos x="862" y="74"/>
                </a:cxn>
                <a:cxn ang="0">
                  <a:pos x="768" y="32"/>
                </a:cxn>
                <a:cxn ang="0">
                  <a:pos x="679" y="12"/>
                </a:cxn>
                <a:cxn ang="0">
                  <a:pos x="603" y="2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09" y="38"/>
                </a:cxn>
                <a:cxn ang="0">
                  <a:pos x="211" y="76"/>
                </a:cxn>
                <a:cxn ang="0">
                  <a:pos x="141" y="128"/>
                </a:cxn>
                <a:cxn ang="0">
                  <a:pos x="80" y="194"/>
                </a:cxn>
                <a:cxn ang="0">
                  <a:pos x="46" y="248"/>
                </a:cxn>
                <a:cxn ang="0">
                  <a:pos x="22" y="290"/>
                </a:cxn>
                <a:cxn ang="0">
                  <a:pos x="12" y="327"/>
                </a:cxn>
                <a:cxn ang="0">
                  <a:pos x="0" y="387"/>
                </a:cxn>
              </a:cxnLst>
              <a:rect l="0" t="0" r="r" b="b"/>
              <a:pathLst>
                <a:path w="1052" h="387">
                  <a:moveTo>
                    <a:pt x="0" y="387"/>
                  </a:moveTo>
                  <a:lnTo>
                    <a:pt x="2" y="385"/>
                  </a:lnTo>
                  <a:lnTo>
                    <a:pt x="2" y="377"/>
                  </a:lnTo>
                  <a:lnTo>
                    <a:pt x="8" y="367"/>
                  </a:lnTo>
                  <a:lnTo>
                    <a:pt x="16" y="355"/>
                  </a:lnTo>
                  <a:lnTo>
                    <a:pt x="24" y="337"/>
                  </a:lnTo>
                  <a:lnTo>
                    <a:pt x="34" y="320"/>
                  </a:lnTo>
                  <a:lnTo>
                    <a:pt x="60" y="278"/>
                  </a:lnTo>
                  <a:lnTo>
                    <a:pt x="90" y="230"/>
                  </a:lnTo>
                  <a:lnTo>
                    <a:pt x="128" y="188"/>
                  </a:lnTo>
                  <a:lnTo>
                    <a:pt x="171" y="150"/>
                  </a:lnTo>
                  <a:lnTo>
                    <a:pt x="193" y="132"/>
                  </a:lnTo>
                  <a:lnTo>
                    <a:pt x="217" y="118"/>
                  </a:lnTo>
                  <a:lnTo>
                    <a:pt x="267" y="96"/>
                  </a:lnTo>
                  <a:lnTo>
                    <a:pt x="311" y="78"/>
                  </a:lnTo>
                  <a:lnTo>
                    <a:pt x="357" y="64"/>
                  </a:lnTo>
                  <a:lnTo>
                    <a:pt x="401" y="52"/>
                  </a:lnTo>
                  <a:lnTo>
                    <a:pt x="443" y="44"/>
                  </a:lnTo>
                  <a:lnTo>
                    <a:pt x="487" y="38"/>
                  </a:lnTo>
                  <a:lnTo>
                    <a:pt x="529" y="36"/>
                  </a:lnTo>
                  <a:lnTo>
                    <a:pt x="575" y="36"/>
                  </a:lnTo>
                  <a:lnTo>
                    <a:pt x="617" y="38"/>
                  </a:lnTo>
                  <a:lnTo>
                    <a:pt x="655" y="40"/>
                  </a:lnTo>
                  <a:lnTo>
                    <a:pt x="693" y="44"/>
                  </a:lnTo>
                  <a:lnTo>
                    <a:pt x="729" y="50"/>
                  </a:lnTo>
                  <a:lnTo>
                    <a:pt x="764" y="58"/>
                  </a:lnTo>
                  <a:lnTo>
                    <a:pt x="798" y="72"/>
                  </a:lnTo>
                  <a:lnTo>
                    <a:pt x="834" y="88"/>
                  </a:lnTo>
                  <a:lnTo>
                    <a:pt x="872" y="108"/>
                  </a:lnTo>
                  <a:lnTo>
                    <a:pt x="906" y="128"/>
                  </a:lnTo>
                  <a:lnTo>
                    <a:pt x="934" y="148"/>
                  </a:lnTo>
                  <a:lnTo>
                    <a:pt x="956" y="166"/>
                  </a:lnTo>
                  <a:lnTo>
                    <a:pt x="974" y="182"/>
                  </a:lnTo>
                  <a:lnTo>
                    <a:pt x="986" y="194"/>
                  </a:lnTo>
                  <a:lnTo>
                    <a:pt x="996" y="210"/>
                  </a:lnTo>
                  <a:lnTo>
                    <a:pt x="1016" y="240"/>
                  </a:lnTo>
                  <a:lnTo>
                    <a:pt x="1026" y="254"/>
                  </a:lnTo>
                  <a:lnTo>
                    <a:pt x="1032" y="268"/>
                  </a:lnTo>
                  <a:lnTo>
                    <a:pt x="1038" y="280"/>
                  </a:lnTo>
                  <a:lnTo>
                    <a:pt x="1044" y="288"/>
                  </a:lnTo>
                  <a:lnTo>
                    <a:pt x="1048" y="296"/>
                  </a:lnTo>
                  <a:lnTo>
                    <a:pt x="1052" y="300"/>
                  </a:lnTo>
                  <a:lnTo>
                    <a:pt x="1052" y="302"/>
                  </a:lnTo>
                  <a:lnTo>
                    <a:pt x="1052" y="304"/>
                  </a:lnTo>
                  <a:lnTo>
                    <a:pt x="1052" y="300"/>
                  </a:lnTo>
                  <a:lnTo>
                    <a:pt x="1048" y="290"/>
                  </a:lnTo>
                  <a:lnTo>
                    <a:pt x="1044" y="278"/>
                  </a:lnTo>
                  <a:lnTo>
                    <a:pt x="1036" y="262"/>
                  </a:lnTo>
                  <a:lnTo>
                    <a:pt x="1024" y="228"/>
                  </a:lnTo>
                  <a:lnTo>
                    <a:pt x="1018" y="216"/>
                  </a:lnTo>
                  <a:lnTo>
                    <a:pt x="1010" y="204"/>
                  </a:lnTo>
                  <a:lnTo>
                    <a:pt x="1008" y="200"/>
                  </a:lnTo>
                  <a:lnTo>
                    <a:pt x="1000" y="194"/>
                  </a:lnTo>
                  <a:lnTo>
                    <a:pt x="986" y="176"/>
                  </a:lnTo>
                  <a:lnTo>
                    <a:pt x="964" y="152"/>
                  </a:lnTo>
                  <a:lnTo>
                    <a:pt x="936" y="126"/>
                  </a:lnTo>
                  <a:lnTo>
                    <a:pt x="902" y="100"/>
                  </a:lnTo>
                  <a:lnTo>
                    <a:pt x="862" y="74"/>
                  </a:lnTo>
                  <a:lnTo>
                    <a:pt x="818" y="50"/>
                  </a:lnTo>
                  <a:lnTo>
                    <a:pt x="768" y="32"/>
                  </a:lnTo>
                  <a:lnTo>
                    <a:pt x="723" y="22"/>
                  </a:lnTo>
                  <a:lnTo>
                    <a:pt x="679" y="12"/>
                  </a:lnTo>
                  <a:lnTo>
                    <a:pt x="639" y="4"/>
                  </a:lnTo>
                  <a:lnTo>
                    <a:pt x="603" y="2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7" y="26"/>
                  </a:lnTo>
                  <a:lnTo>
                    <a:pt x="309" y="38"/>
                  </a:lnTo>
                  <a:lnTo>
                    <a:pt x="257" y="56"/>
                  </a:lnTo>
                  <a:lnTo>
                    <a:pt x="211" y="76"/>
                  </a:lnTo>
                  <a:lnTo>
                    <a:pt x="175" y="100"/>
                  </a:lnTo>
                  <a:lnTo>
                    <a:pt x="141" y="128"/>
                  </a:lnTo>
                  <a:lnTo>
                    <a:pt x="110" y="160"/>
                  </a:lnTo>
                  <a:lnTo>
                    <a:pt x="80" y="194"/>
                  </a:lnTo>
                  <a:lnTo>
                    <a:pt x="62" y="220"/>
                  </a:lnTo>
                  <a:lnTo>
                    <a:pt x="46" y="248"/>
                  </a:lnTo>
                  <a:lnTo>
                    <a:pt x="28" y="278"/>
                  </a:lnTo>
                  <a:lnTo>
                    <a:pt x="22" y="290"/>
                  </a:lnTo>
                  <a:lnTo>
                    <a:pt x="20" y="300"/>
                  </a:lnTo>
                  <a:lnTo>
                    <a:pt x="12" y="327"/>
                  </a:lnTo>
                  <a:lnTo>
                    <a:pt x="4" y="351"/>
                  </a:lnTo>
                  <a:lnTo>
                    <a:pt x="0" y="387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5" name="Freeform 232"/>
            <p:cNvSpPr>
              <a:spLocks/>
            </p:cNvSpPr>
            <p:nvPr/>
          </p:nvSpPr>
          <p:spPr bwMode="auto">
            <a:xfrm flipH="1">
              <a:off x="4328" y="2612"/>
              <a:ext cx="532" cy="218"/>
            </a:xfrm>
            <a:custGeom>
              <a:avLst/>
              <a:gdLst/>
              <a:ahLst/>
              <a:cxnLst>
                <a:cxn ang="0">
                  <a:pos x="12" y="435"/>
                </a:cxn>
                <a:cxn ang="0">
                  <a:pos x="18" y="417"/>
                </a:cxn>
                <a:cxn ang="0">
                  <a:pos x="34" y="387"/>
                </a:cxn>
                <a:cxn ang="0">
                  <a:pos x="70" y="328"/>
                </a:cxn>
                <a:cxn ang="0">
                  <a:pos x="138" y="236"/>
                </a:cxn>
                <a:cxn ang="0">
                  <a:pos x="205" y="182"/>
                </a:cxn>
                <a:cxn ang="0">
                  <a:pos x="277" y="146"/>
                </a:cxn>
                <a:cxn ang="0">
                  <a:pos x="369" y="114"/>
                </a:cxn>
                <a:cxn ang="0">
                  <a:pos x="455" y="94"/>
                </a:cxn>
                <a:cxn ang="0">
                  <a:pos x="541" y="86"/>
                </a:cxn>
                <a:cxn ang="0">
                  <a:pos x="627" y="88"/>
                </a:cxn>
                <a:cxn ang="0">
                  <a:pos x="705" y="94"/>
                </a:cxn>
                <a:cxn ang="0">
                  <a:pos x="774" y="108"/>
                </a:cxn>
                <a:cxn ang="0">
                  <a:pos x="844" y="138"/>
                </a:cxn>
                <a:cxn ang="0">
                  <a:pos x="918" y="178"/>
                </a:cxn>
                <a:cxn ang="0">
                  <a:pos x="966" y="216"/>
                </a:cxn>
                <a:cxn ang="0">
                  <a:pos x="998" y="244"/>
                </a:cxn>
                <a:cxn ang="0">
                  <a:pos x="1026" y="290"/>
                </a:cxn>
                <a:cxn ang="0">
                  <a:pos x="1042" y="318"/>
                </a:cxn>
                <a:cxn ang="0">
                  <a:pos x="1056" y="338"/>
                </a:cxn>
                <a:cxn ang="0">
                  <a:pos x="1062" y="350"/>
                </a:cxn>
                <a:cxn ang="0">
                  <a:pos x="1064" y="354"/>
                </a:cxn>
                <a:cxn ang="0">
                  <a:pos x="1060" y="338"/>
                </a:cxn>
                <a:cxn ang="0">
                  <a:pos x="1056" y="306"/>
                </a:cxn>
                <a:cxn ang="0">
                  <a:pos x="1042" y="256"/>
                </a:cxn>
                <a:cxn ang="0">
                  <a:pos x="1032" y="240"/>
                </a:cxn>
                <a:cxn ang="0">
                  <a:pos x="1020" y="222"/>
                </a:cxn>
                <a:cxn ang="0">
                  <a:pos x="988" y="184"/>
                </a:cxn>
                <a:cxn ang="0">
                  <a:pos x="922" y="124"/>
                </a:cxn>
                <a:cxn ang="0">
                  <a:pos x="836" y="68"/>
                </a:cxn>
                <a:cxn ang="0">
                  <a:pos x="788" y="50"/>
                </a:cxn>
                <a:cxn ang="0">
                  <a:pos x="695" y="24"/>
                </a:cxn>
                <a:cxn ang="0">
                  <a:pos x="613" y="6"/>
                </a:cxn>
                <a:cxn ang="0">
                  <a:pos x="531" y="0"/>
                </a:cxn>
                <a:cxn ang="0">
                  <a:pos x="449" y="8"/>
                </a:cxn>
                <a:cxn ang="0">
                  <a:pos x="367" y="24"/>
                </a:cxn>
                <a:cxn ang="0">
                  <a:pos x="299" y="42"/>
                </a:cxn>
                <a:cxn ang="0">
                  <a:pos x="243" y="60"/>
                </a:cxn>
                <a:cxn ang="0">
                  <a:pos x="199" y="80"/>
                </a:cxn>
                <a:cxn ang="0">
                  <a:pos x="120" y="140"/>
                </a:cxn>
                <a:cxn ang="0">
                  <a:pos x="74" y="188"/>
                </a:cxn>
                <a:cxn ang="0">
                  <a:pos x="56" y="212"/>
                </a:cxn>
                <a:cxn ang="0">
                  <a:pos x="30" y="264"/>
                </a:cxn>
                <a:cxn ang="0">
                  <a:pos x="10" y="312"/>
                </a:cxn>
                <a:cxn ang="0">
                  <a:pos x="0" y="360"/>
                </a:cxn>
                <a:cxn ang="0">
                  <a:pos x="0" y="391"/>
                </a:cxn>
                <a:cxn ang="0">
                  <a:pos x="8" y="433"/>
                </a:cxn>
              </a:cxnLst>
              <a:rect l="0" t="0" r="r" b="b"/>
              <a:pathLst>
                <a:path w="1064" h="437">
                  <a:moveTo>
                    <a:pt x="10" y="437"/>
                  </a:moveTo>
                  <a:lnTo>
                    <a:pt x="12" y="435"/>
                  </a:lnTo>
                  <a:lnTo>
                    <a:pt x="14" y="427"/>
                  </a:lnTo>
                  <a:lnTo>
                    <a:pt x="18" y="417"/>
                  </a:lnTo>
                  <a:lnTo>
                    <a:pt x="26" y="405"/>
                  </a:lnTo>
                  <a:lnTo>
                    <a:pt x="34" y="387"/>
                  </a:lnTo>
                  <a:lnTo>
                    <a:pt x="44" y="370"/>
                  </a:lnTo>
                  <a:lnTo>
                    <a:pt x="70" y="328"/>
                  </a:lnTo>
                  <a:lnTo>
                    <a:pt x="102" y="280"/>
                  </a:lnTo>
                  <a:lnTo>
                    <a:pt x="138" y="236"/>
                  </a:lnTo>
                  <a:lnTo>
                    <a:pt x="181" y="200"/>
                  </a:lnTo>
                  <a:lnTo>
                    <a:pt x="205" y="182"/>
                  </a:lnTo>
                  <a:lnTo>
                    <a:pt x="229" y="168"/>
                  </a:lnTo>
                  <a:lnTo>
                    <a:pt x="277" y="146"/>
                  </a:lnTo>
                  <a:lnTo>
                    <a:pt x="323" y="128"/>
                  </a:lnTo>
                  <a:lnTo>
                    <a:pt x="369" y="114"/>
                  </a:lnTo>
                  <a:lnTo>
                    <a:pt x="413" y="102"/>
                  </a:lnTo>
                  <a:lnTo>
                    <a:pt x="455" y="94"/>
                  </a:lnTo>
                  <a:lnTo>
                    <a:pt x="499" y="88"/>
                  </a:lnTo>
                  <a:lnTo>
                    <a:pt x="541" y="86"/>
                  </a:lnTo>
                  <a:lnTo>
                    <a:pt x="587" y="86"/>
                  </a:lnTo>
                  <a:lnTo>
                    <a:pt x="627" y="88"/>
                  </a:lnTo>
                  <a:lnTo>
                    <a:pt x="667" y="90"/>
                  </a:lnTo>
                  <a:lnTo>
                    <a:pt x="705" y="94"/>
                  </a:lnTo>
                  <a:lnTo>
                    <a:pt x="739" y="100"/>
                  </a:lnTo>
                  <a:lnTo>
                    <a:pt x="774" y="108"/>
                  </a:lnTo>
                  <a:lnTo>
                    <a:pt x="808" y="122"/>
                  </a:lnTo>
                  <a:lnTo>
                    <a:pt x="844" y="138"/>
                  </a:lnTo>
                  <a:lnTo>
                    <a:pt x="884" y="158"/>
                  </a:lnTo>
                  <a:lnTo>
                    <a:pt x="918" y="178"/>
                  </a:lnTo>
                  <a:lnTo>
                    <a:pt x="946" y="198"/>
                  </a:lnTo>
                  <a:lnTo>
                    <a:pt x="966" y="216"/>
                  </a:lnTo>
                  <a:lnTo>
                    <a:pt x="984" y="230"/>
                  </a:lnTo>
                  <a:lnTo>
                    <a:pt x="998" y="244"/>
                  </a:lnTo>
                  <a:lnTo>
                    <a:pt x="1006" y="260"/>
                  </a:lnTo>
                  <a:lnTo>
                    <a:pt x="1026" y="290"/>
                  </a:lnTo>
                  <a:lnTo>
                    <a:pt x="1036" y="304"/>
                  </a:lnTo>
                  <a:lnTo>
                    <a:pt x="1042" y="318"/>
                  </a:lnTo>
                  <a:lnTo>
                    <a:pt x="1050" y="330"/>
                  </a:lnTo>
                  <a:lnTo>
                    <a:pt x="1056" y="338"/>
                  </a:lnTo>
                  <a:lnTo>
                    <a:pt x="1058" y="346"/>
                  </a:lnTo>
                  <a:lnTo>
                    <a:pt x="1062" y="350"/>
                  </a:lnTo>
                  <a:lnTo>
                    <a:pt x="1064" y="352"/>
                  </a:lnTo>
                  <a:lnTo>
                    <a:pt x="1064" y="354"/>
                  </a:lnTo>
                  <a:lnTo>
                    <a:pt x="1064" y="350"/>
                  </a:lnTo>
                  <a:lnTo>
                    <a:pt x="1060" y="338"/>
                  </a:lnTo>
                  <a:lnTo>
                    <a:pt x="1058" y="324"/>
                  </a:lnTo>
                  <a:lnTo>
                    <a:pt x="1056" y="306"/>
                  </a:lnTo>
                  <a:lnTo>
                    <a:pt x="1046" y="270"/>
                  </a:lnTo>
                  <a:lnTo>
                    <a:pt x="1042" y="256"/>
                  </a:lnTo>
                  <a:lnTo>
                    <a:pt x="1036" y="244"/>
                  </a:lnTo>
                  <a:lnTo>
                    <a:pt x="1032" y="240"/>
                  </a:lnTo>
                  <a:lnTo>
                    <a:pt x="1026" y="232"/>
                  </a:lnTo>
                  <a:lnTo>
                    <a:pt x="1020" y="222"/>
                  </a:lnTo>
                  <a:lnTo>
                    <a:pt x="1010" y="212"/>
                  </a:lnTo>
                  <a:lnTo>
                    <a:pt x="988" y="184"/>
                  </a:lnTo>
                  <a:lnTo>
                    <a:pt x="958" y="154"/>
                  </a:lnTo>
                  <a:lnTo>
                    <a:pt x="922" y="124"/>
                  </a:lnTo>
                  <a:lnTo>
                    <a:pt x="882" y="92"/>
                  </a:lnTo>
                  <a:lnTo>
                    <a:pt x="836" y="68"/>
                  </a:lnTo>
                  <a:lnTo>
                    <a:pt x="812" y="58"/>
                  </a:lnTo>
                  <a:lnTo>
                    <a:pt x="788" y="50"/>
                  </a:lnTo>
                  <a:lnTo>
                    <a:pt x="739" y="36"/>
                  </a:lnTo>
                  <a:lnTo>
                    <a:pt x="695" y="24"/>
                  </a:lnTo>
                  <a:lnTo>
                    <a:pt x="651" y="14"/>
                  </a:lnTo>
                  <a:lnTo>
                    <a:pt x="613" y="6"/>
                  </a:lnTo>
                  <a:lnTo>
                    <a:pt x="571" y="2"/>
                  </a:lnTo>
                  <a:lnTo>
                    <a:pt x="531" y="0"/>
                  </a:lnTo>
                  <a:lnTo>
                    <a:pt x="491" y="2"/>
                  </a:lnTo>
                  <a:lnTo>
                    <a:pt x="449" y="8"/>
                  </a:lnTo>
                  <a:lnTo>
                    <a:pt x="405" y="16"/>
                  </a:lnTo>
                  <a:lnTo>
                    <a:pt x="367" y="24"/>
                  </a:lnTo>
                  <a:lnTo>
                    <a:pt x="331" y="32"/>
                  </a:lnTo>
                  <a:lnTo>
                    <a:pt x="299" y="42"/>
                  </a:lnTo>
                  <a:lnTo>
                    <a:pt x="269" y="50"/>
                  </a:lnTo>
                  <a:lnTo>
                    <a:pt x="243" y="60"/>
                  </a:lnTo>
                  <a:lnTo>
                    <a:pt x="221" y="70"/>
                  </a:lnTo>
                  <a:lnTo>
                    <a:pt x="199" y="80"/>
                  </a:lnTo>
                  <a:lnTo>
                    <a:pt x="161" y="108"/>
                  </a:lnTo>
                  <a:lnTo>
                    <a:pt x="120" y="140"/>
                  </a:lnTo>
                  <a:lnTo>
                    <a:pt x="86" y="174"/>
                  </a:lnTo>
                  <a:lnTo>
                    <a:pt x="74" y="188"/>
                  </a:lnTo>
                  <a:lnTo>
                    <a:pt x="64" y="200"/>
                  </a:lnTo>
                  <a:lnTo>
                    <a:pt x="56" y="212"/>
                  </a:lnTo>
                  <a:lnTo>
                    <a:pt x="46" y="226"/>
                  </a:lnTo>
                  <a:lnTo>
                    <a:pt x="30" y="264"/>
                  </a:lnTo>
                  <a:lnTo>
                    <a:pt x="16" y="298"/>
                  </a:lnTo>
                  <a:lnTo>
                    <a:pt x="10" y="312"/>
                  </a:lnTo>
                  <a:lnTo>
                    <a:pt x="8" y="324"/>
                  </a:lnTo>
                  <a:lnTo>
                    <a:pt x="0" y="360"/>
                  </a:lnTo>
                  <a:lnTo>
                    <a:pt x="0" y="375"/>
                  </a:lnTo>
                  <a:lnTo>
                    <a:pt x="0" y="391"/>
                  </a:lnTo>
                  <a:lnTo>
                    <a:pt x="6" y="423"/>
                  </a:lnTo>
                  <a:lnTo>
                    <a:pt x="8" y="433"/>
                  </a:lnTo>
                  <a:lnTo>
                    <a:pt x="10" y="437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6" name="Freeform 233"/>
            <p:cNvSpPr>
              <a:spLocks/>
            </p:cNvSpPr>
            <p:nvPr/>
          </p:nvSpPr>
          <p:spPr bwMode="auto">
            <a:xfrm flipH="1">
              <a:off x="4328" y="2614"/>
              <a:ext cx="531" cy="216"/>
            </a:xfrm>
            <a:custGeom>
              <a:avLst/>
              <a:gdLst/>
              <a:ahLst/>
              <a:cxnLst>
                <a:cxn ang="0">
                  <a:pos x="10" y="431"/>
                </a:cxn>
                <a:cxn ang="0">
                  <a:pos x="16" y="413"/>
                </a:cxn>
                <a:cxn ang="0">
                  <a:pos x="32" y="383"/>
                </a:cxn>
                <a:cxn ang="0">
                  <a:pos x="68" y="324"/>
                </a:cxn>
                <a:cxn ang="0">
                  <a:pos x="136" y="232"/>
                </a:cxn>
                <a:cxn ang="0">
                  <a:pos x="203" y="178"/>
                </a:cxn>
                <a:cxn ang="0">
                  <a:pos x="275" y="142"/>
                </a:cxn>
                <a:cxn ang="0">
                  <a:pos x="367" y="110"/>
                </a:cxn>
                <a:cxn ang="0">
                  <a:pos x="453" y="90"/>
                </a:cxn>
                <a:cxn ang="0">
                  <a:pos x="539" y="82"/>
                </a:cxn>
                <a:cxn ang="0">
                  <a:pos x="625" y="84"/>
                </a:cxn>
                <a:cxn ang="0">
                  <a:pos x="703" y="90"/>
                </a:cxn>
                <a:cxn ang="0">
                  <a:pos x="772" y="106"/>
                </a:cxn>
                <a:cxn ang="0">
                  <a:pos x="842" y="134"/>
                </a:cxn>
                <a:cxn ang="0">
                  <a:pos x="916" y="176"/>
                </a:cxn>
                <a:cxn ang="0">
                  <a:pos x="964" y="212"/>
                </a:cxn>
                <a:cxn ang="0">
                  <a:pos x="996" y="240"/>
                </a:cxn>
                <a:cxn ang="0">
                  <a:pos x="1024" y="286"/>
                </a:cxn>
                <a:cxn ang="0">
                  <a:pos x="1040" y="314"/>
                </a:cxn>
                <a:cxn ang="0">
                  <a:pos x="1054" y="334"/>
                </a:cxn>
                <a:cxn ang="0">
                  <a:pos x="1060" y="346"/>
                </a:cxn>
                <a:cxn ang="0">
                  <a:pos x="1062" y="350"/>
                </a:cxn>
                <a:cxn ang="0">
                  <a:pos x="1058" y="336"/>
                </a:cxn>
                <a:cxn ang="0">
                  <a:pos x="1052" y="304"/>
                </a:cxn>
                <a:cxn ang="0">
                  <a:pos x="1038" y="254"/>
                </a:cxn>
                <a:cxn ang="0">
                  <a:pos x="1030" y="238"/>
                </a:cxn>
                <a:cxn ang="0">
                  <a:pos x="1016" y="220"/>
                </a:cxn>
                <a:cxn ang="0">
                  <a:pos x="984" y="184"/>
                </a:cxn>
                <a:cxn ang="0">
                  <a:pos x="918" y="122"/>
                </a:cxn>
                <a:cxn ang="0">
                  <a:pos x="834" y="66"/>
                </a:cxn>
                <a:cxn ang="0">
                  <a:pos x="786" y="48"/>
                </a:cxn>
                <a:cxn ang="0">
                  <a:pos x="693" y="24"/>
                </a:cxn>
                <a:cxn ang="0">
                  <a:pos x="629" y="10"/>
                </a:cxn>
                <a:cxn ang="0">
                  <a:pos x="569" y="2"/>
                </a:cxn>
                <a:cxn ang="0">
                  <a:pos x="489" y="2"/>
                </a:cxn>
                <a:cxn ang="0">
                  <a:pos x="403" y="16"/>
                </a:cxn>
                <a:cxn ang="0">
                  <a:pos x="331" y="34"/>
                </a:cxn>
                <a:cxn ang="0">
                  <a:pos x="269" y="52"/>
                </a:cxn>
                <a:cxn ang="0">
                  <a:pos x="221" y="72"/>
                </a:cxn>
                <a:cxn ang="0">
                  <a:pos x="161" y="110"/>
                </a:cxn>
                <a:cxn ang="0">
                  <a:pos x="90" y="174"/>
                </a:cxn>
                <a:cxn ang="0">
                  <a:pos x="66" y="200"/>
                </a:cxn>
                <a:cxn ang="0">
                  <a:pos x="48" y="226"/>
                </a:cxn>
                <a:cxn ang="0">
                  <a:pos x="16" y="298"/>
                </a:cxn>
                <a:cxn ang="0">
                  <a:pos x="6" y="324"/>
                </a:cxn>
                <a:cxn ang="0">
                  <a:pos x="0" y="389"/>
                </a:cxn>
                <a:cxn ang="0">
                  <a:pos x="6" y="419"/>
                </a:cxn>
                <a:cxn ang="0">
                  <a:pos x="6" y="429"/>
                </a:cxn>
              </a:cxnLst>
              <a:rect l="0" t="0" r="r" b="b"/>
              <a:pathLst>
                <a:path w="1062" h="433">
                  <a:moveTo>
                    <a:pt x="8" y="433"/>
                  </a:moveTo>
                  <a:lnTo>
                    <a:pt x="10" y="431"/>
                  </a:lnTo>
                  <a:lnTo>
                    <a:pt x="12" y="423"/>
                  </a:lnTo>
                  <a:lnTo>
                    <a:pt x="16" y="413"/>
                  </a:lnTo>
                  <a:lnTo>
                    <a:pt x="24" y="401"/>
                  </a:lnTo>
                  <a:lnTo>
                    <a:pt x="32" y="383"/>
                  </a:lnTo>
                  <a:lnTo>
                    <a:pt x="42" y="366"/>
                  </a:lnTo>
                  <a:lnTo>
                    <a:pt x="68" y="324"/>
                  </a:lnTo>
                  <a:lnTo>
                    <a:pt x="100" y="276"/>
                  </a:lnTo>
                  <a:lnTo>
                    <a:pt x="136" y="232"/>
                  </a:lnTo>
                  <a:lnTo>
                    <a:pt x="179" y="196"/>
                  </a:lnTo>
                  <a:lnTo>
                    <a:pt x="203" y="178"/>
                  </a:lnTo>
                  <a:lnTo>
                    <a:pt x="227" y="166"/>
                  </a:lnTo>
                  <a:lnTo>
                    <a:pt x="275" y="142"/>
                  </a:lnTo>
                  <a:lnTo>
                    <a:pt x="321" y="124"/>
                  </a:lnTo>
                  <a:lnTo>
                    <a:pt x="367" y="110"/>
                  </a:lnTo>
                  <a:lnTo>
                    <a:pt x="411" y="98"/>
                  </a:lnTo>
                  <a:lnTo>
                    <a:pt x="453" y="90"/>
                  </a:lnTo>
                  <a:lnTo>
                    <a:pt x="497" y="86"/>
                  </a:lnTo>
                  <a:lnTo>
                    <a:pt x="539" y="82"/>
                  </a:lnTo>
                  <a:lnTo>
                    <a:pt x="585" y="82"/>
                  </a:lnTo>
                  <a:lnTo>
                    <a:pt x="625" y="84"/>
                  </a:lnTo>
                  <a:lnTo>
                    <a:pt x="665" y="88"/>
                  </a:lnTo>
                  <a:lnTo>
                    <a:pt x="703" y="90"/>
                  </a:lnTo>
                  <a:lnTo>
                    <a:pt x="737" y="98"/>
                  </a:lnTo>
                  <a:lnTo>
                    <a:pt x="772" y="106"/>
                  </a:lnTo>
                  <a:lnTo>
                    <a:pt x="806" y="118"/>
                  </a:lnTo>
                  <a:lnTo>
                    <a:pt x="842" y="134"/>
                  </a:lnTo>
                  <a:lnTo>
                    <a:pt x="882" y="154"/>
                  </a:lnTo>
                  <a:lnTo>
                    <a:pt x="916" y="176"/>
                  </a:lnTo>
                  <a:lnTo>
                    <a:pt x="944" y="194"/>
                  </a:lnTo>
                  <a:lnTo>
                    <a:pt x="964" y="212"/>
                  </a:lnTo>
                  <a:lnTo>
                    <a:pt x="982" y="226"/>
                  </a:lnTo>
                  <a:lnTo>
                    <a:pt x="996" y="240"/>
                  </a:lnTo>
                  <a:lnTo>
                    <a:pt x="1004" y="256"/>
                  </a:lnTo>
                  <a:lnTo>
                    <a:pt x="1024" y="286"/>
                  </a:lnTo>
                  <a:lnTo>
                    <a:pt x="1034" y="300"/>
                  </a:lnTo>
                  <a:lnTo>
                    <a:pt x="1040" y="314"/>
                  </a:lnTo>
                  <a:lnTo>
                    <a:pt x="1048" y="326"/>
                  </a:lnTo>
                  <a:lnTo>
                    <a:pt x="1054" y="334"/>
                  </a:lnTo>
                  <a:lnTo>
                    <a:pt x="1056" y="342"/>
                  </a:lnTo>
                  <a:lnTo>
                    <a:pt x="1060" y="346"/>
                  </a:lnTo>
                  <a:lnTo>
                    <a:pt x="1062" y="348"/>
                  </a:lnTo>
                  <a:lnTo>
                    <a:pt x="1062" y="350"/>
                  </a:lnTo>
                  <a:lnTo>
                    <a:pt x="1062" y="346"/>
                  </a:lnTo>
                  <a:lnTo>
                    <a:pt x="1058" y="336"/>
                  </a:lnTo>
                  <a:lnTo>
                    <a:pt x="1056" y="322"/>
                  </a:lnTo>
                  <a:lnTo>
                    <a:pt x="1052" y="304"/>
                  </a:lnTo>
                  <a:lnTo>
                    <a:pt x="1044" y="268"/>
                  </a:lnTo>
                  <a:lnTo>
                    <a:pt x="1038" y="254"/>
                  </a:lnTo>
                  <a:lnTo>
                    <a:pt x="1032" y="242"/>
                  </a:lnTo>
                  <a:lnTo>
                    <a:pt x="1030" y="238"/>
                  </a:lnTo>
                  <a:lnTo>
                    <a:pt x="1022" y="230"/>
                  </a:lnTo>
                  <a:lnTo>
                    <a:pt x="1016" y="220"/>
                  </a:lnTo>
                  <a:lnTo>
                    <a:pt x="1006" y="212"/>
                  </a:lnTo>
                  <a:lnTo>
                    <a:pt x="984" y="184"/>
                  </a:lnTo>
                  <a:lnTo>
                    <a:pt x="954" y="152"/>
                  </a:lnTo>
                  <a:lnTo>
                    <a:pt x="918" y="122"/>
                  </a:lnTo>
                  <a:lnTo>
                    <a:pt x="880" y="92"/>
                  </a:lnTo>
                  <a:lnTo>
                    <a:pt x="834" y="66"/>
                  </a:lnTo>
                  <a:lnTo>
                    <a:pt x="810" y="56"/>
                  </a:lnTo>
                  <a:lnTo>
                    <a:pt x="786" y="48"/>
                  </a:lnTo>
                  <a:lnTo>
                    <a:pt x="737" y="36"/>
                  </a:lnTo>
                  <a:lnTo>
                    <a:pt x="693" y="24"/>
                  </a:lnTo>
                  <a:lnTo>
                    <a:pt x="649" y="14"/>
                  </a:lnTo>
                  <a:lnTo>
                    <a:pt x="629" y="10"/>
                  </a:lnTo>
                  <a:lnTo>
                    <a:pt x="611" y="6"/>
                  </a:lnTo>
                  <a:lnTo>
                    <a:pt x="569" y="2"/>
                  </a:lnTo>
                  <a:lnTo>
                    <a:pt x="531" y="0"/>
                  </a:lnTo>
                  <a:lnTo>
                    <a:pt x="489" y="2"/>
                  </a:lnTo>
                  <a:lnTo>
                    <a:pt x="447" y="8"/>
                  </a:lnTo>
                  <a:lnTo>
                    <a:pt x="403" y="16"/>
                  </a:lnTo>
                  <a:lnTo>
                    <a:pt x="367" y="26"/>
                  </a:lnTo>
                  <a:lnTo>
                    <a:pt x="331" y="34"/>
                  </a:lnTo>
                  <a:lnTo>
                    <a:pt x="299" y="42"/>
                  </a:lnTo>
                  <a:lnTo>
                    <a:pt x="269" y="52"/>
                  </a:lnTo>
                  <a:lnTo>
                    <a:pt x="243" y="60"/>
                  </a:lnTo>
                  <a:lnTo>
                    <a:pt x="221" y="72"/>
                  </a:lnTo>
                  <a:lnTo>
                    <a:pt x="199" y="82"/>
                  </a:lnTo>
                  <a:lnTo>
                    <a:pt x="161" y="110"/>
                  </a:lnTo>
                  <a:lnTo>
                    <a:pt x="122" y="142"/>
                  </a:lnTo>
                  <a:lnTo>
                    <a:pt x="90" y="174"/>
                  </a:lnTo>
                  <a:lnTo>
                    <a:pt x="76" y="188"/>
                  </a:lnTo>
                  <a:lnTo>
                    <a:pt x="66" y="200"/>
                  </a:lnTo>
                  <a:lnTo>
                    <a:pt x="58" y="212"/>
                  </a:lnTo>
                  <a:lnTo>
                    <a:pt x="48" y="226"/>
                  </a:lnTo>
                  <a:lnTo>
                    <a:pt x="30" y="264"/>
                  </a:lnTo>
                  <a:lnTo>
                    <a:pt x="16" y="298"/>
                  </a:lnTo>
                  <a:lnTo>
                    <a:pt x="10" y="312"/>
                  </a:lnTo>
                  <a:lnTo>
                    <a:pt x="6" y="324"/>
                  </a:lnTo>
                  <a:lnTo>
                    <a:pt x="2" y="358"/>
                  </a:lnTo>
                  <a:lnTo>
                    <a:pt x="0" y="389"/>
                  </a:lnTo>
                  <a:lnTo>
                    <a:pt x="2" y="403"/>
                  </a:lnTo>
                  <a:lnTo>
                    <a:pt x="6" y="419"/>
                  </a:lnTo>
                  <a:lnTo>
                    <a:pt x="6" y="423"/>
                  </a:lnTo>
                  <a:lnTo>
                    <a:pt x="6" y="429"/>
                  </a:lnTo>
                  <a:lnTo>
                    <a:pt x="8" y="433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7" name="Freeform 234"/>
            <p:cNvSpPr>
              <a:spLocks/>
            </p:cNvSpPr>
            <p:nvPr/>
          </p:nvSpPr>
          <p:spPr bwMode="auto">
            <a:xfrm flipH="1">
              <a:off x="4328" y="2616"/>
              <a:ext cx="531" cy="214"/>
            </a:xfrm>
            <a:custGeom>
              <a:avLst/>
              <a:gdLst/>
              <a:ahLst/>
              <a:cxnLst>
                <a:cxn ang="0">
                  <a:pos x="10" y="427"/>
                </a:cxn>
                <a:cxn ang="0">
                  <a:pos x="16" y="409"/>
                </a:cxn>
                <a:cxn ang="0">
                  <a:pos x="32" y="379"/>
                </a:cxn>
                <a:cxn ang="0">
                  <a:pos x="68" y="320"/>
                </a:cxn>
                <a:cxn ang="0">
                  <a:pos x="136" y="228"/>
                </a:cxn>
                <a:cxn ang="0">
                  <a:pos x="203" y="174"/>
                </a:cxn>
                <a:cxn ang="0">
                  <a:pos x="275" y="138"/>
                </a:cxn>
                <a:cxn ang="0">
                  <a:pos x="367" y="106"/>
                </a:cxn>
                <a:cxn ang="0">
                  <a:pos x="453" y="86"/>
                </a:cxn>
                <a:cxn ang="0">
                  <a:pos x="539" y="78"/>
                </a:cxn>
                <a:cxn ang="0">
                  <a:pos x="625" y="80"/>
                </a:cxn>
                <a:cxn ang="0">
                  <a:pos x="703" y="86"/>
                </a:cxn>
                <a:cxn ang="0">
                  <a:pos x="772" y="100"/>
                </a:cxn>
                <a:cxn ang="0">
                  <a:pos x="842" y="130"/>
                </a:cxn>
                <a:cxn ang="0">
                  <a:pos x="916" y="170"/>
                </a:cxn>
                <a:cxn ang="0">
                  <a:pos x="964" y="208"/>
                </a:cxn>
                <a:cxn ang="0">
                  <a:pos x="996" y="236"/>
                </a:cxn>
                <a:cxn ang="0">
                  <a:pos x="1024" y="282"/>
                </a:cxn>
                <a:cxn ang="0">
                  <a:pos x="1040" y="310"/>
                </a:cxn>
                <a:cxn ang="0">
                  <a:pos x="1054" y="330"/>
                </a:cxn>
                <a:cxn ang="0">
                  <a:pos x="1060" y="342"/>
                </a:cxn>
                <a:cxn ang="0">
                  <a:pos x="1062" y="346"/>
                </a:cxn>
                <a:cxn ang="0">
                  <a:pos x="1058" y="332"/>
                </a:cxn>
                <a:cxn ang="0">
                  <a:pos x="1052" y="300"/>
                </a:cxn>
                <a:cxn ang="0">
                  <a:pos x="1036" y="250"/>
                </a:cxn>
                <a:cxn ang="0">
                  <a:pos x="1028" y="234"/>
                </a:cxn>
                <a:cxn ang="0">
                  <a:pos x="1014" y="216"/>
                </a:cxn>
                <a:cxn ang="0">
                  <a:pos x="984" y="180"/>
                </a:cxn>
                <a:cxn ang="0">
                  <a:pos x="918" y="118"/>
                </a:cxn>
                <a:cxn ang="0">
                  <a:pos x="832" y="64"/>
                </a:cxn>
                <a:cxn ang="0">
                  <a:pos x="737" y="34"/>
                </a:cxn>
                <a:cxn ang="0">
                  <a:pos x="649" y="12"/>
                </a:cxn>
                <a:cxn ang="0">
                  <a:pos x="569" y="0"/>
                </a:cxn>
                <a:cxn ang="0">
                  <a:pos x="489" y="2"/>
                </a:cxn>
                <a:cxn ang="0">
                  <a:pos x="403" y="16"/>
                </a:cxn>
                <a:cxn ang="0">
                  <a:pos x="333" y="32"/>
                </a:cxn>
                <a:cxn ang="0">
                  <a:pos x="271" y="50"/>
                </a:cxn>
                <a:cxn ang="0">
                  <a:pos x="221" y="70"/>
                </a:cxn>
                <a:cxn ang="0">
                  <a:pos x="161" y="108"/>
                </a:cxn>
                <a:cxn ang="0">
                  <a:pos x="92" y="172"/>
                </a:cxn>
                <a:cxn ang="0">
                  <a:pos x="66" y="200"/>
                </a:cxn>
                <a:cxn ang="0">
                  <a:pos x="50" y="226"/>
                </a:cxn>
                <a:cxn ang="0">
                  <a:pos x="16" y="296"/>
                </a:cxn>
                <a:cxn ang="0">
                  <a:pos x="10" y="322"/>
                </a:cxn>
                <a:cxn ang="0">
                  <a:pos x="0" y="385"/>
                </a:cxn>
                <a:cxn ang="0">
                  <a:pos x="6" y="415"/>
                </a:cxn>
                <a:cxn ang="0">
                  <a:pos x="6" y="425"/>
                </a:cxn>
              </a:cxnLst>
              <a:rect l="0" t="0" r="r" b="b"/>
              <a:pathLst>
                <a:path w="1062" h="429">
                  <a:moveTo>
                    <a:pt x="8" y="429"/>
                  </a:moveTo>
                  <a:lnTo>
                    <a:pt x="10" y="427"/>
                  </a:lnTo>
                  <a:lnTo>
                    <a:pt x="12" y="419"/>
                  </a:lnTo>
                  <a:lnTo>
                    <a:pt x="16" y="409"/>
                  </a:lnTo>
                  <a:lnTo>
                    <a:pt x="24" y="397"/>
                  </a:lnTo>
                  <a:lnTo>
                    <a:pt x="32" y="379"/>
                  </a:lnTo>
                  <a:lnTo>
                    <a:pt x="42" y="362"/>
                  </a:lnTo>
                  <a:lnTo>
                    <a:pt x="68" y="320"/>
                  </a:lnTo>
                  <a:lnTo>
                    <a:pt x="100" y="272"/>
                  </a:lnTo>
                  <a:lnTo>
                    <a:pt x="136" y="228"/>
                  </a:lnTo>
                  <a:lnTo>
                    <a:pt x="179" y="192"/>
                  </a:lnTo>
                  <a:lnTo>
                    <a:pt x="203" y="174"/>
                  </a:lnTo>
                  <a:lnTo>
                    <a:pt x="227" y="160"/>
                  </a:lnTo>
                  <a:lnTo>
                    <a:pt x="275" y="138"/>
                  </a:lnTo>
                  <a:lnTo>
                    <a:pt x="321" y="120"/>
                  </a:lnTo>
                  <a:lnTo>
                    <a:pt x="367" y="106"/>
                  </a:lnTo>
                  <a:lnTo>
                    <a:pt x="411" y="94"/>
                  </a:lnTo>
                  <a:lnTo>
                    <a:pt x="453" y="86"/>
                  </a:lnTo>
                  <a:lnTo>
                    <a:pt x="497" y="80"/>
                  </a:lnTo>
                  <a:lnTo>
                    <a:pt x="539" y="78"/>
                  </a:lnTo>
                  <a:lnTo>
                    <a:pt x="585" y="78"/>
                  </a:lnTo>
                  <a:lnTo>
                    <a:pt x="625" y="80"/>
                  </a:lnTo>
                  <a:lnTo>
                    <a:pt x="665" y="82"/>
                  </a:lnTo>
                  <a:lnTo>
                    <a:pt x="703" y="86"/>
                  </a:lnTo>
                  <a:lnTo>
                    <a:pt x="737" y="92"/>
                  </a:lnTo>
                  <a:lnTo>
                    <a:pt x="772" y="100"/>
                  </a:lnTo>
                  <a:lnTo>
                    <a:pt x="806" y="114"/>
                  </a:lnTo>
                  <a:lnTo>
                    <a:pt x="842" y="130"/>
                  </a:lnTo>
                  <a:lnTo>
                    <a:pt x="882" y="150"/>
                  </a:lnTo>
                  <a:lnTo>
                    <a:pt x="916" y="170"/>
                  </a:lnTo>
                  <a:lnTo>
                    <a:pt x="944" y="190"/>
                  </a:lnTo>
                  <a:lnTo>
                    <a:pt x="964" y="208"/>
                  </a:lnTo>
                  <a:lnTo>
                    <a:pt x="982" y="222"/>
                  </a:lnTo>
                  <a:lnTo>
                    <a:pt x="996" y="236"/>
                  </a:lnTo>
                  <a:lnTo>
                    <a:pt x="1004" y="252"/>
                  </a:lnTo>
                  <a:lnTo>
                    <a:pt x="1024" y="282"/>
                  </a:lnTo>
                  <a:lnTo>
                    <a:pt x="1034" y="296"/>
                  </a:lnTo>
                  <a:lnTo>
                    <a:pt x="1040" y="310"/>
                  </a:lnTo>
                  <a:lnTo>
                    <a:pt x="1048" y="322"/>
                  </a:lnTo>
                  <a:lnTo>
                    <a:pt x="1054" y="330"/>
                  </a:lnTo>
                  <a:lnTo>
                    <a:pt x="1056" y="338"/>
                  </a:lnTo>
                  <a:lnTo>
                    <a:pt x="1060" y="342"/>
                  </a:lnTo>
                  <a:lnTo>
                    <a:pt x="1062" y="344"/>
                  </a:lnTo>
                  <a:lnTo>
                    <a:pt x="1062" y="346"/>
                  </a:lnTo>
                  <a:lnTo>
                    <a:pt x="1062" y="342"/>
                  </a:lnTo>
                  <a:lnTo>
                    <a:pt x="1058" y="332"/>
                  </a:lnTo>
                  <a:lnTo>
                    <a:pt x="1056" y="318"/>
                  </a:lnTo>
                  <a:lnTo>
                    <a:pt x="1052" y="300"/>
                  </a:lnTo>
                  <a:lnTo>
                    <a:pt x="1042" y="264"/>
                  </a:lnTo>
                  <a:lnTo>
                    <a:pt x="1036" y="250"/>
                  </a:lnTo>
                  <a:lnTo>
                    <a:pt x="1030" y="238"/>
                  </a:lnTo>
                  <a:lnTo>
                    <a:pt x="1028" y="234"/>
                  </a:lnTo>
                  <a:lnTo>
                    <a:pt x="1022" y="226"/>
                  </a:lnTo>
                  <a:lnTo>
                    <a:pt x="1014" y="216"/>
                  </a:lnTo>
                  <a:lnTo>
                    <a:pt x="1006" y="206"/>
                  </a:lnTo>
                  <a:lnTo>
                    <a:pt x="984" y="180"/>
                  </a:lnTo>
                  <a:lnTo>
                    <a:pt x="954" y="150"/>
                  </a:lnTo>
                  <a:lnTo>
                    <a:pt x="918" y="118"/>
                  </a:lnTo>
                  <a:lnTo>
                    <a:pt x="878" y="90"/>
                  </a:lnTo>
                  <a:lnTo>
                    <a:pt x="832" y="64"/>
                  </a:lnTo>
                  <a:lnTo>
                    <a:pt x="784" y="46"/>
                  </a:lnTo>
                  <a:lnTo>
                    <a:pt x="737" y="34"/>
                  </a:lnTo>
                  <a:lnTo>
                    <a:pt x="691" y="22"/>
                  </a:lnTo>
                  <a:lnTo>
                    <a:pt x="649" y="12"/>
                  </a:lnTo>
                  <a:lnTo>
                    <a:pt x="611" y="4"/>
                  </a:lnTo>
                  <a:lnTo>
                    <a:pt x="569" y="0"/>
                  </a:lnTo>
                  <a:lnTo>
                    <a:pt x="531" y="0"/>
                  </a:lnTo>
                  <a:lnTo>
                    <a:pt x="489" y="2"/>
                  </a:lnTo>
                  <a:lnTo>
                    <a:pt x="445" y="8"/>
                  </a:lnTo>
                  <a:lnTo>
                    <a:pt x="403" y="16"/>
                  </a:lnTo>
                  <a:lnTo>
                    <a:pt x="367" y="24"/>
                  </a:lnTo>
                  <a:lnTo>
                    <a:pt x="333" y="32"/>
                  </a:lnTo>
                  <a:lnTo>
                    <a:pt x="299" y="40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1" y="70"/>
                  </a:lnTo>
                  <a:lnTo>
                    <a:pt x="201" y="80"/>
                  </a:lnTo>
                  <a:lnTo>
                    <a:pt x="161" y="108"/>
                  </a:lnTo>
                  <a:lnTo>
                    <a:pt x="126" y="140"/>
                  </a:lnTo>
                  <a:lnTo>
                    <a:pt x="92" y="172"/>
                  </a:lnTo>
                  <a:lnTo>
                    <a:pt x="78" y="186"/>
                  </a:lnTo>
                  <a:lnTo>
                    <a:pt x="66" y="200"/>
                  </a:lnTo>
                  <a:lnTo>
                    <a:pt x="58" y="212"/>
                  </a:lnTo>
                  <a:lnTo>
                    <a:pt x="50" y="226"/>
                  </a:lnTo>
                  <a:lnTo>
                    <a:pt x="32" y="262"/>
                  </a:lnTo>
                  <a:lnTo>
                    <a:pt x="16" y="296"/>
                  </a:lnTo>
                  <a:lnTo>
                    <a:pt x="14" y="310"/>
                  </a:lnTo>
                  <a:lnTo>
                    <a:pt x="10" y="322"/>
                  </a:lnTo>
                  <a:lnTo>
                    <a:pt x="4" y="356"/>
                  </a:lnTo>
                  <a:lnTo>
                    <a:pt x="0" y="385"/>
                  </a:lnTo>
                  <a:lnTo>
                    <a:pt x="2" y="399"/>
                  </a:lnTo>
                  <a:lnTo>
                    <a:pt x="6" y="415"/>
                  </a:lnTo>
                  <a:lnTo>
                    <a:pt x="6" y="419"/>
                  </a:lnTo>
                  <a:lnTo>
                    <a:pt x="6" y="425"/>
                  </a:lnTo>
                  <a:lnTo>
                    <a:pt x="8" y="429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8" name="Freeform 235"/>
            <p:cNvSpPr>
              <a:spLocks/>
            </p:cNvSpPr>
            <p:nvPr/>
          </p:nvSpPr>
          <p:spPr bwMode="auto">
            <a:xfrm flipH="1">
              <a:off x="4328" y="2618"/>
              <a:ext cx="530" cy="212"/>
            </a:xfrm>
            <a:custGeom>
              <a:avLst/>
              <a:gdLst/>
              <a:ahLst/>
              <a:cxnLst>
                <a:cxn ang="0">
                  <a:pos x="8" y="423"/>
                </a:cxn>
                <a:cxn ang="0">
                  <a:pos x="14" y="405"/>
                </a:cxn>
                <a:cxn ang="0">
                  <a:pos x="30" y="375"/>
                </a:cxn>
                <a:cxn ang="0">
                  <a:pos x="66" y="316"/>
                </a:cxn>
                <a:cxn ang="0">
                  <a:pos x="134" y="224"/>
                </a:cxn>
                <a:cxn ang="0">
                  <a:pos x="201" y="170"/>
                </a:cxn>
                <a:cxn ang="0">
                  <a:pos x="273" y="134"/>
                </a:cxn>
                <a:cxn ang="0">
                  <a:pos x="365" y="102"/>
                </a:cxn>
                <a:cxn ang="0">
                  <a:pos x="451" y="82"/>
                </a:cxn>
                <a:cxn ang="0">
                  <a:pos x="537" y="74"/>
                </a:cxn>
                <a:cxn ang="0">
                  <a:pos x="623" y="76"/>
                </a:cxn>
                <a:cxn ang="0">
                  <a:pos x="701" y="82"/>
                </a:cxn>
                <a:cxn ang="0">
                  <a:pos x="770" y="98"/>
                </a:cxn>
                <a:cxn ang="0">
                  <a:pos x="840" y="126"/>
                </a:cxn>
                <a:cxn ang="0">
                  <a:pos x="914" y="168"/>
                </a:cxn>
                <a:cxn ang="0">
                  <a:pos x="962" y="204"/>
                </a:cxn>
                <a:cxn ang="0">
                  <a:pos x="994" y="232"/>
                </a:cxn>
                <a:cxn ang="0">
                  <a:pos x="1022" y="278"/>
                </a:cxn>
                <a:cxn ang="0">
                  <a:pos x="1038" y="306"/>
                </a:cxn>
                <a:cxn ang="0">
                  <a:pos x="1052" y="326"/>
                </a:cxn>
                <a:cxn ang="0">
                  <a:pos x="1058" y="338"/>
                </a:cxn>
                <a:cxn ang="0">
                  <a:pos x="1060" y="342"/>
                </a:cxn>
                <a:cxn ang="0">
                  <a:pos x="1056" y="328"/>
                </a:cxn>
                <a:cxn ang="0">
                  <a:pos x="1048" y="296"/>
                </a:cxn>
                <a:cxn ang="0">
                  <a:pos x="1032" y="248"/>
                </a:cxn>
                <a:cxn ang="0">
                  <a:pos x="1024" y="232"/>
                </a:cxn>
                <a:cxn ang="0">
                  <a:pos x="1012" y="214"/>
                </a:cxn>
                <a:cxn ang="0">
                  <a:pos x="980" y="178"/>
                </a:cxn>
                <a:cxn ang="0">
                  <a:pos x="916" y="118"/>
                </a:cxn>
                <a:cxn ang="0">
                  <a:pos x="830" y="64"/>
                </a:cxn>
                <a:cxn ang="0">
                  <a:pos x="735" y="34"/>
                </a:cxn>
                <a:cxn ang="0">
                  <a:pos x="649" y="12"/>
                </a:cxn>
                <a:cxn ang="0">
                  <a:pos x="569" y="2"/>
                </a:cxn>
                <a:cxn ang="0">
                  <a:pos x="487" y="4"/>
                </a:cxn>
                <a:cxn ang="0">
                  <a:pos x="401" y="18"/>
                </a:cxn>
                <a:cxn ang="0">
                  <a:pos x="299" y="42"/>
                </a:cxn>
                <a:cxn ang="0">
                  <a:pos x="245" y="60"/>
                </a:cxn>
                <a:cxn ang="0">
                  <a:pos x="201" y="82"/>
                </a:cxn>
                <a:cxn ang="0">
                  <a:pos x="126" y="140"/>
                </a:cxn>
                <a:cxn ang="0">
                  <a:pos x="80" y="186"/>
                </a:cxn>
                <a:cxn ang="0">
                  <a:pos x="60" y="212"/>
                </a:cxn>
                <a:cxn ang="0">
                  <a:pos x="32" y="260"/>
                </a:cxn>
                <a:cxn ang="0">
                  <a:pos x="14" y="308"/>
                </a:cxn>
                <a:cxn ang="0">
                  <a:pos x="4" y="352"/>
                </a:cxn>
                <a:cxn ang="0">
                  <a:pos x="4" y="411"/>
                </a:cxn>
                <a:cxn ang="0">
                  <a:pos x="6" y="425"/>
                </a:cxn>
              </a:cxnLst>
              <a:rect l="0" t="0" r="r" b="b"/>
              <a:pathLst>
                <a:path w="1060" h="425">
                  <a:moveTo>
                    <a:pt x="6" y="425"/>
                  </a:moveTo>
                  <a:lnTo>
                    <a:pt x="8" y="423"/>
                  </a:lnTo>
                  <a:lnTo>
                    <a:pt x="10" y="415"/>
                  </a:lnTo>
                  <a:lnTo>
                    <a:pt x="14" y="405"/>
                  </a:lnTo>
                  <a:lnTo>
                    <a:pt x="22" y="393"/>
                  </a:lnTo>
                  <a:lnTo>
                    <a:pt x="30" y="375"/>
                  </a:lnTo>
                  <a:lnTo>
                    <a:pt x="40" y="358"/>
                  </a:lnTo>
                  <a:lnTo>
                    <a:pt x="66" y="316"/>
                  </a:lnTo>
                  <a:lnTo>
                    <a:pt x="98" y="268"/>
                  </a:lnTo>
                  <a:lnTo>
                    <a:pt x="134" y="224"/>
                  </a:lnTo>
                  <a:lnTo>
                    <a:pt x="177" y="188"/>
                  </a:lnTo>
                  <a:lnTo>
                    <a:pt x="201" y="170"/>
                  </a:lnTo>
                  <a:lnTo>
                    <a:pt x="225" y="158"/>
                  </a:lnTo>
                  <a:lnTo>
                    <a:pt x="273" y="134"/>
                  </a:lnTo>
                  <a:lnTo>
                    <a:pt x="319" y="116"/>
                  </a:lnTo>
                  <a:lnTo>
                    <a:pt x="365" y="102"/>
                  </a:lnTo>
                  <a:lnTo>
                    <a:pt x="409" y="90"/>
                  </a:lnTo>
                  <a:lnTo>
                    <a:pt x="451" y="82"/>
                  </a:lnTo>
                  <a:lnTo>
                    <a:pt x="495" y="78"/>
                  </a:lnTo>
                  <a:lnTo>
                    <a:pt x="537" y="74"/>
                  </a:lnTo>
                  <a:lnTo>
                    <a:pt x="583" y="74"/>
                  </a:lnTo>
                  <a:lnTo>
                    <a:pt x="623" y="76"/>
                  </a:lnTo>
                  <a:lnTo>
                    <a:pt x="663" y="80"/>
                  </a:lnTo>
                  <a:lnTo>
                    <a:pt x="701" y="82"/>
                  </a:lnTo>
                  <a:lnTo>
                    <a:pt x="735" y="90"/>
                  </a:lnTo>
                  <a:lnTo>
                    <a:pt x="770" y="98"/>
                  </a:lnTo>
                  <a:lnTo>
                    <a:pt x="804" y="110"/>
                  </a:lnTo>
                  <a:lnTo>
                    <a:pt x="840" y="126"/>
                  </a:lnTo>
                  <a:lnTo>
                    <a:pt x="880" y="146"/>
                  </a:lnTo>
                  <a:lnTo>
                    <a:pt x="914" y="168"/>
                  </a:lnTo>
                  <a:lnTo>
                    <a:pt x="942" y="186"/>
                  </a:lnTo>
                  <a:lnTo>
                    <a:pt x="962" y="204"/>
                  </a:lnTo>
                  <a:lnTo>
                    <a:pt x="980" y="218"/>
                  </a:lnTo>
                  <a:lnTo>
                    <a:pt x="994" y="232"/>
                  </a:lnTo>
                  <a:lnTo>
                    <a:pt x="1002" y="248"/>
                  </a:lnTo>
                  <a:lnTo>
                    <a:pt x="1022" y="278"/>
                  </a:lnTo>
                  <a:lnTo>
                    <a:pt x="1032" y="292"/>
                  </a:lnTo>
                  <a:lnTo>
                    <a:pt x="1038" y="306"/>
                  </a:lnTo>
                  <a:lnTo>
                    <a:pt x="1046" y="318"/>
                  </a:lnTo>
                  <a:lnTo>
                    <a:pt x="1052" y="326"/>
                  </a:lnTo>
                  <a:lnTo>
                    <a:pt x="1054" y="334"/>
                  </a:lnTo>
                  <a:lnTo>
                    <a:pt x="1058" y="338"/>
                  </a:lnTo>
                  <a:lnTo>
                    <a:pt x="1060" y="340"/>
                  </a:lnTo>
                  <a:lnTo>
                    <a:pt x="1060" y="342"/>
                  </a:lnTo>
                  <a:lnTo>
                    <a:pt x="1060" y="338"/>
                  </a:lnTo>
                  <a:lnTo>
                    <a:pt x="1056" y="328"/>
                  </a:lnTo>
                  <a:lnTo>
                    <a:pt x="1054" y="314"/>
                  </a:lnTo>
                  <a:lnTo>
                    <a:pt x="1048" y="296"/>
                  </a:lnTo>
                  <a:lnTo>
                    <a:pt x="1038" y="262"/>
                  </a:lnTo>
                  <a:lnTo>
                    <a:pt x="1032" y="248"/>
                  </a:lnTo>
                  <a:lnTo>
                    <a:pt x="1028" y="236"/>
                  </a:lnTo>
                  <a:lnTo>
                    <a:pt x="1024" y="232"/>
                  </a:lnTo>
                  <a:lnTo>
                    <a:pt x="1020" y="222"/>
                  </a:lnTo>
                  <a:lnTo>
                    <a:pt x="1012" y="214"/>
                  </a:lnTo>
                  <a:lnTo>
                    <a:pt x="1002" y="204"/>
                  </a:lnTo>
                  <a:lnTo>
                    <a:pt x="980" y="178"/>
                  </a:lnTo>
                  <a:lnTo>
                    <a:pt x="950" y="150"/>
                  </a:lnTo>
                  <a:lnTo>
                    <a:pt x="916" y="118"/>
                  </a:lnTo>
                  <a:lnTo>
                    <a:pt x="876" y="90"/>
                  </a:lnTo>
                  <a:lnTo>
                    <a:pt x="830" y="64"/>
                  </a:lnTo>
                  <a:lnTo>
                    <a:pt x="782" y="48"/>
                  </a:lnTo>
                  <a:lnTo>
                    <a:pt x="735" y="34"/>
                  </a:lnTo>
                  <a:lnTo>
                    <a:pt x="691" y="22"/>
                  </a:lnTo>
                  <a:lnTo>
                    <a:pt x="649" y="12"/>
                  </a:lnTo>
                  <a:lnTo>
                    <a:pt x="609" y="6"/>
                  </a:lnTo>
                  <a:lnTo>
                    <a:pt x="569" y="2"/>
                  </a:lnTo>
                  <a:lnTo>
                    <a:pt x="529" y="0"/>
                  </a:lnTo>
                  <a:lnTo>
                    <a:pt x="487" y="4"/>
                  </a:lnTo>
                  <a:lnTo>
                    <a:pt x="443" y="10"/>
                  </a:lnTo>
                  <a:lnTo>
                    <a:pt x="401" y="18"/>
                  </a:lnTo>
                  <a:lnTo>
                    <a:pt x="331" y="34"/>
                  </a:lnTo>
                  <a:lnTo>
                    <a:pt x="299" y="42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1" y="70"/>
                  </a:lnTo>
                  <a:lnTo>
                    <a:pt x="201" y="82"/>
                  </a:lnTo>
                  <a:lnTo>
                    <a:pt x="163" y="108"/>
                  </a:lnTo>
                  <a:lnTo>
                    <a:pt x="126" y="140"/>
                  </a:lnTo>
                  <a:lnTo>
                    <a:pt x="92" y="170"/>
                  </a:lnTo>
                  <a:lnTo>
                    <a:pt x="80" y="186"/>
                  </a:lnTo>
                  <a:lnTo>
                    <a:pt x="68" y="200"/>
                  </a:lnTo>
                  <a:lnTo>
                    <a:pt x="60" y="212"/>
                  </a:lnTo>
                  <a:lnTo>
                    <a:pt x="50" y="224"/>
                  </a:lnTo>
                  <a:lnTo>
                    <a:pt x="32" y="260"/>
                  </a:lnTo>
                  <a:lnTo>
                    <a:pt x="18" y="292"/>
                  </a:lnTo>
                  <a:lnTo>
                    <a:pt x="14" y="308"/>
                  </a:lnTo>
                  <a:lnTo>
                    <a:pt x="10" y="318"/>
                  </a:lnTo>
                  <a:lnTo>
                    <a:pt x="4" y="352"/>
                  </a:lnTo>
                  <a:lnTo>
                    <a:pt x="0" y="381"/>
                  </a:lnTo>
                  <a:lnTo>
                    <a:pt x="4" y="411"/>
                  </a:lnTo>
                  <a:lnTo>
                    <a:pt x="6" y="421"/>
                  </a:lnTo>
                  <a:lnTo>
                    <a:pt x="6" y="425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89" name="Freeform 236"/>
            <p:cNvSpPr>
              <a:spLocks/>
            </p:cNvSpPr>
            <p:nvPr/>
          </p:nvSpPr>
          <p:spPr bwMode="auto">
            <a:xfrm flipH="1">
              <a:off x="4328" y="2620"/>
              <a:ext cx="529" cy="210"/>
            </a:xfrm>
            <a:custGeom>
              <a:avLst/>
              <a:gdLst/>
              <a:ahLst/>
              <a:cxnLst>
                <a:cxn ang="0">
                  <a:pos x="6" y="419"/>
                </a:cxn>
                <a:cxn ang="0">
                  <a:pos x="12" y="401"/>
                </a:cxn>
                <a:cxn ang="0">
                  <a:pos x="28" y="371"/>
                </a:cxn>
                <a:cxn ang="0">
                  <a:pos x="64" y="312"/>
                </a:cxn>
                <a:cxn ang="0">
                  <a:pos x="132" y="220"/>
                </a:cxn>
                <a:cxn ang="0">
                  <a:pos x="199" y="166"/>
                </a:cxn>
                <a:cxn ang="0">
                  <a:pos x="271" y="130"/>
                </a:cxn>
                <a:cxn ang="0">
                  <a:pos x="363" y="98"/>
                </a:cxn>
                <a:cxn ang="0">
                  <a:pos x="449" y="78"/>
                </a:cxn>
                <a:cxn ang="0">
                  <a:pos x="535" y="70"/>
                </a:cxn>
                <a:cxn ang="0">
                  <a:pos x="621" y="72"/>
                </a:cxn>
                <a:cxn ang="0">
                  <a:pos x="699" y="78"/>
                </a:cxn>
                <a:cxn ang="0">
                  <a:pos x="768" y="92"/>
                </a:cxn>
                <a:cxn ang="0">
                  <a:pos x="838" y="122"/>
                </a:cxn>
                <a:cxn ang="0">
                  <a:pos x="914" y="162"/>
                </a:cxn>
                <a:cxn ang="0">
                  <a:pos x="962" y="200"/>
                </a:cxn>
                <a:cxn ang="0">
                  <a:pos x="992" y="228"/>
                </a:cxn>
                <a:cxn ang="0">
                  <a:pos x="1020" y="274"/>
                </a:cxn>
                <a:cxn ang="0">
                  <a:pos x="1036" y="302"/>
                </a:cxn>
                <a:cxn ang="0">
                  <a:pos x="1050" y="322"/>
                </a:cxn>
                <a:cxn ang="0">
                  <a:pos x="1056" y="334"/>
                </a:cxn>
                <a:cxn ang="0">
                  <a:pos x="1058" y="338"/>
                </a:cxn>
                <a:cxn ang="0">
                  <a:pos x="1054" y="324"/>
                </a:cxn>
                <a:cxn ang="0">
                  <a:pos x="1046" y="294"/>
                </a:cxn>
                <a:cxn ang="0">
                  <a:pos x="1030" y="244"/>
                </a:cxn>
                <a:cxn ang="0">
                  <a:pos x="1022" y="228"/>
                </a:cxn>
                <a:cxn ang="0">
                  <a:pos x="1000" y="202"/>
                </a:cxn>
                <a:cxn ang="0">
                  <a:pos x="948" y="146"/>
                </a:cxn>
                <a:cxn ang="0">
                  <a:pos x="874" y="88"/>
                </a:cxn>
                <a:cxn ang="0">
                  <a:pos x="780" y="46"/>
                </a:cxn>
                <a:cxn ang="0">
                  <a:pos x="687" y="20"/>
                </a:cxn>
                <a:cxn ang="0">
                  <a:pos x="607" y="4"/>
                </a:cxn>
                <a:cxn ang="0">
                  <a:pos x="527" y="0"/>
                </a:cxn>
                <a:cxn ang="0">
                  <a:pos x="441" y="10"/>
                </a:cxn>
                <a:cxn ang="0">
                  <a:pos x="365" y="26"/>
                </a:cxn>
                <a:cxn ang="0">
                  <a:pos x="299" y="40"/>
                </a:cxn>
                <a:cxn ang="0">
                  <a:pos x="245" y="60"/>
                </a:cxn>
                <a:cxn ang="0">
                  <a:pos x="201" y="82"/>
                </a:cxn>
                <a:cxn ang="0">
                  <a:pos x="126" y="138"/>
                </a:cxn>
                <a:cxn ang="0">
                  <a:pos x="80" y="186"/>
                </a:cxn>
                <a:cxn ang="0">
                  <a:pos x="60" y="210"/>
                </a:cxn>
                <a:cxn ang="0">
                  <a:pos x="32" y="258"/>
                </a:cxn>
                <a:cxn ang="0">
                  <a:pos x="12" y="306"/>
                </a:cxn>
                <a:cxn ang="0">
                  <a:pos x="2" y="348"/>
                </a:cxn>
                <a:cxn ang="0">
                  <a:pos x="0" y="379"/>
                </a:cxn>
                <a:cxn ang="0">
                  <a:pos x="4" y="417"/>
                </a:cxn>
              </a:cxnLst>
              <a:rect l="0" t="0" r="r" b="b"/>
              <a:pathLst>
                <a:path w="1058" h="421">
                  <a:moveTo>
                    <a:pt x="4" y="421"/>
                  </a:moveTo>
                  <a:lnTo>
                    <a:pt x="6" y="419"/>
                  </a:lnTo>
                  <a:lnTo>
                    <a:pt x="8" y="411"/>
                  </a:lnTo>
                  <a:lnTo>
                    <a:pt x="12" y="401"/>
                  </a:lnTo>
                  <a:lnTo>
                    <a:pt x="20" y="389"/>
                  </a:lnTo>
                  <a:lnTo>
                    <a:pt x="28" y="371"/>
                  </a:lnTo>
                  <a:lnTo>
                    <a:pt x="38" y="354"/>
                  </a:lnTo>
                  <a:lnTo>
                    <a:pt x="64" y="312"/>
                  </a:lnTo>
                  <a:lnTo>
                    <a:pt x="96" y="264"/>
                  </a:lnTo>
                  <a:lnTo>
                    <a:pt x="132" y="220"/>
                  </a:lnTo>
                  <a:lnTo>
                    <a:pt x="175" y="184"/>
                  </a:lnTo>
                  <a:lnTo>
                    <a:pt x="199" y="166"/>
                  </a:lnTo>
                  <a:lnTo>
                    <a:pt x="223" y="152"/>
                  </a:lnTo>
                  <a:lnTo>
                    <a:pt x="271" y="130"/>
                  </a:lnTo>
                  <a:lnTo>
                    <a:pt x="317" y="112"/>
                  </a:lnTo>
                  <a:lnTo>
                    <a:pt x="363" y="98"/>
                  </a:lnTo>
                  <a:lnTo>
                    <a:pt x="407" y="86"/>
                  </a:lnTo>
                  <a:lnTo>
                    <a:pt x="449" y="78"/>
                  </a:lnTo>
                  <a:lnTo>
                    <a:pt x="493" y="72"/>
                  </a:lnTo>
                  <a:lnTo>
                    <a:pt x="535" y="70"/>
                  </a:lnTo>
                  <a:lnTo>
                    <a:pt x="581" y="70"/>
                  </a:lnTo>
                  <a:lnTo>
                    <a:pt x="621" y="72"/>
                  </a:lnTo>
                  <a:lnTo>
                    <a:pt x="661" y="74"/>
                  </a:lnTo>
                  <a:lnTo>
                    <a:pt x="699" y="78"/>
                  </a:lnTo>
                  <a:lnTo>
                    <a:pt x="733" y="84"/>
                  </a:lnTo>
                  <a:lnTo>
                    <a:pt x="768" y="92"/>
                  </a:lnTo>
                  <a:lnTo>
                    <a:pt x="802" y="106"/>
                  </a:lnTo>
                  <a:lnTo>
                    <a:pt x="838" y="122"/>
                  </a:lnTo>
                  <a:lnTo>
                    <a:pt x="878" y="142"/>
                  </a:lnTo>
                  <a:lnTo>
                    <a:pt x="914" y="162"/>
                  </a:lnTo>
                  <a:lnTo>
                    <a:pt x="940" y="182"/>
                  </a:lnTo>
                  <a:lnTo>
                    <a:pt x="962" y="200"/>
                  </a:lnTo>
                  <a:lnTo>
                    <a:pt x="978" y="214"/>
                  </a:lnTo>
                  <a:lnTo>
                    <a:pt x="992" y="228"/>
                  </a:lnTo>
                  <a:lnTo>
                    <a:pt x="1002" y="244"/>
                  </a:lnTo>
                  <a:lnTo>
                    <a:pt x="1020" y="274"/>
                  </a:lnTo>
                  <a:lnTo>
                    <a:pt x="1030" y="288"/>
                  </a:lnTo>
                  <a:lnTo>
                    <a:pt x="1036" y="302"/>
                  </a:lnTo>
                  <a:lnTo>
                    <a:pt x="1044" y="314"/>
                  </a:lnTo>
                  <a:lnTo>
                    <a:pt x="1050" y="322"/>
                  </a:lnTo>
                  <a:lnTo>
                    <a:pt x="1052" y="330"/>
                  </a:lnTo>
                  <a:lnTo>
                    <a:pt x="1056" y="334"/>
                  </a:lnTo>
                  <a:lnTo>
                    <a:pt x="1058" y="336"/>
                  </a:lnTo>
                  <a:lnTo>
                    <a:pt x="1058" y="338"/>
                  </a:lnTo>
                  <a:lnTo>
                    <a:pt x="1058" y="334"/>
                  </a:lnTo>
                  <a:lnTo>
                    <a:pt x="1054" y="324"/>
                  </a:lnTo>
                  <a:lnTo>
                    <a:pt x="1052" y="310"/>
                  </a:lnTo>
                  <a:lnTo>
                    <a:pt x="1046" y="294"/>
                  </a:lnTo>
                  <a:lnTo>
                    <a:pt x="1036" y="258"/>
                  </a:lnTo>
                  <a:lnTo>
                    <a:pt x="1030" y="244"/>
                  </a:lnTo>
                  <a:lnTo>
                    <a:pt x="1026" y="234"/>
                  </a:lnTo>
                  <a:lnTo>
                    <a:pt x="1022" y="228"/>
                  </a:lnTo>
                  <a:lnTo>
                    <a:pt x="1016" y="220"/>
                  </a:lnTo>
                  <a:lnTo>
                    <a:pt x="1000" y="202"/>
                  </a:lnTo>
                  <a:lnTo>
                    <a:pt x="976" y="176"/>
                  </a:lnTo>
                  <a:lnTo>
                    <a:pt x="948" y="146"/>
                  </a:lnTo>
                  <a:lnTo>
                    <a:pt x="914" y="116"/>
                  </a:lnTo>
                  <a:lnTo>
                    <a:pt x="874" y="88"/>
                  </a:lnTo>
                  <a:lnTo>
                    <a:pt x="828" y="64"/>
                  </a:lnTo>
                  <a:lnTo>
                    <a:pt x="780" y="46"/>
                  </a:lnTo>
                  <a:lnTo>
                    <a:pt x="733" y="32"/>
                  </a:lnTo>
                  <a:lnTo>
                    <a:pt x="687" y="20"/>
                  </a:lnTo>
                  <a:lnTo>
                    <a:pt x="645" y="12"/>
                  </a:lnTo>
                  <a:lnTo>
                    <a:pt x="607" y="4"/>
                  </a:lnTo>
                  <a:lnTo>
                    <a:pt x="567" y="2"/>
                  </a:lnTo>
                  <a:lnTo>
                    <a:pt x="527" y="0"/>
                  </a:lnTo>
                  <a:lnTo>
                    <a:pt x="485" y="4"/>
                  </a:lnTo>
                  <a:lnTo>
                    <a:pt x="441" y="10"/>
                  </a:lnTo>
                  <a:lnTo>
                    <a:pt x="401" y="18"/>
                  </a:lnTo>
                  <a:lnTo>
                    <a:pt x="365" y="26"/>
                  </a:lnTo>
                  <a:lnTo>
                    <a:pt x="329" y="32"/>
                  </a:lnTo>
                  <a:lnTo>
                    <a:pt x="299" y="40"/>
                  </a:lnTo>
                  <a:lnTo>
                    <a:pt x="271" y="50"/>
                  </a:lnTo>
                  <a:lnTo>
                    <a:pt x="245" y="60"/>
                  </a:lnTo>
                  <a:lnTo>
                    <a:pt x="223" y="70"/>
                  </a:lnTo>
                  <a:lnTo>
                    <a:pt x="201" y="82"/>
                  </a:lnTo>
                  <a:lnTo>
                    <a:pt x="163" y="108"/>
                  </a:lnTo>
                  <a:lnTo>
                    <a:pt x="126" y="138"/>
                  </a:lnTo>
                  <a:lnTo>
                    <a:pt x="92" y="168"/>
                  </a:lnTo>
                  <a:lnTo>
                    <a:pt x="80" y="186"/>
                  </a:lnTo>
                  <a:lnTo>
                    <a:pt x="68" y="200"/>
                  </a:lnTo>
                  <a:lnTo>
                    <a:pt x="60" y="210"/>
                  </a:lnTo>
                  <a:lnTo>
                    <a:pt x="50" y="224"/>
                  </a:lnTo>
                  <a:lnTo>
                    <a:pt x="32" y="258"/>
                  </a:lnTo>
                  <a:lnTo>
                    <a:pt x="18" y="292"/>
                  </a:lnTo>
                  <a:lnTo>
                    <a:pt x="12" y="306"/>
                  </a:lnTo>
                  <a:lnTo>
                    <a:pt x="10" y="316"/>
                  </a:lnTo>
                  <a:lnTo>
                    <a:pt x="2" y="348"/>
                  </a:lnTo>
                  <a:lnTo>
                    <a:pt x="2" y="365"/>
                  </a:lnTo>
                  <a:lnTo>
                    <a:pt x="0" y="379"/>
                  </a:lnTo>
                  <a:lnTo>
                    <a:pt x="2" y="407"/>
                  </a:lnTo>
                  <a:lnTo>
                    <a:pt x="4" y="417"/>
                  </a:lnTo>
                  <a:lnTo>
                    <a:pt x="4" y="421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0" name="Freeform 237"/>
            <p:cNvSpPr>
              <a:spLocks/>
            </p:cNvSpPr>
            <p:nvPr/>
          </p:nvSpPr>
          <p:spPr bwMode="auto">
            <a:xfrm flipH="1">
              <a:off x="4328" y="2623"/>
              <a:ext cx="528" cy="207"/>
            </a:xfrm>
            <a:custGeom>
              <a:avLst/>
              <a:gdLst/>
              <a:ahLst/>
              <a:cxnLst>
                <a:cxn ang="0">
                  <a:pos x="4" y="413"/>
                </a:cxn>
                <a:cxn ang="0">
                  <a:pos x="10" y="395"/>
                </a:cxn>
                <a:cxn ang="0">
                  <a:pos x="26" y="365"/>
                </a:cxn>
                <a:cxn ang="0">
                  <a:pos x="62" y="306"/>
                </a:cxn>
                <a:cxn ang="0">
                  <a:pos x="130" y="214"/>
                </a:cxn>
                <a:cxn ang="0">
                  <a:pos x="197" y="160"/>
                </a:cxn>
                <a:cxn ang="0">
                  <a:pos x="269" y="124"/>
                </a:cxn>
                <a:cxn ang="0">
                  <a:pos x="361" y="92"/>
                </a:cxn>
                <a:cxn ang="0">
                  <a:pos x="447" y="72"/>
                </a:cxn>
                <a:cxn ang="0">
                  <a:pos x="533" y="64"/>
                </a:cxn>
                <a:cxn ang="0">
                  <a:pos x="619" y="66"/>
                </a:cxn>
                <a:cxn ang="0">
                  <a:pos x="697" y="72"/>
                </a:cxn>
                <a:cxn ang="0">
                  <a:pos x="766" y="88"/>
                </a:cxn>
                <a:cxn ang="0">
                  <a:pos x="836" y="116"/>
                </a:cxn>
                <a:cxn ang="0">
                  <a:pos x="912" y="158"/>
                </a:cxn>
                <a:cxn ang="0">
                  <a:pos x="960" y="194"/>
                </a:cxn>
                <a:cxn ang="0">
                  <a:pos x="990" y="222"/>
                </a:cxn>
                <a:cxn ang="0">
                  <a:pos x="1018" y="268"/>
                </a:cxn>
                <a:cxn ang="0">
                  <a:pos x="1034" y="296"/>
                </a:cxn>
                <a:cxn ang="0">
                  <a:pos x="1048" y="316"/>
                </a:cxn>
                <a:cxn ang="0">
                  <a:pos x="1054" y="328"/>
                </a:cxn>
                <a:cxn ang="0">
                  <a:pos x="1056" y="332"/>
                </a:cxn>
                <a:cxn ang="0">
                  <a:pos x="1052" y="318"/>
                </a:cxn>
                <a:cxn ang="0">
                  <a:pos x="1044" y="288"/>
                </a:cxn>
                <a:cxn ang="0">
                  <a:pos x="1026" y="238"/>
                </a:cxn>
                <a:cxn ang="0">
                  <a:pos x="1018" y="222"/>
                </a:cxn>
                <a:cxn ang="0">
                  <a:pos x="996" y="198"/>
                </a:cxn>
                <a:cxn ang="0">
                  <a:pos x="946" y="142"/>
                </a:cxn>
                <a:cxn ang="0">
                  <a:pos x="870" y="84"/>
                </a:cxn>
                <a:cxn ang="0">
                  <a:pos x="776" y="42"/>
                </a:cxn>
                <a:cxn ang="0">
                  <a:pos x="683" y="20"/>
                </a:cxn>
                <a:cxn ang="0">
                  <a:pos x="605" y="4"/>
                </a:cxn>
                <a:cxn ang="0">
                  <a:pos x="525" y="0"/>
                </a:cxn>
                <a:cxn ang="0">
                  <a:pos x="439" y="10"/>
                </a:cxn>
                <a:cxn ang="0">
                  <a:pos x="363" y="24"/>
                </a:cxn>
                <a:cxn ang="0">
                  <a:pos x="301" y="40"/>
                </a:cxn>
                <a:cxn ang="0">
                  <a:pos x="245" y="58"/>
                </a:cxn>
                <a:cxn ang="0">
                  <a:pos x="201" y="80"/>
                </a:cxn>
                <a:cxn ang="0">
                  <a:pos x="128" y="136"/>
                </a:cxn>
                <a:cxn ang="0">
                  <a:pos x="78" y="184"/>
                </a:cxn>
                <a:cxn ang="0">
                  <a:pos x="60" y="208"/>
                </a:cxn>
                <a:cxn ang="0">
                  <a:pos x="32" y="256"/>
                </a:cxn>
                <a:cxn ang="0">
                  <a:pos x="12" y="302"/>
                </a:cxn>
                <a:cxn ang="0">
                  <a:pos x="2" y="344"/>
                </a:cxn>
                <a:cxn ang="0">
                  <a:pos x="0" y="375"/>
                </a:cxn>
                <a:cxn ang="0">
                  <a:pos x="2" y="409"/>
                </a:cxn>
              </a:cxnLst>
              <a:rect l="0" t="0" r="r" b="b"/>
              <a:pathLst>
                <a:path w="1056" h="415">
                  <a:moveTo>
                    <a:pt x="2" y="415"/>
                  </a:moveTo>
                  <a:lnTo>
                    <a:pt x="4" y="413"/>
                  </a:lnTo>
                  <a:lnTo>
                    <a:pt x="6" y="405"/>
                  </a:lnTo>
                  <a:lnTo>
                    <a:pt x="10" y="395"/>
                  </a:lnTo>
                  <a:lnTo>
                    <a:pt x="18" y="383"/>
                  </a:lnTo>
                  <a:lnTo>
                    <a:pt x="26" y="365"/>
                  </a:lnTo>
                  <a:lnTo>
                    <a:pt x="36" y="348"/>
                  </a:lnTo>
                  <a:lnTo>
                    <a:pt x="62" y="306"/>
                  </a:lnTo>
                  <a:lnTo>
                    <a:pt x="94" y="258"/>
                  </a:lnTo>
                  <a:lnTo>
                    <a:pt x="130" y="214"/>
                  </a:lnTo>
                  <a:lnTo>
                    <a:pt x="173" y="178"/>
                  </a:lnTo>
                  <a:lnTo>
                    <a:pt x="197" y="160"/>
                  </a:lnTo>
                  <a:lnTo>
                    <a:pt x="221" y="148"/>
                  </a:lnTo>
                  <a:lnTo>
                    <a:pt x="269" y="124"/>
                  </a:lnTo>
                  <a:lnTo>
                    <a:pt x="315" y="106"/>
                  </a:lnTo>
                  <a:lnTo>
                    <a:pt x="361" y="92"/>
                  </a:lnTo>
                  <a:lnTo>
                    <a:pt x="405" y="80"/>
                  </a:lnTo>
                  <a:lnTo>
                    <a:pt x="447" y="72"/>
                  </a:lnTo>
                  <a:lnTo>
                    <a:pt x="491" y="68"/>
                  </a:lnTo>
                  <a:lnTo>
                    <a:pt x="533" y="64"/>
                  </a:lnTo>
                  <a:lnTo>
                    <a:pt x="579" y="64"/>
                  </a:lnTo>
                  <a:lnTo>
                    <a:pt x="619" y="66"/>
                  </a:lnTo>
                  <a:lnTo>
                    <a:pt x="659" y="70"/>
                  </a:lnTo>
                  <a:lnTo>
                    <a:pt x="697" y="72"/>
                  </a:lnTo>
                  <a:lnTo>
                    <a:pt x="731" y="80"/>
                  </a:lnTo>
                  <a:lnTo>
                    <a:pt x="766" y="88"/>
                  </a:lnTo>
                  <a:lnTo>
                    <a:pt x="800" y="100"/>
                  </a:lnTo>
                  <a:lnTo>
                    <a:pt x="836" y="116"/>
                  </a:lnTo>
                  <a:lnTo>
                    <a:pt x="876" y="136"/>
                  </a:lnTo>
                  <a:lnTo>
                    <a:pt x="912" y="158"/>
                  </a:lnTo>
                  <a:lnTo>
                    <a:pt x="938" y="176"/>
                  </a:lnTo>
                  <a:lnTo>
                    <a:pt x="960" y="194"/>
                  </a:lnTo>
                  <a:lnTo>
                    <a:pt x="976" y="208"/>
                  </a:lnTo>
                  <a:lnTo>
                    <a:pt x="990" y="222"/>
                  </a:lnTo>
                  <a:lnTo>
                    <a:pt x="1000" y="238"/>
                  </a:lnTo>
                  <a:lnTo>
                    <a:pt x="1018" y="268"/>
                  </a:lnTo>
                  <a:lnTo>
                    <a:pt x="1028" y="282"/>
                  </a:lnTo>
                  <a:lnTo>
                    <a:pt x="1034" y="296"/>
                  </a:lnTo>
                  <a:lnTo>
                    <a:pt x="1042" y="308"/>
                  </a:lnTo>
                  <a:lnTo>
                    <a:pt x="1048" y="316"/>
                  </a:lnTo>
                  <a:lnTo>
                    <a:pt x="1050" y="324"/>
                  </a:lnTo>
                  <a:lnTo>
                    <a:pt x="1054" y="328"/>
                  </a:lnTo>
                  <a:lnTo>
                    <a:pt x="1056" y="330"/>
                  </a:lnTo>
                  <a:lnTo>
                    <a:pt x="1056" y="332"/>
                  </a:lnTo>
                  <a:lnTo>
                    <a:pt x="1054" y="328"/>
                  </a:lnTo>
                  <a:lnTo>
                    <a:pt x="1052" y="318"/>
                  </a:lnTo>
                  <a:lnTo>
                    <a:pt x="1050" y="304"/>
                  </a:lnTo>
                  <a:lnTo>
                    <a:pt x="1044" y="288"/>
                  </a:lnTo>
                  <a:lnTo>
                    <a:pt x="1034" y="252"/>
                  </a:lnTo>
                  <a:lnTo>
                    <a:pt x="1026" y="238"/>
                  </a:lnTo>
                  <a:lnTo>
                    <a:pt x="1022" y="228"/>
                  </a:lnTo>
                  <a:lnTo>
                    <a:pt x="1018" y="222"/>
                  </a:lnTo>
                  <a:lnTo>
                    <a:pt x="1012" y="214"/>
                  </a:lnTo>
                  <a:lnTo>
                    <a:pt x="996" y="198"/>
                  </a:lnTo>
                  <a:lnTo>
                    <a:pt x="972" y="172"/>
                  </a:lnTo>
                  <a:lnTo>
                    <a:pt x="946" y="142"/>
                  </a:lnTo>
                  <a:lnTo>
                    <a:pt x="910" y="112"/>
                  </a:lnTo>
                  <a:lnTo>
                    <a:pt x="870" y="84"/>
                  </a:lnTo>
                  <a:lnTo>
                    <a:pt x="826" y="60"/>
                  </a:lnTo>
                  <a:lnTo>
                    <a:pt x="776" y="42"/>
                  </a:lnTo>
                  <a:lnTo>
                    <a:pt x="729" y="28"/>
                  </a:lnTo>
                  <a:lnTo>
                    <a:pt x="683" y="20"/>
                  </a:lnTo>
                  <a:lnTo>
                    <a:pt x="643" y="10"/>
                  </a:lnTo>
                  <a:lnTo>
                    <a:pt x="605" y="4"/>
                  </a:lnTo>
                  <a:lnTo>
                    <a:pt x="565" y="0"/>
                  </a:lnTo>
                  <a:lnTo>
                    <a:pt x="525" y="0"/>
                  </a:lnTo>
                  <a:lnTo>
                    <a:pt x="483" y="2"/>
                  </a:lnTo>
                  <a:lnTo>
                    <a:pt x="439" y="10"/>
                  </a:lnTo>
                  <a:lnTo>
                    <a:pt x="399" y="18"/>
                  </a:lnTo>
                  <a:lnTo>
                    <a:pt x="363" y="24"/>
                  </a:lnTo>
                  <a:lnTo>
                    <a:pt x="331" y="32"/>
                  </a:lnTo>
                  <a:lnTo>
                    <a:pt x="301" y="40"/>
                  </a:lnTo>
                  <a:lnTo>
                    <a:pt x="271" y="48"/>
                  </a:lnTo>
                  <a:lnTo>
                    <a:pt x="245" y="58"/>
                  </a:lnTo>
                  <a:lnTo>
                    <a:pt x="223" y="68"/>
                  </a:lnTo>
                  <a:lnTo>
                    <a:pt x="201" y="80"/>
                  </a:lnTo>
                  <a:lnTo>
                    <a:pt x="163" y="106"/>
                  </a:lnTo>
                  <a:lnTo>
                    <a:pt x="128" y="136"/>
                  </a:lnTo>
                  <a:lnTo>
                    <a:pt x="94" y="168"/>
                  </a:lnTo>
                  <a:lnTo>
                    <a:pt x="78" y="184"/>
                  </a:lnTo>
                  <a:lnTo>
                    <a:pt x="68" y="198"/>
                  </a:lnTo>
                  <a:lnTo>
                    <a:pt x="60" y="208"/>
                  </a:lnTo>
                  <a:lnTo>
                    <a:pt x="50" y="222"/>
                  </a:lnTo>
                  <a:lnTo>
                    <a:pt x="32" y="256"/>
                  </a:lnTo>
                  <a:lnTo>
                    <a:pt x="18" y="288"/>
                  </a:lnTo>
                  <a:lnTo>
                    <a:pt x="12" y="302"/>
                  </a:lnTo>
                  <a:lnTo>
                    <a:pt x="10" y="312"/>
                  </a:lnTo>
                  <a:lnTo>
                    <a:pt x="2" y="344"/>
                  </a:lnTo>
                  <a:lnTo>
                    <a:pt x="0" y="359"/>
                  </a:lnTo>
                  <a:lnTo>
                    <a:pt x="0" y="375"/>
                  </a:lnTo>
                  <a:lnTo>
                    <a:pt x="0" y="401"/>
                  </a:lnTo>
                  <a:lnTo>
                    <a:pt x="2" y="409"/>
                  </a:lnTo>
                  <a:lnTo>
                    <a:pt x="2" y="415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1" name="Freeform 238"/>
            <p:cNvSpPr>
              <a:spLocks/>
            </p:cNvSpPr>
            <p:nvPr/>
          </p:nvSpPr>
          <p:spPr bwMode="auto">
            <a:xfrm flipH="1">
              <a:off x="4328" y="2625"/>
              <a:ext cx="527" cy="205"/>
            </a:xfrm>
            <a:custGeom>
              <a:avLst/>
              <a:gdLst/>
              <a:ahLst/>
              <a:cxnLst>
                <a:cxn ang="0">
                  <a:pos x="4" y="409"/>
                </a:cxn>
                <a:cxn ang="0">
                  <a:pos x="10" y="391"/>
                </a:cxn>
                <a:cxn ang="0">
                  <a:pos x="26" y="361"/>
                </a:cxn>
                <a:cxn ang="0">
                  <a:pos x="62" y="302"/>
                </a:cxn>
                <a:cxn ang="0">
                  <a:pos x="130" y="210"/>
                </a:cxn>
                <a:cxn ang="0">
                  <a:pos x="195" y="156"/>
                </a:cxn>
                <a:cxn ang="0">
                  <a:pos x="269" y="120"/>
                </a:cxn>
                <a:cxn ang="0">
                  <a:pos x="359" y="88"/>
                </a:cxn>
                <a:cxn ang="0">
                  <a:pos x="445" y="68"/>
                </a:cxn>
                <a:cxn ang="0">
                  <a:pos x="531" y="60"/>
                </a:cxn>
                <a:cxn ang="0">
                  <a:pos x="619" y="62"/>
                </a:cxn>
                <a:cxn ang="0">
                  <a:pos x="695" y="68"/>
                </a:cxn>
                <a:cxn ang="0">
                  <a:pos x="766" y="82"/>
                </a:cxn>
                <a:cxn ang="0">
                  <a:pos x="836" y="112"/>
                </a:cxn>
                <a:cxn ang="0">
                  <a:pos x="910" y="152"/>
                </a:cxn>
                <a:cxn ang="0">
                  <a:pos x="958" y="190"/>
                </a:cxn>
                <a:cxn ang="0">
                  <a:pos x="988" y="218"/>
                </a:cxn>
                <a:cxn ang="0">
                  <a:pos x="1018" y="264"/>
                </a:cxn>
                <a:cxn ang="0">
                  <a:pos x="1034" y="292"/>
                </a:cxn>
                <a:cxn ang="0">
                  <a:pos x="1046" y="312"/>
                </a:cxn>
                <a:cxn ang="0">
                  <a:pos x="1054" y="324"/>
                </a:cxn>
                <a:cxn ang="0">
                  <a:pos x="1054" y="328"/>
                </a:cxn>
                <a:cxn ang="0">
                  <a:pos x="1052" y="314"/>
                </a:cxn>
                <a:cxn ang="0">
                  <a:pos x="1042" y="284"/>
                </a:cxn>
                <a:cxn ang="0">
                  <a:pos x="1026" y="234"/>
                </a:cxn>
                <a:cxn ang="0">
                  <a:pos x="1016" y="218"/>
                </a:cxn>
                <a:cxn ang="0">
                  <a:pos x="994" y="194"/>
                </a:cxn>
                <a:cxn ang="0">
                  <a:pos x="942" y="140"/>
                </a:cxn>
                <a:cxn ang="0">
                  <a:pos x="868" y="82"/>
                </a:cxn>
                <a:cxn ang="0">
                  <a:pos x="776" y="40"/>
                </a:cxn>
                <a:cxn ang="0">
                  <a:pos x="683" y="16"/>
                </a:cxn>
                <a:cxn ang="0">
                  <a:pos x="603" y="2"/>
                </a:cxn>
                <a:cxn ang="0">
                  <a:pos x="523" y="0"/>
                </a:cxn>
                <a:cxn ang="0">
                  <a:pos x="437" y="10"/>
                </a:cxn>
                <a:cxn ang="0">
                  <a:pos x="331" y="32"/>
                </a:cxn>
                <a:cxn ang="0">
                  <a:pos x="271" y="48"/>
                </a:cxn>
                <a:cxn ang="0">
                  <a:pos x="223" y="66"/>
                </a:cxn>
                <a:cxn ang="0">
                  <a:pos x="165" y="104"/>
                </a:cxn>
                <a:cxn ang="0">
                  <a:pos x="94" y="166"/>
                </a:cxn>
                <a:cxn ang="0">
                  <a:pos x="68" y="196"/>
                </a:cxn>
                <a:cxn ang="0">
                  <a:pos x="50" y="222"/>
                </a:cxn>
                <a:cxn ang="0">
                  <a:pos x="18" y="286"/>
                </a:cxn>
                <a:cxn ang="0">
                  <a:pos x="10" y="312"/>
                </a:cxn>
                <a:cxn ang="0">
                  <a:pos x="0" y="371"/>
                </a:cxn>
                <a:cxn ang="0">
                  <a:pos x="2" y="411"/>
                </a:cxn>
              </a:cxnLst>
              <a:rect l="0" t="0" r="r" b="b"/>
              <a:pathLst>
                <a:path w="1054" h="411">
                  <a:moveTo>
                    <a:pt x="2" y="411"/>
                  </a:moveTo>
                  <a:lnTo>
                    <a:pt x="4" y="409"/>
                  </a:lnTo>
                  <a:lnTo>
                    <a:pt x="4" y="401"/>
                  </a:lnTo>
                  <a:lnTo>
                    <a:pt x="10" y="391"/>
                  </a:lnTo>
                  <a:lnTo>
                    <a:pt x="18" y="379"/>
                  </a:lnTo>
                  <a:lnTo>
                    <a:pt x="26" y="361"/>
                  </a:lnTo>
                  <a:lnTo>
                    <a:pt x="36" y="344"/>
                  </a:lnTo>
                  <a:lnTo>
                    <a:pt x="62" y="302"/>
                  </a:lnTo>
                  <a:lnTo>
                    <a:pt x="92" y="254"/>
                  </a:lnTo>
                  <a:lnTo>
                    <a:pt x="130" y="210"/>
                  </a:lnTo>
                  <a:lnTo>
                    <a:pt x="173" y="174"/>
                  </a:lnTo>
                  <a:lnTo>
                    <a:pt x="195" y="156"/>
                  </a:lnTo>
                  <a:lnTo>
                    <a:pt x="219" y="142"/>
                  </a:lnTo>
                  <a:lnTo>
                    <a:pt x="269" y="120"/>
                  </a:lnTo>
                  <a:lnTo>
                    <a:pt x="313" y="102"/>
                  </a:lnTo>
                  <a:lnTo>
                    <a:pt x="359" y="88"/>
                  </a:lnTo>
                  <a:lnTo>
                    <a:pt x="403" y="76"/>
                  </a:lnTo>
                  <a:lnTo>
                    <a:pt x="445" y="68"/>
                  </a:lnTo>
                  <a:lnTo>
                    <a:pt x="489" y="62"/>
                  </a:lnTo>
                  <a:lnTo>
                    <a:pt x="531" y="60"/>
                  </a:lnTo>
                  <a:lnTo>
                    <a:pt x="577" y="60"/>
                  </a:lnTo>
                  <a:lnTo>
                    <a:pt x="619" y="62"/>
                  </a:lnTo>
                  <a:lnTo>
                    <a:pt x="657" y="64"/>
                  </a:lnTo>
                  <a:lnTo>
                    <a:pt x="695" y="68"/>
                  </a:lnTo>
                  <a:lnTo>
                    <a:pt x="731" y="74"/>
                  </a:lnTo>
                  <a:lnTo>
                    <a:pt x="766" y="82"/>
                  </a:lnTo>
                  <a:lnTo>
                    <a:pt x="800" y="96"/>
                  </a:lnTo>
                  <a:lnTo>
                    <a:pt x="836" y="112"/>
                  </a:lnTo>
                  <a:lnTo>
                    <a:pt x="874" y="132"/>
                  </a:lnTo>
                  <a:lnTo>
                    <a:pt x="910" y="152"/>
                  </a:lnTo>
                  <a:lnTo>
                    <a:pt x="938" y="172"/>
                  </a:lnTo>
                  <a:lnTo>
                    <a:pt x="958" y="190"/>
                  </a:lnTo>
                  <a:lnTo>
                    <a:pt x="976" y="206"/>
                  </a:lnTo>
                  <a:lnTo>
                    <a:pt x="988" y="218"/>
                  </a:lnTo>
                  <a:lnTo>
                    <a:pt x="1000" y="234"/>
                  </a:lnTo>
                  <a:lnTo>
                    <a:pt x="1018" y="264"/>
                  </a:lnTo>
                  <a:lnTo>
                    <a:pt x="1028" y="278"/>
                  </a:lnTo>
                  <a:lnTo>
                    <a:pt x="1034" y="292"/>
                  </a:lnTo>
                  <a:lnTo>
                    <a:pt x="1040" y="304"/>
                  </a:lnTo>
                  <a:lnTo>
                    <a:pt x="1046" y="312"/>
                  </a:lnTo>
                  <a:lnTo>
                    <a:pt x="1050" y="320"/>
                  </a:lnTo>
                  <a:lnTo>
                    <a:pt x="1054" y="324"/>
                  </a:lnTo>
                  <a:lnTo>
                    <a:pt x="1054" y="326"/>
                  </a:lnTo>
                  <a:lnTo>
                    <a:pt x="1054" y="328"/>
                  </a:lnTo>
                  <a:lnTo>
                    <a:pt x="1054" y="324"/>
                  </a:lnTo>
                  <a:lnTo>
                    <a:pt x="1052" y="314"/>
                  </a:lnTo>
                  <a:lnTo>
                    <a:pt x="1046" y="300"/>
                  </a:lnTo>
                  <a:lnTo>
                    <a:pt x="1042" y="284"/>
                  </a:lnTo>
                  <a:lnTo>
                    <a:pt x="1030" y="248"/>
                  </a:lnTo>
                  <a:lnTo>
                    <a:pt x="1026" y="234"/>
                  </a:lnTo>
                  <a:lnTo>
                    <a:pt x="1020" y="224"/>
                  </a:lnTo>
                  <a:lnTo>
                    <a:pt x="1016" y="218"/>
                  </a:lnTo>
                  <a:lnTo>
                    <a:pt x="1010" y="210"/>
                  </a:lnTo>
                  <a:lnTo>
                    <a:pt x="994" y="194"/>
                  </a:lnTo>
                  <a:lnTo>
                    <a:pt x="970" y="168"/>
                  </a:lnTo>
                  <a:lnTo>
                    <a:pt x="942" y="140"/>
                  </a:lnTo>
                  <a:lnTo>
                    <a:pt x="908" y="110"/>
                  </a:lnTo>
                  <a:lnTo>
                    <a:pt x="868" y="82"/>
                  </a:lnTo>
                  <a:lnTo>
                    <a:pt x="824" y="58"/>
                  </a:lnTo>
                  <a:lnTo>
                    <a:pt x="776" y="40"/>
                  </a:lnTo>
                  <a:lnTo>
                    <a:pt x="727" y="28"/>
                  </a:lnTo>
                  <a:lnTo>
                    <a:pt x="683" y="16"/>
                  </a:lnTo>
                  <a:lnTo>
                    <a:pt x="641" y="8"/>
                  </a:lnTo>
                  <a:lnTo>
                    <a:pt x="603" y="2"/>
                  </a:lnTo>
                  <a:lnTo>
                    <a:pt x="565" y="0"/>
                  </a:lnTo>
                  <a:lnTo>
                    <a:pt x="523" y="0"/>
                  </a:lnTo>
                  <a:lnTo>
                    <a:pt x="483" y="2"/>
                  </a:lnTo>
                  <a:lnTo>
                    <a:pt x="437" y="10"/>
                  </a:lnTo>
                  <a:lnTo>
                    <a:pt x="399" y="16"/>
                  </a:lnTo>
                  <a:lnTo>
                    <a:pt x="331" y="32"/>
                  </a:lnTo>
                  <a:lnTo>
                    <a:pt x="301" y="38"/>
                  </a:lnTo>
                  <a:lnTo>
                    <a:pt x="271" y="48"/>
                  </a:lnTo>
                  <a:lnTo>
                    <a:pt x="245" y="56"/>
                  </a:lnTo>
                  <a:lnTo>
                    <a:pt x="223" y="66"/>
                  </a:lnTo>
                  <a:lnTo>
                    <a:pt x="201" y="78"/>
                  </a:lnTo>
                  <a:lnTo>
                    <a:pt x="165" y="104"/>
                  </a:lnTo>
                  <a:lnTo>
                    <a:pt x="128" y="132"/>
                  </a:lnTo>
                  <a:lnTo>
                    <a:pt x="94" y="166"/>
                  </a:lnTo>
                  <a:lnTo>
                    <a:pt x="82" y="182"/>
                  </a:lnTo>
                  <a:lnTo>
                    <a:pt x="68" y="196"/>
                  </a:lnTo>
                  <a:lnTo>
                    <a:pt x="60" y="208"/>
                  </a:lnTo>
                  <a:lnTo>
                    <a:pt x="50" y="222"/>
                  </a:lnTo>
                  <a:lnTo>
                    <a:pt x="32" y="254"/>
                  </a:lnTo>
                  <a:lnTo>
                    <a:pt x="18" y="286"/>
                  </a:lnTo>
                  <a:lnTo>
                    <a:pt x="12" y="300"/>
                  </a:lnTo>
                  <a:lnTo>
                    <a:pt x="10" y="312"/>
                  </a:lnTo>
                  <a:lnTo>
                    <a:pt x="4" y="342"/>
                  </a:lnTo>
                  <a:lnTo>
                    <a:pt x="0" y="371"/>
                  </a:lnTo>
                  <a:lnTo>
                    <a:pt x="2" y="397"/>
                  </a:lnTo>
                  <a:lnTo>
                    <a:pt x="2" y="411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2" name="Freeform 239"/>
            <p:cNvSpPr>
              <a:spLocks/>
            </p:cNvSpPr>
            <p:nvPr/>
          </p:nvSpPr>
          <p:spPr bwMode="auto">
            <a:xfrm flipH="1">
              <a:off x="4328" y="2627"/>
              <a:ext cx="527" cy="203"/>
            </a:xfrm>
            <a:custGeom>
              <a:avLst/>
              <a:gdLst/>
              <a:ahLst/>
              <a:cxnLst>
                <a:cxn ang="0">
                  <a:pos x="4" y="405"/>
                </a:cxn>
                <a:cxn ang="0">
                  <a:pos x="10" y="387"/>
                </a:cxn>
                <a:cxn ang="0">
                  <a:pos x="26" y="357"/>
                </a:cxn>
                <a:cxn ang="0">
                  <a:pos x="62" y="298"/>
                </a:cxn>
                <a:cxn ang="0">
                  <a:pos x="130" y="206"/>
                </a:cxn>
                <a:cxn ang="0">
                  <a:pos x="195" y="152"/>
                </a:cxn>
                <a:cxn ang="0">
                  <a:pos x="269" y="116"/>
                </a:cxn>
                <a:cxn ang="0">
                  <a:pos x="359" y="84"/>
                </a:cxn>
                <a:cxn ang="0">
                  <a:pos x="445" y="64"/>
                </a:cxn>
                <a:cxn ang="0">
                  <a:pos x="531" y="56"/>
                </a:cxn>
                <a:cxn ang="0">
                  <a:pos x="619" y="58"/>
                </a:cxn>
                <a:cxn ang="0">
                  <a:pos x="695" y="64"/>
                </a:cxn>
                <a:cxn ang="0">
                  <a:pos x="766" y="80"/>
                </a:cxn>
                <a:cxn ang="0">
                  <a:pos x="836" y="108"/>
                </a:cxn>
                <a:cxn ang="0">
                  <a:pos x="910" y="150"/>
                </a:cxn>
                <a:cxn ang="0">
                  <a:pos x="958" y="186"/>
                </a:cxn>
                <a:cxn ang="0">
                  <a:pos x="988" y="214"/>
                </a:cxn>
                <a:cxn ang="0">
                  <a:pos x="1018" y="260"/>
                </a:cxn>
                <a:cxn ang="0">
                  <a:pos x="1034" y="288"/>
                </a:cxn>
                <a:cxn ang="0">
                  <a:pos x="1046" y="308"/>
                </a:cxn>
                <a:cxn ang="0">
                  <a:pos x="1054" y="320"/>
                </a:cxn>
                <a:cxn ang="0">
                  <a:pos x="1054" y="324"/>
                </a:cxn>
                <a:cxn ang="0">
                  <a:pos x="1052" y="310"/>
                </a:cxn>
                <a:cxn ang="0">
                  <a:pos x="1042" y="280"/>
                </a:cxn>
                <a:cxn ang="0">
                  <a:pos x="1024" y="230"/>
                </a:cxn>
                <a:cxn ang="0">
                  <a:pos x="1016" y="216"/>
                </a:cxn>
                <a:cxn ang="0">
                  <a:pos x="994" y="192"/>
                </a:cxn>
                <a:cxn ang="0">
                  <a:pos x="942" y="138"/>
                </a:cxn>
                <a:cxn ang="0">
                  <a:pos x="868" y="82"/>
                </a:cxn>
                <a:cxn ang="0">
                  <a:pos x="776" y="40"/>
                </a:cxn>
                <a:cxn ang="0">
                  <a:pos x="683" y="18"/>
                </a:cxn>
                <a:cxn ang="0">
                  <a:pos x="603" y="4"/>
                </a:cxn>
                <a:cxn ang="0">
                  <a:pos x="523" y="0"/>
                </a:cxn>
                <a:cxn ang="0">
                  <a:pos x="437" y="10"/>
                </a:cxn>
                <a:cxn ang="0">
                  <a:pos x="365" y="24"/>
                </a:cxn>
                <a:cxn ang="0">
                  <a:pos x="301" y="38"/>
                </a:cxn>
                <a:cxn ang="0">
                  <a:pos x="247" y="56"/>
                </a:cxn>
                <a:cxn ang="0">
                  <a:pos x="203" y="78"/>
                </a:cxn>
                <a:cxn ang="0">
                  <a:pos x="132" y="134"/>
                </a:cxn>
                <a:cxn ang="0">
                  <a:pos x="72" y="198"/>
                </a:cxn>
                <a:cxn ang="0">
                  <a:pos x="54" y="222"/>
                </a:cxn>
                <a:cxn ang="0">
                  <a:pos x="22" y="284"/>
                </a:cxn>
                <a:cxn ang="0">
                  <a:pos x="12" y="308"/>
                </a:cxn>
                <a:cxn ang="0">
                  <a:pos x="0" y="369"/>
                </a:cxn>
                <a:cxn ang="0">
                  <a:pos x="2" y="407"/>
                </a:cxn>
              </a:cxnLst>
              <a:rect l="0" t="0" r="r" b="b"/>
              <a:pathLst>
                <a:path w="1054" h="407">
                  <a:moveTo>
                    <a:pt x="2" y="407"/>
                  </a:moveTo>
                  <a:lnTo>
                    <a:pt x="4" y="405"/>
                  </a:lnTo>
                  <a:lnTo>
                    <a:pt x="4" y="397"/>
                  </a:lnTo>
                  <a:lnTo>
                    <a:pt x="10" y="387"/>
                  </a:lnTo>
                  <a:lnTo>
                    <a:pt x="18" y="375"/>
                  </a:lnTo>
                  <a:lnTo>
                    <a:pt x="26" y="357"/>
                  </a:lnTo>
                  <a:lnTo>
                    <a:pt x="36" y="340"/>
                  </a:lnTo>
                  <a:lnTo>
                    <a:pt x="62" y="298"/>
                  </a:lnTo>
                  <a:lnTo>
                    <a:pt x="92" y="250"/>
                  </a:lnTo>
                  <a:lnTo>
                    <a:pt x="130" y="206"/>
                  </a:lnTo>
                  <a:lnTo>
                    <a:pt x="173" y="170"/>
                  </a:lnTo>
                  <a:lnTo>
                    <a:pt x="195" y="152"/>
                  </a:lnTo>
                  <a:lnTo>
                    <a:pt x="219" y="140"/>
                  </a:lnTo>
                  <a:lnTo>
                    <a:pt x="269" y="116"/>
                  </a:lnTo>
                  <a:lnTo>
                    <a:pt x="313" y="98"/>
                  </a:lnTo>
                  <a:lnTo>
                    <a:pt x="359" y="84"/>
                  </a:lnTo>
                  <a:lnTo>
                    <a:pt x="403" y="72"/>
                  </a:lnTo>
                  <a:lnTo>
                    <a:pt x="445" y="64"/>
                  </a:lnTo>
                  <a:lnTo>
                    <a:pt x="489" y="60"/>
                  </a:lnTo>
                  <a:lnTo>
                    <a:pt x="531" y="56"/>
                  </a:lnTo>
                  <a:lnTo>
                    <a:pt x="577" y="56"/>
                  </a:lnTo>
                  <a:lnTo>
                    <a:pt x="619" y="58"/>
                  </a:lnTo>
                  <a:lnTo>
                    <a:pt x="657" y="62"/>
                  </a:lnTo>
                  <a:lnTo>
                    <a:pt x="695" y="64"/>
                  </a:lnTo>
                  <a:lnTo>
                    <a:pt x="731" y="72"/>
                  </a:lnTo>
                  <a:lnTo>
                    <a:pt x="766" y="80"/>
                  </a:lnTo>
                  <a:lnTo>
                    <a:pt x="800" y="92"/>
                  </a:lnTo>
                  <a:lnTo>
                    <a:pt x="836" y="108"/>
                  </a:lnTo>
                  <a:lnTo>
                    <a:pt x="874" y="128"/>
                  </a:lnTo>
                  <a:lnTo>
                    <a:pt x="910" y="150"/>
                  </a:lnTo>
                  <a:lnTo>
                    <a:pt x="938" y="168"/>
                  </a:lnTo>
                  <a:lnTo>
                    <a:pt x="958" y="186"/>
                  </a:lnTo>
                  <a:lnTo>
                    <a:pt x="976" y="204"/>
                  </a:lnTo>
                  <a:lnTo>
                    <a:pt x="988" y="214"/>
                  </a:lnTo>
                  <a:lnTo>
                    <a:pt x="1000" y="230"/>
                  </a:lnTo>
                  <a:lnTo>
                    <a:pt x="1018" y="260"/>
                  </a:lnTo>
                  <a:lnTo>
                    <a:pt x="1028" y="274"/>
                  </a:lnTo>
                  <a:lnTo>
                    <a:pt x="1034" y="288"/>
                  </a:lnTo>
                  <a:lnTo>
                    <a:pt x="1040" y="300"/>
                  </a:lnTo>
                  <a:lnTo>
                    <a:pt x="1046" y="308"/>
                  </a:lnTo>
                  <a:lnTo>
                    <a:pt x="1050" y="316"/>
                  </a:lnTo>
                  <a:lnTo>
                    <a:pt x="1054" y="320"/>
                  </a:lnTo>
                  <a:lnTo>
                    <a:pt x="1054" y="322"/>
                  </a:lnTo>
                  <a:lnTo>
                    <a:pt x="1054" y="324"/>
                  </a:lnTo>
                  <a:lnTo>
                    <a:pt x="1054" y="320"/>
                  </a:lnTo>
                  <a:lnTo>
                    <a:pt x="1052" y="310"/>
                  </a:lnTo>
                  <a:lnTo>
                    <a:pt x="1046" y="296"/>
                  </a:lnTo>
                  <a:lnTo>
                    <a:pt x="1042" y="280"/>
                  </a:lnTo>
                  <a:lnTo>
                    <a:pt x="1030" y="246"/>
                  </a:lnTo>
                  <a:lnTo>
                    <a:pt x="1024" y="230"/>
                  </a:lnTo>
                  <a:lnTo>
                    <a:pt x="1020" y="222"/>
                  </a:lnTo>
                  <a:lnTo>
                    <a:pt x="1016" y="216"/>
                  </a:lnTo>
                  <a:lnTo>
                    <a:pt x="1010" y="208"/>
                  </a:lnTo>
                  <a:lnTo>
                    <a:pt x="994" y="192"/>
                  </a:lnTo>
                  <a:lnTo>
                    <a:pt x="970" y="166"/>
                  </a:lnTo>
                  <a:lnTo>
                    <a:pt x="942" y="138"/>
                  </a:lnTo>
                  <a:lnTo>
                    <a:pt x="908" y="108"/>
                  </a:lnTo>
                  <a:lnTo>
                    <a:pt x="868" y="82"/>
                  </a:lnTo>
                  <a:lnTo>
                    <a:pt x="824" y="58"/>
                  </a:lnTo>
                  <a:lnTo>
                    <a:pt x="776" y="40"/>
                  </a:lnTo>
                  <a:lnTo>
                    <a:pt x="727" y="28"/>
                  </a:lnTo>
                  <a:lnTo>
                    <a:pt x="683" y="18"/>
                  </a:lnTo>
                  <a:lnTo>
                    <a:pt x="641" y="8"/>
                  </a:lnTo>
                  <a:lnTo>
                    <a:pt x="603" y="4"/>
                  </a:lnTo>
                  <a:lnTo>
                    <a:pt x="565" y="0"/>
                  </a:lnTo>
                  <a:lnTo>
                    <a:pt x="523" y="0"/>
                  </a:lnTo>
                  <a:lnTo>
                    <a:pt x="483" y="4"/>
                  </a:lnTo>
                  <a:lnTo>
                    <a:pt x="437" y="10"/>
                  </a:lnTo>
                  <a:lnTo>
                    <a:pt x="401" y="16"/>
                  </a:lnTo>
                  <a:lnTo>
                    <a:pt x="365" y="24"/>
                  </a:lnTo>
                  <a:lnTo>
                    <a:pt x="331" y="32"/>
                  </a:lnTo>
                  <a:lnTo>
                    <a:pt x="301" y="38"/>
                  </a:lnTo>
                  <a:lnTo>
                    <a:pt x="273" y="48"/>
                  </a:lnTo>
                  <a:lnTo>
                    <a:pt x="247" y="56"/>
                  </a:lnTo>
                  <a:lnTo>
                    <a:pt x="225" y="66"/>
                  </a:lnTo>
                  <a:lnTo>
                    <a:pt x="203" y="78"/>
                  </a:lnTo>
                  <a:lnTo>
                    <a:pt x="167" y="104"/>
                  </a:lnTo>
                  <a:lnTo>
                    <a:pt x="132" y="134"/>
                  </a:lnTo>
                  <a:lnTo>
                    <a:pt x="98" y="166"/>
                  </a:lnTo>
                  <a:lnTo>
                    <a:pt x="72" y="198"/>
                  </a:lnTo>
                  <a:lnTo>
                    <a:pt x="64" y="206"/>
                  </a:lnTo>
                  <a:lnTo>
                    <a:pt x="54" y="222"/>
                  </a:lnTo>
                  <a:lnTo>
                    <a:pt x="36" y="254"/>
                  </a:lnTo>
                  <a:lnTo>
                    <a:pt x="22" y="284"/>
                  </a:lnTo>
                  <a:lnTo>
                    <a:pt x="14" y="298"/>
                  </a:lnTo>
                  <a:lnTo>
                    <a:pt x="12" y="308"/>
                  </a:lnTo>
                  <a:lnTo>
                    <a:pt x="4" y="340"/>
                  </a:lnTo>
                  <a:lnTo>
                    <a:pt x="0" y="369"/>
                  </a:lnTo>
                  <a:lnTo>
                    <a:pt x="2" y="393"/>
                  </a:lnTo>
                  <a:lnTo>
                    <a:pt x="2" y="407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3" name="Freeform 240"/>
            <p:cNvSpPr>
              <a:spLocks/>
            </p:cNvSpPr>
            <p:nvPr/>
          </p:nvSpPr>
          <p:spPr bwMode="auto">
            <a:xfrm flipH="1">
              <a:off x="4328" y="2628"/>
              <a:ext cx="526" cy="202"/>
            </a:xfrm>
            <a:custGeom>
              <a:avLst/>
              <a:gdLst/>
              <a:ahLst/>
              <a:cxnLst>
                <a:cxn ang="0">
                  <a:pos x="2" y="403"/>
                </a:cxn>
                <a:cxn ang="0">
                  <a:pos x="8" y="385"/>
                </a:cxn>
                <a:cxn ang="0">
                  <a:pos x="24" y="353"/>
                </a:cxn>
                <a:cxn ang="0">
                  <a:pos x="60" y="294"/>
                </a:cxn>
                <a:cxn ang="0">
                  <a:pos x="128" y="204"/>
                </a:cxn>
                <a:cxn ang="0">
                  <a:pos x="193" y="148"/>
                </a:cxn>
                <a:cxn ang="0">
                  <a:pos x="267" y="112"/>
                </a:cxn>
                <a:cxn ang="0">
                  <a:pos x="357" y="80"/>
                </a:cxn>
                <a:cxn ang="0">
                  <a:pos x="443" y="60"/>
                </a:cxn>
                <a:cxn ang="0">
                  <a:pos x="529" y="52"/>
                </a:cxn>
                <a:cxn ang="0">
                  <a:pos x="617" y="54"/>
                </a:cxn>
                <a:cxn ang="0">
                  <a:pos x="693" y="60"/>
                </a:cxn>
                <a:cxn ang="0">
                  <a:pos x="764" y="76"/>
                </a:cxn>
                <a:cxn ang="0">
                  <a:pos x="834" y="104"/>
                </a:cxn>
                <a:cxn ang="0">
                  <a:pos x="906" y="146"/>
                </a:cxn>
                <a:cxn ang="0">
                  <a:pos x="956" y="182"/>
                </a:cxn>
                <a:cxn ang="0">
                  <a:pos x="986" y="212"/>
                </a:cxn>
                <a:cxn ang="0">
                  <a:pos x="1016" y="258"/>
                </a:cxn>
                <a:cxn ang="0">
                  <a:pos x="1032" y="284"/>
                </a:cxn>
                <a:cxn ang="0">
                  <a:pos x="1044" y="304"/>
                </a:cxn>
                <a:cxn ang="0">
                  <a:pos x="1052" y="318"/>
                </a:cxn>
                <a:cxn ang="0">
                  <a:pos x="1052" y="318"/>
                </a:cxn>
                <a:cxn ang="0">
                  <a:pos x="1044" y="292"/>
                </a:cxn>
                <a:cxn ang="0">
                  <a:pos x="1026" y="242"/>
                </a:cxn>
                <a:cxn ang="0">
                  <a:pos x="1016" y="218"/>
                </a:cxn>
                <a:cxn ang="0">
                  <a:pos x="1006" y="206"/>
                </a:cxn>
                <a:cxn ang="0">
                  <a:pos x="968" y="164"/>
                </a:cxn>
                <a:cxn ang="0">
                  <a:pos x="904" y="106"/>
                </a:cxn>
                <a:cxn ang="0">
                  <a:pos x="820" y="56"/>
                </a:cxn>
                <a:cxn ang="0">
                  <a:pos x="725" y="26"/>
                </a:cxn>
                <a:cxn ang="0">
                  <a:pos x="639" y="8"/>
                </a:cxn>
                <a:cxn ang="0">
                  <a:pos x="563" y="0"/>
                </a:cxn>
                <a:cxn ang="0">
                  <a:pos x="479" y="4"/>
                </a:cxn>
                <a:cxn ang="0">
                  <a:pos x="363" y="26"/>
                </a:cxn>
                <a:cxn ang="0">
                  <a:pos x="249" y="58"/>
                </a:cxn>
                <a:cxn ang="0">
                  <a:pos x="203" y="78"/>
                </a:cxn>
                <a:cxn ang="0">
                  <a:pos x="131" y="134"/>
                </a:cxn>
                <a:cxn ang="0">
                  <a:pos x="70" y="198"/>
                </a:cxn>
                <a:cxn ang="0">
                  <a:pos x="36" y="254"/>
                </a:cxn>
                <a:cxn ang="0">
                  <a:pos x="16" y="298"/>
                </a:cxn>
                <a:cxn ang="0">
                  <a:pos x="10" y="324"/>
                </a:cxn>
                <a:cxn ang="0">
                  <a:pos x="0" y="365"/>
                </a:cxn>
              </a:cxnLst>
              <a:rect l="0" t="0" r="r" b="b"/>
              <a:pathLst>
                <a:path w="1052" h="405">
                  <a:moveTo>
                    <a:pt x="0" y="405"/>
                  </a:moveTo>
                  <a:lnTo>
                    <a:pt x="2" y="403"/>
                  </a:lnTo>
                  <a:lnTo>
                    <a:pt x="2" y="395"/>
                  </a:lnTo>
                  <a:lnTo>
                    <a:pt x="8" y="385"/>
                  </a:lnTo>
                  <a:lnTo>
                    <a:pt x="16" y="371"/>
                  </a:lnTo>
                  <a:lnTo>
                    <a:pt x="24" y="353"/>
                  </a:lnTo>
                  <a:lnTo>
                    <a:pt x="34" y="336"/>
                  </a:lnTo>
                  <a:lnTo>
                    <a:pt x="60" y="294"/>
                  </a:lnTo>
                  <a:lnTo>
                    <a:pt x="90" y="248"/>
                  </a:lnTo>
                  <a:lnTo>
                    <a:pt x="128" y="204"/>
                  </a:lnTo>
                  <a:lnTo>
                    <a:pt x="171" y="166"/>
                  </a:lnTo>
                  <a:lnTo>
                    <a:pt x="193" y="148"/>
                  </a:lnTo>
                  <a:lnTo>
                    <a:pt x="217" y="136"/>
                  </a:lnTo>
                  <a:lnTo>
                    <a:pt x="267" y="112"/>
                  </a:lnTo>
                  <a:lnTo>
                    <a:pt x="311" y="94"/>
                  </a:lnTo>
                  <a:lnTo>
                    <a:pt x="357" y="80"/>
                  </a:lnTo>
                  <a:lnTo>
                    <a:pt x="401" y="68"/>
                  </a:lnTo>
                  <a:lnTo>
                    <a:pt x="443" y="60"/>
                  </a:lnTo>
                  <a:lnTo>
                    <a:pt x="487" y="56"/>
                  </a:lnTo>
                  <a:lnTo>
                    <a:pt x="529" y="52"/>
                  </a:lnTo>
                  <a:lnTo>
                    <a:pt x="575" y="52"/>
                  </a:lnTo>
                  <a:lnTo>
                    <a:pt x="617" y="54"/>
                  </a:lnTo>
                  <a:lnTo>
                    <a:pt x="655" y="58"/>
                  </a:lnTo>
                  <a:lnTo>
                    <a:pt x="693" y="60"/>
                  </a:lnTo>
                  <a:lnTo>
                    <a:pt x="729" y="68"/>
                  </a:lnTo>
                  <a:lnTo>
                    <a:pt x="764" y="76"/>
                  </a:lnTo>
                  <a:lnTo>
                    <a:pt x="798" y="88"/>
                  </a:lnTo>
                  <a:lnTo>
                    <a:pt x="834" y="104"/>
                  </a:lnTo>
                  <a:lnTo>
                    <a:pt x="872" y="124"/>
                  </a:lnTo>
                  <a:lnTo>
                    <a:pt x="906" y="146"/>
                  </a:lnTo>
                  <a:lnTo>
                    <a:pt x="934" y="164"/>
                  </a:lnTo>
                  <a:lnTo>
                    <a:pt x="956" y="182"/>
                  </a:lnTo>
                  <a:lnTo>
                    <a:pt x="974" y="200"/>
                  </a:lnTo>
                  <a:lnTo>
                    <a:pt x="986" y="212"/>
                  </a:lnTo>
                  <a:lnTo>
                    <a:pt x="996" y="226"/>
                  </a:lnTo>
                  <a:lnTo>
                    <a:pt x="1016" y="258"/>
                  </a:lnTo>
                  <a:lnTo>
                    <a:pt x="1026" y="272"/>
                  </a:lnTo>
                  <a:lnTo>
                    <a:pt x="1032" y="284"/>
                  </a:lnTo>
                  <a:lnTo>
                    <a:pt x="1038" y="296"/>
                  </a:lnTo>
                  <a:lnTo>
                    <a:pt x="1044" y="304"/>
                  </a:lnTo>
                  <a:lnTo>
                    <a:pt x="1048" y="312"/>
                  </a:lnTo>
                  <a:lnTo>
                    <a:pt x="1052" y="318"/>
                  </a:lnTo>
                  <a:lnTo>
                    <a:pt x="1052" y="320"/>
                  </a:lnTo>
                  <a:lnTo>
                    <a:pt x="1052" y="318"/>
                  </a:lnTo>
                  <a:lnTo>
                    <a:pt x="1050" y="308"/>
                  </a:lnTo>
                  <a:lnTo>
                    <a:pt x="1044" y="292"/>
                  </a:lnTo>
                  <a:lnTo>
                    <a:pt x="1040" y="276"/>
                  </a:lnTo>
                  <a:lnTo>
                    <a:pt x="1026" y="242"/>
                  </a:lnTo>
                  <a:lnTo>
                    <a:pt x="1022" y="228"/>
                  </a:lnTo>
                  <a:lnTo>
                    <a:pt x="1016" y="218"/>
                  </a:lnTo>
                  <a:lnTo>
                    <a:pt x="1012" y="214"/>
                  </a:lnTo>
                  <a:lnTo>
                    <a:pt x="1006" y="206"/>
                  </a:lnTo>
                  <a:lnTo>
                    <a:pt x="992" y="190"/>
                  </a:lnTo>
                  <a:lnTo>
                    <a:pt x="968" y="164"/>
                  </a:lnTo>
                  <a:lnTo>
                    <a:pt x="940" y="136"/>
                  </a:lnTo>
                  <a:lnTo>
                    <a:pt x="904" y="106"/>
                  </a:lnTo>
                  <a:lnTo>
                    <a:pt x="866" y="80"/>
                  </a:lnTo>
                  <a:lnTo>
                    <a:pt x="820" y="56"/>
                  </a:lnTo>
                  <a:lnTo>
                    <a:pt x="772" y="38"/>
                  </a:lnTo>
                  <a:lnTo>
                    <a:pt x="725" y="26"/>
                  </a:lnTo>
                  <a:lnTo>
                    <a:pt x="681" y="16"/>
                  </a:lnTo>
                  <a:lnTo>
                    <a:pt x="639" y="8"/>
                  </a:lnTo>
                  <a:lnTo>
                    <a:pt x="601" y="2"/>
                  </a:lnTo>
                  <a:lnTo>
                    <a:pt x="563" y="0"/>
                  </a:lnTo>
                  <a:lnTo>
                    <a:pt x="521" y="0"/>
                  </a:lnTo>
                  <a:lnTo>
                    <a:pt x="479" y="4"/>
                  </a:lnTo>
                  <a:lnTo>
                    <a:pt x="433" y="10"/>
                  </a:lnTo>
                  <a:lnTo>
                    <a:pt x="363" y="26"/>
                  </a:lnTo>
                  <a:lnTo>
                    <a:pt x="303" y="40"/>
                  </a:lnTo>
                  <a:lnTo>
                    <a:pt x="249" y="58"/>
                  </a:lnTo>
                  <a:lnTo>
                    <a:pt x="225" y="68"/>
                  </a:lnTo>
                  <a:lnTo>
                    <a:pt x="203" y="78"/>
                  </a:lnTo>
                  <a:lnTo>
                    <a:pt x="165" y="104"/>
                  </a:lnTo>
                  <a:lnTo>
                    <a:pt x="131" y="134"/>
                  </a:lnTo>
                  <a:lnTo>
                    <a:pt x="98" y="164"/>
                  </a:lnTo>
                  <a:lnTo>
                    <a:pt x="70" y="198"/>
                  </a:lnTo>
                  <a:lnTo>
                    <a:pt x="54" y="222"/>
                  </a:lnTo>
                  <a:lnTo>
                    <a:pt x="36" y="254"/>
                  </a:lnTo>
                  <a:lnTo>
                    <a:pt x="20" y="284"/>
                  </a:lnTo>
                  <a:lnTo>
                    <a:pt x="16" y="298"/>
                  </a:lnTo>
                  <a:lnTo>
                    <a:pt x="12" y="308"/>
                  </a:lnTo>
                  <a:lnTo>
                    <a:pt x="10" y="324"/>
                  </a:lnTo>
                  <a:lnTo>
                    <a:pt x="4" y="338"/>
                  </a:lnTo>
                  <a:lnTo>
                    <a:pt x="0" y="365"/>
                  </a:lnTo>
                  <a:lnTo>
                    <a:pt x="0" y="405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4" name="Freeform 241"/>
            <p:cNvSpPr>
              <a:spLocks/>
            </p:cNvSpPr>
            <p:nvPr/>
          </p:nvSpPr>
          <p:spPr bwMode="auto">
            <a:xfrm flipH="1">
              <a:off x="4328" y="2632"/>
              <a:ext cx="526" cy="198"/>
            </a:xfrm>
            <a:custGeom>
              <a:avLst/>
              <a:gdLst/>
              <a:ahLst/>
              <a:cxnLst>
                <a:cxn ang="0">
                  <a:pos x="2" y="395"/>
                </a:cxn>
                <a:cxn ang="0">
                  <a:pos x="8" y="377"/>
                </a:cxn>
                <a:cxn ang="0">
                  <a:pos x="24" y="347"/>
                </a:cxn>
                <a:cxn ang="0">
                  <a:pos x="60" y="288"/>
                </a:cxn>
                <a:cxn ang="0">
                  <a:pos x="128" y="198"/>
                </a:cxn>
                <a:cxn ang="0">
                  <a:pos x="193" y="142"/>
                </a:cxn>
                <a:cxn ang="0">
                  <a:pos x="267" y="106"/>
                </a:cxn>
                <a:cxn ang="0">
                  <a:pos x="357" y="74"/>
                </a:cxn>
                <a:cxn ang="0">
                  <a:pos x="443" y="54"/>
                </a:cxn>
                <a:cxn ang="0">
                  <a:pos x="529" y="46"/>
                </a:cxn>
                <a:cxn ang="0">
                  <a:pos x="617" y="48"/>
                </a:cxn>
                <a:cxn ang="0">
                  <a:pos x="693" y="54"/>
                </a:cxn>
                <a:cxn ang="0">
                  <a:pos x="764" y="70"/>
                </a:cxn>
                <a:cxn ang="0">
                  <a:pos x="834" y="98"/>
                </a:cxn>
                <a:cxn ang="0">
                  <a:pos x="906" y="140"/>
                </a:cxn>
                <a:cxn ang="0">
                  <a:pos x="956" y="176"/>
                </a:cxn>
                <a:cxn ang="0">
                  <a:pos x="986" y="204"/>
                </a:cxn>
                <a:cxn ang="0">
                  <a:pos x="1016" y="250"/>
                </a:cxn>
                <a:cxn ang="0">
                  <a:pos x="1032" y="278"/>
                </a:cxn>
                <a:cxn ang="0">
                  <a:pos x="1044" y="298"/>
                </a:cxn>
                <a:cxn ang="0">
                  <a:pos x="1052" y="310"/>
                </a:cxn>
                <a:cxn ang="0">
                  <a:pos x="1052" y="314"/>
                </a:cxn>
                <a:cxn ang="0">
                  <a:pos x="1050" y="300"/>
                </a:cxn>
                <a:cxn ang="0">
                  <a:pos x="1038" y="272"/>
                </a:cxn>
                <a:cxn ang="0">
                  <a:pos x="1020" y="222"/>
                </a:cxn>
                <a:cxn ang="0">
                  <a:pos x="1010" y="208"/>
                </a:cxn>
                <a:cxn ang="0">
                  <a:pos x="990" y="184"/>
                </a:cxn>
                <a:cxn ang="0">
                  <a:pos x="938" y="132"/>
                </a:cxn>
                <a:cxn ang="0">
                  <a:pos x="864" y="76"/>
                </a:cxn>
                <a:cxn ang="0">
                  <a:pos x="772" y="36"/>
                </a:cxn>
                <a:cxn ang="0">
                  <a:pos x="681" y="12"/>
                </a:cxn>
                <a:cxn ang="0">
                  <a:pos x="601" y="2"/>
                </a:cxn>
                <a:cxn ang="0">
                  <a:pos x="521" y="0"/>
                </a:cxn>
                <a:cxn ang="0">
                  <a:pos x="433" y="10"/>
                </a:cxn>
                <a:cxn ang="0">
                  <a:pos x="303" y="36"/>
                </a:cxn>
                <a:cxn ang="0">
                  <a:pos x="205" y="76"/>
                </a:cxn>
                <a:cxn ang="0">
                  <a:pos x="133" y="130"/>
                </a:cxn>
                <a:cxn ang="0">
                  <a:pos x="74" y="194"/>
                </a:cxn>
                <a:cxn ang="0">
                  <a:pos x="38" y="250"/>
                </a:cxn>
                <a:cxn ang="0">
                  <a:pos x="18" y="292"/>
                </a:cxn>
                <a:cxn ang="0">
                  <a:pos x="10" y="318"/>
                </a:cxn>
                <a:cxn ang="0">
                  <a:pos x="2" y="359"/>
                </a:cxn>
                <a:cxn ang="0">
                  <a:pos x="0" y="397"/>
                </a:cxn>
              </a:cxnLst>
              <a:rect l="0" t="0" r="r" b="b"/>
              <a:pathLst>
                <a:path w="1052" h="397">
                  <a:moveTo>
                    <a:pt x="0" y="397"/>
                  </a:moveTo>
                  <a:lnTo>
                    <a:pt x="2" y="395"/>
                  </a:lnTo>
                  <a:lnTo>
                    <a:pt x="2" y="387"/>
                  </a:lnTo>
                  <a:lnTo>
                    <a:pt x="8" y="377"/>
                  </a:lnTo>
                  <a:lnTo>
                    <a:pt x="16" y="365"/>
                  </a:lnTo>
                  <a:lnTo>
                    <a:pt x="24" y="347"/>
                  </a:lnTo>
                  <a:lnTo>
                    <a:pt x="34" y="330"/>
                  </a:lnTo>
                  <a:lnTo>
                    <a:pt x="60" y="288"/>
                  </a:lnTo>
                  <a:lnTo>
                    <a:pt x="90" y="240"/>
                  </a:lnTo>
                  <a:lnTo>
                    <a:pt x="128" y="198"/>
                  </a:lnTo>
                  <a:lnTo>
                    <a:pt x="171" y="160"/>
                  </a:lnTo>
                  <a:lnTo>
                    <a:pt x="193" y="142"/>
                  </a:lnTo>
                  <a:lnTo>
                    <a:pt x="217" y="130"/>
                  </a:lnTo>
                  <a:lnTo>
                    <a:pt x="267" y="106"/>
                  </a:lnTo>
                  <a:lnTo>
                    <a:pt x="311" y="88"/>
                  </a:lnTo>
                  <a:lnTo>
                    <a:pt x="357" y="74"/>
                  </a:lnTo>
                  <a:lnTo>
                    <a:pt x="401" y="62"/>
                  </a:lnTo>
                  <a:lnTo>
                    <a:pt x="443" y="54"/>
                  </a:lnTo>
                  <a:lnTo>
                    <a:pt x="487" y="50"/>
                  </a:lnTo>
                  <a:lnTo>
                    <a:pt x="529" y="46"/>
                  </a:lnTo>
                  <a:lnTo>
                    <a:pt x="575" y="46"/>
                  </a:lnTo>
                  <a:lnTo>
                    <a:pt x="617" y="48"/>
                  </a:lnTo>
                  <a:lnTo>
                    <a:pt x="655" y="52"/>
                  </a:lnTo>
                  <a:lnTo>
                    <a:pt x="693" y="54"/>
                  </a:lnTo>
                  <a:lnTo>
                    <a:pt x="729" y="62"/>
                  </a:lnTo>
                  <a:lnTo>
                    <a:pt x="764" y="70"/>
                  </a:lnTo>
                  <a:lnTo>
                    <a:pt x="798" y="82"/>
                  </a:lnTo>
                  <a:lnTo>
                    <a:pt x="834" y="98"/>
                  </a:lnTo>
                  <a:lnTo>
                    <a:pt x="872" y="118"/>
                  </a:lnTo>
                  <a:lnTo>
                    <a:pt x="906" y="140"/>
                  </a:lnTo>
                  <a:lnTo>
                    <a:pt x="934" y="158"/>
                  </a:lnTo>
                  <a:lnTo>
                    <a:pt x="956" y="176"/>
                  </a:lnTo>
                  <a:lnTo>
                    <a:pt x="974" y="194"/>
                  </a:lnTo>
                  <a:lnTo>
                    <a:pt x="986" y="204"/>
                  </a:lnTo>
                  <a:lnTo>
                    <a:pt x="996" y="220"/>
                  </a:lnTo>
                  <a:lnTo>
                    <a:pt x="1016" y="250"/>
                  </a:lnTo>
                  <a:lnTo>
                    <a:pt x="1026" y="264"/>
                  </a:lnTo>
                  <a:lnTo>
                    <a:pt x="1032" y="278"/>
                  </a:lnTo>
                  <a:lnTo>
                    <a:pt x="1038" y="290"/>
                  </a:lnTo>
                  <a:lnTo>
                    <a:pt x="1044" y="298"/>
                  </a:lnTo>
                  <a:lnTo>
                    <a:pt x="1048" y="306"/>
                  </a:lnTo>
                  <a:lnTo>
                    <a:pt x="1052" y="310"/>
                  </a:lnTo>
                  <a:lnTo>
                    <a:pt x="1052" y="312"/>
                  </a:lnTo>
                  <a:lnTo>
                    <a:pt x="1052" y="314"/>
                  </a:lnTo>
                  <a:lnTo>
                    <a:pt x="1052" y="310"/>
                  </a:lnTo>
                  <a:lnTo>
                    <a:pt x="1050" y="300"/>
                  </a:lnTo>
                  <a:lnTo>
                    <a:pt x="1044" y="288"/>
                  </a:lnTo>
                  <a:lnTo>
                    <a:pt x="1038" y="272"/>
                  </a:lnTo>
                  <a:lnTo>
                    <a:pt x="1026" y="238"/>
                  </a:lnTo>
                  <a:lnTo>
                    <a:pt x="1020" y="222"/>
                  </a:lnTo>
                  <a:lnTo>
                    <a:pt x="1014" y="212"/>
                  </a:lnTo>
                  <a:lnTo>
                    <a:pt x="1010" y="208"/>
                  </a:lnTo>
                  <a:lnTo>
                    <a:pt x="1004" y="200"/>
                  </a:lnTo>
                  <a:lnTo>
                    <a:pt x="990" y="184"/>
                  </a:lnTo>
                  <a:lnTo>
                    <a:pt x="966" y="158"/>
                  </a:lnTo>
                  <a:lnTo>
                    <a:pt x="938" y="132"/>
                  </a:lnTo>
                  <a:lnTo>
                    <a:pt x="904" y="104"/>
                  </a:lnTo>
                  <a:lnTo>
                    <a:pt x="864" y="76"/>
                  </a:lnTo>
                  <a:lnTo>
                    <a:pt x="820" y="54"/>
                  </a:lnTo>
                  <a:lnTo>
                    <a:pt x="772" y="36"/>
                  </a:lnTo>
                  <a:lnTo>
                    <a:pt x="725" y="22"/>
                  </a:lnTo>
                  <a:lnTo>
                    <a:pt x="681" y="12"/>
                  </a:lnTo>
                  <a:lnTo>
                    <a:pt x="639" y="4"/>
                  </a:lnTo>
                  <a:lnTo>
                    <a:pt x="601" y="2"/>
                  </a:lnTo>
                  <a:lnTo>
                    <a:pt x="563" y="0"/>
                  </a:lnTo>
                  <a:lnTo>
                    <a:pt x="521" y="0"/>
                  </a:lnTo>
                  <a:lnTo>
                    <a:pt x="479" y="4"/>
                  </a:lnTo>
                  <a:lnTo>
                    <a:pt x="433" y="10"/>
                  </a:lnTo>
                  <a:lnTo>
                    <a:pt x="363" y="24"/>
                  </a:lnTo>
                  <a:lnTo>
                    <a:pt x="303" y="36"/>
                  </a:lnTo>
                  <a:lnTo>
                    <a:pt x="251" y="54"/>
                  </a:lnTo>
                  <a:lnTo>
                    <a:pt x="205" y="76"/>
                  </a:lnTo>
                  <a:lnTo>
                    <a:pt x="169" y="100"/>
                  </a:lnTo>
                  <a:lnTo>
                    <a:pt x="133" y="130"/>
                  </a:lnTo>
                  <a:lnTo>
                    <a:pt x="102" y="162"/>
                  </a:lnTo>
                  <a:lnTo>
                    <a:pt x="74" y="194"/>
                  </a:lnTo>
                  <a:lnTo>
                    <a:pt x="56" y="218"/>
                  </a:lnTo>
                  <a:lnTo>
                    <a:pt x="38" y="250"/>
                  </a:lnTo>
                  <a:lnTo>
                    <a:pt x="22" y="280"/>
                  </a:lnTo>
                  <a:lnTo>
                    <a:pt x="18" y="292"/>
                  </a:lnTo>
                  <a:lnTo>
                    <a:pt x="14" y="304"/>
                  </a:lnTo>
                  <a:lnTo>
                    <a:pt x="10" y="318"/>
                  </a:lnTo>
                  <a:lnTo>
                    <a:pt x="6" y="333"/>
                  </a:lnTo>
                  <a:lnTo>
                    <a:pt x="2" y="359"/>
                  </a:lnTo>
                  <a:lnTo>
                    <a:pt x="2" y="381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5" name="Freeform 242"/>
            <p:cNvSpPr>
              <a:spLocks/>
            </p:cNvSpPr>
            <p:nvPr/>
          </p:nvSpPr>
          <p:spPr bwMode="auto">
            <a:xfrm flipH="1">
              <a:off x="4328" y="2633"/>
              <a:ext cx="526" cy="197"/>
            </a:xfrm>
            <a:custGeom>
              <a:avLst/>
              <a:gdLst/>
              <a:ahLst/>
              <a:cxnLst>
                <a:cxn ang="0">
                  <a:pos x="2" y="393"/>
                </a:cxn>
                <a:cxn ang="0">
                  <a:pos x="8" y="375"/>
                </a:cxn>
                <a:cxn ang="0">
                  <a:pos x="24" y="345"/>
                </a:cxn>
                <a:cxn ang="0">
                  <a:pos x="60" y="286"/>
                </a:cxn>
                <a:cxn ang="0">
                  <a:pos x="128" y="196"/>
                </a:cxn>
                <a:cxn ang="0">
                  <a:pos x="193" y="140"/>
                </a:cxn>
                <a:cxn ang="0">
                  <a:pos x="267" y="104"/>
                </a:cxn>
                <a:cxn ang="0">
                  <a:pos x="357" y="72"/>
                </a:cxn>
                <a:cxn ang="0">
                  <a:pos x="443" y="52"/>
                </a:cxn>
                <a:cxn ang="0">
                  <a:pos x="529" y="44"/>
                </a:cxn>
                <a:cxn ang="0">
                  <a:pos x="617" y="46"/>
                </a:cxn>
                <a:cxn ang="0">
                  <a:pos x="693" y="52"/>
                </a:cxn>
                <a:cxn ang="0">
                  <a:pos x="764" y="66"/>
                </a:cxn>
                <a:cxn ang="0">
                  <a:pos x="834" y="96"/>
                </a:cxn>
                <a:cxn ang="0">
                  <a:pos x="906" y="136"/>
                </a:cxn>
                <a:cxn ang="0">
                  <a:pos x="956" y="174"/>
                </a:cxn>
                <a:cxn ang="0">
                  <a:pos x="986" y="202"/>
                </a:cxn>
                <a:cxn ang="0">
                  <a:pos x="1016" y="248"/>
                </a:cxn>
                <a:cxn ang="0">
                  <a:pos x="1032" y="276"/>
                </a:cxn>
                <a:cxn ang="0">
                  <a:pos x="1044" y="296"/>
                </a:cxn>
                <a:cxn ang="0">
                  <a:pos x="1052" y="308"/>
                </a:cxn>
                <a:cxn ang="0">
                  <a:pos x="1052" y="312"/>
                </a:cxn>
                <a:cxn ang="0">
                  <a:pos x="1048" y="298"/>
                </a:cxn>
                <a:cxn ang="0">
                  <a:pos x="1038" y="270"/>
                </a:cxn>
                <a:cxn ang="0">
                  <a:pos x="1018" y="222"/>
                </a:cxn>
                <a:cxn ang="0">
                  <a:pos x="1008" y="206"/>
                </a:cxn>
                <a:cxn ang="0">
                  <a:pos x="988" y="182"/>
                </a:cxn>
                <a:cxn ang="0">
                  <a:pos x="938" y="132"/>
                </a:cxn>
                <a:cxn ang="0">
                  <a:pos x="864" y="76"/>
                </a:cxn>
                <a:cxn ang="0">
                  <a:pos x="772" y="36"/>
                </a:cxn>
                <a:cxn ang="0">
                  <a:pos x="681" y="12"/>
                </a:cxn>
                <a:cxn ang="0">
                  <a:pos x="603" y="2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05" y="38"/>
                </a:cxn>
                <a:cxn ang="0">
                  <a:pos x="209" y="78"/>
                </a:cxn>
                <a:cxn ang="0">
                  <a:pos x="137" y="130"/>
                </a:cxn>
                <a:cxn ang="0">
                  <a:pos x="76" y="194"/>
                </a:cxn>
                <a:cxn ang="0">
                  <a:pos x="40" y="252"/>
                </a:cxn>
                <a:cxn ang="0">
                  <a:pos x="20" y="294"/>
                </a:cxn>
                <a:cxn ang="0">
                  <a:pos x="12" y="318"/>
                </a:cxn>
                <a:cxn ang="0">
                  <a:pos x="4" y="345"/>
                </a:cxn>
                <a:cxn ang="0">
                  <a:pos x="2" y="379"/>
                </a:cxn>
              </a:cxnLst>
              <a:rect l="0" t="0" r="r" b="b"/>
              <a:pathLst>
                <a:path w="1052" h="395">
                  <a:moveTo>
                    <a:pt x="0" y="395"/>
                  </a:moveTo>
                  <a:lnTo>
                    <a:pt x="2" y="393"/>
                  </a:lnTo>
                  <a:lnTo>
                    <a:pt x="2" y="385"/>
                  </a:lnTo>
                  <a:lnTo>
                    <a:pt x="8" y="375"/>
                  </a:lnTo>
                  <a:lnTo>
                    <a:pt x="16" y="363"/>
                  </a:lnTo>
                  <a:lnTo>
                    <a:pt x="24" y="345"/>
                  </a:lnTo>
                  <a:lnTo>
                    <a:pt x="34" y="328"/>
                  </a:lnTo>
                  <a:lnTo>
                    <a:pt x="60" y="286"/>
                  </a:lnTo>
                  <a:lnTo>
                    <a:pt x="90" y="238"/>
                  </a:lnTo>
                  <a:lnTo>
                    <a:pt x="128" y="196"/>
                  </a:lnTo>
                  <a:lnTo>
                    <a:pt x="171" y="158"/>
                  </a:lnTo>
                  <a:lnTo>
                    <a:pt x="193" y="140"/>
                  </a:lnTo>
                  <a:lnTo>
                    <a:pt x="217" y="126"/>
                  </a:lnTo>
                  <a:lnTo>
                    <a:pt x="267" y="104"/>
                  </a:lnTo>
                  <a:lnTo>
                    <a:pt x="311" y="86"/>
                  </a:lnTo>
                  <a:lnTo>
                    <a:pt x="357" y="72"/>
                  </a:lnTo>
                  <a:lnTo>
                    <a:pt x="401" y="60"/>
                  </a:lnTo>
                  <a:lnTo>
                    <a:pt x="443" y="52"/>
                  </a:lnTo>
                  <a:lnTo>
                    <a:pt x="487" y="46"/>
                  </a:lnTo>
                  <a:lnTo>
                    <a:pt x="529" y="44"/>
                  </a:lnTo>
                  <a:lnTo>
                    <a:pt x="575" y="44"/>
                  </a:lnTo>
                  <a:lnTo>
                    <a:pt x="617" y="46"/>
                  </a:lnTo>
                  <a:lnTo>
                    <a:pt x="655" y="48"/>
                  </a:lnTo>
                  <a:lnTo>
                    <a:pt x="693" y="52"/>
                  </a:lnTo>
                  <a:lnTo>
                    <a:pt x="729" y="58"/>
                  </a:lnTo>
                  <a:lnTo>
                    <a:pt x="764" y="66"/>
                  </a:lnTo>
                  <a:lnTo>
                    <a:pt x="798" y="80"/>
                  </a:lnTo>
                  <a:lnTo>
                    <a:pt x="834" y="96"/>
                  </a:lnTo>
                  <a:lnTo>
                    <a:pt x="872" y="116"/>
                  </a:lnTo>
                  <a:lnTo>
                    <a:pt x="906" y="136"/>
                  </a:lnTo>
                  <a:lnTo>
                    <a:pt x="934" y="156"/>
                  </a:lnTo>
                  <a:lnTo>
                    <a:pt x="956" y="174"/>
                  </a:lnTo>
                  <a:lnTo>
                    <a:pt x="974" y="190"/>
                  </a:lnTo>
                  <a:lnTo>
                    <a:pt x="986" y="202"/>
                  </a:lnTo>
                  <a:lnTo>
                    <a:pt x="996" y="218"/>
                  </a:lnTo>
                  <a:lnTo>
                    <a:pt x="1016" y="248"/>
                  </a:lnTo>
                  <a:lnTo>
                    <a:pt x="1026" y="262"/>
                  </a:lnTo>
                  <a:lnTo>
                    <a:pt x="1032" y="276"/>
                  </a:lnTo>
                  <a:lnTo>
                    <a:pt x="1038" y="288"/>
                  </a:lnTo>
                  <a:lnTo>
                    <a:pt x="1044" y="296"/>
                  </a:lnTo>
                  <a:lnTo>
                    <a:pt x="1048" y="304"/>
                  </a:lnTo>
                  <a:lnTo>
                    <a:pt x="1052" y="308"/>
                  </a:lnTo>
                  <a:lnTo>
                    <a:pt x="1052" y="310"/>
                  </a:lnTo>
                  <a:lnTo>
                    <a:pt x="1052" y="312"/>
                  </a:lnTo>
                  <a:lnTo>
                    <a:pt x="1052" y="308"/>
                  </a:lnTo>
                  <a:lnTo>
                    <a:pt x="1048" y="298"/>
                  </a:lnTo>
                  <a:lnTo>
                    <a:pt x="1044" y="286"/>
                  </a:lnTo>
                  <a:lnTo>
                    <a:pt x="1038" y="270"/>
                  </a:lnTo>
                  <a:lnTo>
                    <a:pt x="1026" y="236"/>
                  </a:lnTo>
                  <a:lnTo>
                    <a:pt x="1018" y="222"/>
                  </a:lnTo>
                  <a:lnTo>
                    <a:pt x="1012" y="210"/>
                  </a:lnTo>
                  <a:lnTo>
                    <a:pt x="1008" y="206"/>
                  </a:lnTo>
                  <a:lnTo>
                    <a:pt x="1004" y="200"/>
                  </a:lnTo>
                  <a:lnTo>
                    <a:pt x="988" y="182"/>
                  </a:lnTo>
                  <a:lnTo>
                    <a:pt x="966" y="158"/>
                  </a:lnTo>
                  <a:lnTo>
                    <a:pt x="938" y="132"/>
                  </a:lnTo>
                  <a:lnTo>
                    <a:pt x="904" y="102"/>
                  </a:lnTo>
                  <a:lnTo>
                    <a:pt x="864" y="76"/>
                  </a:lnTo>
                  <a:lnTo>
                    <a:pt x="820" y="54"/>
                  </a:lnTo>
                  <a:lnTo>
                    <a:pt x="772" y="36"/>
                  </a:lnTo>
                  <a:lnTo>
                    <a:pt x="725" y="22"/>
                  </a:lnTo>
                  <a:lnTo>
                    <a:pt x="681" y="12"/>
                  </a:lnTo>
                  <a:lnTo>
                    <a:pt x="639" y="6"/>
                  </a:lnTo>
                  <a:lnTo>
                    <a:pt x="603" y="2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4"/>
                  </a:lnTo>
                  <a:lnTo>
                    <a:pt x="433" y="12"/>
                  </a:lnTo>
                  <a:lnTo>
                    <a:pt x="365" y="24"/>
                  </a:lnTo>
                  <a:lnTo>
                    <a:pt x="305" y="38"/>
                  </a:lnTo>
                  <a:lnTo>
                    <a:pt x="253" y="56"/>
                  </a:lnTo>
                  <a:lnTo>
                    <a:pt x="209" y="78"/>
                  </a:lnTo>
                  <a:lnTo>
                    <a:pt x="171" y="102"/>
                  </a:lnTo>
                  <a:lnTo>
                    <a:pt x="137" y="130"/>
                  </a:lnTo>
                  <a:lnTo>
                    <a:pt x="104" y="162"/>
                  </a:lnTo>
                  <a:lnTo>
                    <a:pt x="76" y="194"/>
                  </a:lnTo>
                  <a:lnTo>
                    <a:pt x="58" y="218"/>
                  </a:lnTo>
                  <a:lnTo>
                    <a:pt x="40" y="252"/>
                  </a:lnTo>
                  <a:lnTo>
                    <a:pt x="24" y="280"/>
                  </a:lnTo>
                  <a:lnTo>
                    <a:pt x="20" y="294"/>
                  </a:lnTo>
                  <a:lnTo>
                    <a:pt x="16" y="304"/>
                  </a:lnTo>
                  <a:lnTo>
                    <a:pt x="12" y="318"/>
                  </a:lnTo>
                  <a:lnTo>
                    <a:pt x="8" y="331"/>
                  </a:lnTo>
                  <a:lnTo>
                    <a:pt x="4" y="345"/>
                  </a:lnTo>
                  <a:lnTo>
                    <a:pt x="2" y="357"/>
                  </a:lnTo>
                  <a:lnTo>
                    <a:pt x="2" y="379"/>
                  </a:lnTo>
                  <a:lnTo>
                    <a:pt x="0" y="395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6" name="Freeform 243"/>
            <p:cNvSpPr>
              <a:spLocks/>
            </p:cNvSpPr>
            <p:nvPr/>
          </p:nvSpPr>
          <p:spPr bwMode="auto">
            <a:xfrm flipH="1">
              <a:off x="4328" y="2635"/>
              <a:ext cx="526" cy="195"/>
            </a:xfrm>
            <a:custGeom>
              <a:avLst/>
              <a:gdLst/>
              <a:ahLst/>
              <a:cxnLst>
                <a:cxn ang="0">
                  <a:pos x="2" y="389"/>
                </a:cxn>
                <a:cxn ang="0">
                  <a:pos x="8" y="371"/>
                </a:cxn>
                <a:cxn ang="0">
                  <a:pos x="24" y="341"/>
                </a:cxn>
                <a:cxn ang="0">
                  <a:pos x="60" y="282"/>
                </a:cxn>
                <a:cxn ang="0">
                  <a:pos x="128" y="192"/>
                </a:cxn>
                <a:cxn ang="0">
                  <a:pos x="193" y="136"/>
                </a:cxn>
                <a:cxn ang="0">
                  <a:pos x="267" y="100"/>
                </a:cxn>
                <a:cxn ang="0">
                  <a:pos x="357" y="68"/>
                </a:cxn>
                <a:cxn ang="0">
                  <a:pos x="443" y="48"/>
                </a:cxn>
                <a:cxn ang="0">
                  <a:pos x="529" y="40"/>
                </a:cxn>
                <a:cxn ang="0">
                  <a:pos x="617" y="42"/>
                </a:cxn>
                <a:cxn ang="0">
                  <a:pos x="693" y="48"/>
                </a:cxn>
                <a:cxn ang="0">
                  <a:pos x="764" y="62"/>
                </a:cxn>
                <a:cxn ang="0">
                  <a:pos x="834" y="92"/>
                </a:cxn>
                <a:cxn ang="0">
                  <a:pos x="906" y="132"/>
                </a:cxn>
                <a:cxn ang="0">
                  <a:pos x="956" y="170"/>
                </a:cxn>
                <a:cxn ang="0">
                  <a:pos x="986" y="198"/>
                </a:cxn>
                <a:cxn ang="0">
                  <a:pos x="1016" y="244"/>
                </a:cxn>
                <a:cxn ang="0">
                  <a:pos x="1032" y="272"/>
                </a:cxn>
                <a:cxn ang="0">
                  <a:pos x="1044" y="292"/>
                </a:cxn>
                <a:cxn ang="0">
                  <a:pos x="1052" y="304"/>
                </a:cxn>
                <a:cxn ang="0">
                  <a:pos x="1052" y="308"/>
                </a:cxn>
                <a:cxn ang="0">
                  <a:pos x="1048" y="294"/>
                </a:cxn>
                <a:cxn ang="0">
                  <a:pos x="1038" y="266"/>
                </a:cxn>
                <a:cxn ang="0">
                  <a:pos x="1018" y="218"/>
                </a:cxn>
                <a:cxn ang="0">
                  <a:pos x="1008" y="204"/>
                </a:cxn>
                <a:cxn ang="0">
                  <a:pos x="988" y="180"/>
                </a:cxn>
                <a:cxn ang="0">
                  <a:pos x="938" y="128"/>
                </a:cxn>
                <a:cxn ang="0">
                  <a:pos x="862" y="74"/>
                </a:cxn>
                <a:cxn ang="0">
                  <a:pos x="770" y="34"/>
                </a:cxn>
                <a:cxn ang="0">
                  <a:pos x="679" y="12"/>
                </a:cxn>
                <a:cxn ang="0">
                  <a:pos x="601" y="0"/>
                </a:cxn>
                <a:cxn ang="0">
                  <a:pos x="523" y="0"/>
                </a:cxn>
                <a:cxn ang="0">
                  <a:pos x="433" y="12"/>
                </a:cxn>
                <a:cxn ang="0">
                  <a:pos x="307" y="38"/>
                </a:cxn>
                <a:cxn ang="0">
                  <a:pos x="209" y="78"/>
                </a:cxn>
                <a:cxn ang="0">
                  <a:pos x="139" y="130"/>
                </a:cxn>
                <a:cxn ang="0">
                  <a:pos x="80" y="194"/>
                </a:cxn>
                <a:cxn ang="0">
                  <a:pos x="42" y="250"/>
                </a:cxn>
                <a:cxn ang="0">
                  <a:pos x="20" y="292"/>
                </a:cxn>
                <a:cxn ang="0">
                  <a:pos x="10" y="329"/>
                </a:cxn>
                <a:cxn ang="0">
                  <a:pos x="2" y="375"/>
                </a:cxn>
              </a:cxnLst>
              <a:rect l="0" t="0" r="r" b="b"/>
              <a:pathLst>
                <a:path w="1052" h="391">
                  <a:moveTo>
                    <a:pt x="0" y="391"/>
                  </a:moveTo>
                  <a:lnTo>
                    <a:pt x="2" y="389"/>
                  </a:lnTo>
                  <a:lnTo>
                    <a:pt x="2" y="381"/>
                  </a:lnTo>
                  <a:lnTo>
                    <a:pt x="8" y="371"/>
                  </a:lnTo>
                  <a:lnTo>
                    <a:pt x="16" y="359"/>
                  </a:lnTo>
                  <a:lnTo>
                    <a:pt x="24" y="341"/>
                  </a:lnTo>
                  <a:lnTo>
                    <a:pt x="34" y="324"/>
                  </a:lnTo>
                  <a:lnTo>
                    <a:pt x="60" y="282"/>
                  </a:lnTo>
                  <a:lnTo>
                    <a:pt x="90" y="234"/>
                  </a:lnTo>
                  <a:lnTo>
                    <a:pt x="128" y="192"/>
                  </a:lnTo>
                  <a:lnTo>
                    <a:pt x="171" y="154"/>
                  </a:lnTo>
                  <a:lnTo>
                    <a:pt x="193" y="136"/>
                  </a:lnTo>
                  <a:lnTo>
                    <a:pt x="217" y="122"/>
                  </a:lnTo>
                  <a:lnTo>
                    <a:pt x="267" y="100"/>
                  </a:lnTo>
                  <a:lnTo>
                    <a:pt x="311" y="82"/>
                  </a:lnTo>
                  <a:lnTo>
                    <a:pt x="357" y="68"/>
                  </a:lnTo>
                  <a:lnTo>
                    <a:pt x="401" y="56"/>
                  </a:lnTo>
                  <a:lnTo>
                    <a:pt x="443" y="48"/>
                  </a:lnTo>
                  <a:lnTo>
                    <a:pt x="487" y="42"/>
                  </a:lnTo>
                  <a:lnTo>
                    <a:pt x="529" y="40"/>
                  </a:lnTo>
                  <a:lnTo>
                    <a:pt x="575" y="40"/>
                  </a:lnTo>
                  <a:lnTo>
                    <a:pt x="617" y="42"/>
                  </a:lnTo>
                  <a:lnTo>
                    <a:pt x="655" y="44"/>
                  </a:lnTo>
                  <a:lnTo>
                    <a:pt x="693" y="48"/>
                  </a:lnTo>
                  <a:lnTo>
                    <a:pt x="729" y="54"/>
                  </a:lnTo>
                  <a:lnTo>
                    <a:pt x="764" y="62"/>
                  </a:lnTo>
                  <a:lnTo>
                    <a:pt x="798" y="76"/>
                  </a:lnTo>
                  <a:lnTo>
                    <a:pt x="834" y="92"/>
                  </a:lnTo>
                  <a:lnTo>
                    <a:pt x="872" y="112"/>
                  </a:lnTo>
                  <a:lnTo>
                    <a:pt x="906" y="132"/>
                  </a:lnTo>
                  <a:lnTo>
                    <a:pt x="934" y="152"/>
                  </a:lnTo>
                  <a:lnTo>
                    <a:pt x="956" y="170"/>
                  </a:lnTo>
                  <a:lnTo>
                    <a:pt x="974" y="186"/>
                  </a:lnTo>
                  <a:lnTo>
                    <a:pt x="986" y="198"/>
                  </a:lnTo>
                  <a:lnTo>
                    <a:pt x="996" y="214"/>
                  </a:lnTo>
                  <a:lnTo>
                    <a:pt x="1016" y="244"/>
                  </a:lnTo>
                  <a:lnTo>
                    <a:pt x="1026" y="258"/>
                  </a:lnTo>
                  <a:lnTo>
                    <a:pt x="1032" y="272"/>
                  </a:lnTo>
                  <a:lnTo>
                    <a:pt x="1038" y="284"/>
                  </a:lnTo>
                  <a:lnTo>
                    <a:pt x="1044" y="292"/>
                  </a:lnTo>
                  <a:lnTo>
                    <a:pt x="1048" y="300"/>
                  </a:lnTo>
                  <a:lnTo>
                    <a:pt x="1052" y="304"/>
                  </a:lnTo>
                  <a:lnTo>
                    <a:pt x="1052" y="306"/>
                  </a:lnTo>
                  <a:lnTo>
                    <a:pt x="1052" y="308"/>
                  </a:lnTo>
                  <a:lnTo>
                    <a:pt x="1052" y="304"/>
                  </a:lnTo>
                  <a:lnTo>
                    <a:pt x="1048" y="294"/>
                  </a:lnTo>
                  <a:lnTo>
                    <a:pt x="1044" y="282"/>
                  </a:lnTo>
                  <a:lnTo>
                    <a:pt x="1038" y="266"/>
                  </a:lnTo>
                  <a:lnTo>
                    <a:pt x="1026" y="232"/>
                  </a:lnTo>
                  <a:lnTo>
                    <a:pt x="1018" y="218"/>
                  </a:lnTo>
                  <a:lnTo>
                    <a:pt x="1012" y="208"/>
                  </a:lnTo>
                  <a:lnTo>
                    <a:pt x="1008" y="204"/>
                  </a:lnTo>
                  <a:lnTo>
                    <a:pt x="1002" y="198"/>
                  </a:lnTo>
                  <a:lnTo>
                    <a:pt x="988" y="180"/>
                  </a:lnTo>
                  <a:lnTo>
                    <a:pt x="966" y="156"/>
                  </a:lnTo>
                  <a:lnTo>
                    <a:pt x="938" y="128"/>
                  </a:lnTo>
                  <a:lnTo>
                    <a:pt x="904" y="100"/>
                  </a:lnTo>
                  <a:lnTo>
                    <a:pt x="862" y="74"/>
                  </a:lnTo>
                  <a:lnTo>
                    <a:pt x="818" y="52"/>
                  </a:lnTo>
                  <a:lnTo>
                    <a:pt x="770" y="34"/>
                  </a:lnTo>
                  <a:lnTo>
                    <a:pt x="723" y="22"/>
                  </a:lnTo>
                  <a:lnTo>
                    <a:pt x="679" y="12"/>
                  </a:lnTo>
                  <a:lnTo>
                    <a:pt x="639" y="6"/>
                  </a:lnTo>
                  <a:lnTo>
                    <a:pt x="601" y="0"/>
                  </a:lnTo>
                  <a:lnTo>
                    <a:pt x="563" y="0"/>
                  </a:lnTo>
                  <a:lnTo>
                    <a:pt x="523" y="0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5" y="26"/>
                  </a:lnTo>
                  <a:lnTo>
                    <a:pt x="307" y="38"/>
                  </a:lnTo>
                  <a:lnTo>
                    <a:pt x="255" y="56"/>
                  </a:lnTo>
                  <a:lnTo>
                    <a:pt x="209" y="78"/>
                  </a:lnTo>
                  <a:lnTo>
                    <a:pt x="173" y="100"/>
                  </a:lnTo>
                  <a:lnTo>
                    <a:pt x="139" y="130"/>
                  </a:lnTo>
                  <a:lnTo>
                    <a:pt x="106" y="160"/>
                  </a:lnTo>
                  <a:lnTo>
                    <a:pt x="80" y="194"/>
                  </a:lnTo>
                  <a:lnTo>
                    <a:pt x="62" y="220"/>
                  </a:lnTo>
                  <a:lnTo>
                    <a:pt x="42" y="250"/>
                  </a:lnTo>
                  <a:lnTo>
                    <a:pt x="26" y="278"/>
                  </a:lnTo>
                  <a:lnTo>
                    <a:pt x="20" y="292"/>
                  </a:lnTo>
                  <a:lnTo>
                    <a:pt x="18" y="302"/>
                  </a:lnTo>
                  <a:lnTo>
                    <a:pt x="10" y="329"/>
                  </a:lnTo>
                  <a:lnTo>
                    <a:pt x="2" y="353"/>
                  </a:lnTo>
                  <a:lnTo>
                    <a:pt x="2" y="375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7" name="Freeform 244"/>
            <p:cNvSpPr>
              <a:spLocks/>
            </p:cNvSpPr>
            <p:nvPr/>
          </p:nvSpPr>
          <p:spPr bwMode="auto">
            <a:xfrm flipH="1">
              <a:off x="4328" y="2640"/>
              <a:ext cx="526" cy="190"/>
            </a:xfrm>
            <a:custGeom>
              <a:avLst/>
              <a:gdLst/>
              <a:ahLst/>
              <a:cxnLst>
                <a:cxn ang="0">
                  <a:pos x="2" y="379"/>
                </a:cxn>
                <a:cxn ang="0">
                  <a:pos x="8" y="361"/>
                </a:cxn>
                <a:cxn ang="0">
                  <a:pos x="24" y="331"/>
                </a:cxn>
                <a:cxn ang="0">
                  <a:pos x="60" y="272"/>
                </a:cxn>
                <a:cxn ang="0">
                  <a:pos x="128" y="184"/>
                </a:cxn>
                <a:cxn ang="0">
                  <a:pos x="193" y="126"/>
                </a:cxn>
                <a:cxn ang="0">
                  <a:pos x="267" y="90"/>
                </a:cxn>
                <a:cxn ang="0">
                  <a:pos x="357" y="58"/>
                </a:cxn>
                <a:cxn ang="0">
                  <a:pos x="443" y="38"/>
                </a:cxn>
                <a:cxn ang="0">
                  <a:pos x="529" y="30"/>
                </a:cxn>
                <a:cxn ang="0">
                  <a:pos x="617" y="32"/>
                </a:cxn>
                <a:cxn ang="0">
                  <a:pos x="693" y="38"/>
                </a:cxn>
                <a:cxn ang="0">
                  <a:pos x="764" y="54"/>
                </a:cxn>
                <a:cxn ang="0">
                  <a:pos x="834" y="82"/>
                </a:cxn>
                <a:cxn ang="0">
                  <a:pos x="906" y="124"/>
                </a:cxn>
                <a:cxn ang="0">
                  <a:pos x="956" y="160"/>
                </a:cxn>
                <a:cxn ang="0">
                  <a:pos x="986" y="190"/>
                </a:cxn>
                <a:cxn ang="0">
                  <a:pos x="1016" y="234"/>
                </a:cxn>
                <a:cxn ang="0">
                  <a:pos x="1032" y="262"/>
                </a:cxn>
                <a:cxn ang="0">
                  <a:pos x="1044" y="282"/>
                </a:cxn>
                <a:cxn ang="0">
                  <a:pos x="1052" y="294"/>
                </a:cxn>
                <a:cxn ang="0">
                  <a:pos x="1052" y="298"/>
                </a:cxn>
                <a:cxn ang="0">
                  <a:pos x="1048" y="284"/>
                </a:cxn>
                <a:cxn ang="0">
                  <a:pos x="1036" y="256"/>
                </a:cxn>
                <a:cxn ang="0">
                  <a:pos x="1016" y="210"/>
                </a:cxn>
                <a:cxn ang="0">
                  <a:pos x="1006" y="196"/>
                </a:cxn>
                <a:cxn ang="0">
                  <a:pos x="984" y="172"/>
                </a:cxn>
                <a:cxn ang="0">
                  <a:pos x="934" y="124"/>
                </a:cxn>
                <a:cxn ang="0">
                  <a:pos x="862" y="70"/>
                </a:cxn>
                <a:cxn ang="0">
                  <a:pos x="768" y="30"/>
                </a:cxn>
                <a:cxn ang="0">
                  <a:pos x="679" y="10"/>
                </a:cxn>
                <a:cxn ang="0">
                  <a:pos x="603" y="0"/>
                </a:cxn>
                <a:cxn ang="0">
                  <a:pos x="523" y="2"/>
                </a:cxn>
                <a:cxn ang="0">
                  <a:pos x="433" y="12"/>
                </a:cxn>
                <a:cxn ang="0">
                  <a:pos x="311" y="38"/>
                </a:cxn>
                <a:cxn ang="0">
                  <a:pos x="213" y="76"/>
                </a:cxn>
                <a:cxn ang="0">
                  <a:pos x="143" y="126"/>
                </a:cxn>
                <a:cxn ang="0">
                  <a:pos x="82" y="190"/>
                </a:cxn>
                <a:cxn ang="0">
                  <a:pos x="46" y="246"/>
                </a:cxn>
                <a:cxn ang="0">
                  <a:pos x="24" y="286"/>
                </a:cxn>
                <a:cxn ang="0">
                  <a:pos x="14" y="321"/>
                </a:cxn>
                <a:cxn ang="0">
                  <a:pos x="2" y="365"/>
                </a:cxn>
              </a:cxnLst>
              <a:rect l="0" t="0" r="r" b="b"/>
              <a:pathLst>
                <a:path w="1052" h="381">
                  <a:moveTo>
                    <a:pt x="0" y="381"/>
                  </a:moveTo>
                  <a:lnTo>
                    <a:pt x="2" y="379"/>
                  </a:lnTo>
                  <a:lnTo>
                    <a:pt x="2" y="371"/>
                  </a:lnTo>
                  <a:lnTo>
                    <a:pt x="8" y="361"/>
                  </a:lnTo>
                  <a:lnTo>
                    <a:pt x="16" y="349"/>
                  </a:lnTo>
                  <a:lnTo>
                    <a:pt x="24" y="331"/>
                  </a:lnTo>
                  <a:lnTo>
                    <a:pt x="34" y="314"/>
                  </a:lnTo>
                  <a:lnTo>
                    <a:pt x="60" y="272"/>
                  </a:lnTo>
                  <a:lnTo>
                    <a:pt x="90" y="224"/>
                  </a:lnTo>
                  <a:lnTo>
                    <a:pt x="128" y="184"/>
                  </a:lnTo>
                  <a:lnTo>
                    <a:pt x="171" y="144"/>
                  </a:lnTo>
                  <a:lnTo>
                    <a:pt x="193" y="126"/>
                  </a:lnTo>
                  <a:lnTo>
                    <a:pt x="217" y="114"/>
                  </a:lnTo>
                  <a:lnTo>
                    <a:pt x="267" y="90"/>
                  </a:lnTo>
                  <a:lnTo>
                    <a:pt x="311" y="72"/>
                  </a:lnTo>
                  <a:lnTo>
                    <a:pt x="357" y="58"/>
                  </a:lnTo>
                  <a:lnTo>
                    <a:pt x="401" y="46"/>
                  </a:lnTo>
                  <a:lnTo>
                    <a:pt x="443" y="38"/>
                  </a:lnTo>
                  <a:lnTo>
                    <a:pt x="487" y="34"/>
                  </a:lnTo>
                  <a:lnTo>
                    <a:pt x="529" y="30"/>
                  </a:lnTo>
                  <a:lnTo>
                    <a:pt x="575" y="30"/>
                  </a:lnTo>
                  <a:lnTo>
                    <a:pt x="617" y="32"/>
                  </a:lnTo>
                  <a:lnTo>
                    <a:pt x="655" y="36"/>
                  </a:lnTo>
                  <a:lnTo>
                    <a:pt x="693" y="38"/>
                  </a:lnTo>
                  <a:lnTo>
                    <a:pt x="729" y="46"/>
                  </a:lnTo>
                  <a:lnTo>
                    <a:pt x="764" y="54"/>
                  </a:lnTo>
                  <a:lnTo>
                    <a:pt x="798" y="66"/>
                  </a:lnTo>
                  <a:lnTo>
                    <a:pt x="834" y="82"/>
                  </a:lnTo>
                  <a:lnTo>
                    <a:pt x="872" y="102"/>
                  </a:lnTo>
                  <a:lnTo>
                    <a:pt x="906" y="124"/>
                  </a:lnTo>
                  <a:lnTo>
                    <a:pt x="934" y="142"/>
                  </a:lnTo>
                  <a:lnTo>
                    <a:pt x="956" y="160"/>
                  </a:lnTo>
                  <a:lnTo>
                    <a:pt x="974" y="178"/>
                  </a:lnTo>
                  <a:lnTo>
                    <a:pt x="986" y="190"/>
                  </a:lnTo>
                  <a:lnTo>
                    <a:pt x="996" y="204"/>
                  </a:lnTo>
                  <a:lnTo>
                    <a:pt x="1016" y="234"/>
                  </a:lnTo>
                  <a:lnTo>
                    <a:pt x="1026" y="248"/>
                  </a:lnTo>
                  <a:lnTo>
                    <a:pt x="1032" y="262"/>
                  </a:lnTo>
                  <a:lnTo>
                    <a:pt x="1038" y="274"/>
                  </a:lnTo>
                  <a:lnTo>
                    <a:pt x="1044" y="282"/>
                  </a:lnTo>
                  <a:lnTo>
                    <a:pt x="1048" y="290"/>
                  </a:lnTo>
                  <a:lnTo>
                    <a:pt x="1052" y="294"/>
                  </a:lnTo>
                  <a:lnTo>
                    <a:pt x="1052" y="296"/>
                  </a:lnTo>
                  <a:lnTo>
                    <a:pt x="1052" y="298"/>
                  </a:lnTo>
                  <a:lnTo>
                    <a:pt x="1052" y="294"/>
                  </a:lnTo>
                  <a:lnTo>
                    <a:pt x="1048" y="284"/>
                  </a:lnTo>
                  <a:lnTo>
                    <a:pt x="1044" y="272"/>
                  </a:lnTo>
                  <a:lnTo>
                    <a:pt x="1036" y="256"/>
                  </a:lnTo>
                  <a:lnTo>
                    <a:pt x="1022" y="224"/>
                  </a:lnTo>
                  <a:lnTo>
                    <a:pt x="1016" y="210"/>
                  </a:lnTo>
                  <a:lnTo>
                    <a:pt x="1008" y="200"/>
                  </a:lnTo>
                  <a:lnTo>
                    <a:pt x="1006" y="196"/>
                  </a:lnTo>
                  <a:lnTo>
                    <a:pt x="1000" y="190"/>
                  </a:lnTo>
                  <a:lnTo>
                    <a:pt x="984" y="172"/>
                  </a:lnTo>
                  <a:lnTo>
                    <a:pt x="962" y="150"/>
                  </a:lnTo>
                  <a:lnTo>
                    <a:pt x="934" y="124"/>
                  </a:lnTo>
                  <a:lnTo>
                    <a:pt x="900" y="96"/>
                  </a:lnTo>
                  <a:lnTo>
                    <a:pt x="862" y="70"/>
                  </a:lnTo>
                  <a:lnTo>
                    <a:pt x="818" y="48"/>
                  </a:lnTo>
                  <a:lnTo>
                    <a:pt x="768" y="30"/>
                  </a:lnTo>
                  <a:lnTo>
                    <a:pt x="723" y="20"/>
                  </a:lnTo>
                  <a:lnTo>
                    <a:pt x="679" y="10"/>
                  </a:lnTo>
                  <a:lnTo>
                    <a:pt x="639" y="4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9" y="24"/>
                  </a:lnTo>
                  <a:lnTo>
                    <a:pt x="311" y="38"/>
                  </a:lnTo>
                  <a:lnTo>
                    <a:pt x="259" y="56"/>
                  </a:lnTo>
                  <a:lnTo>
                    <a:pt x="213" y="76"/>
                  </a:lnTo>
                  <a:lnTo>
                    <a:pt x="177" y="98"/>
                  </a:lnTo>
                  <a:lnTo>
                    <a:pt x="143" y="126"/>
                  </a:lnTo>
                  <a:lnTo>
                    <a:pt x="112" y="158"/>
                  </a:lnTo>
                  <a:lnTo>
                    <a:pt x="82" y="190"/>
                  </a:lnTo>
                  <a:lnTo>
                    <a:pt x="64" y="216"/>
                  </a:lnTo>
                  <a:lnTo>
                    <a:pt x="46" y="246"/>
                  </a:lnTo>
                  <a:lnTo>
                    <a:pt x="30" y="274"/>
                  </a:lnTo>
                  <a:lnTo>
                    <a:pt x="24" y="286"/>
                  </a:lnTo>
                  <a:lnTo>
                    <a:pt x="20" y="296"/>
                  </a:lnTo>
                  <a:lnTo>
                    <a:pt x="14" y="321"/>
                  </a:lnTo>
                  <a:lnTo>
                    <a:pt x="6" y="345"/>
                  </a:lnTo>
                  <a:lnTo>
                    <a:pt x="2" y="365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8" name="Freeform 245"/>
            <p:cNvSpPr>
              <a:spLocks/>
            </p:cNvSpPr>
            <p:nvPr/>
          </p:nvSpPr>
          <p:spPr bwMode="auto">
            <a:xfrm flipH="1">
              <a:off x="4328" y="2640"/>
              <a:ext cx="526" cy="190"/>
            </a:xfrm>
            <a:custGeom>
              <a:avLst/>
              <a:gdLst/>
              <a:ahLst/>
              <a:cxnLst>
                <a:cxn ang="0">
                  <a:pos x="2" y="377"/>
                </a:cxn>
                <a:cxn ang="0">
                  <a:pos x="8" y="359"/>
                </a:cxn>
                <a:cxn ang="0">
                  <a:pos x="24" y="327"/>
                </a:cxn>
                <a:cxn ang="0">
                  <a:pos x="60" y="268"/>
                </a:cxn>
                <a:cxn ang="0">
                  <a:pos x="128" y="180"/>
                </a:cxn>
                <a:cxn ang="0">
                  <a:pos x="193" y="122"/>
                </a:cxn>
                <a:cxn ang="0">
                  <a:pos x="267" y="86"/>
                </a:cxn>
                <a:cxn ang="0">
                  <a:pos x="357" y="54"/>
                </a:cxn>
                <a:cxn ang="0">
                  <a:pos x="443" y="34"/>
                </a:cxn>
                <a:cxn ang="0">
                  <a:pos x="529" y="26"/>
                </a:cxn>
                <a:cxn ang="0">
                  <a:pos x="617" y="28"/>
                </a:cxn>
                <a:cxn ang="0">
                  <a:pos x="693" y="34"/>
                </a:cxn>
                <a:cxn ang="0">
                  <a:pos x="764" y="50"/>
                </a:cxn>
                <a:cxn ang="0">
                  <a:pos x="834" y="78"/>
                </a:cxn>
                <a:cxn ang="0">
                  <a:pos x="906" y="120"/>
                </a:cxn>
                <a:cxn ang="0">
                  <a:pos x="956" y="156"/>
                </a:cxn>
                <a:cxn ang="0">
                  <a:pos x="986" y="188"/>
                </a:cxn>
                <a:cxn ang="0">
                  <a:pos x="1016" y="232"/>
                </a:cxn>
                <a:cxn ang="0">
                  <a:pos x="1032" y="258"/>
                </a:cxn>
                <a:cxn ang="0">
                  <a:pos x="1044" y="278"/>
                </a:cxn>
                <a:cxn ang="0">
                  <a:pos x="1052" y="292"/>
                </a:cxn>
                <a:cxn ang="0">
                  <a:pos x="1052" y="292"/>
                </a:cxn>
                <a:cxn ang="0">
                  <a:pos x="1044" y="268"/>
                </a:cxn>
                <a:cxn ang="0">
                  <a:pos x="1022" y="222"/>
                </a:cxn>
                <a:cxn ang="0">
                  <a:pos x="1008" y="198"/>
                </a:cxn>
                <a:cxn ang="0">
                  <a:pos x="1000" y="188"/>
                </a:cxn>
                <a:cxn ang="0">
                  <a:pos x="962" y="146"/>
                </a:cxn>
                <a:cxn ang="0">
                  <a:pos x="900" y="94"/>
                </a:cxn>
                <a:cxn ang="0">
                  <a:pos x="818" y="46"/>
                </a:cxn>
                <a:cxn ang="0">
                  <a:pos x="721" y="16"/>
                </a:cxn>
                <a:cxn ang="0">
                  <a:pos x="639" y="2"/>
                </a:cxn>
                <a:cxn ang="0">
                  <a:pos x="563" y="0"/>
                </a:cxn>
                <a:cxn ang="0">
                  <a:pos x="481" y="6"/>
                </a:cxn>
                <a:cxn ang="0">
                  <a:pos x="369" y="24"/>
                </a:cxn>
                <a:cxn ang="0">
                  <a:pos x="261" y="54"/>
                </a:cxn>
                <a:cxn ang="0">
                  <a:pos x="181" y="98"/>
                </a:cxn>
                <a:cxn ang="0">
                  <a:pos x="114" y="156"/>
                </a:cxn>
                <a:cxn ang="0">
                  <a:pos x="68" y="216"/>
                </a:cxn>
                <a:cxn ang="0">
                  <a:pos x="32" y="274"/>
                </a:cxn>
                <a:cxn ang="0">
                  <a:pos x="24" y="296"/>
                </a:cxn>
                <a:cxn ang="0">
                  <a:pos x="8" y="343"/>
                </a:cxn>
              </a:cxnLst>
              <a:rect l="0" t="0" r="r" b="b"/>
              <a:pathLst>
                <a:path w="1052" h="379">
                  <a:moveTo>
                    <a:pt x="0" y="379"/>
                  </a:moveTo>
                  <a:lnTo>
                    <a:pt x="2" y="377"/>
                  </a:lnTo>
                  <a:lnTo>
                    <a:pt x="2" y="369"/>
                  </a:lnTo>
                  <a:lnTo>
                    <a:pt x="8" y="359"/>
                  </a:lnTo>
                  <a:lnTo>
                    <a:pt x="16" y="345"/>
                  </a:lnTo>
                  <a:lnTo>
                    <a:pt x="24" y="327"/>
                  </a:lnTo>
                  <a:lnTo>
                    <a:pt x="34" y="310"/>
                  </a:lnTo>
                  <a:lnTo>
                    <a:pt x="60" y="268"/>
                  </a:lnTo>
                  <a:lnTo>
                    <a:pt x="90" y="222"/>
                  </a:lnTo>
                  <a:lnTo>
                    <a:pt x="128" y="180"/>
                  </a:lnTo>
                  <a:lnTo>
                    <a:pt x="171" y="140"/>
                  </a:lnTo>
                  <a:lnTo>
                    <a:pt x="193" y="122"/>
                  </a:lnTo>
                  <a:lnTo>
                    <a:pt x="217" y="110"/>
                  </a:lnTo>
                  <a:lnTo>
                    <a:pt x="267" y="86"/>
                  </a:lnTo>
                  <a:lnTo>
                    <a:pt x="311" y="68"/>
                  </a:lnTo>
                  <a:lnTo>
                    <a:pt x="357" y="54"/>
                  </a:lnTo>
                  <a:lnTo>
                    <a:pt x="401" y="42"/>
                  </a:lnTo>
                  <a:lnTo>
                    <a:pt x="443" y="34"/>
                  </a:lnTo>
                  <a:lnTo>
                    <a:pt x="487" y="30"/>
                  </a:lnTo>
                  <a:lnTo>
                    <a:pt x="529" y="26"/>
                  </a:lnTo>
                  <a:lnTo>
                    <a:pt x="575" y="26"/>
                  </a:lnTo>
                  <a:lnTo>
                    <a:pt x="617" y="28"/>
                  </a:lnTo>
                  <a:lnTo>
                    <a:pt x="655" y="32"/>
                  </a:lnTo>
                  <a:lnTo>
                    <a:pt x="693" y="34"/>
                  </a:lnTo>
                  <a:lnTo>
                    <a:pt x="729" y="42"/>
                  </a:lnTo>
                  <a:lnTo>
                    <a:pt x="764" y="50"/>
                  </a:lnTo>
                  <a:lnTo>
                    <a:pt x="798" y="62"/>
                  </a:lnTo>
                  <a:lnTo>
                    <a:pt x="834" y="78"/>
                  </a:lnTo>
                  <a:lnTo>
                    <a:pt x="872" y="98"/>
                  </a:lnTo>
                  <a:lnTo>
                    <a:pt x="906" y="120"/>
                  </a:lnTo>
                  <a:lnTo>
                    <a:pt x="934" y="138"/>
                  </a:lnTo>
                  <a:lnTo>
                    <a:pt x="956" y="156"/>
                  </a:lnTo>
                  <a:lnTo>
                    <a:pt x="974" y="174"/>
                  </a:lnTo>
                  <a:lnTo>
                    <a:pt x="986" y="188"/>
                  </a:lnTo>
                  <a:lnTo>
                    <a:pt x="996" y="200"/>
                  </a:lnTo>
                  <a:lnTo>
                    <a:pt x="1016" y="232"/>
                  </a:lnTo>
                  <a:lnTo>
                    <a:pt x="1026" y="246"/>
                  </a:lnTo>
                  <a:lnTo>
                    <a:pt x="1032" y="258"/>
                  </a:lnTo>
                  <a:lnTo>
                    <a:pt x="1038" y="270"/>
                  </a:lnTo>
                  <a:lnTo>
                    <a:pt x="1044" y="278"/>
                  </a:lnTo>
                  <a:lnTo>
                    <a:pt x="1048" y="286"/>
                  </a:lnTo>
                  <a:lnTo>
                    <a:pt x="1052" y="292"/>
                  </a:lnTo>
                  <a:lnTo>
                    <a:pt x="1052" y="294"/>
                  </a:lnTo>
                  <a:lnTo>
                    <a:pt x="1052" y="292"/>
                  </a:lnTo>
                  <a:lnTo>
                    <a:pt x="1048" y="282"/>
                  </a:lnTo>
                  <a:lnTo>
                    <a:pt x="1044" y="268"/>
                  </a:lnTo>
                  <a:lnTo>
                    <a:pt x="1036" y="254"/>
                  </a:lnTo>
                  <a:lnTo>
                    <a:pt x="1022" y="222"/>
                  </a:lnTo>
                  <a:lnTo>
                    <a:pt x="1014" y="208"/>
                  </a:lnTo>
                  <a:lnTo>
                    <a:pt x="1008" y="198"/>
                  </a:lnTo>
                  <a:lnTo>
                    <a:pt x="1006" y="194"/>
                  </a:lnTo>
                  <a:lnTo>
                    <a:pt x="1000" y="188"/>
                  </a:lnTo>
                  <a:lnTo>
                    <a:pt x="984" y="170"/>
                  </a:lnTo>
                  <a:lnTo>
                    <a:pt x="962" y="146"/>
                  </a:lnTo>
                  <a:lnTo>
                    <a:pt x="934" y="120"/>
                  </a:lnTo>
                  <a:lnTo>
                    <a:pt x="900" y="94"/>
                  </a:lnTo>
                  <a:lnTo>
                    <a:pt x="862" y="68"/>
                  </a:lnTo>
                  <a:lnTo>
                    <a:pt x="818" y="46"/>
                  </a:lnTo>
                  <a:lnTo>
                    <a:pt x="768" y="30"/>
                  </a:lnTo>
                  <a:lnTo>
                    <a:pt x="721" y="16"/>
                  </a:lnTo>
                  <a:lnTo>
                    <a:pt x="679" y="8"/>
                  </a:lnTo>
                  <a:lnTo>
                    <a:pt x="639" y="2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3" y="0"/>
                  </a:lnTo>
                  <a:lnTo>
                    <a:pt x="481" y="6"/>
                  </a:lnTo>
                  <a:lnTo>
                    <a:pt x="433" y="12"/>
                  </a:lnTo>
                  <a:lnTo>
                    <a:pt x="369" y="24"/>
                  </a:lnTo>
                  <a:lnTo>
                    <a:pt x="311" y="36"/>
                  </a:lnTo>
                  <a:lnTo>
                    <a:pt x="261" y="54"/>
                  </a:lnTo>
                  <a:lnTo>
                    <a:pt x="217" y="76"/>
                  </a:lnTo>
                  <a:lnTo>
                    <a:pt x="181" y="98"/>
                  </a:lnTo>
                  <a:lnTo>
                    <a:pt x="147" y="126"/>
                  </a:lnTo>
                  <a:lnTo>
                    <a:pt x="114" y="156"/>
                  </a:lnTo>
                  <a:lnTo>
                    <a:pt x="86" y="192"/>
                  </a:lnTo>
                  <a:lnTo>
                    <a:pt x="68" y="216"/>
                  </a:lnTo>
                  <a:lnTo>
                    <a:pt x="48" y="246"/>
                  </a:lnTo>
                  <a:lnTo>
                    <a:pt x="32" y="274"/>
                  </a:lnTo>
                  <a:lnTo>
                    <a:pt x="28" y="286"/>
                  </a:lnTo>
                  <a:lnTo>
                    <a:pt x="24" y="296"/>
                  </a:lnTo>
                  <a:lnTo>
                    <a:pt x="16" y="321"/>
                  </a:lnTo>
                  <a:lnTo>
                    <a:pt x="8" y="343"/>
                  </a:lnTo>
                  <a:lnTo>
                    <a:pt x="0" y="379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299" name="Freeform 246"/>
            <p:cNvSpPr>
              <a:spLocks/>
            </p:cNvSpPr>
            <p:nvPr/>
          </p:nvSpPr>
          <p:spPr bwMode="auto">
            <a:xfrm flipH="1">
              <a:off x="4328" y="2642"/>
              <a:ext cx="526" cy="188"/>
            </a:xfrm>
            <a:custGeom>
              <a:avLst/>
              <a:gdLst/>
              <a:ahLst/>
              <a:cxnLst>
                <a:cxn ang="0">
                  <a:pos x="2" y="373"/>
                </a:cxn>
                <a:cxn ang="0">
                  <a:pos x="8" y="355"/>
                </a:cxn>
                <a:cxn ang="0">
                  <a:pos x="24" y="325"/>
                </a:cxn>
                <a:cxn ang="0">
                  <a:pos x="60" y="266"/>
                </a:cxn>
                <a:cxn ang="0">
                  <a:pos x="128" y="176"/>
                </a:cxn>
                <a:cxn ang="0">
                  <a:pos x="193" y="120"/>
                </a:cxn>
                <a:cxn ang="0">
                  <a:pos x="267" y="84"/>
                </a:cxn>
                <a:cxn ang="0">
                  <a:pos x="357" y="52"/>
                </a:cxn>
                <a:cxn ang="0">
                  <a:pos x="443" y="32"/>
                </a:cxn>
                <a:cxn ang="0">
                  <a:pos x="529" y="24"/>
                </a:cxn>
                <a:cxn ang="0">
                  <a:pos x="617" y="26"/>
                </a:cxn>
                <a:cxn ang="0">
                  <a:pos x="693" y="32"/>
                </a:cxn>
                <a:cxn ang="0">
                  <a:pos x="764" y="46"/>
                </a:cxn>
                <a:cxn ang="0">
                  <a:pos x="834" y="76"/>
                </a:cxn>
                <a:cxn ang="0">
                  <a:pos x="906" y="116"/>
                </a:cxn>
                <a:cxn ang="0">
                  <a:pos x="956" y="154"/>
                </a:cxn>
                <a:cxn ang="0">
                  <a:pos x="986" y="184"/>
                </a:cxn>
                <a:cxn ang="0">
                  <a:pos x="1016" y="228"/>
                </a:cxn>
                <a:cxn ang="0">
                  <a:pos x="1032" y="256"/>
                </a:cxn>
                <a:cxn ang="0">
                  <a:pos x="1044" y="276"/>
                </a:cxn>
                <a:cxn ang="0">
                  <a:pos x="1052" y="288"/>
                </a:cxn>
                <a:cxn ang="0">
                  <a:pos x="1052" y="292"/>
                </a:cxn>
                <a:cxn ang="0">
                  <a:pos x="1048" y="280"/>
                </a:cxn>
                <a:cxn ang="0">
                  <a:pos x="1034" y="250"/>
                </a:cxn>
                <a:cxn ang="0">
                  <a:pos x="1014" y="206"/>
                </a:cxn>
                <a:cxn ang="0">
                  <a:pos x="1004" y="190"/>
                </a:cxn>
                <a:cxn ang="0">
                  <a:pos x="982" y="168"/>
                </a:cxn>
                <a:cxn ang="0">
                  <a:pos x="932" y="120"/>
                </a:cxn>
                <a:cxn ang="0">
                  <a:pos x="860" y="68"/>
                </a:cxn>
                <a:cxn ang="0">
                  <a:pos x="766" y="28"/>
                </a:cxn>
                <a:cxn ang="0">
                  <a:pos x="677" y="8"/>
                </a:cxn>
                <a:cxn ang="0">
                  <a:pos x="601" y="0"/>
                </a:cxn>
                <a:cxn ang="0">
                  <a:pos x="523" y="2"/>
                </a:cxn>
                <a:cxn ang="0">
                  <a:pos x="433" y="14"/>
                </a:cxn>
                <a:cxn ang="0">
                  <a:pos x="313" y="38"/>
                </a:cxn>
                <a:cxn ang="0">
                  <a:pos x="217" y="76"/>
                </a:cxn>
                <a:cxn ang="0">
                  <a:pos x="147" y="126"/>
                </a:cxn>
                <a:cxn ang="0">
                  <a:pos x="88" y="192"/>
                </a:cxn>
                <a:cxn ang="0">
                  <a:pos x="70" y="216"/>
                </a:cxn>
                <a:cxn ang="0">
                  <a:pos x="34" y="272"/>
                </a:cxn>
                <a:cxn ang="0">
                  <a:pos x="26" y="294"/>
                </a:cxn>
                <a:cxn ang="0">
                  <a:pos x="10" y="341"/>
                </a:cxn>
              </a:cxnLst>
              <a:rect l="0" t="0" r="r" b="b"/>
              <a:pathLst>
                <a:path w="1052" h="375">
                  <a:moveTo>
                    <a:pt x="0" y="375"/>
                  </a:moveTo>
                  <a:lnTo>
                    <a:pt x="2" y="373"/>
                  </a:lnTo>
                  <a:lnTo>
                    <a:pt x="2" y="365"/>
                  </a:lnTo>
                  <a:lnTo>
                    <a:pt x="8" y="355"/>
                  </a:lnTo>
                  <a:lnTo>
                    <a:pt x="16" y="343"/>
                  </a:lnTo>
                  <a:lnTo>
                    <a:pt x="24" y="325"/>
                  </a:lnTo>
                  <a:lnTo>
                    <a:pt x="34" y="308"/>
                  </a:lnTo>
                  <a:lnTo>
                    <a:pt x="60" y="266"/>
                  </a:lnTo>
                  <a:lnTo>
                    <a:pt x="90" y="218"/>
                  </a:lnTo>
                  <a:lnTo>
                    <a:pt x="128" y="176"/>
                  </a:lnTo>
                  <a:lnTo>
                    <a:pt x="171" y="138"/>
                  </a:lnTo>
                  <a:lnTo>
                    <a:pt x="193" y="120"/>
                  </a:lnTo>
                  <a:lnTo>
                    <a:pt x="217" y="106"/>
                  </a:lnTo>
                  <a:lnTo>
                    <a:pt x="267" y="84"/>
                  </a:lnTo>
                  <a:lnTo>
                    <a:pt x="311" y="66"/>
                  </a:lnTo>
                  <a:lnTo>
                    <a:pt x="357" y="52"/>
                  </a:lnTo>
                  <a:lnTo>
                    <a:pt x="401" y="40"/>
                  </a:lnTo>
                  <a:lnTo>
                    <a:pt x="443" y="32"/>
                  </a:lnTo>
                  <a:lnTo>
                    <a:pt x="487" y="26"/>
                  </a:lnTo>
                  <a:lnTo>
                    <a:pt x="529" y="24"/>
                  </a:lnTo>
                  <a:lnTo>
                    <a:pt x="575" y="24"/>
                  </a:lnTo>
                  <a:lnTo>
                    <a:pt x="617" y="26"/>
                  </a:lnTo>
                  <a:lnTo>
                    <a:pt x="655" y="28"/>
                  </a:lnTo>
                  <a:lnTo>
                    <a:pt x="693" y="32"/>
                  </a:lnTo>
                  <a:lnTo>
                    <a:pt x="729" y="38"/>
                  </a:lnTo>
                  <a:lnTo>
                    <a:pt x="764" y="46"/>
                  </a:lnTo>
                  <a:lnTo>
                    <a:pt x="798" y="60"/>
                  </a:lnTo>
                  <a:lnTo>
                    <a:pt x="834" y="76"/>
                  </a:lnTo>
                  <a:lnTo>
                    <a:pt x="872" y="96"/>
                  </a:lnTo>
                  <a:lnTo>
                    <a:pt x="906" y="116"/>
                  </a:lnTo>
                  <a:lnTo>
                    <a:pt x="934" y="136"/>
                  </a:lnTo>
                  <a:lnTo>
                    <a:pt x="956" y="154"/>
                  </a:lnTo>
                  <a:lnTo>
                    <a:pt x="974" y="170"/>
                  </a:lnTo>
                  <a:lnTo>
                    <a:pt x="986" y="184"/>
                  </a:lnTo>
                  <a:lnTo>
                    <a:pt x="996" y="198"/>
                  </a:lnTo>
                  <a:lnTo>
                    <a:pt x="1016" y="228"/>
                  </a:lnTo>
                  <a:lnTo>
                    <a:pt x="1026" y="242"/>
                  </a:lnTo>
                  <a:lnTo>
                    <a:pt x="1032" y="256"/>
                  </a:lnTo>
                  <a:lnTo>
                    <a:pt x="1038" y="268"/>
                  </a:lnTo>
                  <a:lnTo>
                    <a:pt x="1044" y="276"/>
                  </a:lnTo>
                  <a:lnTo>
                    <a:pt x="1048" y="284"/>
                  </a:lnTo>
                  <a:lnTo>
                    <a:pt x="1052" y="288"/>
                  </a:lnTo>
                  <a:lnTo>
                    <a:pt x="1052" y="290"/>
                  </a:lnTo>
                  <a:lnTo>
                    <a:pt x="1052" y="292"/>
                  </a:lnTo>
                  <a:lnTo>
                    <a:pt x="1052" y="288"/>
                  </a:lnTo>
                  <a:lnTo>
                    <a:pt x="1048" y="280"/>
                  </a:lnTo>
                  <a:lnTo>
                    <a:pt x="1042" y="268"/>
                  </a:lnTo>
                  <a:lnTo>
                    <a:pt x="1034" y="250"/>
                  </a:lnTo>
                  <a:lnTo>
                    <a:pt x="1020" y="220"/>
                  </a:lnTo>
                  <a:lnTo>
                    <a:pt x="1014" y="206"/>
                  </a:lnTo>
                  <a:lnTo>
                    <a:pt x="1008" y="196"/>
                  </a:lnTo>
                  <a:lnTo>
                    <a:pt x="1004" y="190"/>
                  </a:lnTo>
                  <a:lnTo>
                    <a:pt x="1000" y="186"/>
                  </a:lnTo>
                  <a:lnTo>
                    <a:pt x="982" y="168"/>
                  </a:lnTo>
                  <a:lnTo>
                    <a:pt x="960" y="144"/>
                  </a:lnTo>
                  <a:lnTo>
                    <a:pt x="932" y="120"/>
                  </a:lnTo>
                  <a:lnTo>
                    <a:pt x="898" y="94"/>
                  </a:lnTo>
                  <a:lnTo>
                    <a:pt x="860" y="68"/>
                  </a:lnTo>
                  <a:lnTo>
                    <a:pt x="816" y="46"/>
                  </a:lnTo>
                  <a:lnTo>
                    <a:pt x="766" y="28"/>
                  </a:lnTo>
                  <a:lnTo>
                    <a:pt x="721" y="18"/>
                  </a:lnTo>
                  <a:lnTo>
                    <a:pt x="677" y="8"/>
                  </a:lnTo>
                  <a:lnTo>
                    <a:pt x="639" y="2"/>
                  </a:lnTo>
                  <a:lnTo>
                    <a:pt x="601" y="0"/>
                  </a:lnTo>
                  <a:lnTo>
                    <a:pt x="563" y="0"/>
                  </a:lnTo>
                  <a:lnTo>
                    <a:pt x="523" y="2"/>
                  </a:lnTo>
                  <a:lnTo>
                    <a:pt x="481" y="8"/>
                  </a:lnTo>
                  <a:lnTo>
                    <a:pt x="433" y="14"/>
                  </a:lnTo>
                  <a:lnTo>
                    <a:pt x="371" y="26"/>
                  </a:lnTo>
                  <a:lnTo>
                    <a:pt x="313" y="38"/>
                  </a:lnTo>
                  <a:lnTo>
                    <a:pt x="263" y="54"/>
                  </a:lnTo>
                  <a:lnTo>
                    <a:pt x="217" y="76"/>
                  </a:lnTo>
                  <a:lnTo>
                    <a:pt x="183" y="98"/>
                  </a:lnTo>
                  <a:lnTo>
                    <a:pt x="147" y="126"/>
                  </a:lnTo>
                  <a:lnTo>
                    <a:pt x="118" y="158"/>
                  </a:lnTo>
                  <a:lnTo>
                    <a:pt x="88" y="192"/>
                  </a:lnTo>
                  <a:lnTo>
                    <a:pt x="80" y="204"/>
                  </a:lnTo>
                  <a:lnTo>
                    <a:pt x="70" y="216"/>
                  </a:lnTo>
                  <a:lnTo>
                    <a:pt x="50" y="246"/>
                  </a:lnTo>
                  <a:lnTo>
                    <a:pt x="34" y="272"/>
                  </a:lnTo>
                  <a:lnTo>
                    <a:pt x="28" y="286"/>
                  </a:lnTo>
                  <a:lnTo>
                    <a:pt x="26" y="294"/>
                  </a:lnTo>
                  <a:lnTo>
                    <a:pt x="18" y="319"/>
                  </a:lnTo>
                  <a:lnTo>
                    <a:pt x="10" y="341"/>
                  </a:lnTo>
                  <a:lnTo>
                    <a:pt x="0" y="375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0" name="Freeform 247"/>
            <p:cNvSpPr>
              <a:spLocks/>
            </p:cNvSpPr>
            <p:nvPr/>
          </p:nvSpPr>
          <p:spPr bwMode="auto">
            <a:xfrm flipH="1">
              <a:off x="4328" y="2644"/>
              <a:ext cx="526" cy="186"/>
            </a:xfrm>
            <a:custGeom>
              <a:avLst/>
              <a:gdLst/>
              <a:ahLst/>
              <a:cxnLst>
                <a:cxn ang="0">
                  <a:pos x="2" y="369"/>
                </a:cxn>
                <a:cxn ang="0">
                  <a:pos x="8" y="351"/>
                </a:cxn>
                <a:cxn ang="0">
                  <a:pos x="24" y="319"/>
                </a:cxn>
                <a:cxn ang="0">
                  <a:pos x="60" y="260"/>
                </a:cxn>
                <a:cxn ang="0">
                  <a:pos x="128" y="172"/>
                </a:cxn>
                <a:cxn ang="0">
                  <a:pos x="193" y="114"/>
                </a:cxn>
                <a:cxn ang="0">
                  <a:pos x="267" y="78"/>
                </a:cxn>
                <a:cxn ang="0">
                  <a:pos x="357" y="46"/>
                </a:cxn>
                <a:cxn ang="0">
                  <a:pos x="443" y="26"/>
                </a:cxn>
                <a:cxn ang="0">
                  <a:pos x="529" y="18"/>
                </a:cxn>
                <a:cxn ang="0">
                  <a:pos x="617" y="20"/>
                </a:cxn>
                <a:cxn ang="0">
                  <a:pos x="693" y="26"/>
                </a:cxn>
                <a:cxn ang="0">
                  <a:pos x="764" y="42"/>
                </a:cxn>
                <a:cxn ang="0">
                  <a:pos x="834" y="70"/>
                </a:cxn>
                <a:cxn ang="0">
                  <a:pos x="906" y="112"/>
                </a:cxn>
                <a:cxn ang="0">
                  <a:pos x="956" y="148"/>
                </a:cxn>
                <a:cxn ang="0">
                  <a:pos x="986" y="180"/>
                </a:cxn>
                <a:cxn ang="0">
                  <a:pos x="1016" y="224"/>
                </a:cxn>
                <a:cxn ang="0">
                  <a:pos x="1032" y="250"/>
                </a:cxn>
                <a:cxn ang="0">
                  <a:pos x="1044" y="270"/>
                </a:cxn>
                <a:cxn ang="0">
                  <a:pos x="1052" y="284"/>
                </a:cxn>
                <a:cxn ang="0">
                  <a:pos x="1052" y="284"/>
                </a:cxn>
                <a:cxn ang="0">
                  <a:pos x="1042" y="262"/>
                </a:cxn>
                <a:cxn ang="0">
                  <a:pos x="1018" y="216"/>
                </a:cxn>
                <a:cxn ang="0">
                  <a:pos x="1006" y="192"/>
                </a:cxn>
                <a:cxn ang="0">
                  <a:pos x="998" y="182"/>
                </a:cxn>
                <a:cxn ang="0">
                  <a:pos x="960" y="140"/>
                </a:cxn>
                <a:cxn ang="0">
                  <a:pos x="898" y="90"/>
                </a:cxn>
                <a:cxn ang="0">
                  <a:pos x="816" y="44"/>
                </a:cxn>
                <a:cxn ang="0">
                  <a:pos x="721" y="16"/>
                </a:cxn>
                <a:cxn ang="0">
                  <a:pos x="639" y="0"/>
                </a:cxn>
                <a:cxn ang="0">
                  <a:pos x="563" y="0"/>
                </a:cxn>
                <a:cxn ang="0">
                  <a:pos x="481" y="8"/>
                </a:cxn>
                <a:cxn ang="0">
                  <a:pos x="377" y="24"/>
                </a:cxn>
                <a:cxn ang="0">
                  <a:pos x="279" y="50"/>
                </a:cxn>
                <a:cxn ang="0">
                  <a:pos x="195" y="88"/>
                </a:cxn>
                <a:cxn ang="0">
                  <a:pos x="122" y="152"/>
                </a:cxn>
                <a:cxn ang="0">
                  <a:pos x="70" y="216"/>
                </a:cxn>
                <a:cxn ang="0">
                  <a:pos x="36" y="270"/>
                </a:cxn>
                <a:cxn ang="0">
                  <a:pos x="28" y="292"/>
                </a:cxn>
                <a:cxn ang="0">
                  <a:pos x="14" y="331"/>
                </a:cxn>
                <a:cxn ang="0">
                  <a:pos x="0" y="371"/>
                </a:cxn>
              </a:cxnLst>
              <a:rect l="0" t="0" r="r" b="b"/>
              <a:pathLst>
                <a:path w="1052" h="371">
                  <a:moveTo>
                    <a:pt x="0" y="371"/>
                  </a:moveTo>
                  <a:lnTo>
                    <a:pt x="2" y="369"/>
                  </a:lnTo>
                  <a:lnTo>
                    <a:pt x="2" y="361"/>
                  </a:lnTo>
                  <a:lnTo>
                    <a:pt x="8" y="351"/>
                  </a:lnTo>
                  <a:lnTo>
                    <a:pt x="16" y="337"/>
                  </a:lnTo>
                  <a:lnTo>
                    <a:pt x="24" y="319"/>
                  </a:lnTo>
                  <a:lnTo>
                    <a:pt x="34" y="302"/>
                  </a:lnTo>
                  <a:lnTo>
                    <a:pt x="60" y="260"/>
                  </a:lnTo>
                  <a:lnTo>
                    <a:pt x="90" y="214"/>
                  </a:lnTo>
                  <a:lnTo>
                    <a:pt x="128" y="172"/>
                  </a:lnTo>
                  <a:lnTo>
                    <a:pt x="171" y="132"/>
                  </a:lnTo>
                  <a:lnTo>
                    <a:pt x="193" y="114"/>
                  </a:lnTo>
                  <a:lnTo>
                    <a:pt x="217" y="102"/>
                  </a:lnTo>
                  <a:lnTo>
                    <a:pt x="267" y="78"/>
                  </a:lnTo>
                  <a:lnTo>
                    <a:pt x="311" y="60"/>
                  </a:lnTo>
                  <a:lnTo>
                    <a:pt x="357" y="46"/>
                  </a:lnTo>
                  <a:lnTo>
                    <a:pt x="401" y="34"/>
                  </a:lnTo>
                  <a:lnTo>
                    <a:pt x="443" y="26"/>
                  </a:lnTo>
                  <a:lnTo>
                    <a:pt x="487" y="22"/>
                  </a:lnTo>
                  <a:lnTo>
                    <a:pt x="529" y="18"/>
                  </a:lnTo>
                  <a:lnTo>
                    <a:pt x="575" y="18"/>
                  </a:lnTo>
                  <a:lnTo>
                    <a:pt x="617" y="20"/>
                  </a:lnTo>
                  <a:lnTo>
                    <a:pt x="655" y="24"/>
                  </a:lnTo>
                  <a:lnTo>
                    <a:pt x="693" y="26"/>
                  </a:lnTo>
                  <a:lnTo>
                    <a:pt x="729" y="34"/>
                  </a:lnTo>
                  <a:lnTo>
                    <a:pt x="764" y="42"/>
                  </a:lnTo>
                  <a:lnTo>
                    <a:pt x="798" y="54"/>
                  </a:lnTo>
                  <a:lnTo>
                    <a:pt x="834" y="70"/>
                  </a:lnTo>
                  <a:lnTo>
                    <a:pt x="872" y="90"/>
                  </a:lnTo>
                  <a:lnTo>
                    <a:pt x="906" y="112"/>
                  </a:lnTo>
                  <a:lnTo>
                    <a:pt x="934" y="130"/>
                  </a:lnTo>
                  <a:lnTo>
                    <a:pt x="956" y="148"/>
                  </a:lnTo>
                  <a:lnTo>
                    <a:pt x="974" y="166"/>
                  </a:lnTo>
                  <a:lnTo>
                    <a:pt x="986" y="180"/>
                  </a:lnTo>
                  <a:lnTo>
                    <a:pt x="996" y="192"/>
                  </a:lnTo>
                  <a:lnTo>
                    <a:pt x="1016" y="224"/>
                  </a:lnTo>
                  <a:lnTo>
                    <a:pt x="1026" y="238"/>
                  </a:lnTo>
                  <a:lnTo>
                    <a:pt x="1032" y="250"/>
                  </a:lnTo>
                  <a:lnTo>
                    <a:pt x="1038" y="262"/>
                  </a:lnTo>
                  <a:lnTo>
                    <a:pt x="1044" y="270"/>
                  </a:lnTo>
                  <a:lnTo>
                    <a:pt x="1048" y="278"/>
                  </a:lnTo>
                  <a:lnTo>
                    <a:pt x="1052" y="284"/>
                  </a:lnTo>
                  <a:lnTo>
                    <a:pt x="1052" y="286"/>
                  </a:lnTo>
                  <a:lnTo>
                    <a:pt x="1052" y="284"/>
                  </a:lnTo>
                  <a:lnTo>
                    <a:pt x="1048" y="276"/>
                  </a:lnTo>
                  <a:lnTo>
                    <a:pt x="1042" y="262"/>
                  </a:lnTo>
                  <a:lnTo>
                    <a:pt x="1034" y="248"/>
                  </a:lnTo>
                  <a:lnTo>
                    <a:pt x="1018" y="216"/>
                  </a:lnTo>
                  <a:lnTo>
                    <a:pt x="1012" y="202"/>
                  </a:lnTo>
                  <a:lnTo>
                    <a:pt x="1006" y="192"/>
                  </a:lnTo>
                  <a:lnTo>
                    <a:pt x="1002" y="188"/>
                  </a:lnTo>
                  <a:lnTo>
                    <a:pt x="998" y="182"/>
                  </a:lnTo>
                  <a:lnTo>
                    <a:pt x="982" y="164"/>
                  </a:lnTo>
                  <a:lnTo>
                    <a:pt x="960" y="140"/>
                  </a:lnTo>
                  <a:lnTo>
                    <a:pt x="932" y="116"/>
                  </a:lnTo>
                  <a:lnTo>
                    <a:pt x="898" y="90"/>
                  </a:lnTo>
                  <a:lnTo>
                    <a:pt x="860" y="66"/>
                  </a:lnTo>
                  <a:lnTo>
                    <a:pt x="816" y="44"/>
                  </a:lnTo>
                  <a:lnTo>
                    <a:pt x="766" y="26"/>
                  </a:lnTo>
                  <a:lnTo>
                    <a:pt x="721" y="16"/>
                  </a:lnTo>
                  <a:lnTo>
                    <a:pt x="677" y="6"/>
                  </a:lnTo>
                  <a:lnTo>
                    <a:pt x="639" y="0"/>
                  </a:lnTo>
                  <a:lnTo>
                    <a:pt x="603" y="0"/>
                  </a:lnTo>
                  <a:lnTo>
                    <a:pt x="563" y="0"/>
                  </a:lnTo>
                  <a:lnTo>
                    <a:pt x="525" y="2"/>
                  </a:lnTo>
                  <a:lnTo>
                    <a:pt x="481" y="8"/>
                  </a:lnTo>
                  <a:lnTo>
                    <a:pt x="433" y="14"/>
                  </a:lnTo>
                  <a:lnTo>
                    <a:pt x="377" y="24"/>
                  </a:lnTo>
                  <a:lnTo>
                    <a:pt x="325" y="34"/>
                  </a:lnTo>
                  <a:lnTo>
                    <a:pt x="279" y="50"/>
                  </a:lnTo>
                  <a:lnTo>
                    <a:pt x="235" y="68"/>
                  </a:lnTo>
                  <a:lnTo>
                    <a:pt x="195" y="88"/>
                  </a:lnTo>
                  <a:lnTo>
                    <a:pt x="157" y="118"/>
                  </a:lnTo>
                  <a:lnTo>
                    <a:pt x="122" y="152"/>
                  </a:lnTo>
                  <a:lnTo>
                    <a:pt x="88" y="192"/>
                  </a:lnTo>
                  <a:lnTo>
                    <a:pt x="70" y="216"/>
                  </a:lnTo>
                  <a:lnTo>
                    <a:pt x="52" y="242"/>
                  </a:lnTo>
                  <a:lnTo>
                    <a:pt x="36" y="270"/>
                  </a:lnTo>
                  <a:lnTo>
                    <a:pt x="30" y="282"/>
                  </a:lnTo>
                  <a:lnTo>
                    <a:pt x="28" y="292"/>
                  </a:lnTo>
                  <a:lnTo>
                    <a:pt x="20" y="311"/>
                  </a:lnTo>
                  <a:lnTo>
                    <a:pt x="14" y="331"/>
                  </a:lnTo>
                  <a:lnTo>
                    <a:pt x="6" y="349"/>
                  </a:lnTo>
                  <a:lnTo>
                    <a:pt x="0" y="371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1" name="Freeform 248"/>
            <p:cNvSpPr>
              <a:spLocks/>
            </p:cNvSpPr>
            <p:nvPr/>
          </p:nvSpPr>
          <p:spPr bwMode="auto">
            <a:xfrm flipH="1">
              <a:off x="4325" y="2789"/>
              <a:ext cx="51" cy="192"/>
            </a:xfrm>
            <a:custGeom>
              <a:avLst/>
              <a:gdLst/>
              <a:ahLst/>
              <a:cxnLst>
                <a:cxn ang="0">
                  <a:pos x="6" y="191"/>
                </a:cxn>
                <a:cxn ang="0">
                  <a:pos x="28" y="167"/>
                </a:cxn>
                <a:cxn ang="0">
                  <a:pos x="48" y="141"/>
                </a:cxn>
                <a:cxn ang="0">
                  <a:pos x="64" y="111"/>
                </a:cxn>
                <a:cxn ang="0">
                  <a:pos x="78" y="81"/>
                </a:cxn>
                <a:cxn ang="0">
                  <a:pos x="94" y="41"/>
                </a:cxn>
                <a:cxn ang="0">
                  <a:pos x="102" y="0"/>
                </a:cxn>
                <a:cxn ang="0">
                  <a:pos x="102" y="93"/>
                </a:cxn>
                <a:cxn ang="0">
                  <a:pos x="100" y="191"/>
                </a:cxn>
                <a:cxn ang="0">
                  <a:pos x="100" y="201"/>
                </a:cxn>
                <a:cxn ang="0">
                  <a:pos x="98" y="211"/>
                </a:cxn>
                <a:cxn ang="0">
                  <a:pos x="88" y="247"/>
                </a:cxn>
                <a:cxn ang="0">
                  <a:pos x="76" y="283"/>
                </a:cxn>
                <a:cxn ang="0">
                  <a:pos x="62" y="311"/>
                </a:cxn>
                <a:cxn ang="0">
                  <a:pos x="44" y="337"/>
                </a:cxn>
                <a:cxn ang="0">
                  <a:pos x="24" y="361"/>
                </a:cxn>
                <a:cxn ang="0">
                  <a:pos x="0" y="383"/>
                </a:cxn>
                <a:cxn ang="0">
                  <a:pos x="6" y="191"/>
                </a:cxn>
              </a:cxnLst>
              <a:rect l="0" t="0" r="r" b="b"/>
              <a:pathLst>
                <a:path w="102" h="383">
                  <a:moveTo>
                    <a:pt x="6" y="191"/>
                  </a:moveTo>
                  <a:lnTo>
                    <a:pt x="28" y="167"/>
                  </a:lnTo>
                  <a:lnTo>
                    <a:pt x="48" y="141"/>
                  </a:lnTo>
                  <a:lnTo>
                    <a:pt x="64" y="111"/>
                  </a:lnTo>
                  <a:lnTo>
                    <a:pt x="78" y="81"/>
                  </a:lnTo>
                  <a:lnTo>
                    <a:pt x="94" y="41"/>
                  </a:lnTo>
                  <a:lnTo>
                    <a:pt x="102" y="0"/>
                  </a:lnTo>
                  <a:lnTo>
                    <a:pt x="102" y="93"/>
                  </a:lnTo>
                  <a:lnTo>
                    <a:pt x="100" y="191"/>
                  </a:lnTo>
                  <a:lnTo>
                    <a:pt x="100" y="201"/>
                  </a:lnTo>
                  <a:lnTo>
                    <a:pt x="98" y="211"/>
                  </a:lnTo>
                  <a:lnTo>
                    <a:pt x="88" y="247"/>
                  </a:lnTo>
                  <a:lnTo>
                    <a:pt x="76" y="283"/>
                  </a:lnTo>
                  <a:lnTo>
                    <a:pt x="62" y="311"/>
                  </a:lnTo>
                  <a:lnTo>
                    <a:pt x="44" y="337"/>
                  </a:lnTo>
                  <a:lnTo>
                    <a:pt x="24" y="361"/>
                  </a:lnTo>
                  <a:lnTo>
                    <a:pt x="0" y="383"/>
                  </a:lnTo>
                  <a:lnTo>
                    <a:pt x="6" y="191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2" name="Freeform 249"/>
            <p:cNvSpPr>
              <a:spLocks/>
            </p:cNvSpPr>
            <p:nvPr/>
          </p:nvSpPr>
          <p:spPr bwMode="auto">
            <a:xfrm flipH="1">
              <a:off x="4328" y="2795"/>
              <a:ext cx="51" cy="186"/>
            </a:xfrm>
            <a:custGeom>
              <a:avLst/>
              <a:gdLst/>
              <a:ahLst/>
              <a:cxnLst>
                <a:cxn ang="0">
                  <a:pos x="6" y="185"/>
                </a:cxn>
                <a:cxn ang="0">
                  <a:pos x="28" y="161"/>
                </a:cxn>
                <a:cxn ang="0">
                  <a:pos x="46" y="135"/>
                </a:cxn>
                <a:cxn ang="0">
                  <a:pos x="64" y="107"/>
                </a:cxn>
                <a:cxn ang="0">
                  <a:pos x="80" y="77"/>
                </a:cxn>
                <a:cxn ang="0">
                  <a:pos x="94" y="37"/>
                </a:cxn>
                <a:cxn ang="0">
                  <a:pos x="102" y="0"/>
                </a:cxn>
                <a:cxn ang="0">
                  <a:pos x="102" y="191"/>
                </a:cxn>
                <a:cxn ang="0">
                  <a:pos x="100" y="201"/>
                </a:cxn>
                <a:cxn ang="0">
                  <a:pos x="96" y="209"/>
                </a:cxn>
                <a:cxn ang="0">
                  <a:pos x="88" y="245"/>
                </a:cxn>
                <a:cxn ang="0">
                  <a:pos x="74" y="279"/>
                </a:cxn>
                <a:cxn ang="0">
                  <a:pos x="60" y="305"/>
                </a:cxn>
                <a:cxn ang="0">
                  <a:pos x="42" y="331"/>
                </a:cxn>
                <a:cxn ang="0">
                  <a:pos x="22" y="351"/>
                </a:cxn>
                <a:cxn ang="0">
                  <a:pos x="0" y="371"/>
                </a:cxn>
                <a:cxn ang="0">
                  <a:pos x="6" y="185"/>
                </a:cxn>
              </a:cxnLst>
              <a:rect l="0" t="0" r="r" b="b"/>
              <a:pathLst>
                <a:path w="102" h="371">
                  <a:moveTo>
                    <a:pt x="6" y="185"/>
                  </a:moveTo>
                  <a:lnTo>
                    <a:pt x="28" y="161"/>
                  </a:lnTo>
                  <a:lnTo>
                    <a:pt x="46" y="135"/>
                  </a:lnTo>
                  <a:lnTo>
                    <a:pt x="64" y="107"/>
                  </a:lnTo>
                  <a:lnTo>
                    <a:pt x="80" y="77"/>
                  </a:lnTo>
                  <a:lnTo>
                    <a:pt x="94" y="37"/>
                  </a:lnTo>
                  <a:lnTo>
                    <a:pt x="102" y="0"/>
                  </a:lnTo>
                  <a:lnTo>
                    <a:pt x="102" y="191"/>
                  </a:lnTo>
                  <a:lnTo>
                    <a:pt x="100" y="201"/>
                  </a:lnTo>
                  <a:lnTo>
                    <a:pt x="96" y="209"/>
                  </a:lnTo>
                  <a:lnTo>
                    <a:pt x="88" y="245"/>
                  </a:lnTo>
                  <a:lnTo>
                    <a:pt x="74" y="279"/>
                  </a:lnTo>
                  <a:lnTo>
                    <a:pt x="60" y="305"/>
                  </a:lnTo>
                  <a:lnTo>
                    <a:pt x="42" y="331"/>
                  </a:lnTo>
                  <a:lnTo>
                    <a:pt x="22" y="351"/>
                  </a:lnTo>
                  <a:lnTo>
                    <a:pt x="0" y="371"/>
                  </a:lnTo>
                  <a:lnTo>
                    <a:pt x="6" y="185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3" name="Freeform 250"/>
            <p:cNvSpPr>
              <a:spLocks/>
            </p:cNvSpPr>
            <p:nvPr/>
          </p:nvSpPr>
          <p:spPr bwMode="auto">
            <a:xfrm flipH="1">
              <a:off x="4330" y="2800"/>
              <a:ext cx="51" cy="181"/>
            </a:xfrm>
            <a:custGeom>
              <a:avLst/>
              <a:gdLst/>
              <a:ahLst/>
              <a:cxnLst>
                <a:cxn ang="0">
                  <a:pos x="4" y="180"/>
                </a:cxn>
                <a:cxn ang="0">
                  <a:pos x="24" y="156"/>
                </a:cxn>
                <a:cxn ang="0">
                  <a:pos x="46" y="132"/>
                </a:cxn>
                <a:cxn ang="0">
                  <a:pos x="62" y="104"/>
                </a:cxn>
                <a:cxn ang="0">
                  <a:pos x="80" y="76"/>
                </a:cxn>
                <a:cxn ang="0">
                  <a:pos x="96" y="36"/>
                </a:cxn>
                <a:cxn ang="0">
                  <a:pos x="100" y="18"/>
                </a:cxn>
                <a:cxn ang="0">
                  <a:pos x="102" y="0"/>
                </a:cxn>
                <a:cxn ang="0">
                  <a:pos x="102" y="144"/>
                </a:cxn>
                <a:cxn ang="0">
                  <a:pos x="100" y="192"/>
                </a:cxn>
                <a:cxn ang="0">
                  <a:pos x="100" y="202"/>
                </a:cxn>
                <a:cxn ang="0">
                  <a:pos x="98" y="210"/>
                </a:cxn>
                <a:cxn ang="0">
                  <a:pos x="88" y="244"/>
                </a:cxn>
                <a:cxn ang="0">
                  <a:pos x="74" y="278"/>
                </a:cxn>
                <a:cxn ang="0">
                  <a:pos x="60" y="304"/>
                </a:cxn>
                <a:cxn ang="0">
                  <a:pos x="42" y="328"/>
                </a:cxn>
                <a:cxn ang="0">
                  <a:pos x="20" y="348"/>
                </a:cxn>
                <a:cxn ang="0">
                  <a:pos x="0" y="362"/>
                </a:cxn>
                <a:cxn ang="0">
                  <a:pos x="4" y="180"/>
                </a:cxn>
              </a:cxnLst>
              <a:rect l="0" t="0" r="r" b="b"/>
              <a:pathLst>
                <a:path w="102" h="362">
                  <a:moveTo>
                    <a:pt x="4" y="180"/>
                  </a:moveTo>
                  <a:lnTo>
                    <a:pt x="24" y="156"/>
                  </a:lnTo>
                  <a:lnTo>
                    <a:pt x="46" y="132"/>
                  </a:lnTo>
                  <a:lnTo>
                    <a:pt x="62" y="104"/>
                  </a:lnTo>
                  <a:lnTo>
                    <a:pt x="80" y="76"/>
                  </a:lnTo>
                  <a:lnTo>
                    <a:pt x="96" y="36"/>
                  </a:lnTo>
                  <a:lnTo>
                    <a:pt x="100" y="18"/>
                  </a:lnTo>
                  <a:lnTo>
                    <a:pt x="102" y="0"/>
                  </a:lnTo>
                  <a:lnTo>
                    <a:pt x="102" y="144"/>
                  </a:lnTo>
                  <a:lnTo>
                    <a:pt x="100" y="192"/>
                  </a:lnTo>
                  <a:lnTo>
                    <a:pt x="100" y="202"/>
                  </a:lnTo>
                  <a:lnTo>
                    <a:pt x="98" y="210"/>
                  </a:lnTo>
                  <a:lnTo>
                    <a:pt x="88" y="244"/>
                  </a:lnTo>
                  <a:lnTo>
                    <a:pt x="74" y="278"/>
                  </a:lnTo>
                  <a:lnTo>
                    <a:pt x="60" y="304"/>
                  </a:lnTo>
                  <a:lnTo>
                    <a:pt x="42" y="328"/>
                  </a:lnTo>
                  <a:lnTo>
                    <a:pt x="20" y="348"/>
                  </a:lnTo>
                  <a:lnTo>
                    <a:pt x="0" y="362"/>
                  </a:lnTo>
                  <a:lnTo>
                    <a:pt x="4" y="180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4" name="Freeform 251"/>
            <p:cNvSpPr>
              <a:spLocks/>
            </p:cNvSpPr>
            <p:nvPr/>
          </p:nvSpPr>
          <p:spPr bwMode="auto">
            <a:xfrm flipH="1">
              <a:off x="4332" y="2805"/>
              <a:ext cx="52" cy="176"/>
            </a:xfrm>
            <a:custGeom>
              <a:avLst/>
              <a:gdLst/>
              <a:ahLst/>
              <a:cxnLst>
                <a:cxn ang="0">
                  <a:pos x="4" y="172"/>
                </a:cxn>
                <a:cxn ang="0">
                  <a:pos x="24" y="152"/>
                </a:cxn>
                <a:cxn ang="0">
                  <a:pos x="44" y="128"/>
                </a:cxn>
                <a:cxn ang="0">
                  <a:pos x="62" y="102"/>
                </a:cxn>
                <a:cxn ang="0">
                  <a:pos x="78" y="74"/>
                </a:cxn>
                <a:cxn ang="0">
                  <a:pos x="88" y="54"/>
                </a:cxn>
                <a:cxn ang="0">
                  <a:pos x="96" y="34"/>
                </a:cxn>
                <a:cxn ang="0">
                  <a:pos x="100" y="16"/>
                </a:cxn>
                <a:cxn ang="0">
                  <a:pos x="104" y="0"/>
                </a:cxn>
                <a:cxn ang="0">
                  <a:pos x="104" y="42"/>
                </a:cxn>
                <a:cxn ang="0">
                  <a:pos x="102" y="92"/>
                </a:cxn>
                <a:cxn ang="0">
                  <a:pos x="102" y="146"/>
                </a:cxn>
                <a:cxn ang="0">
                  <a:pos x="100" y="194"/>
                </a:cxn>
                <a:cxn ang="0">
                  <a:pos x="98" y="204"/>
                </a:cxn>
                <a:cxn ang="0">
                  <a:pos x="98" y="212"/>
                </a:cxn>
                <a:cxn ang="0">
                  <a:pos x="94" y="226"/>
                </a:cxn>
                <a:cxn ang="0">
                  <a:pos x="90" y="242"/>
                </a:cxn>
                <a:cxn ang="0">
                  <a:pos x="72" y="276"/>
                </a:cxn>
                <a:cxn ang="0">
                  <a:pos x="58" y="300"/>
                </a:cxn>
                <a:cxn ang="0">
                  <a:pos x="40" y="320"/>
                </a:cxn>
                <a:cxn ang="0">
                  <a:pos x="20" y="338"/>
                </a:cxn>
                <a:cxn ang="0">
                  <a:pos x="0" y="352"/>
                </a:cxn>
                <a:cxn ang="0">
                  <a:pos x="4" y="172"/>
                </a:cxn>
              </a:cxnLst>
              <a:rect l="0" t="0" r="r" b="b"/>
              <a:pathLst>
                <a:path w="104" h="352">
                  <a:moveTo>
                    <a:pt x="4" y="172"/>
                  </a:moveTo>
                  <a:lnTo>
                    <a:pt x="24" y="152"/>
                  </a:lnTo>
                  <a:lnTo>
                    <a:pt x="44" y="128"/>
                  </a:lnTo>
                  <a:lnTo>
                    <a:pt x="62" y="102"/>
                  </a:lnTo>
                  <a:lnTo>
                    <a:pt x="78" y="74"/>
                  </a:lnTo>
                  <a:lnTo>
                    <a:pt x="88" y="54"/>
                  </a:lnTo>
                  <a:lnTo>
                    <a:pt x="96" y="34"/>
                  </a:lnTo>
                  <a:lnTo>
                    <a:pt x="100" y="16"/>
                  </a:lnTo>
                  <a:lnTo>
                    <a:pt x="104" y="0"/>
                  </a:lnTo>
                  <a:lnTo>
                    <a:pt x="104" y="42"/>
                  </a:lnTo>
                  <a:lnTo>
                    <a:pt x="102" y="92"/>
                  </a:lnTo>
                  <a:lnTo>
                    <a:pt x="102" y="146"/>
                  </a:lnTo>
                  <a:lnTo>
                    <a:pt x="100" y="194"/>
                  </a:lnTo>
                  <a:lnTo>
                    <a:pt x="98" y="204"/>
                  </a:lnTo>
                  <a:lnTo>
                    <a:pt x="98" y="212"/>
                  </a:lnTo>
                  <a:lnTo>
                    <a:pt x="94" y="226"/>
                  </a:lnTo>
                  <a:lnTo>
                    <a:pt x="90" y="242"/>
                  </a:lnTo>
                  <a:lnTo>
                    <a:pt x="72" y="276"/>
                  </a:lnTo>
                  <a:lnTo>
                    <a:pt x="58" y="300"/>
                  </a:lnTo>
                  <a:lnTo>
                    <a:pt x="40" y="320"/>
                  </a:lnTo>
                  <a:lnTo>
                    <a:pt x="20" y="338"/>
                  </a:lnTo>
                  <a:lnTo>
                    <a:pt x="0" y="352"/>
                  </a:lnTo>
                  <a:lnTo>
                    <a:pt x="4" y="172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5" name="Freeform 252"/>
            <p:cNvSpPr>
              <a:spLocks/>
            </p:cNvSpPr>
            <p:nvPr/>
          </p:nvSpPr>
          <p:spPr bwMode="auto">
            <a:xfrm flipH="1">
              <a:off x="4334" y="2811"/>
              <a:ext cx="53" cy="170"/>
            </a:xfrm>
            <a:custGeom>
              <a:avLst/>
              <a:gdLst/>
              <a:ahLst/>
              <a:cxnLst>
                <a:cxn ang="0">
                  <a:pos x="6" y="164"/>
                </a:cxn>
                <a:cxn ang="0">
                  <a:pos x="24" y="144"/>
                </a:cxn>
                <a:cxn ang="0">
                  <a:pos x="44" y="122"/>
                </a:cxn>
                <a:cxn ang="0">
                  <a:pos x="64" y="96"/>
                </a:cxn>
                <a:cxn ang="0">
                  <a:pos x="80" y="70"/>
                </a:cxn>
                <a:cxn ang="0">
                  <a:pos x="90" y="50"/>
                </a:cxn>
                <a:cxn ang="0">
                  <a:pos x="98" y="32"/>
                </a:cxn>
                <a:cxn ang="0">
                  <a:pos x="102" y="16"/>
                </a:cxn>
                <a:cxn ang="0">
                  <a:pos x="106" y="0"/>
                </a:cxn>
                <a:cxn ang="0">
                  <a:pos x="106" y="40"/>
                </a:cxn>
                <a:cxn ang="0">
                  <a:pos x="104" y="90"/>
                </a:cxn>
                <a:cxn ang="0">
                  <a:pos x="102" y="144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0" y="212"/>
                </a:cxn>
                <a:cxn ang="0">
                  <a:pos x="92" y="240"/>
                </a:cxn>
                <a:cxn ang="0">
                  <a:pos x="74" y="272"/>
                </a:cxn>
                <a:cxn ang="0">
                  <a:pos x="60" y="294"/>
                </a:cxn>
                <a:cxn ang="0">
                  <a:pos x="40" y="316"/>
                </a:cxn>
                <a:cxn ang="0">
                  <a:pos x="22" y="330"/>
                </a:cxn>
                <a:cxn ang="0">
                  <a:pos x="0" y="340"/>
                </a:cxn>
                <a:cxn ang="0">
                  <a:pos x="6" y="164"/>
                </a:cxn>
              </a:cxnLst>
              <a:rect l="0" t="0" r="r" b="b"/>
              <a:pathLst>
                <a:path w="106" h="340">
                  <a:moveTo>
                    <a:pt x="6" y="164"/>
                  </a:moveTo>
                  <a:lnTo>
                    <a:pt x="24" y="144"/>
                  </a:lnTo>
                  <a:lnTo>
                    <a:pt x="44" y="122"/>
                  </a:lnTo>
                  <a:lnTo>
                    <a:pt x="64" y="96"/>
                  </a:lnTo>
                  <a:lnTo>
                    <a:pt x="80" y="70"/>
                  </a:lnTo>
                  <a:lnTo>
                    <a:pt x="90" y="50"/>
                  </a:lnTo>
                  <a:lnTo>
                    <a:pt x="98" y="32"/>
                  </a:lnTo>
                  <a:lnTo>
                    <a:pt x="102" y="16"/>
                  </a:lnTo>
                  <a:lnTo>
                    <a:pt x="106" y="0"/>
                  </a:lnTo>
                  <a:lnTo>
                    <a:pt x="106" y="40"/>
                  </a:lnTo>
                  <a:lnTo>
                    <a:pt x="104" y="90"/>
                  </a:lnTo>
                  <a:lnTo>
                    <a:pt x="102" y="144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0" y="212"/>
                  </a:lnTo>
                  <a:lnTo>
                    <a:pt x="92" y="240"/>
                  </a:lnTo>
                  <a:lnTo>
                    <a:pt x="74" y="272"/>
                  </a:lnTo>
                  <a:lnTo>
                    <a:pt x="60" y="294"/>
                  </a:lnTo>
                  <a:lnTo>
                    <a:pt x="40" y="316"/>
                  </a:lnTo>
                  <a:lnTo>
                    <a:pt x="22" y="330"/>
                  </a:lnTo>
                  <a:lnTo>
                    <a:pt x="0" y="340"/>
                  </a:lnTo>
                  <a:lnTo>
                    <a:pt x="6" y="164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6" name="Freeform 253"/>
            <p:cNvSpPr>
              <a:spLocks/>
            </p:cNvSpPr>
            <p:nvPr/>
          </p:nvSpPr>
          <p:spPr bwMode="auto">
            <a:xfrm flipH="1">
              <a:off x="4337" y="2816"/>
              <a:ext cx="53" cy="165"/>
            </a:xfrm>
            <a:custGeom>
              <a:avLst/>
              <a:gdLst/>
              <a:ahLst/>
              <a:cxnLst>
                <a:cxn ang="0">
                  <a:pos x="6" y="156"/>
                </a:cxn>
                <a:cxn ang="0">
                  <a:pos x="24" y="138"/>
                </a:cxn>
                <a:cxn ang="0">
                  <a:pos x="42" y="116"/>
                </a:cxn>
                <a:cxn ang="0">
                  <a:pos x="62" y="92"/>
                </a:cxn>
                <a:cxn ang="0">
                  <a:pos x="78" y="66"/>
                </a:cxn>
                <a:cxn ang="0">
                  <a:pos x="90" y="48"/>
                </a:cxn>
                <a:cxn ang="0">
                  <a:pos x="98" y="30"/>
                </a:cxn>
                <a:cxn ang="0">
                  <a:pos x="102" y="14"/>
                </a:cxn>
                <a:cxn ang="0">
                  <a:pos x="106" y="0"/>
                </a:cxn>
                <a:cxn ang="0">
                  <a:pos x="106" y="36"/>
                </a:cxn>
                <a:cxn ang="0">
                  <a:pos x="104" y="88"/>
                </a:cxn>
                <a:cxn ang="0">
                  <a:pos x="104" y="144"/>
                </a:cxn>
                <a:cxn ang="0">
                  <a:pos x="102" y="170"/>
                </a:cxn>
                <a:cxn ang="0">
                  <a:pos x="102" y="192"/>
                </a:cxn>
                <a:cxn ang="0">
                  <a:pos x="102" y="202"/>
                </a:cxn>
                <a:cxn ang="0">
                  <a:pos x="100" y="210"/>
                </a:cxn>
                <a:cxn ang="0">
                  <a:pos x="96" y="222"/>
                </a:cxn>
                <a:cxn ang="0">
                  <a:pos x="92" y="236"/>
                </a:cxn>
                <a:cxn ang="0">
                  <a:pos x="74" y="268"/>
                </a:cxn>
                <a:cxn ang="0">
                  <a:pos x="58" y="290"/>
                </a:cxn>
                <a:cxn ang="0">
                  <a:pos x="40" y="308"/>
                </a:cxn>
                <a:cxn ang="0">
                  <a:pos x="20" y="322"/>
                </a:cxn>
                <a:cxn ang="0">
                  <a:pos x="0" y="330"/>
                </a:cxn>
                <a:cxn ang="0">
                  <a:pos x="6" y="156"/>
                </a:cxn>
              </a:cxnLst>
              <a:rect l="0" t="0" r="r" b="b"/>
              <a:pathLst>
                <a:path w="106" h="330">
                  <a:moveTo>
                    <a:pt x="6" y="156"/>
                  </a:moveTo>
                  <a:lnTo>
                    <a:pt x="24" y="138"/>
                  </a:lnTo>
                  <a:lnTo>
                    <a:pt x="42" y="116"/>
                  </a:lnTo>
                  <a:lnTo>
                    <a:pt x="62" y="92"/>
                  </a:lnTo>
                  <a:lnTo>
                    <a:pt x="78" y="66"/>
                  </a:lnTo>
                  <a:lnTo>
                    <a:pt x="90" y="48"/>
                  </a:lnTo>
                  <a:lnTo>
                    <a:pt x="98" y="30"/>
                  </a:lnTo>
                  <a:lnTo>
                    <a:pt x="102" y="14"/>
                  </a:lnTo>
                  <a:lnTo>
                    <a:pt x="106" y="0"/>
                  </a:lnTo>
                  <a:lnTo>
                    <a:pt x="106" y="36"/>
                  </a:lnTo>
                  <a:lnTo>
                    <a:pt x="104" y="88"/>
                  </a:lnTo>
                  <a:lnTo>
                    <a:pt x="104" y="144"/>
                  </a:lnTo>
                  <a:lnTo>
                    <a:pt x="102" y="170"/>
                  </a:lnTo>
                  <a:lnTo>
                    <a:pt x="102" y="192"/>
                  </a:lnTo>
                  <a:lnTo>
                    <a:pt x="102" y="202"/>
                  </a:lnTo>
                  <a:lnTo>
                    <a:pt x="100" y="210"/>
                  </a:lnTo>
                  <a:lnTo>
                    <a:pt x="96" y="222"/>
                  </a:lnTo>
                  <a:lnTo>
                    <a:pt x="92" y="236"/>
                  </a:lnTo>
                  <a:lnTo>
                    <a:pt x="74" y="268"/>
                  </a:lnTo>
                  <a:lnTo>
                    <a:pt x="58" y="290"/>
                  </a:lnTo>
                  <a:lnTo>
                    <a:pt x="40" y="308"/>
                  </a:lnTo>
                  <a:lnTo>
                    <a:pt x="20" y="322"/>
                  </a:lnTo>
                  <a:lnTo>
                    <a:pt x="0" y="330"/>
                  </a:lnTo>
                  <a:lnTo>
                    <a:pt x="6" y="156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7" name="Freeform 254"/>
            <p:cNvSpPr>
              <a:spLocks/>
            </p:cNvSpPr>
            <p:nvPr/>
          </p:nvSpPr>
          <p:spPr bwMode="auto">
            <a:xfrm flipH="1">
              <a:off x="4339" y="2822"/>
              <a:ext cx="53" cy="159"/>
            </a:xfrm>
            <a:custGeom>
              <a:avLst/>
              <a:gdLst/>
              <a:ahLst/>
              <a:cxnLst>
                <a:cxn ang="0">
                  <a:pos x="4" y="148"/>
                </a:cxn>
                <a:cxn ang="0">
                  <a:pos x="20" y="132"/>
                </a:cxn>
                <a:cxn ang="0">
                  <a:pos x="40" y="110"/>
                </a:cxn>
                <a:cxn ang="0">
                  <a:pos x="60" y="88"/>
                </a:cxn>
                <a:cxn ang="0">
                  <a:pos x="78" y="64"/>
                </a:cxn>
                <a:cxn ang="0">
                  <a:pos x="88" y="46"/>
                </a:cxn>
                <a:cxn ang="0">
                  <a:pos x="96" y="28"/>
                </a:cxn>
                <a:cxn ang="0">
                  <a:pos x="102" y="12"/>
                </a:cxn>
                <a:cxn ang="0">
                  <a:pos x="106" y="0"/>
                </a:cxn>
                <a:cxn ang="0">
                  <a:pos x="106" y="36"/>
                </a:cxn>
                <a:cxn ang="0">
                  <a:pos x="104" y="60"/>
                </a:cxn>
                <a:cxn ang="0">
                  <a:pos x="104" y="88"/>
                </a:cxn>
                <a:cxn ang="0">
                  <a:pos x="102" y="144"/>
                </a:cxn>
                <a:cxn ang="0">
                  <a:pos x="102" y="194"/>
                </a:cxn>
                <a:cxn ang="0">
                  <a:pos x="100" y="212"/>
                </a:cxn>
                <a:cxn ang="0">
                  <a:pos x="96" y="220"/>
                </a:cxn>
                <a:cxn ang="0">
                  <a:pos x="90" y="234"/>
                </a:cxn>
                <a:cxn ang="0">
                  <a:pos x="70" y="264"/>
                </a:cxn>
                <a:cxn ang="0">
                  <a:pos x="54" y="286"/>
                </a:cxn>
                <a:cxn ang="0">
                  <a:pos x="36" y="302"/>
                </a:cxn>
                <a:cxn ang="0">
                  <a:pos x="18" y="314"/>
                </a:cxn>
                <a:cxn ang="0">
                  <a:pos x="0" y="318"/>
                </a:cxn>
                <a:cxn ang="0">
                  <a:pos x="4" y="148"/>
                </a:cxn>
              </a:cxnLst>
              <a:rect l="0" t="0" r="r" b="b"/>
              <a:pathLst>
                <a:path w="106" h="318">
                  <a:moveTo>
                    <a:pt x="4" y="148"/>
                  </a:moveTo>
                  <a:lnTo>
                    <a:pt x="20" y="132"/>
                  </a:lnTo>
                  <a:lnTo>
                    <a:pt x="40" y="110"/>
                  </a:lnTo>
                  <a:lnTo>
                    <a:pt x="60" y="88"/>
                  </a:lnTo>
                  <a:lnTo>
                    <a:pt x="78" y="64"/>
                  </a:lnTo>
                  <a:lnTo>
                    <a:pt x="88" y="46"/>
                  </a:lnTo>
                  <a:lnTo>
                    <a:pt x="96" y="28"/>
                  </a:lnTo>
                  <a:lnTo>
                    <a:pt x="102" y="12"/>
                  </a:lnTo>
                  <a:lnTo>
                    <a:pt x="106" y="0"/>
                  </a:lnTo>
                  <a:lnTo>
                    <a:pt x="106" y="36"/>
                  </a:lnTo>
                  <a:lnTo>
                    <a:pt x="104" y="60"/>
                  </a:lnTo>
                  <a:lnTo>
                    <a:pt x="104" y="88"/>
                  </a:lnTo>
                  <a:lnTo>
                    <a:pt x="102" y="144"/>
                  </a:lnTo>
                  <a:lnTo>
                    <a:pt x="102" y="194"/>
                  </a:lnTo>
                  <a:lnTo>
                    <a:pt x="100" y="212"/>
                  </a:lnTo>
                  <a:lnTo>
                    <a:pt x="96" y="220"/>
                  </a:lnTo>
                  <a:lnTo>
                    <a:pt x="90" y="234"/>
                  </a:lnTo>
                  <a:lnTo>
                    <a:pt x="70" y="264"/>
                  </a:lnTo>
                  <a:lnTo>
                    <a:pt x="54" y="286"/>
                  </a:lnTo>
                  <a:lnTo>
                    <a:pt x="36" y="302"/>
                  </a:lnTo>
                  <a:lnTo>
                    <a:pt x="18" y="314"/>
                  </a:lnTo>
                  <a:lnTo>
                    <a:pt x="0" y="318"/>
                  </a:lnTo>
                  <a:lnTo>
                    <a:pt x="4" y="148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8" name="Freeform 255"/>
            <p:cNvSpPr>
              <a:spLocks/>
            </p:cNvSpPr>
            <p:nvPr/>
          </p:nvSpPr>
          <p:spPr bwMode="auto">
            <a:xfrm flipH="1">
              <a:off x="4341" y="2828"/>
              <a:ext cx="53" cy="153"/>
            </a:xfrm>
            <a:custGeom>
              <a:avLst/>
              <a:gdLst/>
              <a:ahLst/>
              <a:cxnLst>
                <a:cxn ang="0">
                  <a:pos x="4" y="140"/>
                </a:cxn>
                <a:cxn ang="0">
                  <a:pos x="20" y="126"/>
                </a:cxn>
                <a:cxn ang="0">
                  <a:pos x="38" y="106"/>
                </a:cxn>
                <a:cxn ang="0">
                  <a:pos x="58" y="84"/>
                </a:cxn>
                <a:cxn ang="0">
                  <a:pos x="76" y="60"/>
                </a:cxn>
                <a:cxn ang="0">
                  <a:pos x="88" y="42"/>
                </a:cxn>
                <a:cxn ang="0">
                  <a:pos x="98" y="26"/>
                </a:cxn>
                <a:cxn ang="0">
                  <a:pos x="104" y="10"/>
                </a:cxn>
                <a:cxn ang="0">
                  <a:pos x="106" y="0"/>
                </a:cxn>
                <a:cxn ang="0">
                  <a:pos x="106" y="34"/>
                </a:cxn>
                <a:cxn ang="0">
                  <a:pos x="106" y="58"/>
                </a:cxn>
                <a:cxn ang="0">
                  <a:pos x="104" y="86"/>
                </a:cxn>
                <a:cxn ang="0">
                  <a:pos x="102" y="144"/>
                </a:cxn>
                <a:cxn ang="0">
                  <a:pos x="100" y="170"/>
                </a:cxn>
                <a:cxn ang="0">
                  <a:pos x="100" y="192"/>
                </a:cxn>
                <a:cxn ang="0">
                  <a:pos x="100" y="202"/>
                </a:cxn>
                <a:cxn ang="0">
                  <a:pos x="98" y="208"/>
                </a:cxn>
                <a:cxn ang="0">
                  <a:pos x="96" y="218"/>
                </a:cxn>
                <a:cxn ang="0">
                  <a:pos x="90" y="232"/>
                </a:cxn>
                <a:cxn ang="0">
                  <a:pos x="82" y="246"/>
                </a:cxn>
                <a:cxn ang="0">
                  <a:pos x="72" y="260"/>
                </a:cxn>
                <a:cxn ang="0">
                  <a:pos x="54" y="280"/>
                </a:cxn>
                <a:cxn ang="0">
                  <a:pos x="36" y="296"/>
                </a:cxn>
                <a:cxn ang="0">
                  <a:pos x="18" y="304"/>
                </a:cxn>
                <a:cxn ang="0">
                  <a:pos x="0" y="306"/>
                </a:cxn>
                <a:cxn ang="0">
                  <a:pos x="4" y="140"/>
                </a:cxn>
              </a:cxnLst>
              <a:rect l="0" t="0" r="r" b="b"/>
              <a:pathLst>
                <a:path w="106" h="306">
                  <a:moveTo>
                    <a:pt x="4" y="140"/>
                  </a:moveTo>
                  <a:lnTo>
                    <a:pt x="20" y="126"/>
                  </a:lnTo>
                  <a:lnTo>
                    <a:pt x="38" y="106"/>
                  </a:lnTo>
                  <a:lnTo>
                    <a:pt x="58" y="84"/>
                  </a:lnTo>
                  <a:lnTo>
                    <a:pt x="76" y="60"/>
                  </a:lnTo>
                  <a:lnTo>
                    <a:pt x="88" y="42"/>
                  </a:lnTo>
                  <a:lnTo>
                    <a:pt x="98" y="26"/>
                  </a:lnTo>
                  <a:lnTo>
                    <a:pt x="104" y="10"/>
                  </a:lnTo>
                  <a:lnTo>
                    <a:pt x="106" y="0"/>
                  </a:lnTo>
                  <a:lnTo>
                    <a:pt x="106" y="34"/>
                  </a:lnTo>
                  <a:lnTo>
                    <a:pt x="106" y="58"/>
                  </a:lnTo>
                  <a:lnTo>
                    <a:pt x="104" y="86"/>
                  </a:lnTo>
                  <a:lnTo>
                    <a:pt x="102" y="144"/>
                  </a:lnTo>
                  <a:lnTo>
                    <a:pt x="100" y="170"/>
                  </a:lnTo>
                  <a:lnTo>
                    <a:pt x="100" y="192"/>
                  </a:lnTo>
                  <a:lnTo>
                    <a:pt x="100" y="202"/>
                  </a:lnTo>
                  <a:lnTo>
                    <a:pt x="98" y="208"/>
                  </a:lnTo>
                  <a:lnTo>
                    <a:pt x="96" y="218"/>
                  </a:lnTo>
                  <a:lnTo>
                    <a:pt x="90" y="232"/>
                  </a:lnTo>
                  <a:lnTo>
                    <a:pt x="82" y="246"/>
                  </a:lnTo>
                  <a:lnTo>
                    <a:pt x="72" y="260"/>
                  </a:lnTo>
                  <a:lnTo>
                    <a:pt x="54" y="280"/>
                  </a:lnTo>
                  <a:lnTo>
                    <a:pt x="36" y="296"/>
                  </a:lnTo>
                  <a:lnTo>
                    <a:pt x="18" y="304"/>
                  </a:lnTo>
                  <a:lnTo>
                    <a:pt x="0" y="306"/>
                  </a:lnTo>
                  <a:lnTo>
                    <a:pt x="4" y="140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09" name="Freeform 256"/>
            <p:cNvSpPr>
              <a:spLocks/>
            </p:cNvSpPr>
            <p:nvPr/>
          </p:nvSpPr>
          <p:spPr bwMode="auto">
            <a:xfrm flipH="1">
              <a:off x="4343" y="2834"/>
              <a:ext cx="55" cy="148"/>
            </a:xfrm>
            <a:custGeom>
              <a:avLst/>
              <a:gdLst/>
              <a:ahLst/>
              <a:cxnLst>
                <a:cxn ang="0">
                  <a:pos x="6" y="132"/>
                </a:cxn>
                <a:cxn ang="0">
                  <a:pos x="20" y="120"/>
                </a:cxn>
                <a:cxn ang="0">
                  <a:pos x="40" y="102"/>
                </a:cxn>
                <a:cxn ang="0">
                  <a:pos x="62" y="80"/>
                </a:cxn>
                <a:cxn ang="0">
                  <a:pos x="80" y="58"/>
                </a:cxn>
                <a:cxn ang="0">
                  <a:pos x="90" y="40"/>
                </a:cxn>
                <a:cxn ang="0">
                  <a:pos x="100" y="24"/>
                </a:cxn>
                <a:cxn ang="0">
                  <a:pos x="106" y="10"/>
                </a:cxn>
                <a:cxn ang="0">
                  <a:pos x="110" y="0"/>
                </a:cxn>
                <a:cxn ang="0">
                  <a:pos x="110" y="32"/>
                </a:cxn>
                <a:cxn ang="0">
                  <a:pos x="108" y="58"/>
                </a:cxn>
                <a:cxn ang="0">
                  <a:pos x="108" y="86"/>
                </a:cxn>
                <a:cxn ang="0">
                  <a:pos x="106" y="144"/>
                </a:cxn>
                <a:cxn ang="0">
                  <a:pos x="106" y="192"/>
                </a:cxn>
                <a:cxn ang="0">
                  <a:pos x="104" y="202"/>
                </a:cxn>
                <a:cxn ang="0">
                  <a:pos x="102" y="208"/>
                </a:cxn>
                <a:cxn ang="0">
                  <a:pos x="98" y="218"/>
                </a:cxn>
                <a:cxn ang="0">
                  <a:pos x="92" y="230"/>
                </a:cxn>
                <a:cxn ang="0">
                  <a:pos x="84" y="242"/>
                </a:cxn>
                <a:cxn ang="0">
                  <a:pos x="72" y="258"/>
                </a:cxn>
                <a:cxn ang="0">
                  <a:pos x="56" y="274"/>
                </a:cxn>
                <a:cxn ang="0">
                  <a:pos x="38" y="288"/>
                </a:cxn>
                <a:cxn ang="0">
                  <a:pos x="18" y="296"/>
                </a:cxn>
                <a:cxn ang="0">
                  <a:pos x="8" y="296"/>
                </a:cxn>
                <a:cxn ang="0">
                  <a:pos x="0" y="294"/>
                </a:cxn>
                <a:cxn ang="0">
                  <a:pos x="6" y="132"/>
                </a:cxn>
              </a:cxnLst>
              <a:rect l="0" t="0" r="r" b="b"/>
              <a:pathLst>
                <a:path w="110" h="296">
                  <a:moveTo>
                    <a:pt x="6" y="132"/>
                  </a:moveTo>
                  <a:lnTo>
                    <a:pt x="20" y="120"/>
                  </a:lnTo>
                  <a:lnTo>
                    <a:pt x="40" y="102"/>
                  </a:lnTo>
                  <a:lnTo>
                    <a:pt x="62" y="80"/>
                  </a:lnTo>
                  <a:lnTo>
                    <a:pt x="80" y="58"/>
                  </a:lnTo>
                  <a:lnTo>
                    <a:pt x="90" y="40"/>
                  </a:lnTo>
                  <a:lnTo>
                    <a:pt x="100" y="24"/>
                  </a:lnTo>
                  <a:lnTo>
                    <a:pt x="106" y="10"/>
                  </a:lnTo>
                  <a:lnTo>
                    <a:pt x="110" y="0"/>
                  </a:lnTo>
                  <a:lnTo>
                    <a:pt x="110" y="32"/>
                  </a:lnTo>
                  <a:lnTo>
                    <a:pt x="108" y="58"/>
                  </a:lnTo>
                  <a:lnTo>
                    <a:pt x="108" y="86"/>
                  </a:lnTo>
                  <a:lnTo>
                    <a:pt x="106" y="144"/>
                  </a:lnTo>
                  <a:lnTo>
                    <a:pt x="106" y="192"/>
                  </a:lnTo>
                  <a:lnTo>
                    <a:pt x="104" y="202"/>
                  </a:lnTo>
                  <a:lnTo>
                    <a:pt x="102" y="208"/>
                  </a:lnTo>
                  <a:lnTo>
                    <a:pt x="98" y="218"/>
                  </a:lnTo>
                  <a:lnTo>
                    <a:pt x="92" y="230"/>
                  </a:lnTo>
                  <a:lnTo>
                    <a:pt x="84" y="242"/>
                  </a:lnTo>
                  <a:lnTo>
                    <a:pt x="72" y="258"/>
                  </a:lnTo>
                  <a:lnTo>
                    <a:pt x="56" y="274"/>
                  </a:lnTo>
                  <a:lnTo>
                    <a:pt x="38" y="288"/>
                  </a:lnTo>
                  <a:lnTo>
                    <a:pt x="18" y="296"/>
                  </a:lnTo>
                  <a:lnTo>
                    <a:pt x="8" y="296"/>
                  </a:lnTo>
                  <a:lnTo>
                    <a:pt x="0" y="294"/>
                  </a:lnTo>
                  <a:lnTo>
                    <a:pt x="6" y="132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0" name="Freeform 257"/>
            <p:cNvSpPr>
              <a:spLocks/>
            </p:cNvSpPr>
            <p:nvPr/>
          </p:nvSpPr>
          <p:spPr bwMode="auto">
            <a:xfrm flipH="1">
              <a:off x="4346" y="2839"/>
              <a:ext cx="54" cy="145"/>
            </a:xfrm>
            <a:custGeom>
              <a:avLst/>
              <a:gdLst/>
              <a:ahLst/>
              <a:cxnLst>
                <a:cxn ang="0">
                  <a:pos x="6" y="126"/>
                </a:cxn>
                <a:cxn ang="0">
                  <a:pos x="10" y="122"/>
                </a:cxn>
                <a:cxn ang="0">
                  <a:pos x="18" y="114"/>
                </a:cxn>
                <a:cxn ang="0">
                  <a:pos x="36" y="98"/>
                </a:cxn>
                <a:cxn ang="0">
                  <a:pos x="58" y="76"/>
                </a:cxn>
                <a:cxn ang="0">
                  <a:pos x="78" y="56"/>
                </a:cxn>
                <a:cxn ang="0">
                  <a:pos x="88" y="38"/>
                </a:cxn>
                <a:cxn ang="0">
                  <a:pos x="98" y="22"/>
                </a:cxn>
                <a:cxn ang="0">
                  <a:pos x="104" y="10"/>
                </a:cxn>
                <a:cxn ang="0">
                  <a:pos x="108" y="0"/>
                </a:cxn>
                <a:cxn ang="0">
                  <a:pos x="108" y="30"/>
                </a:cxn>
                <a:cxn ang="0">
                  <a:pos x="106" y="56"/>
                </a:cxn>
                <a:cxn ang="0">
                  <a:pos x="104" y="84"/>
                </a:cxn>
                <a:cxn ang="0">
                  <a:pos x="104" y="144"/>
                </a:cxn>
                <a:cxn ang="0">
                  <a:pos x="102" y="170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0" y="208"/>
                </a:cxn>
                <a:cxn ang="0">
                  <a:pos x="98" y="216"/>
                </a:cxn>
                <a:cxn ang="0">
                  <a:pos x="92" y="228"/>
                </a:cxn>
                <a:cxn ang="0">
                  <a:pos x="82" y="240"/>
                </a:cxn>
                <a:cxn ang="0">
                  <a:pos x="70" y="256"/>
                </a:cxn>
                <a:cxn ang="0">
                  <a:pos x="54" y="272"/>
                </a:cxn>
                <a:cxn ang="0">
                  <a:pos x="34" y="284"/>
                </a:cxn>
                <a:cxn ang="0">
                  <a:pos x="16" y="290"/>
                </a:cxn>
                <a:cxn ang="0">
                  <a:pos x="8" y="288"/>
                </a:cxn>
                <a:cxn ang="0">
                  <a:pos x="0" y="284"/>
                </a:cxn>
                <a:cxn ang="0">
                  <a:pos x="6" y="126"/>
                </a:cxn>
              </a:cxnLst>
              <a:rect l="0" t="0" r="r" b="b"/>
              <a:pathLst>
                <a:path w="108" h="290">
                  <a:moveTo>
                    <a:pt x="6" y="126"/>
                  </a:moveTo>
                  <a:lnTo>
                    <a:pt x="10" y="122"/>
                  </a:lnTo>
                  <a:lnTo>
                    <a:pt x="18" y="114"/>
                  </a:lnTo>
                  <a:lnTo>
                    <a:pt x="36" y="98"/>
                  </a:lnTo>
                  <a:lnTo>
                    <a:pt x="58" y="76"/>
                  </a:lnTo>
                  <a:lnTo>
                    <a:pt x="78" y="56"/>
                  </a:lnTo>
                  <a:lnTo>
                    <a:pt x="88" y="38"/>
                  </a:lnTo>
                  <a:lnTo>
                    <a:pt x="98" y="22"/>
                  </a:lnTo>
                  <a:lnTo>
                    <a:pt x="104" y="10"/>
                  </a:lnTo>
                  <a:lnTo>
                    <a:pt x="108" y="0"/>
                  </a:lnTo>
                  <a:lnTo>
                    <a:pt x="108" y="30"/>
                  </a:lnTo>
                  <a:lnTo>
                    <a:pt x="106" y="56"/>
                  </a:lnTo>
                  <a:lnTo>
                    <a:pt x="104" y="84"/>
                  </a:lnTo>
                  <a:lnTo>
                    <a:pt x="104" y="144"/>
                  </a:lnTo>
                  <a:lnTo>
                    <a:pt x="102" y="170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0" y="208"/>
                  </a:lnTo>
                  <a:lnTo>
                    <a:pt x="98" y="216"/>
                  </a:lnTo>
                  <a:lnTo>
                    <a:pt x="92" y="228"/>
                  </a:lnTo>
                  <a:lnTo>
                    <a:pt x="82" y="240"/>
                  </a:lnTo>
                  <a:lnTo>
                    <a:pt x="70" y="256"/>
                  </a:lnTo>
                  <a:lnTo>
                    <a:pt x="54" y="272"/>
                  </a:lnTo>
                  <a:lnTo>
                    <a:pt x="34" y="284"/>
                  </a:lnTo>
                  <a:lnTo>
                    <a:pt x="16" y="290"/>
                  </a:lnTo>
                  <a:lnTo>
                    <a:pt x="8" y="288"/>
                  </a:lnTo>
                  <a:lnTo>
                    <a:pt x="0" y="284"/>
                  </a:lnTo>
                  <a:lnTo>
                    <a:pt x="6" y="126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1" name="Freeform 258"/>
            <p:cNvSpPr>
              <a:spLocks/>
            </p:cNvSpPr>
            <p:nvPr/>
          </p:nvSpPr>
          <p:spPr bwMode="auto">
            <a:xfrm flipH="1">
              <a:off x="4348" y="2845"/>
              <a:ext cx="55" cy="141"/>
            </a:xfrm>
            <a:custGeom>
              <a:avLst/>
              <a:gdLst/>
              <a:ahLst/>
              <a:cxnLst>
                <a:cxn ang="0">
                  <a:pos x="6" y="120"/>
                </a:cxn>
                <a:cxn ang="0">
                  <a:pos x="10" y="114"/>
                </a:cxn>
                <a:cxn ang="0">
                  <a:pos x="16" y="108"/>
                </a:cxn>
                <a:cxn ang="0">
                  <a:pos x="26" y="102"/>
                </a:cxn>
                <a:cxn ang="0">
                  <a:pos x="36" y="92"/>
                </a:cxn>
                <a:cxn ang="0">
                  <a:pos x="58" y="74"/>
                </a:cxn>
                <a:cxn ang="0">
                  <a:pos x="78" y="52"/>
                </a:cxn>
                <a:cxn ang="0">
                  <a:pos x="92" y="36"/>
                </a:cxn>
                <a:cxn ang="0">
                  <a:pos x="102" y="20"/>
                </a:cxn>
                <a:cxn ang="0">
                  <a:pos x="106" y="8"/>
                </a:cxn>
                <a:cxn ang="0">
                  <a:pos x="110" y="0"/>
                </a:cxn>
                <a:cxn ang="0">
                  <a:pos x="110" y="30"/>
                </a:cxn>
                <a:cxn ang="0">
                  <a:pos x="108" y="56"/>
                </a:cxn>
                <a:cxn ang="0">
                  <a:pos x="106" y="84"/>
                </a:cxn>
                <a:cxn ang="0">
                  <a:pos x="104" y="146"/>
                </a:cxn>
                <a:cxn ang="0">
                  <a:pos x="102" y="172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2" y="208"/>
                </a:cxn>
                <a:cxn ang="0">
                  <a:pos x="98" y="214"/>
                </a:cxn>
                <a:cxn ang="0">
                  <a:pos x="92" y="226"/>
                </a:cxn>
                <a:cxn ang="0">
                  <a:pos x="82" y="240"/>
                </a:cxn>
                <a:cxn ang="0">
                  <a:pos x="70" y="252"/>
                </a:cxn>
                <a:cxn ang="0">
                  <a:pos x="54" y="266"/>
                </a:cxn>
                <a:cxn ang="0">
                  <a:pos x="36" y="278"/>
                </a:cxn>
                <a:cxn ang="0">
                  <a:pos x="16" y="282"/>
                </a:cxn>
                <a:cxn ang="0">
                  <a:pos x="8" y="278"/>
                </a:cxn>
                <a:cxn ang="0">
                  <a:pos x="0" y="274"/>
                </a:cxn>
                <a:cxn ang="0">
                  <a:pos x="6" y="120"/>
                </a:cxn>
              </a:cxnLst>
              <a:rect l="0" t="0" r="r" b="b"/>
              <a:pathLst>
                <a:path w="110" h="282">
                  <a:moveTo>
                    <a:pt x="6" y="120"/>
                  </a:moveTo>
                  <a:lnTo>
                    <a:pt x="10" y="114"/>
                  </a:lnTo>
                  <a:lnTo>
                    <a:pt x="16" y="108"/>
                  </a:lnTo>
                  <a:lnTo>
                    <a:pt x="26" y="102"/>
                  </a:lnTo>
                  <a:lnTo>
                    <a:pt x="36" y="92"/>
                  </a:lnTo>
                  <a:lnTo>
                    <a:pt x="58" y="74"/>
                  </a:lnTo>
                  <a:lnTo>
                    <a:pt x="78" y="52"/>
                  </a:lnTo>
                  <a:lnTo>
                    <a:pt x="92" y="36"/>
                  </a:lnTo>
                  <a:lnTo>
                    <a:pt x="102" y="20"/>
                  </a:lnTo>
                  <a:lnTo>
                    <a:pt x="106" y="8"/>
                  </a:lnTo>
                  <a:lnTo>
                    <a:pt x="110" y="0"/>
                  </a:lnTo>
                  <a:lnTo>
                    <a:pt x="110" y="30"/>
                  </a:lnTo>
                  <a:lnTo>
                    <a:pt x="108" y="56"/>
                  </a:lnTo>
                  <a:lnTo>
                    <a:pt x="106" y="84"/>
                  </a:lnTo>
                  <a:lnTo>
                    <a:pt x="104" y="146"/>
                  </a:lnTo>
                  <a:lnTo>
                    <a:pt x="102" y="172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2" y="208"/>
                  </a:lnTo>
                  <a:lnTo>
                    <a:pt x="98" y="214"/>
                  </a:lnTo>
                  <a:lnTo>
                    <a:pt x="92" y="226"/>
                  </a:lnTo>
                  <a:lnTo>
                    <a:pt x="82" y="240"/>
                  </a:lnTo>
                  <a:lnTo>
                    <a:pt x="70" y="252"/>
                  </a:lnTo>
                  <a:lnTo>
                    <a:pt x="54" y="266"/>
                  </a:lnTo>
                  <a:lnTo>
                    <a:pt x="36" y="278"/>
                  </a:lnTo>
                  <a:lnTo>
                    <a:pt x="16" y="282"/>
                  </a:lnTo>
                  <a:lnTo>
                    <a:pt x="8" y="278"/>
                  </a:lnTo>
                  <a:lnTo>
                    <a:pt x="0" y="274"/>
                  </a:lnTo>
                  <a:lnTo>
                    <a:pt x="6" y="120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2" name="Freeform 259"/>
            <p:cNvSpPr>
              <a:spLocks/>
            </p:cNvSpPr>
            <p:nvPr/>
          </p:nvSpPr>
          <p:spPr bwMode="auto">
            <a:xfrm flipH="1">
              <a:off x="4350" y="2851"/>
              <a:ext cx="56" cy="136"/>
            </a:xfrm>
            <a:custGeom>
              <a:avLst/>
              <a:gdLst/>
              <a:ahLst/>
              <a:cxnLst>
                <a:cxn ang="0">
                  <a:pos x="6" y="112"/>
                </a:cxn>
                <a:cxn ang="0">
                  <a:pos x="10" y="108"/>
                </a:cxn>
                <a:cxn ang="0">
                  <a:pos x="18" y="102"/>
                </a:cxn>
                <a:cxn ang="0">
                  <a:pos x="36" y="88"/>
                </a:cxn>
                <a:cxn ang="0">
                  <a:pos x="58" y="70"/>
                </a:cxn>
                <a:cxn ang="0">
                  <a:pos x="78" y="48"/>
                </a:cxn>
                <a:cxn ang="0">
                  <a:pos x="92" y="32"/>
                </a:cxn>
                <a:cxn ang="0">
                  <a:pos x="102" y="18"/>
                </a:cxn>
                <a:cxn ang="0">
                  <a:pos x="108" y="6"/>
                </a:cxn>
                <a:cxn ang="0">
                  <a:pos x="112" y="0"/>
                </a:cxn>
                <a:cxn ang="0">
                  <a:pos x="112" y="10"/>
                </a:cxn>
                <a:cxn ang="0">
                  <a:pos x="110" y="28"/>
                </a:cxn>
                <a:cxn ang="0">
                  <a:pos x="110" y="54"/>
                </a:cxn>
                <a:cxn ang="0">
                  <a:pos x="108" y="82"/>
                </a:cxn>
                <a:cxn ang="0">
                  <a:pos x="106" y="144"/>
                </a:cxn>
                <a:cxn ang="0">
                  <a:pos x="106" y="172"/>
                </a:cxn>
                <a:cxn ang="0">
                  <a:pos x="104" y="194"/>
                </a:cxn>
                <a:cxn ang="0">
                  <a:pos x="104" y="202"/>
                </a:cxn>
                <a:cxn ang="0">
                  <a:pos x="102" y="208"/>
                </a:cxn>
                <a:cxn ang="0">
                  <a:pos x="100" y="214"/>
                </a:cxn>
                <a:cxn ang="0">
                  <a:pos x="94" y="224"/>
                </a:cxn>
                <a:cxn ang="0">
                  <a:pos x="84" y="236"/>
                </a:cxn>
                <a:cxn ang="0">
                  <a:pos x="72" y="248"/>
                </a:cxn>
                <a:cxn ang="0">
                  <a:pos x="54" y="264"/>
                </a:cxn>
                <a:cxn ang="0">
                  <a:pos x="34" y="272"/>
                </a:cxn>
                <a:cxn ang="0">
                  <a:pos x="24" y="272"/>
                </a:cxn>
                <a:cxn ang="0">
                  <a:pos x="14" y="272"/>
                </a:cxn>
                <a:cxn ang="0">
                  <a:pos x="6" y="270"/>
                </a:cxn>
                <a:cxn ang="0">
                  <a:pos x="0" y="264"/>
                </a:cxn>
                <a:cxn ang="0">
                  <a:pos x="6" y="112"/>
                </a:cxn>
              </a:cxnLst>
              <a:rect l="0" t="0" r="r" b="b"/>
              <a:pathLst>
                <a:path w="112" h="272">
                  <a:moveTo>
                    <a:pt x="6" y="112"/>
                  </a:moveTo>
                  <a:lnTo>
                    <a:pt x="10" y="108"/>
                  </a:lnTo>
                  <a:lnTo>
                    <a:pt x="18" y="102"/>
                  </a:lnTo>
                  <a:lnTo>
                    <a:pt x="36" y="88"/>
                  </a:lnTo>
                  <a:lnTo>
                    <a:pt x="58" y="70"/>
                  </a:lnTo>
                  <a:lnTo>
                    <a:pt x="78" y="48"/>
                  </a:lnTo>
                  <a:lnTo>
                    <a:pt x="92" y="32"/>
                  </a:lnTo>
                  <a:lnTo>
                    <a:pt x="102" y="18"/>
                  </a:lnTo>
                  <a:lnTo>
                    <a:pt x="108" y="6"/>
                  </a:lnTo>
                  <a:lnTo>
                    <a:pt x="112" y="0"/>
                  </a:lnTo>
                  <a:lnTo>
                    <a:pt x="112" y="10"/>
                  </a:lnTo>
                  <a:lnTo>
                    <a:pt x="110" y="28"/>
                  </a:lnTo>
                  <a:lnTo>
                    <a:pt x="110" y="54"/>
                  </a:lnTo>
                  <a:lnTo>
                    <a:pt x="108" y="82"/>
                  </a:lnTo>
                  <a:lnTo>
                    <a:pt x="106" y="144"/>
                  </a:lnTo>
                  <a:lnTo>
                    <a:pt x="106" y="172"/>
                  </a:lnTo>
                  <a:lnTo>
                    <a:pt x="104" y="194"/>
                  </a:lnTo>
                  <a:lnTo>
                    <a:pt x="104" y="202"/>
                  </a:lnTo>
                  <a:lnTo>
                    <a:pt x="102" y="208"/>
                  </a:lnTo>
                  <a:lnTo>
                    <a:pt x="100" y="214"/>
                  </a:lnTo>
                  <a:lnTo>
                    <a:pt x="94" y="224"/>
                  </a:lnTo>
                  <a:lnTo>
                    <a:pt x="84" y="236"/>
                  </a:lnTo>
                  <a:lnTo>
                    <a:pt x="72" y="248"/>
                  </a:lnTo>
                  <a:lnTo>
                    <a:pt x="54" y="264"/>
                  </a:lnTo>
                  <a:lnTo>
                    <a:pt x="34" y="272"/>
                  </a:lnTo>
                  <a:lnTo>
                    <a:pt x="24" y="272"/>
                  </a:lnTo>
                  <a:lnTo>
                    <a:pt x="14" y="272"/>
                  </a:lnTo>
                  <a:lnTo>
                    <a:pt x="6" y="270"/>
                  </a:lnTo>
                  <a:lnTo>
                    <a:pt x="0" y="264"/>
                  </a:lnTo>
                  <a:lnTo>
                    <a:pt x="6" y="112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3" name="Freeform 260"/>
            <p:cNvSpPr>
              <a:spLocks/>
            </p:cNvSpPr>
            <p:nvPr/>
          </p:nvSpPr>
          <p:spPr bwMode="auto">
            <a:xfrm flipH="1">
              <a:off x="4353" y="2856"/>
              <a:ext cx="55" cy="134"/>
            </a:xfrm>
            <a:custGeom>
              <a:avLst/>
              <a:gdLst/>
              <a:ahLst/>
              <a:cxnLst>
                <a:cxn ang="0">
                  <a:pos x="6" y="104"/>
                </a:cxn>
                <a:cxn ang="0">
                  <a:pos x="8" y="100"/>
                </a:cxn>
                <a:cxn ang="0">
                  <a:pos x="16" y="96"/>
                </a:cxn>
                <a:cxn ang="0">
                  <a:pos x="24" y="90"/>
                </a:cxn>
                <a:cxn ang="0">
                  <a:pos x="34" y="82"/>
                </a:cxn>
                <a:cxn ang="0">
                  <a:pos x="58" y="66"/>
                </a:cxn>
                <a:cxn ang="0">
                  <a:pos x="68" y="56"/>
                </a:cxn>
                <a:cxn ang="0">
                  <a:pos x="76" y="48"/>
                </a:cxn>
                <a:cxn ang="0">
                  <a:pos x="92" y="30"/>
                </a:cxn>
                <a:cxn ang="0">
                  <a:pos x="102" y="16"/>
                </a:cxn>
                <a:cxn ang="0">
                  <a:pos x="108" y="4"/>
                </a:cxn>
                <a:cxn ang="0">
                  <a:pos x="110" y="0"/>
                </a:cxn>
                <a:cxn ang="0">
                  <a:pos x="110" y="28"/>
                </a:cxn>
                <a:cxn ang="0">
                  <a:pos x="108" y="52"/>
                </a:cxn>
                <a:cxn ang="0">
                  <a:pos x="106" y="82"/>
                </a:cxn>
                <a:cxn ang="0">
                  <a:pos x="104" y="146"/>
                </a:cxn>
                <a:cxn ang="0">
                  <a:pos x="102" y="174"/>
                </a:cxn>
                <a:cxn ang="0">
                  <a:pos x="102" y="194"/>
                </a:cxn>
                <a:cxn ang="0">
                  <a:pos x="102" y="204"/>
                </a:cxn>
                <a:cxn ang="0">
                  <a:pos x="102" y="208"/>
                </a:cxn>
                <a:cxn ang="0">
                  <a:pos x="100" y="212"/>
                </a:cxn>
                <a:cxn ang="0">
                  <a:pos x="94" y="222"/>
                </a:cxn>
                <a:cxn ang="0">
                  <a:pos x="84" y="234"/>
                </a:cxn>
                <a:cxn ang="0">
                  <a:pos x="70" y="246"/>
                </a:cxn>
                <a:cxn ang="0">
                  <a:pos x="52" y="260"/>
                </a:cxn>
                <a:cxn ang="0">
                  <a:pos x="34" y="266"/>
                </a:cxn>
                <a:cxn ang="0">
                  <a:pos x="22" y="268"/>
                </a:cxn>
                <a:cxn ang="0">
                  <a:pos x="14" y="266"/>
                </a:cxn>
                <a:cxn ang="0">
                  <a:pos x="6" y="262"/>
                </a:cxn>
                <a:cxn ang="0">
                  <a:pos x="0" y="254"/>
                </a:cxn>
                <a:cxn ang="0">
                  <a:pos x="6" y="104"/>
                </a:cxn>
              </a:cxnLst>
              <a:rect l="0" t="0" r="r" b="b"/>
              <a:pathLst>
                <a:path w="110" h="268">
                  <a:moveTo>
                    <a:pt x="6" y="104"/>
                  </a:moveTo>
                  <a:lnTo>
                    <a:pt x="8" y="100"/>
                  </a:lnTo>
                  <a:lnTo>
                    <a:pt x="16" y="96"/>
                  </a:lnTo>
                  <a:lnTo>
                    <a:pt x="24" y="90"/>
                  </a:lnTo>
                  <a:lnTo>
                    <a:pt x="34" y="82"/>
                  </a:lnTo>
                  <a:lnTo>
                    <a:pt x="58" y="66"/>
                  </a:lnTo>
                  <a:lnTo>
                    <a:pt x="68" y="56"/>
                  </a:lnTo>
                  <a:lnTo>
                    <a:pt x="76" y="48"/>
                  </a:lnTo>
                  <a:lnTo>
                    <a:pt x="92" y="30"/>
                  </a:lnTo>
                  <a:lnTo>
                    <a:pt x="102" y="16"/>
                  </a:lnTo>
                  <a:lnTo>
                    <a:pt x="108" y="4"/>
                  </a:lnTo>
                  <a:lnTo>
                    <a:pt x="110" y="0"/>
                  </a:lnTo>
                  <a:lnTo>
                    <a:pt x="110" y="28"/>
                  </a:lnTo>
                  <a:lnTo>
                    <a:pt x="108" y="52"/>
                  </a:lnTo>
                  <a:lnTo>
                    <a:pt x="106" y="82"/>
                  </a:lnTo>
                  <a:lnTo>
                    <a:pt x="104" y="146"/>
                  </a:lnTo>
                  <a:lnTo>
                    <a:pt x="102" y="174"/>
                  </a:lnTo>
                  <a:lnTo>
                    <a:pt x="102" y="194"/>
                  </a:lnTo>
                  <a:lnTo>
                    <a:pt x="102" y="204"/>
                  </a:lnTo>
                  <a:lnTo>
                    <a:pt x="102" y="208"/>
                  </a:lnTo>
                  <a:lnTo>
                    <a:pt x="100" y="212"/>
                  </a:lnTo>
                  <a:lnTo>
                    <a:pt x="94" y="222"/>
                  </a:lnTo>
                  <a:lnTo>
                    <a:pt x="84" y="234"/>
                  </a:lnTo>
                  <a:lnTo>
                    <a:pt x="70" y="246"/>
                  </a:lnTo>
                  <a:lnTo>
                    <a:pt x="52" y="260"/>
                  </a:lnTo>
                  <a:lnTo>
                    <a:pt x="34" y="266"/>
                  </a:lnTo>
                  <a:lnTo>
                    <a:pt x="22" y="268"/>
                  </a:lnTo>
                  <a:lnTo>
                    <a:pt x="14" y="266"/>
                  </a:lnTo>
                  <a:lnTo>
                    <a:pt x="6" y="262"/>
                  </a:lnTo>
                  <a:lnTo>
                    <a:pt x="0" y="254"/>
                  </a:lnTo>
                  <a:lnTo>
                    <a:pt x="6" y="104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4" name="Freeform 261"/>
            <p:cNvSpPr>
              <a:spLocks/>
            </p:cNvSpPr>
            <p:nvPr/>
          </p:nvSpPr>
          <p:spPr bwMode="auto">
            <a:xfrm flipH="1">
              <a:off x="4798" y="2787"/>
              <a:ext cx="64" cy="19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17"/>
                </a:cxn>
                <a:cxn ang="0">
                  <a:pos x="0" y="219"/>
                </a:cxn>
                <a:cxn ang="0">
                  <a:pos x="2" y="223"/>
                </a:cxn>
                <a:cxn ang="0">
                  <a:pos x="4" y="231"/>
                </a:cxn>
                <a:cxn ang="0">
                  <a:pos x="6" y="239"/>
                </a:cxn>
                <a:cxn ang="0">
                  <a:pos x="16" y="261"/>
                </a:cxn>
                <a:cxn ang="0">
                  <a:pos x="32" y="287"/>
                </a:cxn>
                <a:cxn ang="0">
                  <a:pos x="52" y="313"/>
                </a:cxn>
                <a:cxn ang="0">
                  <a:pos x="68" y="337"/>
                </a:cxn>
                <a:cxn ang="0">
                  <a:pos x="98" y="379"/>
                </a:cxn>
                <a:cxn ang="0">
                  <a:pos x="108" y="317"/>
                </a:cxn>
                <a:cxn ang="0">
                  <a:pos x="114" y="289"/>
                </a:cxn>
                <a:cxn ang="0">
                  <a:pos x="118" y="265"/>
                </a:cxn>
                <a:cxn ang="0">
                  <a:pos x="122" y="243"/>
                </a:cxn>
                <a:cxn ang="0">
                  <a:pos x="124" y="227"/>
                </a:cxn>
                <a:cxn ang="0">
                  <a:pos x="128" y="217"/>
                </a:cxn>
                <a:cxn ang="0">
                  <a:pos x="128" y="215"/>
                </a:cxn>
                <a:cxn ang="0">
                  <a:pos x="126" y="213"/>
                </a:cxn>
                <a:cxn ang="0">
                  <a:pos x="120" y="207"/>
                </a:cxn>
                <a:cxn ang="0">
                  <a:pos x="110" y="197"/>
                </a:cxn>
                <a:cxn ang="0">
                  <a:pos x="98" y="187"/>
                </a:cxn>
                <a:cxn ang="0">
                  <a:pos x="72" y="161"/>
                </a:cxn>
                <a:cxn ang="0">
                  <a:pos x="62" y="149"/>
                </a:cxn>
                <a:cxn ang="0">
                  <a:pos x="54" y="139"/>
                </a:cxn>
                <a:cxn ang="0">
                  <a:pos x="46" y="125"/>
                </a:cxn>
                <a:cxn ang="0">
                  <a:pos x="38" y="105"/>
                </a:cxn>
                <a:cxn ang="0">
                  <a:pos x="20" y="59"/>
                </a:cxn>
                <a:cxn ang="0">
                  <a:pos x="12" y="37"/>
                </a:cxn>
                <a:cxn ang="0">
                  <a:pos x="6" y="18"/>
                </a:cxn>
                <a:cxn ang="0">
                  <a:pos x="2" y="4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128" h="379">
                  <a:moveTo>
                    <a:pt x="0" y="0"/>
                  </a:moveTo>
                  <a:lnTo>
                    <a:pt x="0" y="217"/>
                  </a:lnTo>
                  <a:lnTo>
                    <a:pt x="0" y="219"/>
                  </a:lnTo>
                  <a:lnTo>
                    <a:pt x="2" y="223"/>
                  </a:lnTo>
                  <a:lnTo>
                    <a:pt x="4" y="231"/>
                  </a:lnTo>
                  <a:lnTo>
                    <a:pt x="6" y="239"/>
                  </a:lnTo>
                  <a:lnTo>
                    <a:pt x="16" y="261"/>
                  </a:lnTo>
                  <a:lnTo>
                    <a:pt x="32" y="287"/>
                  </a:lnTo>
                  <a:lnTo>
                    <a:pt x="52" y="313"/>
                  </a:lnTo>
                  <a:lnTo>
                    <a:pt x="68" y="337"/>
                  </a:lnTo>
                  <a:lnTo>
                    <a:pt x="98" y="379"/>
                  </a:lnTo>
                  <a:lnTo>
                    <a:pt x="108" y="317"/>
                  </a:lnTo>
                  <a:lnTo>
                    <a:pt x="114" y="289"/>
                  </a:lnTo>
                  <a:lnTo>
                    <a:pt x="118" y="265"/>
                  </a:lnTo>
                  <a:lnTo>
                    <a:pt x="122" y="243"/>
                  </a:lnTo>
                  <a:lnTo>
                    <a:pt x="124" y="227"/>
                  </a:lnTo>
                  <a:lnTo>
                    <a:pt x="128" y="217"/>
                  </a:lnTo>
                  <a:lnTo>
                    <a:pt x="128" y="215"/>
                  </a:lnTo>
                  <a:lnTo>
                    <a:pt x="126" y="213"/>
                  </a:lnTo>
                  <a:lnTo>
                    <a:pt x="120" y="207"/>
                  </a:lnTo>
                  <a:lnTo>
                    <a:pt x="110" y="197"/>
                  </a:lnTo>
                  <a:lnTo>
                    <a:pt x="98" y="187"/>
                  </a:lnTo>
                  <a:lnTo>
                    <a:pt x="72" y="161"/>
                  </a:lnTo>
                  <a:lnTo>
                    <a:pt x="62" y="149"/>
                  </a:lnTo>
                  <a:lnTo>
                    <a:pt x="54" y="139"/>
                  </a:lnTo>
                  <a:lnTo>
                    <a:pt x="46" y="125"/>
                  </a:lnTo>
                  <a:lnTo>
                    <a:pt x="38" y="105"/>
                  </a:lnTo>
                  <a:lnTo>
                    <a:pt x="20" y="59"/>
                  </a:lnTo>
                  <a:lnTo>
                    <a:pt x="12" y="37"/>
                  </a:lnTo>
                  <a:lnTo>
                    <a:pt x="6" y="18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5" name="Freeform 262"/>
            <p:cNvSpPr>
              <a:spLocks/>
            </p:cNvSpPr>
            <p:nvPr/>
          </p:nvSpPr>
          <p:spPr bwMode="auto">
            <a:xfrm flipH="1">
              <a:off x="4370" y="2883"/>
              <a:ext cx="441" cy="168"/>
            </a:xfrm>
            <a:custGeom>
              <a:avLst/>
              <a:gdLst/>
              <a:ahLst/>
              <a:cxnLst>
                <a:cxn ang="0">
                  <a:pos x="826" y="44"/>
                </a:cxn>
                <a:cxn ang="0">
                  <a:pos x="786" y="68"/>
                </a:cxn>
                <a:cxn ang="0">
                  <a:pos x="740" y="88"/>
                </a:cxn>
                <a:cxn ang="0">
                  <a:pos x="688" y="106"/>
                </a:cxn>
                <a:cxn ang="0">
                  <a:pos x="629" y="122"/>
                </a:cxn>
                <a:cxn ang="0">
                  <a:pos x="583" y="130"/>
                </a:cxn>
                <a:cxn ang="0">
                  <a:pos x="539" y="136"/>
                </a:cxn>
                <a:cxn ang="0">
                  <a:pos x="495" y="140"/>
                </a:cxn>
                <a:cxn ang="0">
                  <a:pos x="449" y="142"/>
                </a:cxn>
                <a:cxn ang="0">
                  <a:pos x="405" y="140"/>
                </a:cxn>
                <a:cxn ang="0">
                  <a:pos x="363" y="138"/>
                </a:cxn>
                <a:cxn ang="0">
                  <a:pos x="319" y="134"/>
                </a:cxn>
                <a:cxn ang="0">
                  <a:pos x="279" y="126"/>
                </a:cxn>
                <a:cxn ang="0">
                  <a:pos x="237" y="116"/>
                </a:cxn>
                <a:cxn ang="0">
                  <a:pos x="199" y="106"/>
                </a:cxn>
                <a:cxn ang="0">
                  <a:pos x="161" y="94"/>
                </a:cxn>
                <a:cxn ang="0">
                  <a:pos x="125" y="78"/>
                </a:cxn>
                <a:cxn ang="0">
                  <a:pos x="91" y="60"/>
                </a:cxn>
                <a:cxn ang="0">
                  <a:pos x="59" y="44"/>
                </a:cxn>
                <a:cxn ang="0">
                  <a:pos x="30" y="22"/>
                </a:cxn>
                <a:cxn ang="0">
                  <a:pos x="0" y="0"/>
                </a:cxn>
                <a:cxn ang="0">
                  <a:pos x="0" y="194"/>
                </a:cxn>
                <a:cxn ang="0">
                  <a:pos x="30" y="216"/>
                </a:cxn>
                <a:cxn ang="0">
                  <a:pos x="59" y="236"/>
                </a:cxn>
                <a:cxn ang="0">
                  <a:pos x="91" y="256"/>
                </a:cxn>
                <a:cxn ang="0">
                  <a:pos x="125" y="272"/>
                </a:cxn>
                <a:cxn ang="0">
                  <a:pos x="161" y="286"/>
                </a:cxn>
                <a:cxn ang="0">
                  <a:pos x="199" y="300"/>
                </a:cxn>
                <a:cxn ang="0">
                  <a:pos x="237" y="312"/>
                </a:cxn>
                <a:cxn ang="0">
                  <a:pos x="279" y="320"/>
                </a:cxn>
                <a:cxn ang="0">
                  <a:pos x="319" y="328"/>
                </a:cxn>
                <a:cxn ang="0">
                  <a:pos x="363" y="332"/>
                </a:cxn>
                <a:cxn ang="0">
                  <a:pos x="405" y="336"/>
                </a:cxn>
                <a:cxn ang="0">
                  <a:pos x="449" y="336"/>
                </a:cxn>
                <a:cxn ang="0">
                  <a:pos x="495" y="334"/>
                </a:cxn>
                <a:cxn ang="0">
                  <a:pos x="539" y="330"/>
                </a:cxn>
                <a:cxn ang="0">
                  <a:pos x="583" y="324"/>
                </a:cxn>
                <a:cxn ang="0">
                  <a:pos x="629" y="316"/>
                </a:cxn>
                <a:cxn ang="0">
                  <a:pos x="671" y="306"/>
                </a:cxn>
                <a:cxn ang="0">
                  <a:pos x="710" y="294"/>
                </a:cxn>
                <a:cxn ang="0">
                  <a:pos x="744" y="280"/>
                </a:cxn>
                <a:cxn ang="0">
                  <a:pos x="780" y="266"/>
                </a:cxn>
                <a:cxn ang="0">
                  <a:pos x="808" y="250"/>
                </a:cxn>
                <a:cxn ang="0">
                  <a:pos x="836" y="234"/>
                </a:cxn>
                <a:cxn ang="0">
                  <a:pos x="860" y="214"/>
                </a:cxn>
                <a:cxn ang="0">
                  <a:pos x="882" y="194"/>
                </a:cxn>
                <a:cxn ang="0">
                  <a:pos x="826" y="44"/>
                </a:cxn>
              </a:cxnLst>
              <a:rect l="0" t="0" r="r" b="b"/>
              <a:pathLst>
                <a:path w="882" h="336">
                  <a:moveTo>
                    <a:pt x="826" y="44"/>
                  </a:moveTo>
                  <a:lnTo>
                    <a:pt x="786" y="68"/>
                  </a:lnTo>
                  <a:lnTo>
                    <a:pt x="740" y="88"/>
                  </a:lnTo>
                  <a:lnTo>
                    <a:pt x="688" y="106"/>
                  </a:lnTo>
                  <a:lnTo>
                    <a:pt x="629" y="122"/>
                  </a:lnTo>
                  <a:lnTo>
                    <a:pt x="583" y="130"/>
                  </a:lnTo>
                  <a:lnTo>
                    <a:pt x="539" y="136"/>
                  </a:lnTo>
                  <a:lnTo>
                    <a:pt x="495" y="140"/>
                  </a:lnTo>
                  <a:lnTo>
                    <a:pt x="449" y="142"/>
                  </a:lnTo>
                  <a:lnTo>
                    <a:pt x="405" y="140"/>
                  </a:lnTo>
                  <a:lnTo>
                    <a:pt x="363" y="138"/>
                  </a:lnTo>
                  <a:lnTo>
                    <a:pt x="319" y="134"/>
                  </a:lnTo>
                  <a:lnTo>
                    <a:pt x="279" y="126"/>
                  </a:lnTo>
                  <a:lnTo>
                    <a:pt x="237" y="116"/>
                  </a:lnTo>
                  <a:lnTo>
                    <a:pt x="199" y="106"/>
                  </a:lnTo>
                  <a:lnTo>
                    <a:pt x="161" y="94"/>
                  </a:lnTo>
                  <a:lnTo>
                    <a:pt x="125" y="78"/>
                  </a:lnTo>
                  <a:lnTo>
                    <a:pt x="91" y="60"/>
                  </a:lnTo>
                  <a:lnTo>
                    <a:pt x="59" y="44"/>
                  </a:lnTo>
                  <a:lnTo>
                    <a:pt x="30" y="22"/>
                  </a:lnTo>
                  <a:lnTo>
                    <a:pt x="0" y="0"/>
                  </a:lnTo>
                  <a:lnTo>
                    <a:pt x="0" y="194"/>
                  </a:lnTo>
                  <a:lnTo>
                    <a:pt x="30" y="216"/>
                  </a:lnTo>
                  <a:lnTo>
                    <a:pt x="59" y="236"/>
                  </a:lnTo>
                  <a:lnTo>
                    <a:pt x="91" y="256"/>
                  </a:lnTo>
                  <a:lnTo>
                    <a:pt x="125" y="272"/>
                  </a:lnTo>
                  <a:lnTo>
                    <a:pt x="161" y="286"/>
                  </a:lnTo>
                  <a:lnTo>
                    <a:pt x="199" y="300"/>
                  </a:lnTo>
                  <a:lnTo>
                    <a:pt x="237" y="312"/>
                  </a:lnTo>
                  <a:lnTo>
                    <a:pt x="279" y="320"/>
                  </a:lnTo>
                  <a:lnTo>
                    <a:pt x="319" y="328"/>
                  </a:lnTo>
                  <a:lnTo>
                    <a:pt x="363" y="332"/>
                  </a:lnTo>
                  <a:lnTo>
                    <a:pt x="405" y="336"/>
                  </a:lnTo>
                  <a:lnTo>
                    <a:pt x="449" y="336"/>
                  </a:lnTo>
                  <a:lnTo>
                    <a:pt x="495" y="334"/>
                  </a:lnTo>
                  <a:lnTo>
                    <a:pt x="539" y="330"/>
                  </a:lnTo>
                  <a:lnTo>
                    <a:pt x="583" y="324"/>
                  </a:lnTo>
                  <a:lnTo>
                    <a:pt x="629" y="316"/>
                  </a:lnTo>
                  <a:lnTo>
                    <a:pt x="671" y="306"/>
                  </a:lnTo>
                  <a:lnTo>
                    <a:pt x="710" y="294"/>
                  </a:lnTo>
                  <a:lnTo>
                    <a:pt x="744" y="280"/>
                  </a:lnTo>
                  <a:lnTo>
                    <a:pt x="780" y="266"/>
                  </a:lnTo>
                  <a:lnTo>
                    <a:pt x="808" y="250"/>
                  </a:lnTo>
                  <a:lnTo>
                    <a:pt x="836" y="234"/>
                  </a:lnTo>
                  <a:lnTo>
                    <a:pt x="860" y="214"/>
                  </a:lnTo>
                  <a:lnTo>
                    <a:pt x="882" y="194"/>
                  </a:lnTo>
                  <a:lnTo>
                    <a:pt x="826" y="44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6" name="Freeform 263"/>
            <p:cNvSpPr>
              <a:spLocks/>
            </p:cNvSpPr>
            <p:nvPr/>
          </p:nvSpPr>
          <p:spPr bwMode="auto">
            <a:xfrm flipH="1">
              <a:off x="4321" y="2778"/>
              <a:ext cx="49" cy="202"/>
            </a:xfrm>
            <a:custGeom>
              <a:avLst/>
              <a:gdLst/>
              <a:ahLst/>
              <a:cxnLst>
                <a:cxn ang="0">
                  <a:pos x="4" y="205"/>
                </a:cxn>
                <a:cxn ang="0">
                  <a:pos x="24" y="185"/>
                </a:cxn>
                <a:cxn ang="0">
                  <a:pos x="40" y="161"/>
                </a:cxn>
                <a:cxn ang="0">
                  <a:pos x="54" y="135"/>
                </a:cxn>
                <a:cxn ang="0">
                  <a:pos x="68" y="111"/>
                </a:cxn>
                <a:cxn ang="0">
                  <a:pos x="88" y="55"/>
                </a:cxn>
                <a:cxn ang="0">
                  <a:pos x="98" y="0"/>
                </a:cxn>
                <a:cxn ang="0">
                  <a:pos x="98" y="193"/>
                </a:cxn>
                <a:cxn ang="0">
                  <a:pos x="86" y="251"/>
                </a:cxn>
                <a:cxn ang="0">
                  <a:pos x="66" y="305"/>
                </a:cxn>
                <a:cxn ang="0">
                  <a:pos x="52" y="331"/>
                </a:cxn>
                <a:cxn ang="0">
                  <a:pos x="38" y="357"/>
                </a:cxn>
                <a:cxn ang="0">
                  <a:pos x="20" y="381"/>
                </a:cxn>
                <a:cxn ang="0">
                  <a:pos x="0" y="403"/>
                </a:cxn>
                <a:cxn ang="0">
                  <a:pos x="4" y="205"/>
                </a:cxn>
              </a:cxnLst>
              <a:rect l="0" t="0" r="r" b="b"/>
              <a:pathLst>
                <a:path w="98" h="403">
                  <a:moveTo>
                    <a:pt x="4" y="205"/>
                  </a:moveTo>
                  <a:lnTo>
                    <a:pt x="24" y="185"/>
                  </a:lnTo>
                  <a:lnTo>
                    <a:pt x="40" y="161"/>
                  </a:lnTo>
                  <a:lnTo>
                    <a:pt x="54" y="135"/>
                  </a:lnTo>
                  <a:lnTo>
                    <a:pt x="68" y="111"/>
                  </a:lnTo>
                  <a:lnTo>
                    <a:pt x="88" y="55"/>
                  </a:lnTo>
                  <a:lnTo>
                    <a:pt x="98" y="0"/>
                  </a:lnTo>
                  <a:lnTo>
                    <a:pt x="98" y="193"/>
                  </a:lnTo>
                  <a:lnTo>
                    <a:pt x="86" y="251"/>
                  </a:lnTo>
                  <a:lnTo>
                    <a:pt x="66" y="305"/>
                  </a:lnTo>
                  <a:lnTo>
                    <a:pt x="52" y="331"/>
                  </a:lnTo>
                  <a:lnTo>
                    <a:pt x="38" y="357"/>
                  </a:lnTo>
                  <a:lnTo>
                    <a:pt x="20" y="381"/>
                  </a:lnTo>
                  <a:lnTo>
                    <a:pt x="0" y="403"/>
                  </a:lnTo>
                  <a:lnTo>
                    <a:pt x="4" y="205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7" name="Freeform 264"/>
            <p:cNvSpPr>
              <a:spLocks/>
            </p:cNvSpPr>
            <p:nvPr/>
          </p:nvSpPr>
          <p:spPr bwMode="auto">
            <a:xfrm flipH="1">
              <a:off x="4439" y="2952"/>
              <a:ext cx="174" cy="94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28"/>
                </a:cxn>
                <a:cxn ang="0">
                  <a:pos x="2" y="142"/>
                </a:cxn>
                <a:cxn ang="0">
                  <a:pos x="6" y="154"/>
                </a:cxn>
                <a:cxn ang="0">
                  <a:pos x="12" y="162"/>
                </a:cxn>
                <a:cxn ang="0">
                  <a:pos x="30" y="176"/>
                </a:cxn>
                <a:cxn ang="0">
                  <a:pos x="54" y="184"/>
                </a:cxn>
                <a:cxn ang="0">
                  <a:pos x="82" y="188"/>
                </a:cxn>
                <a:cxn ang="0">
                  <a:pos x="116" y="188"/>
                </a:cxn>
                <a:cxn ang="0">
                  <a:pos x="184" y="182"/>
                </a:cxn>
                <a:cxn ang="0">
                  <a:pos x="218" y="174"/>
                </a:cxn>
                <a:cxn ang="0">
                  <a:pos x="252" y="166"/>
                </a:cxn>
                <a:cxn ang="0">
                  <a:pos x="279" y="154"/>
                </a:cxn>
                <a:cxn ang="0">
                  <a:pos x="303" y="140"/>
                </a:cxn>
                <a:cxn ang="0">
                  <a:pos x="321" y="124"/>
                </a:cxn>
                <a:cxn ang="0">
                  <a:pos x="337" y="106"/>
                </a:cxn>
                <a:cxn ang="0">
                  <a:pos x="345" y="88"/>
                </a:cxn>
                <a:cxn ang="0">
                  <a:pos x="347" y="70"/>
                </a:cxn>
                <a:cxn ang="0">
                  <a:pos x="339" y="52"/>
                </a:cxn>
                <a:cxn ang="0">
                  <a:pos x="329" y="38"/>
                </a:cxn>
                <a:cxn ang="0">
                  <a:pos x="311" y="26"/>
                </a:cxn>
                <a:cxn ang="0">
                  <a:pos x="287" y="14"/>
                </a:cxn>
                <a:cxn ang="0">
                  <a:pos x="262" y="6"/>
                </a:cxn>
                <a:cxn ang="0">
                  <a:pos x="230" y="0"/>
                </a:cxn>
                <a:cxn ang="0">
                  <a:pos x="198" y="0"/>
                </a:cxn>
                <a:cxn ang="0">
                  <a:pos x="162" y="2"/>
                </a:cxn>
                <a:cxn ang="0">
                  <a:pos x="128" y="8"/>
                </a:cxn>
                <a:cxn ang="0">
                  <a:pos x="98" y="12"/>
                </a:cxn>
                <a:cxn ang="0">
                  <a:pos x="70" y="20"/>
                </a:cxn>
                <a:cxn ang="0">
                  <a:pos x="46" y="30"/>
                </a:cxn>
                <a:cxn ang="0">
                  <a:pos x="28" y="44"/>
                </a:cxn>
                <a:cxn ang="0">
                  <a:pos x="14" y="62"/>
                </a:cxn>
                <a:cxn ang="0">
                  <a:pos x="4" y="84"/>
                </a:cxn>
                <a:cxn ang="0">
                  <a:pos x="0" y="114"/>
                </a:cxn>
              </a:cxnLst>
              <a:rect l="0" t="0" r="r" b="b"/>
              <a:pathLst>
                <a:path w="347" h="188">
                  <a:moveTo>
                    <a:pt x="0" y="114"/>
                  </a:moveTo>
                  <a:lnTo>
                    <a:pt x="0" y="128"/>
                  </a:lnTo>
                  <a:lnTo>
                    <a:pt x="2" y="142"/>
                  </a:lnTo>
                  <a:lnTo>
                    <a:pt x="6" y="154"/>
                  </a:lnTo>
                  <a:lnTo>
                    <a:pt x="12" y="162"/>
                  </a:lnTo>
                  <a:lnTo>
                    <a:pt x="30" y="176"/>
                  </a:lnTo>
                  <a:lnTo>
                    <a:pt x="54" y="184"/>
                  </a:lnTo>
                  <a:lnTo>
                    <a:pt x="82" y="188"/>
                  </a:lnTo>
                  <a:lnTo>
                    <a:pt x="116" y="188"/>
                  </a:lnTo>
                  <a:lnTo>
                    <a:pt x="184" y="182"/>
                  </a:lnTo>
                  <a:lnTo>
                    <a:pt x="218" y="174"/>
                  </a:lnTo>
                  <a:lnTo>
                    <a:pt x="252" y="166"/>
                  </a:lnTo>
                  <a:lnTo>
                    <a:pt x="279" y="154"/>
                  </a:lnTo>
                  <a:lnTo>
                    <a:pt x="303" y="140"/>
                  </a:lnTo>
                  <a:lnTo>
                    <a:pt x="321" y="124"/>
                  </a:lnTo>
                  <a:lnTo>
                    <a:pt x="337" y="106"/>
                  </a:lnTo>
                  <a:lnTo>
                    <a:pt x="345" y="88"/>
                  </a:lnTo>
                  <a:lnTo>
                    <a:pt x="347" y="70"/>
                  </a:lnTo>
                  <a:lnTo>
                    <a:pt x="339" y="52"/>
                  </a:lnTo>
                  <a:lnTo>
                    <a:pt x="329" y="38"/>
                  </a:lnTo>
                  <a:lnTo>
                    <a:pt x="311" y="26"/>
                  </a:lnTo>
                  <a:lnTo>
                    <a:pt x="287" y="14"/>
                  </a:lnTo>
                  <a:lnTo>
                    <a:pt x="262" y="6"/>
                  </a:lnTo>
                  <a:lnTo>
                    <a:pt x="230" y="0"/>
                  </a:lnTo>
                  <a:lnTo>
                    <a:pt x="198" y="0"/>
                  </a:lnTo>
                  <a:lnTo>
                    <a:pt x="162" y="2"/>
                  </a:lnTo>
                  <a:lnTo>
                    <a:pt x="128" y="8"/>
                  </a:lnTo>
                  <a:lnTo>
                    <a:pt x="98" y="12"/>
                  </a:lnTo>
                  <a:lnTo>
                    <a:pt x="70" y="20"/>
                  </a:lnTo>
                  <a:lnTo>
                    <a:pt x="46" y="30"/>
                  </a:lnTo>
                  <a:lnTo>
                    <a:pt x="28" y="44"/>
                  </a:lnTo>
                  <a:lnTo>
                    <a:pt x="14" y="62"/>
                  </a:lnTo>
                  <a:lnTo>
                    <a:pt x="4" y="84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8" name="Freeform 265"/>
            <p:cNvSpPr>
              <a:spLocks/>
            </p:cNvSpPr>
            <p:nvPr/>
          </p:nvSpPr>
          <p:spPr bwMode="auto">
            <a:xfrm flipH="1">
              <a:off x="4445" y="2956"/>
              <a:ext cx="166" cy="90"/>
            </a:xfrm>
            <a:custGeom>
              <a:avLst/>
              <a:gdLst/>
              <a:ahLst/>
              <a:cxnLst>
                <a:cxn ang="0">
                  <a:pos x="0" y="106"/>
                </a:cxn>
                <a:cxn ang="0">
                  <a:pos x="0" y="122"/>
                </a:cxn>
                <a:cxn ang="0">
                  <a:pos x="2" y="134"/>
                </a:cxn>
                <a:cxn ang="0">
                  <a:pos x="6" y="146"/>
                </a:cxn>
                <a:cxn ang="0">
                  <a:pos x="12" y="154"/>
                </a:cxn>
                <a:cxn ang="0">
                  <a:pos x="30" y="168"/>
                </a:cxn>
                <a:cxn ang="0">
                  <a:pos x="52" y="176"/>
                </a:cxn>
                <a:cxn ang="0">
                  <a:pos x="78" y="180"/>
                </a:cxn>
                <a:cxn ang="0">
                  <a:pos x="108" y="180"/>
                </a:cxn>
                <a:cxn ang="0">
                  <a:pos x="176" y="174"/>
                </a:cxn>
                <a:cxn ang="0">
                  <a:pos x="210" y="168"/>
                </a:cxn>
                <a:cxn ang="0">
                  <a:pos x="240" y="158"/>
                </a:cxn>
                <a:cxn ang="0">
                  <a:pos x="268" y="148"/>
                </a:cxn>
                <a:cxn ang="0">
                  <a:pos x="289" y="134"/>
                </a:cxn>
                <a:cxn ang="0">
                  <a:pos x="309" y="120"/>
                </a:cxn>
                <a:cxn ang="0">
                  <a:pos x="323" y="104"/>
                </a:cxn>
                <a:cxn ang="0">
                  <a:pos x="331" y="84"/>
                </a:cxn>
                <a:cxn ang="0">
                  <a:pos x="331" y="66"/>
                </a:cxn>
                <a:cxn ang="0">
                  <a:pos x="325" y="50"/>
                </a:cxn>
                <a:cxn ang="0">
                  <a:pos x="315" y="36"/>
                </a:cxn>
                <a:cxn ang="0">
                  <a:pos x="297" y="22"/>
                </a:cxn>
                <a:cxn ang="0">
                  <a:pos x="275" y="14"/>
                </a:cxn>
                <a:cxn ang="0">
                  <a:pos x="250" y="4"/>
                </a:cxn>
                <a:cxn ang="0">
                  <a:pos x="220" y="0"/>
                </a:cxn>
                <a:cxn ang="0">
                  <a:pos x="190" y="0"/>
                </a:cxn>
                <a:cxn ang="0">
                  <a:pos x="156" y="2"/>
                </a:cxn>
                <a:cxn ang="0">
                  <a:pos x="124" y="4"/>
                </a:cxn>
                <a:cxn ang="0">
                  <a:pos x="92" y="10"/>
                </a:cxn>
                <a:cxn ang="0">
                  <a:pos x="66" y="16"/>
                </a:cxn>
                <a:cxn ang="0">
                  <a:pos x="46" y="26"/>
                </a:cxn>
                <a:cxn ang="0">
                  <a:pos x="28" y="40"/>
                </a:cxn>
                <a:cxn ang="0">
                  <a:pos x="12" y="56"/>
                </a:cxn>
                <a:cxn ang="0">
                  <a:pos x="4" y="78"/>
                </a:cxn>
                <a:cxn ang="0">
                  <a:pos x="0" y="106"/>
                </a:cxn>
              </a:cxnLst>
              <a:rect l="0" t="0" r="r" b="b"/>
              <a:pathLst>
                <a:path w="331" h="180">
                  <a:moveTo>
                    <a:pt x="0" y="106"/>
                  </a:moveTo>
                  <a:lnTo>
                    <a:pt x="0" y="122"/>
                  </a:lnTo>
                  <a:lnTo>
                    <a:pt x="2" y="134"/>
                  </a:lnTo>
                  <a:lnTo>
                    <a:pt x="6" y="146"/>
                  </a:lnTo>
                  <a:lnTo>
                    <a:pt x="12" y="154"/>
                  </a:lnTo>
                  <a:lnTo>
                    <a:pt x="30" y="168"/>
                  </a:lnTo>
                  <a:lnTo>
                    <a:pt x="52" y="176"/>
                  </a:lnTo>
                  <a:lnTo>
                    <a:pt x="78" y="180"/>
                  </a:lnTo>
                  <a:lnTo>
                    <a:pt x="108" y="180"/>
                  </a:lnTo>
                  <a:lnTo>
                    <a:pt x="176" y="174"/>
                  </a:lnTo>
                  <a:lnTo>
                    <a:pt x="210" y="168"/>
                  </a:lnTo>
                  <a:lnTo>
                    <a:pt x="240" y="158"/>
                  </a:lnTo>
                  <a:lnTo>
                    <a:pt x="268" y="148"/>
                  </a:lnTo>
                  <a:lnTo>
                    <a:pt x="289" y="134"/>
                  </a:lnTo>
                  <a:lnTo>
                    <a:pt x="309" y="120"/>
                  </a:lnTo>
                  <a:lnTo>
                    <a:pt x="323" y="104"/>
                  </a:lnTo>
                  <a:lnTo>
                    <a:pt x="331" y="84"/>
                  </a:lnTo>
                  <a:lnTo>
                    <a:pt x="331" y="66"/>
                  </a:lnTo>
                  <a:lnTo>
                    <a:pt x="325" y="50"/>
                  </a:lnTo>
                  <a:lnTo>
                    <a:pt x="315" y="36"/>
                  </a:lnTo>
                  <a:lnTo>
                    <a:pt x="297" y="22"/>
                  </a:lnTo>
                  <a:lnTo>
                    <a:pt x="275" y="14"/>
                  </a:lnTo>
                  <a:lnTo>
                    <a:pt x="250" y="4"/>
                  </a:lnTo>
                  <a:lnTo>
                    <a:pt x="220" y="0"/>
                  </a:lnTo>
                  <a:lnTo>
                    <a:pt x="190" y="0"/>
                  </a:lnTo>
                  <a:lnTo>
                    <a:pt x="156" y="2"/>
                  </a:lnTo>
                  <a:lnTo>
                    <a:pt x="124" y="4"/>
                  </a:lnTo>
                  <a:lnTo>
                    <a:pt x="92" y="10"/>
                  </a:lnTo>
                  <a:lnTo>
                    <a:pt x="66" y="16"/>
                  </a:lnTo>
                  <a:lnTo>
                    <a:pt x="46" y="26"/>
                  </a:lnTo>
                  <a:lnTo>
                    <a:pt x="28" y="40"/>
                  </a:lnTo>
                  <a:lnTo>
                    <a:pt x="12" y="56"/>
                  </a:lnTo>
                  <a:lnTo>
                    <a:pt x="4" y="78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FF8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19" name="Freeform 266"/>
            <p:cNvSpPr>
              <a:spLocks/>
            </p:cNvSpPr>
            <p:nvPr/>
          </p:nvSpPr>
          <p:spPr bwMode="auto">
            <a:xfrm flipH="1">
              <a:off x="4450" y="2960"/>
              <a:ext cx="160" cy="86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0" y="116"/>
                </a:cxn>
                <a:cxn ang="0">
                  <a:pos x="2" y="128"/>
                </a:cxn>
                <a:cxn ang="0">
                  <a:pos x="10" y="148"/>
                </a:cxn>
                <a:cxn ang="0">
                  <a:pos x="28" y="160"/>
                </a:cxn>
                <a:cxn ang="0">
                  <a:pos x="50" y="168"/>
                </a:cxn>
                <a:cxn ang="0">
                  <a:pos x="76" y="172"/>
                </a:cxn>
                <a:cxn ang="0">
                  <a:pos x="106" y="172"/>
                </a:cxn>
                <a:cxn ang="0">
                  <a:pos x="170" y="166"/>
                </a:cxn>
                <a:cxn ang="0">
                  <a:pos x="202" y="160"/>
                </a:cxn>
                <a:cxn ang="0">
                  <a:pos x="232" y="152"/>
                </a:cxn>
                <a:cxn ang="0">
                  <a:pos x="258" y="142"/>
                </a:cxn>
                <a:cxn ang="0">
                  <a:pos x="277" y="130"/>
                </a:cxn>
                <a:cxn ang="0">
                  <a:pos x="295" y="114"/>
                </a:cxn>
                <a:cxn ang="0">
                  <a:pos x="309" y="98"/>
                </a:cxn>
                <a:cxn ang="0">
                  <a:pos x="317" y="82"/>
                </a:cxn>
                <a:cxn ang="0">
                  <a:pos x="319" y="64"/>
                </a:cxn>
                <a:cxn ang="0">
                  <a:pos x="313" y="48"/>
                </a:cxn>
                <a:cxn ang="0">
                  <a:pos x="303" y="34"/>
                </a:cxn>
                <a:cxn ang="0">
                  <a:pos x="287" y="22"/>
                </a:cxn>
                <a:cxn ang="0">
                  <a:pos x="266" y="12"/>
                </a:cxn>
                <a:cxn ang="0">
                  <a:pos x="242" y="4"/>
                </a:cxn>
                <a:cxn ang="0">
                  <a:pos x="214" y="2"/>
                </a:cxn>
                <a:cxn ang="0">
                  <a:pos x="184" y="0"/>
                </a:cxn>
                <a:cxn ang="0">
                  <a:pos x="150" y="2"/>
                </a:cxn>
                <a:cxn ang="0">
                  <a:pos x="118" y="4"/>
                </a:cxn>
                <a:cxn ang="0">
                  <a:pos x="90" y="10"/>
                </a:cxn>
                <a:cxn ang="0">
                  <a:pos x="64" y="18"/>
                </a:cxn>
                <a:cxn ang="0">
                  <a:pos x="44" y="26"/>
                </a:cxn>
                <a:cxn ang="0">
                  <a:pos x="28" y="38"/>
                </a:cxn>
                <a:cxn ang="0">
                  <a:pos x="12" y="54"/>
                </a:cxn>
                <a:cxn ang="0">
                  <a:pos x="4" y="76"/>
                </a:cxn>
                <a:cxn ang="0">
                  <a:pos x="0" y="102"/>
                </a:cxn>
              </a:cxnLst>
              <a:rect l="0" t="0" r="r" b="b"/>
              <a:pathLst>
                <a:path w="319" h="172">
                  <a:moveTo>
                    <a:pt x="0" y="102"/>
                  </a:moveTo>
                  <a:lnTo>
                    <a:pt x="0" y="116"/>
                  </a:lnTo>
                  <a:lnTo>
                    <a:pt x="2" y="128"/>
                  </a:lnTo>
                  <a:lnTo>
                    <a:pt x="10" y="148"/>
                  </a:lnTo>
                  <a:lnTo>
                    <a:pt x="28" y="160"/>
                  </a:lnTo>
                  <a:lnTo>
                    <a:pt x="50" y="168"/>
                  </a:lnTo>
                  <a:lnTo>
                    <a:pt x="76" y="172"/>
                  </a:lnTo>
                  <a:lnTo>
                    <a:pt x="106" y="172"/>
                  </a:lnTo>
                  <a:lnTo>
                    <a:pt x="170" y="166"/>
                  </a:lnTo>
                  <a:lnTo>
                    <a:pt x="202" y="160"/>
                  </a:lnTo>
                  <a:lnTo>
                    <a:pt x="232" y="152"/>
                  </a:lnTo>
                  <a:lnTo>
                    <a:pt x="258" y="142"/>
                  </a:lnTo>
                  <a:lnTo>
                    <a:pt x="277" y="130"/>
                  </a:lnTo>
                  <a:lnTo>
                    <a:pt x="295" y="114"/>
                  </a:lnTo>
                  <a:lnTo>
                    <a:pt x="309" y="98"/>
                  </a:lnTo>
                  <a:lnTo>
                    <a:pt x="317" y="82"/>
                  </a:lnTo>
                  <a:lnTo>
                    <a:pt x="319" y="64"/>
                  </a:lnTo>
                  <a:lnTo>
                    <a:pt x="313" y="48"/>
                  </a:lnTo>
                  <a:lnTo>
                    <a:pt x="303" y="34"/>
                  </a:lnTo>
                  <a:lnTo>
                    <a:pt x="287" y="22"/>
                  </a:lnTo>
                  <a:lnTo>
                    <a:pt x="266" y="12"/>
                  </a:lnTo>
                  <a:lnTo>
                    <a:pt x="242" y="4"/>
                  </a:lnTo>
                  <a:lnTo>
                    <a:pt x="214" y="2"/>
                  </a:lnTo>
                  <a:lnTo>
                    <a:pt x="184" y="0"/>
                  </a:lnTo>
                  <a:lnTo>
                    <a:pt x="150" y="2"/>
                  </a:lnTo>
                  <a:lnTo>
                    <a:pt x="118" y="4"/>
                  </a:lnTo>
                  <a:lnTo>
                    <a:pt x="90" y="10"/>
                  </a:lnTo>
                  <a:lnTo>
                    <a:pt x="64" y="18"/>
                  </a:lnTo>
                  <a:lnTo>
                    <a:pt x="44" y="26"/>
                  </a:lnTo>
                  <a:lnTo>
                    <a:pt x="28" y="38"/>
                  </a:lnTo>
                  <a:lnTo>
                    <a:pt x="12" y="54"/>
                  </a:lnTo>
                  <a:lnTo>
                    <a:pt x="4" y="76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FF9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0" name="Freeform 267"/>
            <p:cNvSpPr>
              <a:spLocks/>
            </p:cNvSpPr>
            <p:nvPr/>
          </p:nvSpPr>
          <p:spPr bwMode="auto">
            <a:xfrm flipH="1">
              <a:off x="4456" y="2964"/>
              <a:ext cx="153" cy="82"/>
            </a:xfrm>
            <a:custGeom>
              <a:avLst/>
              <a:gdLst/>
              <a:ahLst/>
              <a:cxnLst>
                <a:cxn ang="0">
                  <a:pos x="0" y="98"/>
                </a:cxn>
                <a:cxn ang="0">
                  <a:pos x="0" y="110"/>
                </a:cxn>
                <a:cxn ang="0">
                  <a:pos x="2" y="122"/>
                </a:cxn>
                <a:cxn ang="0">
                  <a:pos x="12" y="140"/>
                </a:cxn>
                <a:cxn ang="0">
                  <a:pos x="26" y="152"/>
                </a:cxn>
                <a:cxn ang="0">
                  <a:pos x="46" y="160"/>
                </a:cxn>
                <a:cxn ang="0">
                  <a:pos x="72" y="164"/>
                </a:cxn>
                <a:cxn ang="0">
                  <a:pos x="98" y="164"/>
                </a:cxn>
                <a:cxn ang="0">
                  <a:pos x="160" y="158"/>
                </a:cxn>
                <a:cxn ang="0">
                  <a:pos x="192" y="154"/>
                </a:cxn>
                <a:cxn ang="0">
                  <a:pos x="220" y="146"/>
                </a:cxn>
                <a:cxn ang="0">
                  <a:pos x="246" y="136"/>
                </a:cxn>
                <a:cxn ang="0">
                  <a:pos x="266" y="124"/>
                </a:cxn>
                <a:cxn ang="0">
                  <a:pos x="283" y="110"/>
                </a:cxn>
                <a:cxn ang="0">
                  <a:pos x="297" y="96"/>
                </a:cxn>
                <a:cxn ang="0">
                  <a:pos x="303" y="80"/>
                </a:cxn>
                <a:cxn ang="0">
                  <a:pos x="305" y="64"/>
                </a:cxn>
                <a:cxn ang="0">
                  <a:pos x="299" y="46"/>
                </a:cxn>
                <a:cxn ang="0">
                  <a:pos x="289" y="34"/>
                </a:cxn>
                <a:cxn ang="0">
                  <a:pos x="273" y="22"/>
                </a:cxn>
                <a:cxn ang="0">
                  <a:pos x="254" y="12"/>
                </a:cxn>
                <a:cxn ang="0">
                  <a:pos x="230" y="4"/>
                </a:cxn>
                <a:cxn ang="0">
                  <a:pos x="204" y="2"/>
                </a:cxn>
                <a:cxn ang="0">
                  <a:pos x="174" y="0"/>
                </a:cxn>
                <a:cxn ang="0">
                  <a:pos x="142" y="2"/>
                </a:cxn>
                <a:cxn ang="0">
                  <a:pos x="112" y="4"/>
                </a:cxn>
                <a:cxn ang="0">
                  <a:pos x="86" y="10"/>
                </a:cxn>
                <a:cxn ang="0">
                  <a:pos x="62" y="16"/>
                </a:cxn>
                <a:cxn ang="0">
                  <a:pos x="42" y="24"/>
                </a:cxn>
                <a:cxn ang="0">
                  <a:pos x="24" y="36"/>
                </a:cxn>
                <a:cxn ang="0">
                  <a:pos x="12" y="52"/>
                </a:cxn>
                <a:cxn ang="0">
                  <a:pos x="4" y="72"/>
                </a:cxn>
                <a:cxn ang="0">
                  <a:pos x="0" y="98"/>
                </a:cxn>
              </a:cxnLst>
              <a:rect l="0" t="0" r="r" b="b"/>
              <a:pathLst>
                <a:path w="305" h="164">
                  <a:moveTo>
                    <a:pt x="0" y="98"/>
                  </a:moveTo>
                  <a:lnTo>
                    <a:pt x="0" y="110"/>
                  </a:lnTo>
                  <a:lnTo>
                    <a:pt x="2" y="122"/>
                  </a:lnTo>
                  <a:lnTo>
                    <a:pt x="12" y="140"/>
                  </a:lnTo>
                  <a:lnTo>
                    <a:pt x="26" y="152"/>
                  </a:lnTo>
                  <a:lnTo>
                    <a:pt x="46" y="160"/>
                  </a:lnTo>
                  <a:lnTo>
                    <a:pt x="72" y="164"/>
                  </a:lnTo>
                  <a:lnTo>
                    <a:pt x="98" y="164"/>
                  </a:lnTo>
                  <a:lnTo>
                    <a:pt x="160" y="158"/>
                  </a:lnTo>
                  <a:lnTo>
                    <a:pt x="192" y="154"/>
                  </a:lnTo>
                  <a:lnTo>
                    <a:pt x="220" y="146"/>
                  </a:lnTo>
                  <a:lnTo>
                    <a:pt x="246" y="136"/>
                  </a:lnTo>
                  <a:lnTo>
                    <a:pt x="266" y="124"/>
                  </a:lnTo>
                  <a:lnTo>
                    <a:pt x="283" y="110"/>
                  </a:lnTo>
                  <a:lnTo>
                    <a:pt x="297" y="96"/>
                  </a:lnTo>
                  <a:lnTo>
                    <a:pt x="303" y="80"/>
                  </a:lnTo>
                  <a:lnTo>
                    <a:pt x="305" y="64"/>
                  </a:lnTo>
                  <a:lnTo>
                    <a:pt x="299" y="46"/>
                  </a:lnTo>
                  <a:lnTo>
                    <a:pt x="289" y="34"/>
                  </a:lnTo>
                  <a:lnTo>
                    <a:pt x="273" y="22"/>
                  </a:lnTo>
                  <a:lnTo>
                    <a:pt x="254" y="12"/>
                  </a:lnTo>
                  <a:lnTo>
                    <a:pt x="230" y="4"/>
                  </a:lnTo>
                  <a:lnTo>
                    <a:pt x="204" y="2"/>
                  </a:lnTo>
                  <a:lnTo>
                    <a:pt x="174" y="0"/>
                  </a:lnTo>
                  <a:lnTo>
                    <a:pt x="142" y="2"/>
                  </a:lnTo>
                  <a:lnTo>
                    <a:pt x="112" y="4"/>
                  </a:lnTo>
                  <a:lnTo>
                    <a:pt x="86" y="10"/>
                  </a:lnTo>
                  <a:lnTo>
                    <a:pt x="62" y="16"/>
                  </a:lnTo>
                  <a:lnTo>
                    <a:pt x="42" y="24"/>
                  </a:lnTo>
                  <a:lnTo>
                    <a:pt x="24" y="36"/>
                  </a:lnTo>
                  <a:lnTo>
                    <a:pt x="12" y="52"/>
                  </a:lnTo>
                  <a:lnTo>
                    <a:pt x="4" y="72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FF9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1" name="Freeform 268"/>
            <p:cNvSpPr>
              <a:spLocks/>
            </p:cNvSpPr>
            <p:nvPr/>
          </p:nvSpPr>
          <p:spPr bwMode="auto">
            <a:xfrm flipH="1">
              <a:off x="4462" y="2967"/>
              <a:ext cx="145" cy="79"/>
            </a:xfrm>
            <a:custGeom>
              <a:avLst/>
              <a:gdLst/>
              <a:ahLst/>
              <a:cxnLst>
                <a:cxn ang="0">
                  <a:pos x="0" y="92"/>
                </a:cxn>
                <a:cxn ang="0">
                  <a:pos x="0" y="106"/>
                </a:cxn>
                <a:cxn ang="0">
                  <a:pos x="0" y="116"/>
                </a:cxn>
                <a:cxn ang="0">
                  <a:pos x="10" y="134"/>
                </a:cxn>
                <a:cxn ang="0">
                  <a:pos x="26" y="146"/>
                </a:cxn>
                <a:cxn ang="0">
                  <a:pos x="44" y="152"/>
                </a:cxn>
                <a:cxn ang="0">
                  <a:pos x="68" y="158"/>
                </a:cxn>
                <a:cxn ang="0">
                  <a:pos x="94" y="158"/>
                </a:cxn>
                <a:cxn ang="0">
                  <a:pos x="152" y="152"/>
                </a:cxn>
                <a:cxn ang="0">
                  <a:pos x="182" y="148"/>
                </a:cxn>
                <a:cxn ang="0">
                  <a:pos x="208" y="142"/>
                </a:cxn>
                <a:cxn ang="0">
                  <a:pos x="232" y="132"/>
                </a:cxn>
                <a:cxn ang="0">
                  <a:pos x="252" y="120"/>
                </a:cxn>
                <a:cxn ang="0">
                  <a:pos x="269" y="106"/>
                </a:cxn>
                <a:cxn ang="0">
                  <a:pos x="281" y="92"/>
                </a:cxn>
                <a:cxn ang="0">
                  <a:pos x="287" y="76"/>
                </a:cxn>
                <a:cxn ang="0">
                  <a:pos x="289" y="62"/>
                </a:cxn>
                <a:cxn ang="0">
                  <a:pos x="283" y="48"/>
                </a:cxn>
                <a:cxn ang="0">
                  <a:pos x="275" y="34"/>
                </a:cxn>
                <a:cxn ang="0">
                  <a:pos x="260" y="22"/>
                </a:cxn>
                <a:cxn ang="0">
                  <a:pos x="242" y="14"/>
                </a:cxn>
                <a:cxn ang="0">
                  <a:pos x="218" y="6"/>
                </a:cxn>
                <a:cxn ang="0">
                  <a:pos x="194" y="2"/>
                </a:cxn>
                <a:cxn ang="0">
                  <a:pos x="164" y="0"/>
                </a:cxn>
                <a:cxn ang="0">
                  <a:pos x="136" y="2"/>
                </a:cxn>
                <a:cxn ang="0">
                  <a:pos x="106" y="6"/>
                </a:cxn>
                <a:cxn ang="0">
                  <a:pos x="80" y="10"/>
                </a:cxn>
                <a:cxn ang="0">
                  <a:pos x="58" y="16"/>
                </a:cxn>
                <a:cxn ang="0">
                  <a:pos x="38" y="24"/>
                </a:cxn>
                <a:cxn ang="0">
                  <a:pos x="22" y="36"/>
                </a:cxn>
                <a:cxn ang="0">
                  <a:pos x="10" y="50"/>
                </a:cxn>
                <a:cxn ang="0">
                  <a:pos x="2" y="68"/>
                </a:cxn>
                <a:cxn ang="0">
                  <a:pos x="0" y="92"/>
                </a:cxn>
              </a:cxnLst>
              <a:rect l="0" t="0" r="r" b="b"/>
              <a:pathLst>
                <a:path w="289" h="158">
                  <a:moveTo>
                    <a:pt x="0" y="92"/>
                  </a:moveTo>
                  <a:lnTo>
                    <a:pt x="0" y="106"/>
                  </a:lnTo>
                  <a:lnTo>
                    <a:pt x="0" y="116"/>
                  </a:lnTo>
                  <a:lnTo>
                    <a:pt x="10" y="134"/>
                  </a:lnTo>
                  <a:lnTo>
                    <a:pt x="26" y="146"/>
                  </a:lnTo>
                  <a:lnTo>
                    <a:pt x="44" y="152"/>
                  </a:lnTo>
                  <a:lnTo>
                    <a:pt x="68" y="158"/>
                  </a:lnTo>
                  <a:lnTo>
                    <a:pt x="94" y="158"/>
                  </a:lnTo>
                  <a:lnTo>
                    <a:pt x="152" y="152"/>
                  </a:lnTo>
                  <a:lnTo>
                    <a:pt x="182" y="148"/>
                  </a:lnTo>
                  <a:lnTo>
                    <a:pt x="208" y="142"/>
                  </a:lnTo>
                  <a:lnTo>
                    <a:pt x="232" y="132"/>
                  </a:lnTo>
                  <a:lnTo>
                    <a:pt x="252" y="120"/>
                  </a:lnTo>
                  <a:lnTo>
                    <a:pt x="269" y="106"/>
                  </a:lnTo>
                  <a:lnTo>
                    <a:pt x="281" y="92"/>
                  </a:lnTo>
                  <a:lnTo>
                    <a:pt x="287" y="76"/>
                  </a:lnTo>
                  <a:lnTo>
                    <a:pt x="289" y="62"/>
                  </a:lnTo>
                  <a:lnTo>
                    <a:pt x="283" y="48"/>
                  </a:lnTo>
                  <a:lnTo>
                    <a:pt x="275" y="34"/>
                  </a:lnTo>
                  <a:lnTo>
                    <a:pt x="260" y="22"/>
                  </a:lnTo>
                  <a:lnTo>
                    <a:pt x="242" y="14"/>
                  </a:lnTo>
                  <a:lnTo>
                    <a:pt x="218" y="6"/>
                  </a:lnTo>
                  <a:lnTo>
                    <a:pt x="194" y="2"/>
                  </a:lnTo>
                  <a:lnTo>
                    <a:pt x="164" y="0"/>
                  </a:lnTo>
                  <a:lnTo>
                    <a:pt x="136" y="2"/>
                  </a:lnTo>
                  <a:lnTo>
                    <a:pt x="106" y="6"/>
                  </a:lnTo>
                  <a:lnTo>
                    <a:pt x="80" y="10"/>
                  </a:lnTo>
                  <a:lnTo>
                    <a:pt x="58" y="16"/>
                  </a:lnTo>
                  <a:lnTo>
                    <a:pt x="38" y="24"/>
                  </a:lnTo>
                  <a:lnTo>
                    <a:pt x="22" y="36"/>
                  </a:lnTo>
                  <a:lnTo>
                    <a:pt x="10" y="50"/>
                  </a:lnTo>
                  <a:lnTo>
                    <a:pt x="2" y="68"/>
                  </a:lnTo>
                  <a:lnTo>
                    <a:pt x="0" y="92"/>
                  </a:lnTo>
                  <a:close/>
                </a:path>
              </a:pathLst>
            </a:custGeom>
            <a:solidFill>
              <a:srgbClr val="FFA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2" name="Freeform 269"/>
            <p:cNvSpPr>
              <a:spLocks/>
            </p:cNvSpPr>
            <p:nvPr/>
          </p:nvSpPr>
          <p:spPr bwMode="auto">
            <a:xfrm flipH="1">
              <a:off x="4468" y="2971"/>
              <a:ext cx="138" cy="74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2" y="108"/>
                </a:cxn>
                <a:cxn ang="0">
                  <a:pos x="12" y="124"/>
                </a:cxn>
                <a:cxn ang="0">
                  <a:pos x="24" y="136"/>
                </a:cxn>
                <a:cxn ang="0">
                  <a:pos x="44" y="144"/>
                </a:cxn>
                <a:cxn ang="0">
                  <a:pos x="64" y="148"/>
                </a:cxn>
                <a:cxn ang="0">
                  <a:pos x="90" y="148"/>
                </a:cxn>
                <a:cxn ang="0">
                  <a:pos x="144" y="144"/>
                </a:cxn>
                <a:cxn ang="0">
                  <a:pos x="172" y="140"/>
                </a:cxn>
                <a:cxn ang="0">
                  <a:pos x="198" y="134"/>
                </a:cxn>
                <a:cxn ang="0">
                  <a:pos x="222" y="124"/>
                </a:cxn>
                <a:cxn ang="0">
                  <a:pos x="240" y="114"/>
                </a:cxn>
                <a:cxn ang="0">
                  <a:pos x="256" y="102"/>
                </a:cxn>
                <a:cxn ang="0">
                  <a:pos x="267" y="88"/>
                </a:cxn>
                <a:cxn ang="0">
                  <a:pos x="273" y="72"/>
                </a:cxn>
                <a:cxn ang="0">
                  <a:pos x="275" y="58"/>
                </a:cxn>
                <a:cxn ang="0">
                  <a:pos x="271" y="44"/>
                </a:cxn>
                <a:cxn ang="0">
                  <a:pos x="261" y="32"/>
                </a:cxn>
                <a:cxn ang="0">
                  <a:pos x="248" y="20"/>
                </a:cxn>
                <a:cxn ang="0">
                  <a:pos x="230" y="12"/>
                </a:cxn>
                <a:cxn ang="0">
                  <a:pos x="208" y="6"/>
                </a:cxn>
                <a:cxn ang="0">
                  <a:pos x="184" y="0"/>
                </a:cxn>
                <a:cxn ang="0">
                  <a:pos x="158" y="0"/>
                </a:cxn>
                <a:cxn ang="0">
                  <a:pos x="132" y="0"/>
                </a:cxn>
                <a:cxn ang="0">
                  <a:pos x="104" y="4"/>
                </a:cxn>
                <a:cxn ang="0">
                  <a:pos x="80" y="8"/>
                </a:cxn>
                <a:cxn ang="0">
                  <a:pos x="58" y="14"/>
                </a:cxn>
                <a:cxn ang="0">
                  <a:pos x="38" y="22"/>
                </a:cxn>
                <a:cxn ang="0">
                  <a:pos x="24" y="32"/>
                </a:cxn>
                <a:cxn ang="0">
                  <a:pos x="12" y="46"/>
                </a:cxn>
                <a:cxn ang="0">
                  <a:pos x="2" y="64"/>
                </a:cxn>
                <a:cxn ang="0">
                  <a:pos x="0" y="88"/>
                </a:cxn>
              </a:cxnLst>
              <a:rect l="0" t="0" r="r" b="b"/>
              <a:pathLst>
                <a:path w="275" h="148">
                  <a:moveTo>
                    <a:pt x="0" y="88"/>
                  </a:moveTo>
                  <a:lnTo>
                    <a:pt x="2" y="108"/>
                  </a:lnTo>
                  <a:lnTo>
                    <a:pt x="12" y="124"/>
                  </a:lnTo>
                  <a:lnTo>
                    <a:pt x="24" y="136"/>
                  </a:lnTo>
                  <a:lnTo>
                    <a:pt x="44" y="144"/>
                  </a:lnTo>
                  <a:lnTo>
                    <a:pt x="64" y="148"/>
                  </a:lnTo>
                  <a:lnTo>
                    <a:pt x="90" y="148"/>
                  </a:lnTo>
                  <a:lnTo>
                    <a:pt x="144" y="144"/>
                  </a:lnTo>
                  <a:lnTo>
                    <a:pt x="172" y="140"/>
                  </a:lnTo>
                  <a:lnTo>
                    <a:pt x="198" y="134"/>
                  </a:lnTo>
                  <a:lnTo>
                    <a:pt x="222" y="124"/>
                  </a:lnTo>
                  <a:lnTo>
                    <a:pt x="240" y="114"/>
                  </a:lnTo>
                  <a:lnTo>
                    <a:pt x="256" y="102"/>
                  </a:lnTo>
                  <a:lnTo>
                    <a:pt x="267" y="88"/>
                  </a:lnTo>
                  <a:lnTo>
                    <a:pt x="273" y="72"/>
                  </a:lnTo>
                  <a:lnTo>
                    <a:pt x="275" y="58"/>
                  </a:lnTo>
                  <a:lnTo>
                    <a:pt x="271" y="44"/>
                  </a:lnTo>
                  <a:lnTo>
                    <a:pt x="261" y="32"/>
                  </a:lnTo>
                  <a:lnTo>
                    <a:pt x="248" y="20"/>
                  </a:lnTo>
                  <a:lnTo>
                    <a:pt x="230" y="12"/>
                  </a:lnTo>
                  <a:lnTo>
                    <a:pt x="208" y="6"/>
                  </a:lnTo>
                  <a:lnTo>
                    <a:pt x="184" y="0"/>
                  </a:lnTo>
                  <a:lnTo>
                    <a:pt x="158" y="0"/>
                  </a:lnTo>
                  <a:lnTo>
                    <a:pt x="132" y="0"/>
                  </a:lnTo>
                  <a:lnTo>
                    <a:pt x="104" y="4"/>
                  </a:lnTo>
                  <a:lnTo>
                    <a:pt x="80" y="8"/>
                  </a:lnTo>
                  <a:lnTo>
                    <a:pt x="58" y="14"/>
                  </a:lnTo>
                  <a:lnTo>
                    <a:pt x="38" y="22"/>
                  </a:lnTo>
                  <a:lnTo>
                    <a:pt x="24" y="32"/>
                  </a:lnTo>
                  <a:lnTo>
                    <a:pt x="12" y="46"/>
                  </a:lnTo>
                  <a:lnTo>
                    <a:pt x="2" y="64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FFA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3" name="Freeform 270"/>
            <p:cNvSpPr>
              <a:spLocks/>
            </p:cNvSpPr>
            <p:nvPr/>
          </p:nvSpPr>
          <p:spPr bwMode="auto">
            <a:xfrm flipH="1">
              <a:off x="4473" y="2974"/>
              <a:ext cx="133" cy="72"/>
            </a:xfrm>
            <a:custGeom>
              <a:avLst/>
              <a:gdLst/>
              <a:ahLst/>
              <a:cxnLst>
                <a:cxn ang="0">
                  <a:pos x="0" y="86"/>
                </a:cxn>
                <a:cxn ang="0">
                  <a:pos x="2" y="106"/>
                </a:cxn>
                <a:cxn ang="0">
                  <a:pos x="10" y="122"/>
                </a:cxn>
                <a:cxn ang="0">
                  <a:pos x="24" y="132"/>
                </a:cxn>
                <a:cxn ang="0">
                  <a:pos x="40" y="138"/>
                </a:cxn>
                <a:cxn ang="0">
                  <a:pos x="62" y="142"/>
                </a:cxn>
                <a:cxn ang="0">
                  <a:pos x="86" y="144"/>
                </a:cxn>
                <a:cxn ang="0">
                  <a:pos x="140" y="140"/>
                </a:cxn>
                <a:cxn ang="0">
                  <a:pos x="166" y="136"/>
                </a:cxn>
                <a:cxn ang="0">
                  <a:pos x="190" y="130"/>
                </a:cxn>
                <a:cxn ang="0">
                  <a:pos x="214" y="122"/>
                </a:cxn>
                <a:cxn ang="0">
                  <a:pos x="230" y="112"/>
                </a:cxn>
                <a:cxn ang="0">
                  <a:pos x="246" y="100"/>
                </a:cxn>
                <a:cxn ang="0">
                  <a:pos x="256" y="86"/>
                </a:cxn>
                <a:cxn ang="0">
                  <a:pos x="263" y="74"/>
                </a:cxn>
                <a:cxn ang="0">
                  <a:pos x="265" y="60"/>
                </a:cxn>
                <a:cxn ang="0">
                  <a:pos x="260" y="44"/>
                </a:cxn>
                <a:cxn ang="0">
                  <a:pos x="252" y="34"/>
                </a:cxn>
                <a:cxn ang="0">
                  <a:pos x="238" y="22"/>
                </a:cxn>
                <a:cxn ang="0">
                  <a:pos x="222" y="14"/>
                </a:cxn>
                <a:cxn ang="0">
                  <a:pos x="200" y="8"/>
                </a:cxn>
                <a:cxn ang="0">
                  <a:pos x="178" y="2"/>
                </a:cxn>
                <a:cxn ang="0">
                  <a:pos x="154" y="0"/>
                </a:cxn>
                <a:cxn ang="0">
                  <a:pos x="128" y="2"/>
                </a:cxn>
                <a:cxn ang="0">
                  <a:pos x="102" y="6"/>
                </a:cxn>
                <a:cxn ang="0">
                  <a:pos x="76" y="8"/>
                </a:cxn>
                <a:cxn ang="0">
                  <a:pos x="56" y="16"/>
                </a:cxn>
                <a:cxn ang="0">
                  <a:pos x="38" y="24"/>
                </a:cxn>
                <a:cxn ang="0">
                  <a:pos x="24" y="34"/>
                </a:cxn>
                <a:cxn ang="0">
                  <a:pos x="12" y="48"/>
                </a:cxn>
                <a:cxn ang="0">
                  <a:pos x="4" y="64"/>
                </a:cxn>
                <a:cxn ang="0">
                  <a:pos x="0" y="86"/>
                </a:cxn>
              </a:cxnLst>
              <a:rect l="0" t="0" r="r" b="b"/>
              <a:pathLst>
                <a:path w="265" h="144">
                  <a:moveTo>
                    <a:pt x="0" y="86"/>
                  </a:moveTo>
                  <a:lnTo>
                    <a:pt x="2" y="106"/>
                  </a:lnTo>
                  <a:lnTo>
                    <a:pt x="10" y="122"/>
                  </a:lnTo>
                  <a:lnTo>
                    <a:pt x="24" y="132"/>
                  </a:lnTo>
                  <a:lnTo>
                    <a:pt x="40" y="138"/>
                  </a:lnTo>
                  <a:lnTo>
                    <a:pt x="62" y="142"/>
                  </a:lnTo>
                  <a:lnTo>
                    <a:pt x="86" y="144"/>
                  </a:lnTo>
                  <a:lnTo>
                    <a:pt x="140" y="140"/>
                  </a:lnTo>
                  <a:lnTo>
                    <a:pt x="166" y="136"/>
                  </a:lnTo>
                  <a:lnTo>
                    <a:pt x="190" y="130"/>
                  </a:lnTo>
                  <a:lnTo>
                    <a:pt x="214" y="122"/>
                  </a:lnTo>
                  <a:lnTo>
                    <a:pt x="230" y="112"/>
                  </a:lnTo>
                  <a:lnTo>
                    <a:pt x="246" y="100"/>
                  </a:lnTo>
                  <a:lnTo>
                    <a:pt x="256" y="86"/>
                  </a:lnTo>
                  <a:lnTo>
                    <a:pt x="263" y="74"/>
                  </a:lnTo>
                  <a:lnTo>
                    <a:pt x="265" y="60"/>
                  </a:lnTo>
                  <a:lnTo>
                    <a:pt x="260" y="44"/>
                  </a:lnTo>
                  <a:lnTo>
                    <a:pt x="252" y="34"/>
                  </a:lnTo>
                  <a:lnTo>
                    <a:pt x="238" y="22"/>
                  </a:lnTo>
                  <a:lnTo>
                    <a:pt x="222" y="14"/>
                  </a:lnTo>
                  <a:lnTo>
                    <a:pt x="200" y="8"/>
                  </a:lnTo>
                  <a:lnTo>
                    <a:pt x="178" y="2"/>
                  </a:lnTo>
                  <a:lnTo>
                    <a:pt x="154" y="0"/>
                  </a:lnTo>
                  <a:lnTo>
                    <a:pt x="128" y="2"/>
                  </a:lnTo>
                  <a:lnTo>
                    <a:pt x="102" y="6"/>
                  </a:lnTo>
                  <a:lnTo>
                    <a:pt x="76" y="8"/>
                  </a:lnTo>
                  <a:lnTo>
                    <a:pt x="56" y="16"/>
                  </a:lnTo>
                  <a:lnTo>
                    <a:pt x="38" y="24"/>
                  </a:lnTo>
                  <a:lnTo>
                    <a:pt x="24" y="34"/>
                  </a:lnTo>
                  <a:lnTo>
                    <a:pt x="12" y="48"/>
                  </a:lnTo>
                  <a:lnTo>
                    <a:pt x="4" y="64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FFB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4" name="Freeform 271"/>
            <p:cNvSpPr>
              <a:spLocks/>
            </p:cNvSpPr>
            <p:nvPr/>
          </p:nvSpPr>
          <p:spPr bwMode="auto">
            <a:xfrm flipH="1">
              <a:off x="4479" y="2977"/>
              <a:ext cx="125" cy="69"/>
            </a:xfrm>
            <a:custGeom>
              <a:avLst/>
              <a:gdLst/>
              <a:ahLst/>
              <a:cxnLst>
                <a:cxn ang="0">
                  <a:pos x="0" y="80"/>
                </a:cxn>
                <a:cxn ang="0">
                  <a:pos x="2" y="100"/>
                </a:cxn>
                <a:cxn ang="0">
                  <a:pos x="10" y="116"/>
                </a:cxn>
                <a:cxn ang="0">
                  <a:pos x="20" y="124"/>
                </a:cxn>
                <a:cxn ang="0">
                  <a:pos x="38" y="132"/>
                </a:cxn>
                <a:cxn ang="0">
                  <a:pos x="58" y="136"/>
                </a:cxn>
                <a:cxn ang="0">
                  <a:pos x="80" y="138"/>
                </a:cxn>
                <a:cxn ang="0">
                  <a:pos x="132" y="134"/>
                </a:cxn>
                <a:cxn ang="0">
                  <a:pos x="156" y="132"/>
                </a:cxn>
                <a:cxn ang="0">
                  <a:pos x="178" y="124"/>
                </a:cxn>
                <a:cxn ang="0">
                  <a:pos x="200" y="116"/>
                </a:cxn>
                <a:cxn ang="0">
                  <a:pos x="218" y="106"/>
                </a:cxn>
                <a:cxn ang="0">
                  <a:pos x="232" y="96"/>
                </a:cxn>
                <a:cxn ang="0">
                  <a:pos x="242" y="84"/>
                </a:cxn>
                <a:cxn ang="0">
                  <a:pos x="248" y="72"/>
                </a:cxn>
                <a:cxn ang="0">
                  <a:pos x="250" y="56"/>
                </a:cxn>
                <a:cxn ang="0">
                  <a:pos x="246" y="42"/>
                </a:cxn>
                <a:cxn ang="0">
                  <a:pos x="238" y="32"/>
                </a:cxn>
                <a:cxn ang="0">
                  <a:pos x="226" y="22"/>
                </a:cxn>
                <a:cxn ang="0">
                  <a:pos x="210" y="14"/>
                </a:cxn>
                <a:cxn ang="0">
                  <a:pos x="190" y="6"/>
                </a:cxn>
                <a:cxn ang="0">
                  <a:pos x="168" y="2"/>
                </a:cxn>
                <a:cxn ang="0">
                  <a:pos x="144" y="0"/>
                </a:cxn>
                <a:cxn ang="0">
                  <a:pos x="118" y="2"/>
                </a:cxn>
                <a:cxn ang="0">
                  <a:pos x="94" y="6"/>
                </a:cxn>
                <a:cxn ang="0">
                  <a:pos x="72" y="10"/>
                </a:cxn>
                <a:cxn ang="0">
                  <a:pos x="52" y="14"/>
                </a:cxn>
                <a:cxn ang="0">
                  <a:pos x="36" y="22"/>
                </a:cxn>
                <a:cxn ang="0">
                  <a:pos x="20" y="32"/>
                </a:cxn>
                <a:cxn ang="0">
                  <a:pos x="10" y="44"/>
                </a:cxn>
                <a:cxn ang="0">
                  <a:pos x="2" y="60"/>
                </a:cxn>
                <a:cxn ang="0">
                  <a:pos x="0" y="80"/>
                </a:cxn>
              </a:cxnLst>
              <a:rect l="0" t="0" r="r" b="b"/>
              <a:pathLst>
                <a:path w="250" h="138">
                  <a:moveTo>
                    <a:pt x="0" y="80"/>
                  </a:moveTo>
                  <a:lnTo>
                    <a:pt x="2" y="100"/>
                  </a:lnTo>
                  <a:lnTo>
                    <a:pt x="10" y="116"/>
                  </a:lnTo>
                  <a:lnTo>
                    <a:pt x="20" y="124"/>
                  </a:lnTo>
                  <a:lnTo>
                    <a:pt x="38" y="132"/>
                  </a:lnTo>
                  <a:lnTo>
                    <a:pt x="58" y="136"/>
                  </a:lnTo>
                  <a:lnTo>
                    <a:pt x="80" y="138"/>
                  </a:lnTo>
                  <a:lnTo>
                    <a:pt x="132" y="134"/>
                  </a:lnTo>
                  <a:lnTo>
                    <a:pt x="156" y="132"/>
                  </a:lnTo>
                  <a:lnTo>
                    <a:pt x="178" y="124"/>
                  </a:lnTo>
                  <a:lnTo>
                    <a:pt x="200" y="116"/>
                  </a:lnTo>
                  <a:lnTo>
                    <a:pt x="218" y="106"/>
                  </a:lnTo>
                  <a:lnTo>
                    <a:pt x="232" y="96"/>
                  </a:lnTo>
                  <a:lnTo>
                    <a:pt x="242" y="84"/>
                  </a:lnTo>
                  <a:lnTo>
                    <a:pt x="248" y="72"/>
                  </a:lnTo>
                  <a:lnTo>
                    <a:pt x="250" y="56"/>
                  </a:lnTo>
                  <a:lnTo>
                    <a:pt x="246" y="42"/>
                  </a:lnTo>
                  <a:lnTo>
                    <a:pt x="238" y="32"/>
                  </a:lnTo>
                  <a:lnTo>
                    <a:pt x="226" y="22"/>
                  </a:lnTo>
                  <a:lnTo>
                    <a:pt x="210" y="14"/>
                  </a:lnTo>
                  <a:lnTo>
                    <a:pt x="190" y="6"/>
                  </a:lnTo>
                  <a:lnTo>
                    <a:pt x="168" y="2"/>
                  </a:lnTo>
                  <a:lnTo>
                    <a:pt x="144" y="0"/>
                  </a:lnTo>
                  <a:lnTo>
                    <a:pt x="118" y="2"/>
                  </a:lnTo>
                  <a:lnTo>
                    <a:pt x="94" y="6"/>
                  </a:lnTo>
                  <a:lnTo>
                    <a:pt x="72" y="10"/>
                  </a:lnTo>
                  <a:lnTo>
                    <a:pt x="52" y="14"/>
                  </a:lnTo>
                  <a:lnTo>
                    <a:pt x="36" y="22"/>
                  </a:lnTo>
                  <a:lnTo>
                    <a:pt x="20" y="32"/>
                  </a:lnTo>
                  <a:lnTo>
                    <a:pt x="10" y="44"/>
                  </a:lnTo>
                  <a:lnTo>
                    <a:pt x="2" y="60"/>
                  </a:lnTo>
                  <a:lnTo>
                    <a:pt x="0" y="80"/>
                  </a:lnTo>
                  <a:close/>
                </a:path>
              </a:pathLst>
            </a:custGeom>
            <a:solidFill>
              <a:srgbClr val="FFB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5" name="Freeform 272"/>
            <p:cNvSpPr>
              <a:spLocks/>
            </p:cNvSpPr>
            <p:nvPr/>
          </p:nvSpPr>
          <p:spPr bwMode="auto">
            <a:xfrm flipH="1">
              <a:off x="4485" y="2981"/>
              <a:ext cx="117" cy="64"/>
            </a:xfrm>
            <a:custGeom>
              <a:avLst/>
              <a:gdLst/>
              <a:ahLst/>
              <a:cxnLst>
                <a:cxn ang="0">
                  <a:pos x="0" y="76"/>
                </a:cxn>
                <a:cxn ang="0">
                  <a:pos x="2" y="94"/>
                </a:cxn>
                <a:cxn ang="0">
                  <a:pos x="8" y="106"/>
                </a:cxn>
                <a:cxn ang="0">
                  <a:pos x="20" y="116"/>
                </a:cxn>
                <a:cxn ang="0">
                  <a:pos x="36" y="122"/>
                </a:cxn>
                <a:cxn ang="0">
                  <a:pos x="56" y="126"/>
                </a:cxn>
                <a:cxn ang="0">
                  <a:pos x="76" y="128"/>
                </a:cxn>
                <a:cxn ang="0">
                  <a:pos x="122" y="126"/>
                </a:cxn>
                <a:cxn ang="0">
                  <a:pos x="146" y="122"/>
                </a:cxn>
                <a:cxn ang="0">
                  <a:pos x="166" y="118"/>
                </a:cxn>
                <a:cxn ang="0">
                  <a:pos x="186" y="110"/>
                </a:cxn>
                <a:cxn ang="0">
                  <a:pos x="204" y="102"/>
                </a:cxn>
                <a:cxn ang="0">
                  <a:pos x="216" y="90"/>
                </a:cxn>
                <a:cxn ang="0">
                  <a:pos x="226" y="78"/>
                </a:cxn>
                <a:cxn ang="0">
                  <a:pos x="232" y="68"/>
                </a:cxn>
                <a:cxn ang="0">
                  <a:pos x="234" y="54"/>
                </a:cxn>
                <a:cxn ang="0">
                  <a:pos x="232" y="42"/>
                </a:cxn>
                <a:cxn ang="0">
                  <a:pos x="222" y="32"/>
                </a:cxn>
                <a:cxn ang="0">
                  <a:pos x="212" y="22"/>
                </a:cxn>
                <a:cxn ang="0">
                  <a:pos x="196" y="14"/>
                </a:cxn>
                <a:cxn ang="0">
                  <a:pos x="178" y="6"/>
                </a:cxn>
                <a:cxn ang="0">
                  <a:pos x="156" y="2"/>
                </a:cxn>
                <a:cxn ang="0">
                  <a:pos x="136" y="0"/>
                </a:cxn>
                <a:cxn ang="0">
                  <a:pos x="112" y="2"/>
                </a:cxn>
                <a:cxn ang="0">
                  <a:pos x="66" y="8"/>
                </a:cxn>
                <a:cxn ang="0">
                  <a:pos x="48" y="14"/>
                </a:cxn>
                <a:cxn ang="0">
                  <a:pos x="32" y="22"/>
                </a:cxn>
                <a:cxn ang="0">
                  <a:pos x="20" y="30"/>
                </a:cxn>
                <a:cxn ang="0">
                  <a:pos x="10" y="42"/>
                </a:cxn>
                <a:cxn ang="0">
                  <a:pos x="4" y="58"/>
                </a:cxn>
                <a:cxn ang="0">
                  <a:pos x="0" y="76"/>
                </a:cxn>
              </a:cxnLst>
              <a:rect l="0" t="0" r="r" b="b"/>
              <a:pathLst>
                <a:path w="234" h="128">
                  <a:moveTo>
                    <a:pt x="0" y="76"/>
                  </a:moveTo>
                  <a:lnTo>
                    <a:pt x="2" y="94"/>
                  </a:lnTo>
                  <a:lnTo>
                    <a:pt x="8" y="106"/>
                  </a:lnTo>
                  <a:lnTo>
                    <a:pt x="20" y="116"/>
                  </a:lnTo>
                  <a:lnTo>
                    <a:pt x="36" y="122"/>
                  </a:lnTo>
                  <a:lnTo>
                    <a:pt x="56" y="126"/>
                  </a:lnTo>
                  <a:lnTo>
                    <a:pt x="76" y="128"/>
                  </a:lnTo>
                  <a:lnTo>
                    <a:pt x="122" y="126"/>
                  </a:lnTo>
                  <a:lnTo>
                    <a:pt x="146" y="122"/>
                  </a:lnTo>
                  <a:lnTo>
                    <a:pt x="166" y="118"/>
                  </a:lnTo>
                  <a:lnTo>
                    <a:pt x="186" y="110"/>
                  </a:lnTo>
                  <a:lnTo>
                    <a:pt x="204" y="102"/>
                  </a:lnTo>
                  <a:lnTo>
                    <a:pt x="216" y="90"/>
                  </a:lnTo>
                  <a:lnTo>
                    <a:pt x="226" y="78"/>
                  </a:lnTo>
                  <a:lnTo>
                    <a:pt x="232" y="68"/>
                  </a:lnTo>
                  <a:lnTo>
                    <a:pt x="234" y="54"/>
                  </a:lnTo>
                  <a:lnTo>
                    <a:pt x="232" y="42"/>
                  </a:lnTo>
                  <a:lnTo>
                    <a:pt x="222" y="32"/>
                  </a:lnTo>
                  <a:lnTo>
                    <a:pt x="212" y="22"/>
                  </a:lnTo>
                  <a:lnTo>
                    <a:pt x="196" y="14"/>
                  </a:lnTo>
                  <a:lnTo>
                    <a:pt x="178" y="6"/>
                  </a:lnTo>
                  <a:lnTo>
                    <a:pt x="156" y="2"/>
                  </a:lnTo>
                  <a:lnTo>
                    <a:pt x="136" y="0"/>
                  </a:lnTo>
                  <a:lnTo>
                    <a:pt x="112" y="2"/>
                  </a:lnTo>
                  <a:lnTo>
                    <a:pt x="66" y="8"/>
                  </a:lnTo>
                  <a:lnTo>
                    <a:pt x="48" y="14"/>
                  </a:lnTo>
                  <a:lnTo>
                    <a:pt x="32" y="22"/>
                  </a:lnTo>
                  <a:lnTo>
                    <a:pt x="20" y="30"/>
                  </a:lnTo>
                  <a:lnTo>
                    <a:pt x="10" y="42"/>
                  </a:lnTo>
                  <a:lnTo>
                    <a:pt x="4" y="58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6" name="Freeform 273"/>
            <p:cNvSpPr>
              <a:spLocks/>
            </p:cNvSpPr>
            <p:nvPr/>
          </p:nvSpPr>
          <p:spPr bwMode="auto">
            <a:xfrm flipH="1">
              <a:off x="4490" y="2986"/>
              <a:ext cx="112" cy="60"/>
            </a:xfrm>
            <a:custGeom>
              <a:avLst/>
              <a:gdLst/>
              <a:ahLst/>
              <a:cxnLst>
                <a:cxn ang="0">
                  <a:pos x="0" y="68"/>
                </a:cxn>
                <a:cxn ang="0">
                  <a:pos x="2" y="84"/>
                </a:cxn>
                <a:cxn ang="0">
                  <a:pos x="8" y="98"/>
                </a:cxn>
                <a:cxn ang="0">
                  <a:pos x="20" y="106"/>
                </a:cxn>
                <a:cxn ang="0">
                  <a:pos x="34" y="114"/>
                </a:cxn>
                <a:cxn ang="0">
                  <a:pos x="52" y="116"/>
                </a:cxn>
                <a:cxn ang="0">
                  <a:pos x="72" y="120"/>
                </a:cxn>
                <a:cxn ang="0">
                  <a:pos x="116" y="118"/>
                </a:cxn>
                <a:cxn ang="0">
                  <a:pos x="140" y="114"/>
                </a:cxn>
                <a:cxn ang="0">
                  <a:pos x="160" y="110"/>
                </a:cxn>
                <a:cxn ang="0">
                  <a:pos x="178" y="104"/>
                </a:cxn>
                <a:cxn ang="0">
                  <a:pos x="194" y="94"/>
                </a:cxn>
                <a:cxn ang="0">
                  <a:pos x="208" y="84"/>
                </a:cxn>
                <a:cxn ang="0">
                  <a:pos x="216" y="74"/>
                </a:cxn>
                <a:cxn ang="0">
                  <a:pos x="222" y="62"/>
                </a:cxn>
                <a:cxn ang="0">
                  <a:pos x="224" y="50"/>
                </a:cxn>
                <a:cxn ang="0">
                  <a:pos x="220" y="38"/>
                </a:cxn>
                <a:cxn ang="0">
                  <a:pos x="212" y="28"/>
                </a:cxn>
                <a:cxn ang="0">
                  <a:pos x="202" y="20"/>
                </a:cxn>
                <a:cxn ang="0">
                  <a:pos x="188" y="10"/>
                </a:cxn>
                <a:cxn ang="0">
                  <a:pos x="170" y="4"/>
                </a:cxn>
                <a:cxn ang="0">
                  <a:pos x="150" y="2"/>
                </a:cxn>
                <a:cxn ang="0">
                  <a:pos x="130" y="0"/>
                </a:cxn>
                <a:cxn ang="0">
                  <a:pos x="106" y="2"/>
                </a:cxn>
                <a:cxn ang="0">
                  <a:pos x="84" y="2"/>
                </a:cxn>
                <a:cxn ang="0">
                  <a:pos x="66" y="6"/>
                </a:cxn>
                <a:cxn ang="0">
                  <a:pos x="48" y="10"/>
                </a:cxn>
                <a:cxn ang="0">
                  <a:pos x="32" y="18"/>
                </a:cxn>
                <a:cxn ang="0">
                  <a:pos x="20" y="26"/>
                </a:cxn>
                <a:cxn ang="0">
                  <a:pos x="10" y="36"/>
                </a:cxn>
                <a:cxn ang="0">
                  <a:pos x="4" y="52"/>
                </a:cxn>
                <a:cxn ang="0">
                  <a:pos x="0" y="68"/>
                </a:cxn>
              </a:cxnLst>
              <a:rect l="0" t="0" r="r" b="b"/>
              <a:pathLst>
                <a:path w="224" h="120">
                  <a:moveTo>
                    <a:pt x="0" y="68"/>
                  </a:moveTo>
                  <a:lnTo>
                    <a:pt x="2" y="84"/>
                  </a:lnTo>
                  <a:lnTo>
                    <a:pt x="8" y="98"/>
                  </a:lnTo>
                  <a:lnTo>
                    <a:pt x="20" y="106"/>
                  </a:lnTo>
                  <a:lnTo>
                    <a:pt x="34" y="114"/>
                  </a:lnTo>
                  <a:lnTo>
                    <a:pt x="52" y="116"/>
                  </a:lnTo>
                  <a:lnTo>
                    <a:pt x="72" y="120"/>
                  </a:lnTo>
                  <a:lnTo>
                    <a:pt x="116" y="118"/>
                  </a:lnTo>
                  <a:lnTo>
                    <a:pt x="140" y="114"/>
                  </a:lnTo>
                  <a:lnTo>
                    <a:pt x="160" y="110"/>
                  </a:lnTo>
                  <a:lnTo>
                    <a:pt x="178" y="104"/>
                  </a:lnTo>
                  <a:lnTo>
                    <a:pt x="194" y="94"/>
                  </a:lnTo>
                  <a:lnTo>
                    <a:pt x="208" y="84"/>
                  </a:lnTo>
                  <a:lnTo>
                    <a:pt x="216" y="74"/>
                  </a:lnTo>
                  <a:lnTo>
                    <a:pt x="222" y="62"/>
                  </a:lnTo>
                  <a:lnTo>
                    <a:pt x="224" y="50"/>
                  </a:lnTo>
                  <a:lnTo>
                    <a:pt x="220" y="38"/>
                  </a:lnTo>
                  <a:lnTo>
                    <a:pt x="212" y="28"/>
                  </a:lnTo>
                  <a:lnTo>
                    <a:pt x="202" y="20"/>
                  </a:lnTo>
                  <a:lnTo>
                    <a:pt x="188" y="10"/>
                  </a:lnTo>
                  <a:lnTo>
                    <a:pt x="170" y="4"/>
                  </a:lnTo>
                  <a:lnTo>
                    <a:pt x="150" y="2"/>
                  </a:lnTo>
                  <a:lnTo>
                    <a:pt x="130" y="0"/>
                  </a:lnTo>
                  <a:lnTo>
                    <a:pt x="106" y="2"/>
                  </a:lnTo>
                  <a:lnTo>
                    <a:pt x="84" y="2"/>
                  </a:lnTo>
                  <a:lnTo>
                    <a:pt x="66" y="6"/>
                  </a:lnTo>
                  <a:lnTo>
                    <a:pt x="48" y="10"/>
                  </a:lnTo>
                  <a:lnTo>
                    <a:pt x="32" y="18"/>
                  </a:lnTo>
                  <a:lnTo>
                    <a:pt x="20" y="26"/>
                  </a:lnTo>
                  <a:lnTo>
                    <a:pt x="10" y="36"/>
                  </a:lnTo>
                  <a:lnTo>
                    <a:pt x="4" y="52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FFC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7" name="Freeform 274"/>
            <p:cNvSpPr>
              <a:spLocks/>
            </p:cNvSpPr>
            <p:nvPr/>
          </p:nvSpPr>
          <p:spPr bwMode="auto">
            <a:xfrm flipH="1">
              <a:off x="4496" y="2990"/>
              <a:ext cx="104" cy="56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" y="78"/>
                </a:cxn>
                <a:cxn ang="0">
                  <a:pos x="8" y="90"/>
                </a:cxn>
                <a:cxn ang="0">
                  <a:pos x="18" y="98"/>
                </a:cxn>
                <a:cxn ang="0">
                  <a:pos x="30" y="106"/>
                </a:cxn>
                <a:cxn ang="0">
                  <a:pos x="46" y="110"/>
                </a:cxn>
                <a:cxn ang="0">
                  <a:pos x="66" y="112"/>
                </a:cxn>
                <a:cxn ang="0">
                  <a:pos x="106" y="110"/>
                </a:cxn>
                <a:cxn ang="0">
                  <a:pos x="128" y="108"/>
                </a:cxn>
                <a:cxn ang="0">
                  <a:pos x="148" y="104"/>
                </a:cxn>
                <a:cxn ang="0">
                  <a:pos x="164" y="98"/>
                </a:cxn>
                <a:cxn ang="0">
                  <a:pos x="180" y="90"/>
                </a:cxn>
                <a:cxn ang="0">
                  <a:pos x="192" y="80"/>
                </a:cxn>
                <a:cxn ang="0">
                  <a:pos x="202" y="70"/>
                </a:cxn>
                <a:cxn ang="0">
                  <a:pos x="206" y="58"/>
                </a:cxn>
                <a:cxn ang="0">
                  <a:pos x="208" y="46"/>
                </a:cxn>
                <a:cxn ang="0">
                  <a:pos x="204" y="36"/>
                </a:cxn>
                <a:cxn ang="0">
                  <a:pos x="198" y="26"/>
                </a:cxn>
                <a:cxn ang="0">
                  <a:pos x="186" y="18"/>
                </a:cxn>
                <a:cxn ang="0">
                  <a:pos x="174" y="12"/>
                </a:cxn>
                <a:cxn ang="0">
                  <a:pos x="158" y="4"/>
                </a:cxn>
                <a:cxn ang="0">
                  <a:pos x="140" y="2"/>
                </a:cxn>
                <a:cxn ang="0">
                  <a:pos x="120" y="0"/>
                </a:cxn>
                <a:cxn ang="0">
                  <a:pos x="98" y="0"/>
                </a:cxn>
                <a:cxn ang="0">
                  <a:pos x="60" y="4"/>
                </a:cxn>
                <a:cxn ang="0">
                  <a:pos x="44" y="10"/>
                </a:cxn>
                <a:cxn ang="0">
                  <a:pos x="28" y="16"/>
                </a:cxn>
                <a:cxn ang="0">
                  <a:pos x="18" y="24"/>
                </a:cxn>
                <a:cxn ang="0">
                  <a:pos x="8" y="36"/>
                </a:cxn>
                <a:cxn ang="0">
                  <a:pos x="2" y="46"/>
                </a:cxn>
                <a:cxn ang="0">
                  <a:pos x="0" y="64"/>
                </a:cxn>
              </a:cxnLst>
              <a:rect l="0" t="0" r="r" b="b"/>
              <a:pathLst>
                <a:path w="208" h="112">
                  <a:moveTo>
                    <a:pt x="0" y="64"/>
                  </a:moveTo>
                  <a:lnTo>
                    <a:pt x="2" y="78"/>
                  </a:lnTo>
                  <a:lnTo>
                    <a:pt x="8" y="90"/>
                  </a:lnTo>
                  <a:lnTo>
                    <a:pt x="18" y="98"/>
                  </a:lnTo>
                  <a:lnTo>
                    <a:pt x="30" y="106"/>
                  </a:lnTo>
                  <a:lnTo>
                    <a:pt x="46" y="110"/>
                  </a:lnTo>
                  <a:lnTo>
                    <a:pt x="66" y="112"/>
                  </a:lnTo>
                  <a:lnTo>
                    <a:pt x="106" y="110"/>
                  </a:lnTo>
                  <a:lnTo>
                    <a:pt x="128" y="108"/>
                  </a:lnTo>
                  <a:lnTo>
                    <a:pt x="148" y="104"/>
                  </a:lnTo>
                  <a:lnTo>
                    <a:pt x="164" y="98"/>
                  </a:lnTo>
                  <a:lnTo>
                    <a:pt x="180" y="90"/>
                  </a:lnTo>
                  <a:lnTo>
                    <a:pt x="192" y="80"/>
                  </a:lnTo>
                  <a:lnTo>
                    <a:pt x="202" y="70"/>
                  </a:lnTo>
                  <a:lnTo>
                    <a:pt x="206" y="58"/>
                  </a:lnTo>
                  <a:lnTo>
                    <a:pt x="208" y="46"/>
                  </a:lnTo>
                  <a:lnTo>
                    <a:pt x="204" y="36"/>
                  </a:lnTo>
                  <a:lnTo>
                    <a:pt x="198" y="26"/>
                  </a:lnTo>
                  <a:lnTo>
                    <a:pt x="186" y="18"/>
                  </a:lnTo>
                  <a:lnTo>
                    <a:pt x="174" y="12"/>
                  </a:lnTo>
                  <a:lnTo>
                    <a:pt x="158" y="4"/>
                  </a:lnTo>
                  <a:lnTo>
                    <a:pt x="140" y="2"/>
                  </a:lnTo>
                  <a:lnTo>
                    <a:pt x="120" y="0"/>
                  </a:lnTo>
                  <a:lnTo>
                    <a:pt x="98" y="0"/>
                  </a:lnTo>
                  <a:lnTo>
                    <a:pt x="60" y="4"/>
                  </a:lnTo>
                  <a:lnTo>
                    <a:pt x="44" y="10"/>
                  </a:lnTo>
                  <a:lnTo>
                    <a:pt x="28" y="16"/>
                  </a:lnTo>
                  <a:lnTo>
                    <a:pt x="18" y="24"/>
                  </a:lnTo>
                  <a:lnTo>
                    <a:pt x="8" y="36"/>
                  </a:lnTo>
                  <a:lnTo>
                    <a:pt x="2" y="46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8" name="Freeform 275"/>
            <p:cNvSpPr>
              <a:spLocks/>
            </p:cNvSpPr>
            <p:nvPr/>
          </p:nvSpPr>
          <p:spPr bwMode="auto">
            <a:xfrm flipH="1">
              <a:off x="4502" y="2994"/>
              <a:ext cx="96" cy="52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2" y="72"/>
                </a:cxn>
                <a:cxn ang="0">
                  <a:pos x="6" y="82"/>
                </a:cxn>
                <a:cxn ang="0">
                  <a:pos x="16" y="90"/>
                </a:cxn>
                <a:cxn ang="0">
                  <a:pos x="28" y="98"/>
                </a:cxn>
                <a:cxn ang="0">
                  <a:pos x="60" y="104"/>
                </a:cxn>
                <a:cxn ang="0">
                  <a:pos x="98" y="102"/>
                </a:cxn>
                <a:cxn ang="0">
                  <a:pos x="118" y="100"/>
                </a:cxn>
                <a:cxn ang="0">
                  <a:pos x="136" y="96"/>
                </a:cxn>
                <a:cxn ang="0">
                  <a:pos x="152" y="90"/>
                </a:cxn>
                <a:cxn ang="0">
                  <a:pos x="166" y="82"/>
                </a:cxn>
                <a:cxn ang="0">
                  <a:pos x="178" y="74"/>
                </a:cxn>
                <a:cxn ang="0">
                  <a:pos x="186" y="64"/>
                </a:cxn>
                <a:cxn ang="0">
                  <a:pos x="190" y="56"/>
                </a:cxn>
                <a:cxn ang="0">
                  <a:pos x="192" y="46"/>
                </a:cxn>
                <a:cxn ang="0">
                  <a:pos x="188" y="36"/>
                </a:cxn>
                <a:cxn ang="0">
                  <a:pos x="184" y="26"/>
                </a:cxn>
                <a:cxn ang="0">
                  <a:pos x="174" y="16"/>
                </a:cxn>
                <a:cxn ang="0">
                  <a:pos x="162" y="10"/>
                </a:cxn>
                <a:cxn ang="0">
                  <a:pos x="146" y="4"/>
                </a:cxn>
                <a:cxn ang="0">
                  <a:pos x="128" y="2"/>
                </a:cxn>
                <a:cxn ang="0">
                  <a:pos x="112" y="0"/>
                </a:cxn>
                <a:cxn ang="0">
                  <a:pos x="92" y="0"/>
                </a:cxn>
                <a:cxn ang="0">
                  <a:pos x="56" y="4"/>
                </a:cxn>
                <a:cxn ang="0">
                  <a:pos x="40" y="10"/>
                </a:cxn>
                <a:cxn ang="0">
                  <a:pos x="28" y="14"/>
                </a:cxn>
                <a:cxn ang="0">
                  <a:pos x="16" y="22"/>
                </a:cxn>
                <a:cxn ang="0">
                  <a:pos x="8" y="32"/>
                </a:cxn>
                <a:cxn ang="0">
                  <a:pos x="2" y="44"/>
                </a:cxn>
                <a:cxn ang="0">
                  <a:pos x="0" y="56"/>
                </a:cxn>
              </a:cxnLst>
              <a:rect l="0" t="0" r="r" b="b"/>
              <a:pathLst>
                <a:path w="192" h="104">
                  <a:moveTo>
                    <a:pt x="0" y="56"/>
                  </a:moveTo>
                  <a:lnTo>
                    <a:pt x="2" y="72"/>
                  </a:lnTo>
                  <a:lnTo>
                    <a:pt x="6" y="82"/>
                  </a:lnTo>
                  <a:lnTo>
                    <a:pt x="16" y="90"/>
                  </a:lnTo>
                  <a:lnTo>
                    <a:pt x="28" y="98"/>
                  </a:lnTo>
                  <a:lnTo>
                    <a:pt x="60" y="104"/>
                  </a:lnTo>
                  <a:lnTo>
                    <a:pt x="98" y="102"/>
                  </a:lnTo>
                  <a:lnTo>
                    <a:pt x="118" y="100"/>
                  </a:lnTo>
                  <a:lnTo>
                    <a:pt x="136" y="96"/>
                  </a:lnTo>
                  <a:lnTo>
                    <a:pt x="152" y="90"/>
                  </a:lnTo>
                  <a:lnTo>
                    <a:pt x="166" y="82"/>
                  </a:lnTo>
                  <a:lnTo>
                    <a:pt x="178" y="74"/>
                  </a:lnTo>
                  <a:lnTo>
                    <a:pt x="186" y="64"/>
                  </a:lnTo>
                  <a:lnTo>
                    <a:pt x="190" y="56"/>
                  </a:lnTo>
                  <a:lnTo>
                    <a:pt x="192" y="46"/>
                  </a:lnTo>
                  <a:lnTo>
                    <a:pt x="188" y="36"/>
                  </a:lnTo>
                  <a:lnTo>
                    <a:pt x="184" y="26"/>
                  </a:lnTo>
                  <a:lnTo>
                    <a:pt x="174" y="16"/>
                  </a:lnTo>
                  <a:lnTo>
                    <a:pt x="162" y="10"/>
                  </a:lnTo>
                  <a:lnTo>
                    <a:pt x="146" y="4"/>
                  </a:lnTo>
                  <a:lnTo>
                    <a:pt x="128" y="2"/>
                  </a:lnTo>
                  <a:lnTo>
                    <a:pt x="112" y="0"/>
                  </a:lnTo>
                  <a:lnTo>
                    <a:pt x="92" y="0"/>
                  </a:lnTo>
                  <a:lnTo>
                    <a:pt x="56" y="4"/>
                  </a:lnTo>
                  <a:lnTo>
                    <a:pt x="40" y="10"/>
                  </a:lnTo>
                  <a:lnTo>
                    <a:pt x="28" y="14"/>
                  </a:lnTo>
                  <a:lnTo>
                    <a:pt x="16" y="22"/>
                  </a:lnTo>
                  <a:lnTo>
                    <a:pt x="8" y="32"/>
                  </a:lnTo>
                  <a:lnTo>
                    <a:pt x="2" y="44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FFD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29" name="Freeform 276"/>
            <p:cNvSpPr>
              <a:spLocks/>
            </p:cNvSpPr>
            <p:nvPr/>
          </p:nvSpPr>
          <p:spPr bwMode="auto">
            <a:xfrm flipH="1">
              <a:off x="4507" y="2997"/>
              <a:ext cx="90" cy="49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" y="66"/>
                </a:cxn>
                <a:cxn ang="0">
                  <a:pos x="6" y="76"/>
                </a:cxn>
                <a:cxn ang="0">
                  <a:pos x="14" y="84"/>
                </a:cxn>
                <a:cxn ang="0">
                  <a:pos x="28" y="92"/>
                </a:cxn>
                <a:cxn ang="0">
                  <a:pos x="40" y="94"/>
                </a:cxn>
                <a:cxn ang="0">
                  <a:pos x="56" y="98"/>
                </a:cxn>
                <a:cxn ang="0">
                  <a:pos x="92" y="98"/>
                </a:cxn>
                <a:cxn ang="0">
                  <a:pos x="126" y="92"/>
                </a:cxn>
                <a:cxn ang="0">
                  <a:pos x="142" y="86"/>
                </a:cxn>
                <a:cxn ang="0">
                  <a:pos x="156" y="80"/>
                </a:cxn>
                <a:cxn ang="0">
                  <a:pos x="166" y="72"/>
                </a:cxn>
                <a:cxn ang="0">
                  <a:pos x="174" y="62"/>
                </a:cxn>
                <a:cxn ang="0">
                  <a:pos x="178" y="52"/>
                </a:cxn>
                <a:cxn ang="0">
                  <a:pos x="180" y="42"/>
                </a:cxn>
                <a:cxn ang="0">
                  <a:pos x="176" y="32"/>
                </a:cxn>
                <a:cxn ang="0">
                  <a:pos x="172" y="24"/>
                </a:cxn>
                <a:cxn ang="0">
                  <a:pos x="162" y="16"/>
                </a:cxn>
                <a:cxn ang="0">
                  <a:pos x="150" y="10"/>
                </a:cxn>
                <a:cxn ang="0">
                  <a:pos x="138" y="6"/>
                </a:cxn>
                <a:cxn ang="0">
                  <a:pos x="122" y="2"/>
                </a:cxn>
                <a:cxn ang="0">
                  <a:pos x="88" y="0"/>
                </a:cxn>
                <a:cxn ang="0">
                  <a:pos x="54" y="6"/>
                </a:cxn>
                <a:cxn ang="0">
                  <a:pos x="38" y="10"/>
                </a:cxn>
                <a:cxn ang="0">
                  <a:pos x="26" y="14"/>
                </a:cxn>
                <a:cxn ang="0">
                  <a:pos x="14" y="22"/>
                </a:cxn>
                <a:cxn ang="0">
                  <a:pos x="2" y="40"/>
                </a:cxn>
                <a:cxn ang="0">
                  <a:pos x="0" y="54"/>
                </a:cxn>
              </a:cxnLst>
              <a:rect l="0" t="0" r="r" b="b"/>
              <a:pathLst>
                <a:path w="180" h="98">
                  <a:moveTo>
                    <a:pt x="0" y="54"/>
                  </a:moveTo>
                  <a:lnTo>
                    <a:pt x="2" y="66"/>
                  </a:lnTo>
                  <a:lnTo>
                    <a:pt x="6" y="76"/>
                  </a:lnTo>
                  <a:lnTo>
                    <a:pt x="14" y="84"/>
                  </a:lnTo>
                  <a:lnTo>
                    <a:pt x="28" y="92"/>
                  </a:lnTo>
                  <a:lnTo>
                    <a:pt x="40" y="94"/>
                  </a:lnTo>
                  <a:lnTo>
                    <a:pt x="56" y="98"/>
                  </a:lnTo>
                  <a:lnTo>
                    <a:pt x="92" y="98"/>
                  </a:lnTo>
                  <a:lnTo>
                    <a:pt x="126" y="92"/>
                  </a:lnTo>
                  <a:lnTo>
                    <a:pt x="142" y="86"/>
                  </a:lnTo>
                  <a:lnTo>
                    <a:pt x="156" y="80"/>
                  </a:lnTo>
                  <a:lnTo>
                    <a:pt x="166" y="72"/>
                  </a:lnTo>
                  <a:lnTo>
                    <a:pt x="174" y="62"/>
                  </a:lnTo>
                  <a:lnTo>
                    <a:pt x="178" y="52"/>
                  </a:lnTo>
                  <a:lnTo>
                    <a:pt x="180" y="42"/>
                  </a:lnTo>
                  <a:lnTo>
                    <a:pt x="176" y="32"/>
                  </a:lnTo>
                  <a:lnTo>
                    <a:pt x="172" y="24"/>
                  </a:lnTo>
                  <a:lnTo>
                    <a:pt x="162" y="16"/>
                  </a:lnTo>
                  <a:lnTo>
                    <a:pt x="150" y="10"/>
                  </a:lnTo>
                  <a:lnTo>
                    <a:pt x="138" y="6"/>
                  </a:lnTo>
                  <a:lnTo>
                    <a:pt x="122" y="2"/>
                  </a:lnTo>
                  <a:lnTo>
                    <a:pt x="88" y="0"/>
                  </a:lnTo>
                  <a:lnTo>
                    <a:pt x="54" y="6"/>
                  </a:lnTo>
                  <a:lnTo>
                    <a:pt x="38" y="10"/>
                  </a:lnTo>
                  <a:lnTo>
                    <a:pt x="26" y="14"/>
                  </a:lnTo>
                  <a:lnTo>
                    <a:pt x="14" y="22"/>
                  </a:lnTo>
                  <a:lnTo>
                    <a:pt x="2" y="4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rgbClr val="FFD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0" name="Freeform 277"/>
            <p:cNvSpPr>
              <a:spLocks/>
            </p:cNvSpPr>
            <p:nvPr/>
          </p:nvSpPr>
          <p:spPr bwMode="auto">
            <a:xfrm flipH="1">
              <a:off x="4513" y="3000"/>
              <a:ext cx="84" cy="46"/>
            </a:xfrm>
            <a:custGeom>
              <a:avLst/>
              <a:gdLst/>
              <a:ahLst/>
              <a:cxnLst>
                <a:cxn ang="0">
                  <a:pos x="0" y="52"/>
                </a:cxn>
                <a:cxn ang="0">
                  <a:pos x="2" y="62"/>
                </a:cxn>
                <a:cxn ang="0">
                  <a:pos x="6" y="72"/>
                </a:cxn>
                <a:cxn ang="0">
                  <a:pos x="14" y="78"/>
                </a:cxn>
                <a:cxn ang="0">
                  <a:pos x="26" y="86"/>
                </a:cxn>
                <a:cxn ang="0">
                  <a:pos x="54" y="92"/>
                </a:cxn>
                <a:cxn ang="0">
                  <a:pos x="86" y="92"/>
                </a:cxn>
                <a:cxn ang="0">
                  <a:pos x="118" y="86"/>
                </a:cxn>
                <a:cxn ang="0">
                  <a:pos x="144" y="76"/>
                </a:cxn>
                <a:cxn ang="0">
                  <a:pos x="154" y="70"/>
                </a:cxn>
                <a:cxn ang="0">
                  <a:pos x="162" y="60"/>
                </a:cxn>
                <a:cxn ang="0">
                  <a:pos x="166" y="52"/>
                </a:cxn>
                <a:cxn ang="0">
                  <a:pos x="168" y="44"/>
                </a:cxn>
                <a:cxn ang="0">
                  <a:pos x="166" y="34"/>
                </a:cxn>
                <a:cxn ang="0">
                  <a:pos x="160" y="26"/>
                </a:cxn>
                <a:cxn ang="0">
                  <a:pos x="152" y="18"/>
                </a:cxn>
                <a:cxn ang="0">
                  <a:pos x="142" y="12"/>
                </a:cxn>
                <a:cxn ang="0">
                  <a:pos x="116" y="2"/>
                </a:cxn>
                <a:cxn ang="0">
                  <a:pos x="84" y="0"/>
                </a:cxn>
                <a:cxn ang="0">
                  <a:pos x="50" y="6"/>
                </a:cxn>
                <a:cxn ang="0">
                  <a:pos x="36" y="8"/>
                </a:cxn>
                <a:cxn ang="0">
                  <a:pos x="24" y="16"/>
                </a:cxn>
                <a:cxn ang="0">
                  <a:pos x="14" y="22"/>
                </a:cxn>
                <a:cxn ang="0">
                  <a:pos x="6" y="30"/>
                </a:cxn>
                <a:cxn ang="0">
                  <a:pos x="2" y="40"/>
                </a:cxn>
                <a:cxn ang="0">
                  <a:pos x="0" y="52"/>
                </a:cxn>
              </a:cxnLst>
              <a:rect l="0" t="0" r="r" b="b"/>
              <a:pathLst>
                <a:path w="168" h="92">
                  <a:moveTo>
                    <a:pt x="0" y="52"/>
                  </a:moveTo>
                  <a:lnTo>
                    <a:pt x="2" y="62"/>
                  </a:lnTo>
                  <a:lnTo>
                    <a:pt x="6" y="72"/>
                  </a:lnTo>
                  <a:lnTo>
                    <a:pt x="14" y="78"/>
                  </a:lnTo>
                  <a:lnTo>
                    <a:pt x="26" y="86"/>
                  </a:lnTo>
                  <a:lnTo>
                    <a:pt x="54" y="92"/>
                  </a:lnTo>
                  <a:lnTo>
                    <a:pt x="86" y="92"/>
                  </a:lnTo>
                  <a:lnTo>
                    <a:pt x="118" y="86"/>
                  </a:lnTo>
                  <a:lnTo>
                    <a:pt x="144" y="76"/>
                  </a:lnTo>
                  <a:lnTo>
                    <a:pt x="154" y="70"/>
                  </a:lnTo>
                  <a:lnTo>
                    <a:pt x="162" y="60"/>
                  </a:lnTo>
                  <a:lnTo>
                    <a:pt x="166" y="52"/>
                  </a:lnTo>
                  <a:lnTo>
                    <a:pt x="168" y="44"/>
                  </a:lnTo>
                  <a:lnTo>
                    <a:pt x="166" y="34"/>
                  </a:lnTo>
                  <a:lnTo>
                    <a:pt x="160" y="26"/>
                  </a:lnTo>
                  <a:lnTo>
                    <a:pt x="152" y="18"/>
                  </a:lnTo>
                  <a:lnTo>
                    <a:pt x="142" y="12"/>
                  </a:lnTo>
                  <a:lnTo>
                    <a:pt x="116" y="2"/>
                  </a:lnTo>
                  <a:lnTo>
                    <a:pt x="84" y="0"/>
                  </a:lnTo>
                  <a:lnTo>
                    <a:pt x="50" y="6"/>
                  </a:lnTo>
                  <a:lnTo>
                    <a:pt x="36" y="8"/>
                  </a:lnTo>
                  <a:lnTo>
                    <a:pt x="24" y="16"/>
                  </a:lnTo>
                  <a:lnTo>
                    <a:pt x="14" y="22"/>
                  </a:lnTo>
                  <a:lnTo>
                    <a:pt x="6" y="30"/>
                  </a:lnTo>
                  <a:lnTo>
                    <a:pt x="2" y="40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FFE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1" name="Freeform 278"/>
            <p:cNvSpPr>
              <a:spLocks/>
            </p:cNvSpPr>
            <p:nvPr/>
          </p:nvSpPr>
          <p:spPr bwMode="auto">
            <a:xfrm flipH="1">
              <a:off x="4519" y="3004"/>
              <a:ext cx="76" cy="42"/>
            </a:xfrm>
            <a:custGeom>
              <a:avLst/>
              <a:gdLst/>
              <a:ahLst/>
              <a:cxnLst>
                <a:cxn ang="0">
                  <a:pos x="0" y="44"/>
                </a:cxn>
                <a:cxn ang="0">
                  <a:pos x="2" y="54"/>
                </a:cxn>
                <a:cxn ang="0">
                  <a:pos x="6" y="62"/>
                </a:cxn>
                <a:cxn ang="0">
                  <a:pos x="12" y="68"/>
                </a:cxn>
                <a:cxn ang="0">
                  <a:pos x="22" y="74"/>
                </a:cxn>
                <a:cxn ang="0">
                  <a:pos x="46" y="82"/>
                </a:cxn>
                <a:cxn ang="0">
                  <a:pos x="76" y="84"/>
                </a:cxn>
                <a:cxn ang="0">
                  <a:pos x="106" y="80"/>
                </a:cxn>
                <a:cxn ang="0">
                  <a:pos x="130" y="70"/>
                </a:cxn>
                <a:cxn ang="0">
                  <a:pos x="140" y="62"/>
                </a:cxn>
                <a:cxn ang="0">
                  <a:pos x="146" y="56"/>
                </a:cxn>
                <a:cxn ang="0">
                  <a:pos x="150" y="48"/>
                </a:cxn>
                <a:cxn ang="0">
                  <a:pos x="152" y="38"/>
                </a:cxn>
                <a:cxn ang="0">
                  <a:pos x="150" y="30"/>
                </a:cxn>
                <a:cxn ang="0">
                  <a:pos x="146" y="22"/>
                </a:cxn>
                <a:cxn ang="0">
                  <a:pos x="138" y="16"/>
                </a:cxn>
                <a:cxn ang="0">
                  <a:pos x="128" y="10"/>
                </a:cxn>
                <a:cxn ang="0">
                  <a:pos x="104" y="2"/>
                </a:cxn>
                <a:cxn ang="0">
                  <a:pos x="74" y="0"/>
                </a:cxn>
                <a:cxn ang="0">
                  <a:pos x="44" y="4"/>
                </a:cxn>
                <a:cxn ang="0">
                  <a:pos x="22" y="12"/>
                </a:cxn>
                <a:cxn ang="0">
                  <a:pos x="12" y="18"/>
                </a:cxn>
                <a:cxn ang="0">
                  <a:pos x="6" y="26"/>
                </a:cxn>
                <a:cxn ang="0">
                  <a:pos x="2" y="34"/>
                </a:cxn>
                <a:cxn ang="0">
                  <a:pos x="0" y="44"/>
                </a:cxn>
              </a:cxnLst>
              <a:rect l="0" t="0" r="r" b="b"/>
              <a:pathLst>
                <a:path w="152" h="84">
                  <a:moveTo>
                    <a:pt x="0" y="44"/>
                  </a:moveTo>
                  <a:lnTo>
                    <a:pt x="2" y="54"/>
                  </a:lnTo>
                  <a:lnTo>
                    <a:pt x="6" y="62"/>
                  </a:lnTo>
                  <a:lnTo>
                    <a:pt x="12" y="68"/>
                  </a:lnTo>
                  <a:lnTo>
                    <a:pt x="22" y="74"/>
                  </a:lnTo>
                  <a:lnTo>
                    <a:pt x="46" y="82"/>
                  </a:lnTo>
                  <a:lnTo>
                    <a:pt x="76" y="84"/>
                  </a:lnTo>
                  <a:lnTo>
                    <a:pt x="106" y="80"/>
                  </a:lnTo>
                  <a:lnTo>
                    <a:pt x="130" y="70"/>
                  </a:lnTo>
                  <a:lnTo>
                    <a:pt x="140" y="62"/>
                  </a:lnTo>
                  <a:lnTo>
                    <a:pt x="146" y="56"/>
                  </a:lnTo>
                  <a:lnTo>
                    <a:pt x="150" y="48"/>
                  </a:lnTo>
                  <a:lnTo>
                    <a:pt x="152" y="38"/>
                  </a:lnTo>
                  <a:lnTo>
                    <a:pt x="150" y="30"/>
                  </a:lnTo>
                  <a:lnTo>
                    <a:pt x="146" y="22"/>
                  </a:lnTo>
                  <a:lnTo>
                    <a:pt x="138" y="16"/>
                  </a:lnTo>
                  <a:lnTo>
                    <a:pt x="128" y="10"/>
                  </a:lnTo>
                  <a:lnTo>
                    <a:pt x="104" y="2"/>
                  </a:lnTo>
                  <a:lnTo>
                    <a:pt x="74" y="0"/>
                  </a:lnTo>
                  <a:lnTo>
                    <a:pt x="44" y="4"/>
                  </a:lnTo>
                  <a:lnTo>
                    <a:pt x="22" y="12"/>
                  </a:lnTo>
                  <a:lnTo>
                    <a:pt x="12" y="18"/>
                  </a:lnTo>
                  <a:lnTo>
                    <a:pt x="6" y="26"/>
                  </a:lnTo>
                  <a:lnTo>
                    <a:pt x="2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FFE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2" name="Freeform 279"/>
            <p:cNvSpPr>
              <a:spLocks/>
            </p:cNvSpPr>
            <p:nvPr/>
          </p:nvSpPr>
          <p:spPr bwMode="auto">
            <a:xfrm flipH="1">
              <a:off x="4524" y="3007"/>
              <a:ext cx="69" cy="39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2" y="48"/>
                </a:cxn>
                <a:cxn ang="0">
                  <a:pos x="4" y="56"/>
                </a:cxn>
                <a:cxn ang="0">
                  <a:pos x="12" y="62"/>
                </a:cxn>
                <a:cxn ang="0">
                  <a:pos x="20" y="68"/>
                </a:cxn>
                <a:cxn ang="0">
                  <a:pos x="42" y="74"/>
                </a:cxn>
                <a:cxn ang="0">
                  <a:pos x="70" y="78"/>
                </a:cxn>
                <a:cxn ang="0">
                  <a:pos x="96" y="74"/>
                </a:cxn>
                <a:cxn ang="0">
                  <a:pos x="118" y="66"/>
                </a:cxn>
                <a:cxn ang="0">
                  <a:pos x="132" y="54"/>
                </a:cxn>
                <a:cxn ang="0">
                  <a:pos x="136" y="44"/>
                </a:cxn>
                <a:cxn ang="0">
                  <a:pos x="138" y="36"/>
                </a:cxn>
                <a:cxn ang="0">
                  <a:pos x="136" y="28"/>
                </a:cxn>
                <a:cxn ang="0">
                  <a:pos x="132" y="22"/>
                </a:cxn>
                <a:cxn ang="0">
                  <a:pos x="124" y="16"/>
                </a:cxn>
                <a:cxn ang="0">
                  <a:pos x="116" y="10"/>
                </a:cxn>
                <a:cxn ang="0">
                  <a:pos x="94" y="2"/>
                </a:cxn>
                <a:cxn ang="0">
                  <a:pos x="68" y="0"/>
                </a:cxn>
                <a:cxn ang="0">
                  <a:pos x="40" y="2"/>
                </a:cxn>
                <a:cxn ang="0">
                  <a:pos x="20" y="10"/>
                </a:cxn>
                <a:cxn ang="0">
                  <a:pos x="12" y="18"/>
                </a:cxn>
                <a:cxn ang="0">
                  <a:pos x="4" y="24"/>
                </a:cxn>
                <a:cxn ang="0">
                  <a:pos x="2" y="32"/>
                </a:cxn>
                <a:cxn ang="0">
                  <a:pos x="0" y="40"/>
                </a:cxn>
              </a:cxnLst>
              <a:rect l="0" t="0" r="r" b="b"/>
              <a:pathLst>
                <a:path w="138" h="78">
                  <a:moveTo>
                    <a:pt x="0" y="40"/>
                  </a:moveTo>
                  <a:lnTo>
                    <a:pt x="2" y="48"/>
                  </a:lnTo>
                  <a:lnTo>
                    <a:pt x="4" y="56"/>
                  </a:lnTo>
                  <a:lnTo>
                    <a:pt x="12" y="62"/>
                  </a:lnTo>
                  <a:lnTo>
                    <a:pt x="20" y="68"/>
                  </a:lnTo>
                  <a:lnTo>
                    <a:pt x="42" y="74"/>
                  </a:lnTo>
                  <a:lnTo>
                    <a:pt x="70" y="78"/>
                  </a:lnTo>
                  <a:lnTo>
                    <a:pt x="96" y="74"/>
                  </a:lnTo>
                  <a:lnTo>
                    <a:pt x="118" y="66"/>
                  </a:lnTo>
                  <a:lnTo>
                    <a:pt x="132" y="54"/>
                  </a:lnTo>
                  <a:lnTo>
                    <a:pt x="136" y="44"/>
                  </a:lnTo>
                  <a:lnTo>
                    <a:pt x="138" y="36"/>
                  </a:lnTo>
                  <a:lnTo>
                    <a:pt x="136" y="28"/>
                  </a:lnTo>
                  <a:lnTo>
                    <a:pt x="132" y="22"/>
                  </a:lnTo>
                  <a:lnTo>
                    <a:pt x="124" y="16"/>
                  </a:lnTo>
                  <a:lnTo>
                    <a:pt x="116" y="10"/>
                  </a:lnTo>
                  <a:lnTo>
                    <a:pt x="94" y="2"/>
                  </a:lnTo>
                  <a:lnTo>
                    <a:pt x="68" y="0"/>
                  </a:lnTo>
                  <a:lnTo>
                    <a:pt x="40" y="2"/>
                  </a:lnTo>
                  <a:lnTo>
                    <a:pt x="20" y="10"/>
                  </a:lnTo>
                  <a:lnTo>
                    <a:pt x="12" y="18"/>
                  </a:lnTo>
                  <a:lnTo>
                    <a:pt x="4" y="24"/>
                  </a:lnTo>
                  <a:lnTo>
                    <a:pt x="2" y="32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FFF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3" name="Oval 280"/>
            <p:cNvSpPr>
              <a:spLocks noChangeArrowheads="1"/>
            </p:cNvSpPr>
            <p:nvPr/>
          </p:nvSpPr>
          <p:spPr bwMode="auto">
            <a:xfrm flipH="1">
              <a:off x="4527" y="3012"/>
              <a:ext cx="66" cy="38"/>
            </a:xfrm>
            <a:prstGeom prst="ellipse">
              <a:avLst/>
            </a:pr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4" name="Freeform 281"/>
            <p:cNvSpPr>
              <a:spLocks/>
            </p:cNvSpPr>
            <p:nvPr/>
          </p:nvSpPr>
          <p:spPr bwMode="auto">
            <a:xfrm flipH="1">
              <a:off x="4323" y="2783"/>
              <a:ext cx="50" cy="198"/>
            </a:xfrm>
            <a:custGeom>
              <a:avLst/>
              <a:gdLst/>
              <a:ahLst/>
              <a:cxnLst>
                <a:cxn ang="0">
                  <a:pos x="4" y="199"/>
                </a:cxn>
                <a:cxn ang="0">
                  <a:pos x="26" y="173"/>
                </a:cxn>
                <a:cxn ang="0">
                  <a:pos x="48" y="143"/>
                </a:cxn>
                <a:cxn ang="0">
                  <a:pos x="64" y="115"/>
                </a:cxn>
                <a:cxn ang="0">
                  <a:pos x="76" y="83"/>
                </a:cxn>
                <a:cxn ang="0">
                  <a:pos x="92" y="41"/>
                </a:cxn>
                <a:cxn ang="0">
                  <a:pos x="100" y="0"/>
                </a:cxn>
                <a:cxn ang="0">
                  <a:pos x="100" y="193"/>
                </a:cxn>
                <a:cxn ang="0">
                  <a:pos x="98" y="203"/>
                </a:cxn>
                <a:cxn ang="0">
                  <a:pos x="96" y="213"/>
                </a:cxn>
                <a:cxn ang="0">
                  <a:pos x="86" y="251"/>
                </a:cxn>
                <a:cxn ang="0">
                  <a:pos x="74" y="285"/>
                </a:cxn>
                <a:cxn ang="0">
                  <a:pos x="60" y="315"/>
                </a:cxn>
                <a:cxn ang="0">
                  <a:pos x="42" y="345"/>
                </a:cxn>
                <a:cxn ang="0">
                  <a:pos x="24" y="371"/>
                </a:cxn>
                <a:cxn ang="0">
                  <a:pos x="0" y="395"/>
                </a:cxn>
                <a:cxn ang="0">
                  <a:pos x="4" y="199"/>
                </a:cxn>
              </a:cxnLst>
              <a:rect l="0" t="0" r="r" b="b"/>
              <a:pathLst>
                <a:path w="100" h="395">
                  <a:moveTo>
                    <a:pt x="4" y="199"/>
                  </a:moveTo>
                  <a:lnTo>
                    <a:pt x="26" y="173"/>
                  </a:lnTo>
                  <a:lnTo>
                    <a:pt x="48" y="143"/>
                  </a:lnTo>
                  <a:lnTo>
                    <a:pt x="64" y="115"/>
                  </a:lnTo>
                  <a:lnTo>
                    <a:pt x="76" y="83"/>
                  </a:lnTo>
                  <a:lnTo>
                    <a:pt x="92" y="41"/>
                  </a:lnTo>
                  <a:lnTo>
                    <a:pt x="100" y="0"/>
                  </a:lnTo>
                  <a:lnTo>
                    <a:pt x="100" y="193"/>
                  </a:lnTo>
                  <a:lnTo>
                    <a:pt x="98" y="203"/>
                  </a:lnTo>
                  <a:lnTo>
                    <a:pt x="96" y="213"/>
                  </a:lnTo>
                  <a:lnTo>
                    <a:pt x="86" y="251"/>
                  </a:lnTo>
                  <a:lnTo>
                    <a:pt x="74" y="285"/>
                  </a:lnTo>
                  <a:lnTo>
                    <a:pt x="60" y="315"/>
                  </a:lnTo>
                  <a:lnTo>
                    <a:pt x="42" y="345"/>
                  </a:lnTo>
                  <a:lnTo>
                    <a:pt x="24" y="371"/>
                  </a:lnTo>
                  <a:lnTo>
                    <a:pt x="0" y="395"/>
                  </a:lnTo>
                  <a:lnTo>
                    <a:pt x="4" y="199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5" name="Freeform 282"/>
            <p:cNvSpPr>
              <a:spLocks/>
            </p:cNvSpPr>
            <p:nvPr/>
          </p:nvSpPr>
          <p:spPr bwMode="auto">
            <a:xfrm flipH="1">
              <a:off x="4355" y="2862"/>
              <a:ext cx="56" cy="129"/>
            </a:xfrm>
            <a:custGeom>
              <a:avLst/>
              <a:gdLst/>
              <a:ahLst/>
              <a:cxnLst>
                <a:cxn ang="0">
                  <a:pos x="6" y="96"/>
                </a:cxn>
                <a:cxn ang="0">
                  <a:pos x="8" y="94"/>
                </a:cxn>
                <a:cxn ang="0">
                  <a:pos x="14" y="90"/>
                </a:cxn>
                <a:cxn ang="0">
                  <a:pos x="22" y="84"/>
                </a:cxn>
                <a:cxn ang="0">
                  <a:pos x="34" y="78"/>
                </a:cxn>
                <a:cxn ang="0">
                  <a:pos x="56" y="60"/>
                </a:cxn>
                <a:cxn ang="0">
                  <a:pos x="78" y="42"/>
                </a:cxn>
                <a:cxn ang="0">
                  <a:pos x="92" y="28"/>
                </a:cxn>
                <a:cxn ang="0">
                  <a:pos x="102" y="14"/>
                </a:cxn>
                <a:cxn ang="0">
                  <a:pos x="110" y="4"/>
                </a:cxn>
                <a:cxn ang="0">
                  <a:pos x="112" y="0"/>
                </a:cxn>
                <a:cxn ang="0">
                  <a:pos x="112" y="6"/>
                </a:cxn>
                <a:cxn ang="0">
                  <a:pos x="110" y="24"/>
                </a:cxn>
                <a:cxn ang="0">
                  <a:pos x="110" y="50"/>
                </a:cxn>
                <a:cxn ang="0">
                  <a:pos x="108" y="80"/>
                </a:cxn>
                <a:cxn ang="0">
                  <a:pos x="104" y="142"/>
                </a:cxn>
                <a:cxn ang="0">
                  <a:pos x="104" y="172"/>
                </a:cxn>
                <a:cxn ang="0">
                  <a:pos x="104" y="192"/>
                </a:cxn>
                <a:cxn ang="0">
                  <a:pos x="104" y="202"/>
                </a:cxn>
                <a:cxn ang="0">
                  <a:pos x="102" y="206"/>
                </a:cxn>
                <a:cxn ang="0">
                  <a:pos x="100" y="210"/>
                </a:cxn>
                <a:cxn ang="0">
                  <a:pos x="94" y="218"/>
                </a:cxn>
                <a:cxn ang="0">
                  <a:pos x="82" y="228"/>
                </a:cxn>
                <a:cxn ang="0">
                  <a:pos x="68" y="242"/>
                </a:cxn>
                <a:cxn ang="0">
                  <a:pos x="52" y="254"/>
                </a:cxn>
                <a:cxn ang="0">
                  <a:pos x="32" y="258"/>
                </a:cxn>
                <a:cxn ang="0">
                  <a:pos x="22" y="258"/>
                </a:cxn>
                <a:cxn ang="0">
                  <a:pos x="12" y="256"/>
                </a:cxn>
                <a:cxn ang="0">
                  <a:pos x="6" y="250"/>
                </a:cxn>
                <a:cxn ang="0">
                  <a:pos x="0" y="240"/>
                </a:cxn>
                <a:cxn ang="0">
                  <a:pos x="6" y="96"/>
                </a:cxn>
              </a:cxnLst>
              <a:rect l="0" t="0" r="r" b="b"/>
              <a:pathLst>
                <a:path w="112" h="258">
                  <a:moveTo>
                    <a:pt x="6" y="96"/>
                  </a:moveTo>
                  <a:lnTo>
                    <a:pt x="8" y="94"/>
                  </a:lnTo>
                  <a:lnTo>
                    <a:pt x="14" y="90"/>
                  </a:lnTo>
                  <a:lnTo>
                    <a:pt x="22" y="84"/>
                  </a:lnTo>
                  <a:lnTo>
                    <a:pt x="34" y="78"/>
                  </a:lnTo>
                  <a:lnTo>
                    <a:pt x="56" y="60"/>
                  </a:lnTo>
                  <a:lnTo>
                    <a:pt x="78" y="42"/>
                  </a:lnTo>
                  <a:lnTo>
                    <a:pt x="92" y="28"/>
                  </a:lnTo>
                  <a:lnTo>
                    <a:pt x="102" y="14"/>
                  </a:lnTo>
                  <a:lnTo>
                    <a:pt x="110" y="4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10" y="24"/>
                  </a:lnTo>
                  <a:lnTo>
                    <a:pt x="110" y="50"/>
                  </a:lnTo>
                  <a:lnTo>
                    <a:pt x="108" y="80"/>
                  </a:lnTo>
                  <a:lnTo>
                    <a:pt x="104" y="142"/>
                  </a:lnTo>
                  <a:lnTo>
                    <a:pt x="104" y="172"/>
                  </a:lnTo>
                  <a:lnTo>
                    <a:pt x="104" y="192"/>
                  </a:lnTo>
                  <a:lnTo>
                    <a:pt x="104" y="202"/>
                  </a:lnTo>
                  <a:lnTo>
                    <a:pt x="102" y="206"/>
                  </a:lnTo>
                  <a:lnTo>
                    <a:pt x="100" y="210"/>
                  </a:lnTo>
                  <a:lnTo>
                    <a:pt x="94" y="218"/>
                  </a:lnTo>
                  <a:lnTo>
                    <a:pt x="82" y="228"/>
                  </a:lnTo>
                  <a:lnTo>
                    <a:pt x="68" y="242"/>
                  </a:lnTo>
                  <a:lnTo>
                    <a:pt x="52" y="254"/>
                  </a:lnTo>
                  <a:lnTo>
                    <a:pt x="32" y="258"/>
                  </a:lnTo>
                  <a:lnTo>
                    <a:pt x="22" y="258"/>
                  </a:lnTo>
                  <a:lnTo>
                    <a:pt x="12" y="256"/>
                  </a:lnTo>
                  <a:lnTo>
                    <a:pt x="6" y="250"/>
                  </a:lnTo>
                  <a:lnTo>
                    <a:pt x="0" y="240"/>
                  </a:lnTo>
                  <a:lnTo>
                    <a:pt x="6" y="96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6" name="Freeform 283"/>
            <p:cNvSpPr>
              <a:spLocks/>
            </p:cNvSpPr>
            <p:nvPr/>
          </p:nvSpPr>
          <p:spPr bwMode="auto">
            <a:xfrm flipH="1">
              <a:off x="4357" y="2868"/>
              <a:ext cx="57" cy="126"/>
            </a:xfrm>
            <a:custGeom>
              <a:avLst/>
              <a:gdLst/>
              <a:ahLst/>
              <a:cxnLst>
                <a:cxn ang="0">
                  <a:pos x="6" y="90"/>
                </a:cxn>
                <a:cxn ang="0">
                  <a:pos x="8" y="88"/>
                </a:cxn>
                <a:cxn ang="0">
                  <a:pos x="14" y="84"/>
                </a:cxn>
                <a:cxn ang="0">
                  <a:pos x="22" y="80"/>
                </a:cxn>
                <a:cxn ang="0">
                  <a:pos x="32" y="74"/>
                </a:cxn>
                <a:cxn ang="0">
                  <a:pos x="78" y="40"/>
                </a:cxn>
                <a:cxn ang="0">
                  <a:pos x="92" y="24"/>
                </a:cxn>
                <a:cxn ang="0">
                  <a:pos x="104" y="12"/>
                </a:cxn>
                <a:cxn ang="0">
                  <a:pos x="112" y="4"/>
                </a:cxn>
                <a:cxn ang="0">
                  <a:pos x="114" y="0"/>
                </a:cxn>
                <a:cxn ang="0">
                  <a:pos x="104" y="204"/>
                </a:cxn>
                <a:cxn ang="0">
                  <a:pos x="100" y="208"/>
                </a:cxn>
                <a:cxn ang="0">
                  <a:pos x="94" y="216"/>
                </a:cxn>
                <a:cxn ang="0">
                  <a:pos x="82" y="228"/>
                </a:cxn>
                <a:cxn ang="0">
                  <a:pos x="70" y="238"/>
                </a:cxn>
                <a:cxn ang="0">
                  <a:pos x="52" y="248"/>
                </a:cxn>
                <a:cxn ang="0">
                  <a:pos x="32" y="252"/>
                </a:cxn>
                <a:cxn ang="0">
                  <a:pos x="22" y="252"/>
                </a:cxn>
                <a:cxn ang="0">
                  <a:pos x="12" y="246"/>
                </a:cxn>
                <a:cxn ang="0">
                  <a:pos x="6" y="240"/>
                </a:cxn>
                <a:cxn ang="0">
                  <a:pos x="0" y="230"/>
                </a:cxn>
                <a:cxn ang="0">
                  <a:pos x="6" y="90"/>
                </a:cxn>
              </a:cxnLst>
              <a:rect l="0" t="0" r="r" b="b"/>
              <a:pathLst>
                <a:path w="114" h="252">
                  <a:moveTo>
                    <a:pt x="6" y="90"/>
                  </a:moveTo>
                  <a:lnTo>
                    <a:pt x="8" y="88"/>
                  </a:lnTo>
                  <a:lnTo>
                    <a:pt x="14" y="84"/>
                  </a:lnTo>
                  <a:lnTo>
                    <a:pt x="22" y="80"/>
                  </a:lnTo>
                  <a:lnTo>
                    <a:pt x="32" y="74"/>
                  </a:lnTo>
                  <a:lnTo>
                    <a:pt x="78" y="40"/>
                  </a:lnTo>
                  <a:lnTo>
                    <a:pt x="92" y="24"/>
                  </a:lnTo>
                  <a:lnTo>
                    <a:pt x="104" y="12"/>
                  </a:lnTo>
                  <a:lnTo>
                    <a:pt x="112" y="4"/>
                  </a:lnTo>
                  <a:lnTo>
                    <a:pt x="114" y="0"/>
                  </a:lnTo>
                  <a:lnTo>
                    <a:pt x="104" y="204"/>
                  </a:lnTo>
                  <a:lnTo>
                    <a:pt x="100" y="208"/>
                  </a:lnTo>
                  <a:lnTo>
                    <a:pt x="94" y="216"/>
                  </a:lnTo>
                  <a:lnTo>
                    <a:pt x="82" y="228"/>
                  </a:lnTo>
                  <a:lnTo>
                    <a:pt x="70" y="238"/>
                  </a:lnTo>
                  <a:lnTo>
                    <a:pt x="52" y="248"/>
                  </a:lnTo>
                  <a:lnTo>
                    <a:pt x="32" y="252"/>
                  </a:lnTo>
                  <a:lnTo>
                    <a:pt x="22" y="252"/>
                  </a:lnTo>
                  <a:lnTo>
                    <a:pt x="12" y="246"/>
                  </a:lnTo>
                  <a:lnTo>
                    <a:pt x="6" y="240"/>
                  </a:lnTo>
                  <a:lnTo>
                    <a:pt x="0" y="230"/>
                  </a:lnTo>
                  <a:lnTo>
                    <a:pt x="6" y="90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7" name="Freeform 284"/>
            <p:cNvSpPr>
              <a:spLocks/>
            </p:cNvSpPr>
            <p:nvPr/>
          </p:nvSpPr>
          <p:spPr bwMode="auto">
            <a:xfrm flipH="1">
              <a:off x="4616" y="2916"/>
              <a:ext cx="146" cy="130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2"/>
                </a:cxn>
                <a:cxn ang="0">
                  <a:pos x="64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4"/>
                </a:cxn>
                <a:cxn ang="0">
                  <a:pos x="286" y="90"/>
                </a:cxn>
                <a:cxn ang="0">
                  <a:pos x="288" y="102"/>
                </a:cxn>
                <a:cxn ang="0">
                  <a:pos x="292" y="116"/>
                </a:cxn>
                <a:cxn ang="0">
                  <a:pos x="294" y="128"/>
                </a:cxn>
                <a:cxn ang="0">
                  <a:pos x="294" y="142"/>
                </a:cxn>
                <a:cxn ang="0">
                  <a:pos x="288" y="156"/>
                </a:cxn>
                <a:cxn ang="0">
                  <a:pos x="280" y="168"/>
                </a:cxn>
                <a:cxn ang="0">
                  <a:pos x="270" y="178"/>
                </a:cxn>
                <a:cxn ang="0">
                  <a:pos x="264" y="188"/>
                </a:cxn>
                <a:cxn ang="0">
                  <a:pos x="258" y="204"/>
                </a:cxn>
                <a:cxn ang="0">
                  <a:pos x="254" y="224"/>
                </a:cxn>
                <a:cxn ang="0">
                  <a:pos x="250" y="244"/>
                </a:cxn>
                <a:cxn ang="0">
                  <a:pos x="244" y="252"/>
                </a:cxn>
                <a:cxn ang="0">
                  <a:pos x="242" y="258"/>
                </a:cxn>
                <a:cxn ang="0">
                  <a:pos x="234" y="260"/>
                </a:cxn>
                <a:cxn ang="0">
                  <a:pos x="226" y="258"/>
                </a:cxn>
                <a:cxn ang="0">
                  <a:pos x="216" y="258"/>
                </a:cxn>
                <a:cxn ang="0">
                  <a:pos x="208" y="258"/>
                </a:cxn>
                <a:cxn ang="0">
                  <a:pos x="192" y="256"/>
                </a:cxn>
                <a:cxn ang="0">
                  <a:pos x="156" y="246"/>
                </a:cxn>
                <a:cxn ang="0">
                  <a:pos x="136" y="240"/>
                </a:cxn>
                <a:cxn ang="0">
                  <a:pos x="120" y="232"/>
                </a:cxn>
                <a:cxn ang="0">
                  <a:pos x="110" y="230"/>
                </a:cxn>
                <a:cxn ang="0">
                  <a:pos x="104" y="228"/>
                </a:cxn>
              </a:cxnLst>
              <a:rect l="0" t="0" r="r" b="b"/>
              <a:pathLst>
                <a:path w="294" h="260">
                  <a:moveTo>
                    <a:pt x="104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2"/>
                  </a:lnTo>
                  <a:lnTo>
                    <a:pt x="64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4"/>
                  </a:lnTo>
                  <a:lnTo>
                    <a:pt x="286" y="90"/>
                  </a:lnTo>
                  <a:lnTo>
                    <a:pt x="288" y="102"/>
                  </a:lnTo>
                  <a:lnTo>
                    <a:pt x="292" y="116"/>
                  </a:lnTo>
                  <a:lnTo>
                    <a:pt x="294" y="128"/>
                  </a:lnTo>
                  <a:lnTo>
                    <a:pt x="294" y="142"/>
                  </a:lnTo>
                  <a:lnTo>
                    <a:pt x="288" y="156"/>
                  </a:lnTo>
                  <a:lnTo>
                    <a:pt x="280" y="168"/>
                  </a:lnTo>
                  <a:lnTo>
                    <a:pt x="270" y="178"/>
                  </a:lnTo>
                  <a:lnTo>
                    <a:pt x="264" y="188"/>
                  </a:lnTo>
                  <a:lnTo>
                    <a:pt x="258" y="204"/>
                  </a:lnTo>
                  <a:lnTo>
                    <a:pt x="254" y="224"/>
                  </a:lnTo>
                  <a:lnTo>
                    <a:pt x="250" y="244"/>
                  </a:lnTo>
                  <a:lnTo>
                    <a:pt x="244" y="252"/>
                  </a:lnTo>
                  <a:lnTo>
                    <a:pt x="242" y="258"/>
                  </a:lnTo>
                  <a:lnTo>
                    <a:pt x="234" y="260"/>
                  </a:lnTo>
                  <a:lnTo>
                    <a:pt x="226" y="258"/>
                  </a:lnTo>
                  <a:lnTo>
                    <a:pt x="216" y="258"/>
                  </a:lnTo>
                  <a:lnTo>
                    <a:pt x="208" y="258"/>
                  </a:lnTo>
                  <a:lnTo>
                    <a:pt x="192" y="256"/>
                  </a:lnTo>
                  <a:lnTo>
                    <a:pt x="156" y="246"/>
                  </a:lnTo>
                  <a:lnTo>
                    <a:pt x="136" y="240"/>
                  </a:lnTo>
                  <a:lnTo>
                    <a:pt x="120" y="232"/>
                  </a:lnTo>
                  <a:lnTo>
                    <a:pt x="110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8" name="Freeform 285"/>
            <p:cNvSpPr>
              <a:spLocks/>
            </p:cNvSpPr>
            <p:nvPr/>
          </p:nvSpPr>
          <p:spPr bwMode="auto">
            <a:xfrm flipH="1">
              <a:off x="4618" y="2916"/>
              <a:ext cx="144" cy="129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4"/>
                </a:cxn>
                <a:cxn ang="0">
                  <a:pos x="286" y="90"/>
                </a:cxn>
                <a:cxn ang="0">
                  <a:pos x="288" y="100"/>
                </a:cxn>
                <a:cxn ang="0">
                  <a:pos x="290" y="114"/>
                </a:cxn>
                <a:cxn ang="0">
                  <a:pos x="290" y="142"/>
                </a:cxn>
                <a:cxn ang="0">
                  <a:pos x="286" y="154"/>
                </a:cxn>
                <a:cxn ang="0">
                  <a:pos x="278" y="166"/>
                </a:cxn>
                <a:cxn ang="0">
                  <a:pos x="268" y="176"/>
                </a:cxn>
                <a:cxn ang="0">
                  <a:pos x="262" y="186"/>
                </a:cxn>
                <a:cxn ang="0">
                  <a:pos x="254" y="202"/>
                </a:cxn>
                <a:cxn ang="0">
                  <a:pos x="252" y="220"/>
                </a:cxn>
                <a:cxn ang="0">
                  <a:pos x="244" y="240"/>
                </a:cxn>
                <a:cxn ang="0">
                  <a:pos x="240" y="250"/>
                </a:cxn>
                <a:cxn ang="0">
                  <a:pos x="236" y="254"/>
                </a:cxn>
                <a:cxn ang="0">
                  <a:pos x="228" y="258"/>
                </a:cxn>
                <a:cxn ang="0">
                  <a:pos x="226" y="258"/>
                </a:cxn>
                <a:cxn ang="0">
                  <a:pos x="222" y="256"/>
                </a:cxn>
                <a:cxn ang="0">
                  <a:pos x="212" y="256"/>
                </a:cxn>
                <a:cxn ang="0">
                  <a:pos x="204" y="256"/>
                </a:cxn>
                <a:cxn ang="0">
                  <a:pos x="190" y="254"/>
                </a:cxn>
                <a:cxn ang="0">
                  <a:pos x="154" y="246"/>
                </a:cxn>
                <a:cxn ang="0">
                  <a:pos x="136" y="238"/>
                </a:cxn>
                <a:cxn ang="0">
                  <a:pos x="120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90" h="25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4"/>
                  </a:lnTo>
                  <a:lnTo>
                    <a:pt x="286" y="90"/>
                  </a:lnTo>
                  <a:lnTo>
                    <a:pt x="288" y="100"/>
                  </a:lnTo>
                  <a:lnTo>
                    <a:pt x="290" y="114"/>
                  </a:lnTo>
                  <a:lnTo>
                    <a:pt x="290" y="142"/>
                  </a:lnTo>
                  <a:lnTo>
                    <a:pt x="286" y="154"/>
                  </a:lnTo>
                  <a:lnTo>
                    <a:pt x="278" y="166"/>
                  </a:lnTo>
                  <a:lnTo>
                    <a:pt x="268" y="176"/>
                  </a:lnTo>
                  <a:lnTo>
                    <a:pt x="262" y="186"/>
                  </a:lnTo>
                  <a:lnTo>
                    <a:pt x="254" y="202"/>
                  </a:lnTo>
                  <a:lnTo>
                    <a:pt x="252" y="220"/>
                  </a:lnTo>
                  <a:lnTo>
                    <a:pt x="244" y="240"/>
                  </a:lnTo>
                  <a:lnTo>
                    <a:pt x="240" y="250"/>
                  </a:lnTo>
                  <a:lnTo>
                    <a:pt x="236" y="254"/>
                  </a:lnTo>
                  <a:lnTo>
                    <a:pt x="228" y="258"/>
                  </a:lnTo>
                  <a:lnTo>
                    <a:pt x="226" y="258"/>
                  </a:lnTo>
                  <a:lnTo>
                    <a:pt x="222" y="256"/>
                  </a:lnTo>
                  <a:lnTo>
                    <a:pt x="212" y="256"/>
                  </a:lnTo>
                  <a:lnTo>
                    <a:pt x="204" y="256"/>
                  </a:lnTo>
                  <a:lnTo>
                    <a:pt x="190" y="254"/>
                  </a:lnTo>
                  <a:lnTo>
                    <a:pt x="154" y="246"/>
                  </a:lnTo>
                  <a:lnTo>
                    <a:pt x="136" y="238"/>
                  </a:lnTo>
                  <a:lnTo>
                    <a:pt x="120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F77C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39" name="Freeform 286"/>
            <p:cNvSpPr>
              <a:spLocks/>
            </p:cNvSpPr>
            <p:nvPr/>
          </p:nvSpPr>
          <p:spPr bwMode="auto">
            <a:xfrm flipH="1">
              <a:off x="4619" y="2916"/>
              <a:ext cx="143" cy="12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2"/>
                </a:cxn>
                <a:cxn ang="0">
                  <a:pos x="286" y="90"/>
                </a:cxn>
                <a:cxn ang="0">
                  <a:pos x="288" y="110"/>
                </a:cxn>
                <a:cxn ang="0">
                  <a:pos x="286" y="136"/>
                </a:cxn>
                <a:cxn ang="0">
                  <a:pos x="282" y="150"/>
                </a:cxn>
                <a:cxn ang="0">
                  <a:pos x="274" y="160"/>
                </a:cxn>
                <a:cxn ang="0">
                  <a:pos x="266" y="170"/>
                </a:cxn>
                <a:cxn ang="0">
                  <a:pos x="260" y="180"/>
                </a:cxn>
                <a:cxn ang="0">
                  <a:pos x="252" y="196"/>
                </a:cxn>
                <a:cxn ang="0">
                  <a:pos x="246" y="214"/>
                </a:cxn>
                <a:cxn ang="0">
                  <a:pos x="240" y="236"/>
                </a:cxn>
                <a:cxn ang="0">
                  <a:pos x="234" y="246"/>
                </a:cxn>
                <a:cxn ang="0">
                  <a:pos x="232" y="250"/>
                </a:cxn>
                <a:cxn ang="0">
                  <a:pos x="226" y="254"/>
                </a:cxn>
                <a:cxn ang="0">
                  <a:pos x="218" y="254"/>
                </a:cxn>
                <a:cxn ang="0">
                  <a:pos x="208" y="254"/>
                </a:cxn>
                <a:cxn ang="0">
                  <a:pos x="200" y="254"/>
                </a:cxn>
                <a:cxn ang="0">
                  <a:pos x="186" y="254"/>
                </a:cxn>
                <a:cxn ang="0">
                  <a:pos x="150" y="246"/>
                </a:cxn>
                <a:cxn ang="0">
                  <a:pos x="134" y="238"/>
                </a:cxn>
                <a:cxn ang="0">
                  <a:pos x="120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8" h="25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2"/>
                  </a:lnTo>
                  <a:lnTo>
                    <a:pt x="286" y="90"/>
                  </a:lnTo>
                  <a:lnTo>
                    <a:pt x="288" y="110"/>
                  </a:lnTo>
                  <a:lnTo>
                    <a:pt x="286" y="136"/>
                  </a:lnTo>
                  <a:lnTo>
                    <a:pt x="282" y="150"/>
                  </a:lnTo>
                  <a:lnTo>
                    <a:pt x="274" y="160"/>
                  </a:lnTo>
                  <a:lnTo>
                    <a:pt x="266" y="170"/>
                  </a:lnTo>
                  <a:lnTo>
                    <a:pt x="260" y="180"/>
                  </a:lnTo>
                  <a:lnTo>
                    <a:pt x="252" y="196"/>
                  </a:lnTo>
                  <a:lnTo>
                    <a:pt x="246" y="214"/>
                  </a:lnTo>
                  <a:lnTo>
                    <a:pt x="240" y="236"/>
                  </a:lnTo>
                  <a:lnTo>
                    <a:pt x="234" y="246"/>
                  </a:lnTo>
                  <a:lnTo>
                    <a:pt x="232" y="250"/>
                  </a:lnTo>
                  <a:lnTo>
                    <a:pt x="226" y="254"/>
                  </a:lnTo>
                  <a:lnTo>
                    <a:pt x="218" y="254"/>
                  </a:lnTo>
                  <a:lnTo>
                    <a:pt x="208" y="254"/>
                  </a:lnTo>
                  <a:lnTo>
                    <a:pt x="200" y="254"/>
                  </a:lnTo>
                  <a:lnTo>
                    <a:pt x="186" y="254"/>
                  </a:lnTo>
                  <a:lnTo>
                    <a:pt x="150" y="246"/>
                  </a:lnTo>
                  <a:lnTo>
                    <a:pt x="134" y="238"/>
                  </a:lnTo>
                  <a:lnTo>
                    <a:pt x="120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EF77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0" name="Freeform 287"/>
            <p:cNvSpPr>
              <a:spLocks/>
            </p:cNvSpPr>
            <p:nvPr/>
          </p:nvSpPr>
          <p:spPr bwMode="auto">
            <a:xfrm flipH="1">
              <a:off x="4619" y="2916"/>
              <a:ext cx="143" cy="126"/>
            </a:xfrm>
            <a:custGeom>
              <a:avLst/>
              <a:gdLst/>
              <a:ahLst/>
              <a:cxnLst>
                <a:cxn ang="0">
                  <a:pos x="106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90" y="212"/>
                </a:cxn>
                <a:cxn ang="0">
                  <a:pos x="76" y="192"/>
                </a:cxn>
                <a:cxn ang="0">
                  <a:pos x="66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6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30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6" y="8"/>
                </a:cxn>
                <a:cxn ang="0">
                  <a:pos x="2" y="2"/>
                </a:cxn>
                <a:cxn ang="0">
                  <a:pos x="0" y="0"/>
                </a:cxn>
                <a:cxn ang="0">
                  <a:pos x="4" y="2"/>
                </a:cxn>
                <a:cxn ang="0">
                  <a:pos x="14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4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4" y="62"/>
                </a:cxn>
                <a:cxn ang="0">
                  <a:pos x="168" y="66"/>
                </a:cxn>
                <a:cxn ang="0">
                  <a:pos x="222" y="72"/>
                </a:cxn>
                <a:cxn ang="0">
                  <a:pos x="246" y="76"/>
                </a:cxn>
                <a:cxn ang="0">
                  <a:pos x="266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90"/>
                </a:cxn>
                <a:cxn ang="0">
                  <a:pos x="288" y="108"/>
                </a:cxn>
                <a:cxn ang="0">
                  <a:pos x="286" y="132"/>
                </a:cxn>
                <a:cxn ang="0">
                  <a:pos x="280" y="146"/>
                </a:cxn>
                <a:cxn ang="0">
                  <a:pos x="272" y="156"/>
                </a:cxn>
                <a:cxn ang="0">
                  <a:pos x="264" y="166"/>
                </a:cxn>
                <a:cxn ang="0">
                  <a:pos x="256" y="176"/>
                </a:cxn>
                <a:cxn ang="0">
                  <a:pos x="248" y="192"/>
                </a:cxn>
                <a:cxn ang="0">
                  <a:pos x="242" y="208"/>
                </a:cxn>
                <a:cxn ang="0">
                  <a:pos x="236" y="230"/>
                </a:cxn>
                <a:cxn ang="0">
                  <a:pos x="232" y="240"/>
                </a:cxn>
                <a:cxn ang="0">
                  <a:pos x="228" y="246"/>
                </a:cxn>
                <a:cxn ang="0">
                  <a:pos x="222" y="250"/>
                </a:cxn>
                <a:cxn ang="0">
                  <a:pos x="214" y="250"/>
                </a:cxn>
                <a:cxn ang="0">
                  <a:pos x="204" y="252"/>
                </a:cxn>
                <a:cxn ang="0">
                  <a:pos x="196" y="252"/>
                </a:cxn>
                <a:cxn ang="0">
                  <a:pos x="184" y="250"/>
                </a:cxn>
                <a:cxn ang="0">
                  <a:pos x="150" y="242"/>
                </a:cxn>
                <a:cxn ang="0">
                  <a:pos x="134" y="238"/>
                </a:cxn>
                <a:cxn ang="0">
                  <a:pos x="118" y="232"/>
                </a:cxn>
                <a:cxn ang="0">
                  <a:pos x="110" y="230"/>
                </a:cxn>
                <a:cxn ang="0">
                  <a:pos x="106" y="228"/>
                </a:cxn>
              </a:cxnLst>
              <a:rect l="0" t="0" r="r" b="b"/>
              <a:pathLst>
                <a:path w="288" h="252">
                  <a:moveTo>
                    <a:pt x="106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90" y="212"/>
                  </a:lnTo>
                  <a:lnTo>
                    <a:pt x="76" y="192"/>
                  </a:lnTo>
                  <a:lnTo>
                    <a:pt x="66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6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30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6" y="8"/>
                  </a:lnTo>
                  <a:lnTo>
                    <a:pt x="2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14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4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4" y="62"/>
                  </a:lnTo>
                  <a:lnTo>
                    <a:pt x="168" y="66"/>
                  </a:lnTo>
                  <a:lnTo>
                    <a:pt x="222" y="72"/>
                  </a:lnTo>
                  <a:lnTo>
                    <a:pt x="246" y="76"/>
                  </a:lnTo>
                  <a:lnTo>
                    <a:pt x="266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90"/>
                  </a:lnTo>
                  <a:lnTo>
                    <a:pt x="288" y="108"/>
                  </a:lnTo>
                  <a:lnTo>
                    <a:pt x="286" y="132"/>
                  </a:lnTo>
                  <a:lnTo>
                    <a:pt x="280" y="146"/>
                  </a:lnTo>
                  <a:lnTo>
                    <a:pt x="272" y="156"/>
                  </a:lnTo>
                  <a:lnTo>
                    <a:pt x="264" y="166"/>
                  </a:lnTo>
                  <a:lnTo>
                    <a:pt x="256" y="176"/>
                  </a:lnTo>
                  <a:lnTo>
                    <a:pt x="248" y="192"/>
                  </a:lnTo>
                  <a:lnTo>
                    <a:pt x="242" y="208"/>
                  </a:lnTo>
                  <a:lnTo>
                    <a:pt x="236" y="230"/>
                  </a:lnTo>
                  <a:lnTo>
                    <a:pt x="232" y="240"/>
                  </a:lnTo>
                  <a:lnTo>
                    <a:pt x="228" y="246"/>
                  </a:lnTo>
                  <a:lnTo>
                    <a:pt x="222" y="250"/>
                  </a:lnTo>
                  <a:lnTo>
                    <a:pt x="214" y="250"/>
                  </a:lnTo>
                  <a:lnTo>
                    <a:pt x="204" y="252"/>
                  </a:lnTo>
                  <a:lnTo>
                    <a:pt x="196" y="252"/>
                  </a:lnTo>
                  <a:lnTo>
                    <a:pt x="184" y="250"/>
                  </a:lnTo>
                  <a:lnTo>
                    <a:pt x="150" y="242"/>
                  </a:lnTo>
                  <a:lnTo>
                    <a:pt x="134" y="238"/>
                  </a:lnTo>
                  <a:lnTo>
                    <a:pt x="118" y="232"/>
                  </a:lnTo>
                  <a:lnTo>
                    <a:pt x="110" y="230"/>
                  </a:lnTo>
                  <a:lnTo>
                    <a:pt x="106" y="228"/>
                  </a:lnTo>
                  <a:close/>
                </a:path>
              </a:pathLst>
            </a:custGeom>
            <a:solidFill>
              <a:srgbClr val="E673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1" name="Freeform 288"/>
            <p:cNvSpPr>
              <a:spLocks/>
            </p:cNvSpPr>
            <p:nvPr/>
          </p:nvSpPr>
          <p:spPr bwMode="auto">
            <a:xfrm flipH="1">
              <a:off x="4620" y="2916"/>
              <a:ext cx="142" cy="126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90"/>
                </a:cxn>
                <a:cxn ang="0">
                  <a:pos x="286" y="108"/>
                </a:cxn>
                <a:cxn ang="0">
                  <a:pos x="282" y="130"/>
                </a:cxn>
                <a:cxn ang="0">
                  <a:pos x="278" y="142"/>
                </a:cxn>
                <a:cxn ang="0">
                  <a:pos x="268" y="152"/>
                </a:cxn>
                <a:cxn ang="0">
                  <a:pos x="260" y="162"/>
                </a:cxn>
                <a:cxn ang="0">
                  <a:pos x="252" y="172"/>
                </a:cxn>
                <a:cxn ang="0">
                  <a:pos x="242" y="190"/>
                </a:cxn>
                <a:cxn ang="0">
                  <a:pos x="238" y="206"/>
                </a:cxn>
                <a:cxn ang="0">
                  <a:pos x="230" y="228"/>
                </a:cxn>
                <a:cxn ang="0">
                  <a:pos x="226" y="238"/>
                </a:cxn>
                <a:cxn ang="0">
                  <a:pos x="222" y="244"/>
                </a:cxn>
                <a:cxn ang="0">
                  <a:pos x="216" y="248"/>
                </a:cxn>
                <a:cxn ang="0">
                  <a:pos x="208" y="250"/>
                </a:cxn>
                <a:cxn ang="0">
                  <a:pos x="200" y="252"/>
                </a:cxn>
                <a:cxn ang="0">
                  <a:pos x="190" y="252"/>
                </a:cxn>
                <a:cxn ang="0">
                  <a:pos x="178" y="250"/>
                </a:cxn>
                <a:cxn ang="0">
                  <a:pos x="148" y="242"/>
                </a:cxn>
                <a:cxn ang="0">
                  <a:pos x="130" y="238"/>
                </a:cxn>
                <a:cxn ang="0">
                  <a:pos x="118" y="234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6" h="25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90"/>
                  </a:lnTo>
                  <a:lnTo>
                    <a:pt x="286" y="108"/>
                  </a:lnTo>
                  <a:lnTo>
                    <a:pt x="282" y="130"/>
                  </a:lnTo>
                  <a:lnTo>
                    <a:pt x="278" y="142"/>
                  </a:lnTo>
                  <a:lnTo>
                    <a:pt x="268" y="152"/>
                  </a:lnTo>
                  <a:lnTo>
                    <a:pt x="260" y="162"/>
                  </a:lnTo>
                  <a:lnTo>
                    <a:pt x="252" y="172"/>
                  </a:lnTo>
                  <a:lnTo>
                    <a:pt x="242" y="190"/>
                  </a:lnTo>
                  <a:lnTo>
                    <a:pt x="238" y="206"/>
                  </a:lnTo>
                  <a:lnTo>
                    <a:pt x="230" y="228"/>
                  </a:lnTo>
                  <a:lnTo>
                    <a:pt x="226" y="238"/>
                  </a:lnTo>
                  <a:lnTo>
                    <a:pt x="222" y="244"/>
                  </a:lnTo>
                  <a:lnTo>
                    <a:pt x="216" y="248"/>
                  </a:lnTo>
                  <a:lnTo>
                    <a:pt x="208" y="250"/>
                  </a:lnTo>
                  <a:lnTo>
                    <a:pt x="200" y="252"/>
                  </a:lnTo>
                  <a:lnTo>
                    <a:pt x="190" y="252"/>
                  </a:lnTo>
                  <a:lnTo>
                    <a:pt x="178" y="250"/>
                  </a:lnTo>
                  <a:lnTo>
                    <a:pt x="148" y="242"/>
                  </a:lnTo>
                  <a:lnTo>
                    <a:pt x="130" y="238"/>
                  </a:lnTo>
                  <a:lnTo>
                    <a:pt x="118" y="234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DE6E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2" name="Freeform 289"/>
            <p:cNvSpPr>
              <a:spLocks/>
            </p:cNvSpPr>
            <p:nvPr/>
          </p:nvSpPr>
          <p:spPr bwMode="auto">
            <a:xfrm flipH="1">
              <a:off x="4621" y="2916"/>
              <a:ext cx="141" cy="125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8"/>
                </a:cxn>
                <a:cxn ang="0">
                  <a:pos x="284" y="106"/>
                </a:cxn>
                <a:cxn ang="0">
                  <a:pos x="280" y="126"/>
                </a:cxn>
                <a:cxn ang="0">
                  <a:pos x="274" y="138"/>
                </a:cxn>
                <a:cxn ang="0">
                  <a:pos x="266" y="150"/>
                </a:cxn>
                <a:cxn ang="0">
                  <a:pos x="256" y="160"/>
                </a:cxn>
                <a:cxn ang="0">
                  <a:pos x="248" y="168"/>
                </a:cxn>
                <a:cxn ang="0">
                  <a:pos x="238" y="186"/>
                </a:cxn>
                <a:cxn ang="0">
                  <a:pos x="232" y="202"/>
                </a:cxn>
                <a:cxn ang="0">
                  <a:pos x="226" y="222"/>
                </a:cxn>
                <a:cxn ang="0">
                  <a:pos x="222" y="232"/>
                </a:cxn>
                <a:cxn ang="0">
                  <a:pos x="218" y="238"/>
                </a:cxn>
                <a:cxn ang="0">
                  <a:pos x="212" y="246"/>
                </a:cxn>
                <a:cxn ang="0">
                  <a:pos x="206" y="246"/>
                </a:cxn>
                <a:cxn ang="0">
                  <a:pos x="196" y="248"/>
                </a:cxn>
                <a:cxn ang="0">
                  <a:pos x="188" y="250"/>
                </a:cxn>
                <a:cxn ang="0">
                  <a:pos x="174" y="248"/>
                </a:cxn>
                <a:cxn ang="0">
                  <a:pos x="146" y="242"/>
                </a:cxn>
                <a:cxn ang="0">
                  <a:pos x="130" y="238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4" h="25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8"/>
                  </a:lnTo>
                  <a:lnTo>
                    <a:pt x="284" y="106"/>
                  </a:lnTo>
                  <a:lnTo>
                    <a:pt x="280" y="126"/>
                  </a:lnTo>
                  <a:lnTo>
                    <a:pt x="274" y="138"/>
                  </a:lnTo>
                  <a:lnTo>
                    <a:pt x="266" y="150"/>
                  </a:lnTo>
                  <a:lnTo>
                    <a:pt x="256" y="160"/>
                  </a:lnTo>
                  <a:lnTo>
                    <a:pt x="248" y="168"/>
                  </a:lnTo>
                  <a:lnTo>
                    <a:pt x="238" y="186"/>
                  </a:lnTo>
                  <a:lnTo>
                    <a:pt x="232" y="202"/>
                  </a:lnTo>
                  <a:lnTo>
                    <a:pt x="226" y="222"/>
                  </a:lnTo>
                  <a:lnTo>
                    <a:pt x="222" y="232"/>
                  </a:lnTo>
                  <a:lnTo>
                    <a:pt x="218" y="238"/>
                  </a:lnTo>
                  <a:lnTo>
                    <a:pt x="212" y="246"/>
                  </a:lnTo>
                  <a:lnTo>
                    <a:pt x="206" y="246"/>
                  </a:lnTo>
                  <a:lnTo>
                    <a:pt x="196" y="248"/>
                  </a:lnTo>
                  <a:lnTo>
                    <a:pt x="188" y="250"/>
                  </a:lnTo>
                  <a:lnTo>
                    <a:pt x="174" y="248"/>
                  </a:lnTo>
                  <a:lnTo>
                    <a:pt x="146" y="242"/>
                  </a:lnTo>
                  <a:lnTo>
                    <a:pt x="130" y="238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D66A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3" name="Freeform 290"/>
            <p:cNvSpPr>
              <a:spLocks/>
            </p:cNvSpPr>
            <p:nvPr/>
          </p:nvSpPr>
          <p:spPr bwMode="auto">
            <a:xfrm flipH="1">
              <a:off x="4621" y="2916"/>
              <a:ext cx="141" cy="124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4" y="88"/>
                </a:cxn>
                <a:cxn ang="0">
                  <a:pos x="284" y="104"/>
                </a:cxn>
                <a:cxn ang="0">
                  <a:pos x="278" y="124"/>
                </a:cxn>
                <a:cxn ang="0">
                  <a:pos x="272" y="134"/>
                </a:cxn>
                <a:cxn ang="0">
                  <a:pos x="262" y="146"/>
                </a:cxn>
                <a:cxn ang="0">
                  <a:pos x="252" y="156"/>
                </a:cxn>
                <a:cxn ang="0">
                  <a:pos x="244" y="164"/>
                </a:cxn>
                <a:cxn ang="0">
                  <a:pos x="234" y="180"/>
                </a:cxn>
                <a:cxn ang="0">
                  <a:pos x="228" y="198"/>
                </a:cxn>
                <a:cxn ang="0">
                  <a:pos x="222" y="220"/>
                </a:cxn>
                <a:cxn ang="0">
                  <a:pos x="216" y="228"/>
                </a:cxn>
                <a:cxn ang="0">
                  <a:pos x="214" y="236"/>
                </a:cxn>
                <a:cxn ang="0">
                  <a:pos x="208" y="242"/>
                </a:cxn>
                <a:cxn ang="0">
                  <a:pos x="200" y="244"/>
                </a:cxn>
                <a:cxn ang="0">
                  <a:pos x="190" y="246"/>
                </a:cxn>
                <a:cxn ang="0">
                  <a:pos x="182" y="248"/>
                </a:cxn>
                <a:cxn ang="0">
                  <a:pos x="172" y="246"/>
                </a:cxn>
                <a:cxn ang="0">
                  <a:pos x="142" y="240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4" h="24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4" y="88"/>
                  </a:lnTo>
                  <a:lnTo>
                    <a:pt x="284" y="104"/>
                  </a:lnTo>
                  <a:lnTo>
                    <a:pt x="278" y="124"/>
                  </a:lnTo>
                  <a:lnTo>
                    <a:pt x="272" y="134"/>
                  </a:lnTo>
                  <a:lnTo>
                    <a:pt x="262" y="146"/>
                  </a:lnTo>
                  <a:lnTo>
                    <a:pt x="252" y="156"/>
                  </a:lnTo>
                  <a:lnTo>
                    <a:pt x="244" y="164"/>
                  </a:lnTo>
                  <a:lnTo>
                    <a:pt x="234" y="180"/>
                  </a:lnTo>
                  <a:lnTo>
                    <a:pt x="228" y="198"/>
                  </a:lnTo>
                  <a:lnTo>
                    <a:pt x="222" y="220"/>
                  </a:lnTo>
                  <a:lnTo>
                    <a:pt x="216" y="228"/>
                  </a:lnTo>
                  <a:lnTo>
                    <a:pt x="214" y="236"/>
                  </a:lnTo>
                  <a:lnTo>
                    <a:pt x="208" y="242"/>
                  </a:lnTo>
                  <a:lnTo>
                    <a:pt x="200" y="244"/>
                  </a:lnTo>
                  <a:lnTo>
                    <a:pt x="190" y="246"/>
                  </a:lnTo>
                  <a:lnTo>
                    <a:pt x="182" y="248"/>
                  </a:lnTo>
                  <a:lnTo>
                    <a:pt x="172" y="246"/>
                  </a:lnTo>
                  <a:lnTo>
                    <a:pt x="142" y="240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CE65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4" name="Freeform 291"/>
            <p:cNvSpPr>
              <a:spLocks/>
            </p:cNvSpPr>
            <p:nvPr/>
          </p:nvSpPr>
          <p:spPr bwMode="auto">
            <a:xfrm flipH="1">
              <a:off x="4622" y="2916"/>
              <a:ext cx="140" cy="123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102"/>
                </a:cxn>
                <a:cxn ang="0">
                  <a:pos x="276" y="122"/>
                </a:cxn>
                <a:cxn ang="0">
                  <a:pos x="268" y="132"/>
                </a:cxn>
                <a:cxn ang="0">
                  <a:pos x="260" y="142"/>
                </a:cxn>
                <a:cxn ang="0">
                  <a:pos x="242" y="160"/>
                </a:cxn>
                <a:cxn ang="0">
                  <a:pos x="232" y="176"/>
                </a:cxn>
                <a:cxn ang="0">
                  <a:pos x="224" y="194"/>
                </a:cxn>
                <a:cxn ang="0">
                  <a:pos x="216" y="214"/>
                </a:cxn>
                <a:cxn ang="0">
                  <a:pos x="212" y="224"/>
                </a:cxn>
                <a:cxn ang="0">
                  <a:pos x="208" y="230"/>
                </a:cxn>
                <a:cxn ang="0">
                  <a:pos x="202" y="238"/>
                </a:cxn>
                <a:cxn ang="0">
                  <a:pos x="196" y="242"/>
                </a:cxn>
                <a:cxn ang="0">
                  <a:pos x="188" y="246"/>
                </a:cxn>
                <a:cxn ang="0">
                  <a:pos x="180" y="246"/>
                </a:cxn>
                <a:cxn ang="0">
                  <a:pos x="168" y="246"/>
                </a:cxn>
                <a:cxn ang="0">
                  <a:pos x="140" y="240"/>
                </a:cxn>
                <a:cxn ang="0">
                  <a:pos x="116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2" h="246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102"/>
                  </a:lnTo>
                  <a:lnTo>
                    <a:pt x="276" y="122"/>
                  </a:lnTo>
                  <a:lnTo>
                    <a:pt x="268" y="132"/>
                  </a:lnTo>
                  <a:lnTo>
                    <a:pt x="260" y="142"/>
                  </a:lnTo>
                  <a:lnTo>
                    <a:pt x="242" y="160"/>
                  </a:lnTo>
                  <a:lnTo>
                    <a:pt x="232" y="176"/>
                  </a:lnTo>
                  <a:lnTo>
                    <a:pt x="224" y="194"/>
                  </a:lnTo>
                  <a:lnTo>
                    <a:pt x="216" y="214"/>
                  </a:lnTo>
                  <a:lnTo>
                    <a:pt x="212" y="224"/>
                  </a:lnTo>
                  <a:lnTo>
                    <a:pt x="208" y="230"/>
                  </a:lnTo>
                  <a:lnTo>
                    <a:pt x="202" y="238"/>
                  </a:lnTo>
                  <a:lnTo>
                    <a:pt x="196" y="242"/>
                  </a:lnTo>
                  <a:lnTo>
                    <a:pt x="188" y="246"/>
                  </a:lnTo>
                  <a:lnTo>
                    <a:pt x="180" y="246"/>
                  </a:lnTo>
                  <a:lnTo>
                    <a:pt x="168" y="246"/>
                  </a:lnTo>
                  <a:lnTo>
                    <a:pt x="140" y="240"/>
                  </a:lnTo>
                  <a:lnTo>
                    <a:pt x="116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C661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5" name="Freeform 292"/>
            <p:cNvSpPr>
              <a:spLocks/>
            </p:cNvSpPr>
            <p:nvPr/>
          </p:nvSpPr>
          <p:spPr bwMode="auto">
            <a:xfrm flipH="1">
              <a:off x="4622" y="2916"/>
              <a:ext cx="140" cy="122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86"/>
                </a:cxn>
                <a:cxn ang="0">
                  <a:pos x="280" y="100"/>
                </a:cxn>
                <a:cxn ang="0">
                  <a:pos x="272" y="118"/>
                </a:cxn>
                <a:cxn ang="0">
                  <a:pos x="266" y="128"/>
                </a:cxn>
                <a:cxn ang="0">
                  <a:pos x="256" y="138"/>
                </a:cxn>
                <a:cxn ang="0">
                  <a:pos x="240" y="156"/>
                </a:cxn>
                <a:cxn ang="0">
                  <a:pos x="228" y="172"/>
                </a:cxn>
                <a:cxn ang="0">
                  <a:pos x="218" y="190"/>
                </a:cxn>
                <a:cxn ang="0">
                  <a:pos x="210" y="210"/>
                </a:cxn>
                <a:cxn ang="0">
                  <a:pos x="208" y="220"/>
                </a:cxn>
                <a:cxn ang="0">
                  <a:pos x="204" y="228"/>
                </a:cxn>
                <a:cxn ang="0">
                  <a:pos x="198" y="236"/>
                </a:cxn>
                <a:cxn ang="0">
                  <a:pos x="190" y="240"/>
                </a:cxn>
                <a:cxn ang="0">
                  <a:pos x="182" y="244"/>
                </a:cxn>
                <a:cxn ang="0">
                  <a:pos x="164" y="244"/>
                </a:cxn>
                <a:cxn ang="0">
                  <a:pos x="138" y="238"/>
                </a:cxn>
                <a:cxn ang="0">
                  <a:pos x="114" y="232"/>
                </a:cxn>
                <a:cxn ang="0">
                  <a:pos x="108" y="230"/>
                </a:cxn>
                <a:cxn ang="0">
                  <a:pos x="104" y="228"/>
                </a:cxn>
              </a:cxnLst>
              <a:rect l="0" t="0" r="r" b="b"/>
              <a:pathLst>
                <a:path w="282" h="24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86"/>
                  </a:lnTo>
                  <a:lnTo>
                    <a:pt x="280" y="100"/>
                  </a:lnTo>
                  <a:lnTo>
                    <a:pt x="272" y="118"/>
                  </a:lnTo>
                  <a:lnTo>
                    <a:pt x="266" y="128"/>
                  </a:lnTo>
                  <a:lnTo>
                    <a:pt x="256" y="138"/>
                  </a:lnTo>
                  <a:lnTo>
                    <a:pt x="240" y="156"/>
                  </a:lnTo>
                  <a:lnTo>
                    <a:pt x="228" y="172"/>
                  </a:lnTo>
                  <a:lnTo>
                    <a:pt x="218" y="190"/>
                  </a:lnTo>
                  <a:lnTo>
                    <a:pt x="210" y="210"/>
                  </a:lnTo>
                  <a:lnTo>
                    <a:pt x="208" y="220"/>
                  </a:lnTo>
                  <a:lnTo>
                    <a:pt x="204" y="228"/>
                  </a:lnTo>
                  <a:lnTo>
                    <a:pt x="198" y="236"/>
                  </a:lnTo>
                  <a:lnTo>
                    <a:pt x="190" y="240"/>
                  </a:lnTo>
                  <a:lnTo>
                    <a:pt x="182" y="244"/>
                  </a:lnTo>
                  <a:lnTo>
                    <a:pt x="164" y="244"/>
                  </a:lnTo>
                  <a:lnTo>
                    <a:pt x="138" y="238"/>
                  </a:lnTo>
                  <a:lnTo>
                    <a:pt x="114" y="232"/>
                  </a:lnTo>
                  <a:lnTo>
                    <a:pt x="108" y="230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BE5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6" name="Freeform 293"/>
            <p:cNvSpPr>
              <a:spLocks/>
            </p:cNvSpPr>
            <p:nvPr/>
          </p:nvSpPr>
          <p:spPr bwMode="auto">
            <a:xfrm flipH="1">
              <a:off x="4622" y="2916"/>
              <a:ext cx="140" cy="121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2" y="86"/>
                </a:cxn>
                <a:cxn ang="0">
                  <a:pos x="278" y="98"/>
                </a:cxn>
                <a:cxn ang="0">
                  <a:pos x="268" y="116"/>
                </a:cxn>
                <a:cxn ang="0">
                  <a:pos x="262" y="124"/>
                </a:cxn>
                <a:cxn ang="0">
                  <a:pos x="252" y="134"/>
                </a:cxn>
                <a:cxn ang="0">
                  <a:pos x="234" y="152"/>
                </a:cxn>
                <a:cxn ang="0">
                  <a:pos x="224" y="168"/>
                </a:cxn>
                <a:cxn ang="0">
                  <a:pos x="216" y="186"/>
                </a:cxn>
                <a:cxn ang="0">
                  <a:pos x="208" y="204"/>
                </a:cxn>
                <a:cxn ang="0">
                  <a:pos x="202" y="216"/>
                </a:cxn>
                <a:cxn ang="0">
                  <a:pos x="200" y="222"/>
                </a:cxn>
                <a:cxn ang="0">
                  <a:pos x="194" y="232"/>
                </a:cxn>
                <a:cxn ang="0">
                  <a:pos x="188" y="238"/>
                </a:cxn>
                <a:cxn ang="0">
                  <a:pos x="180" y="240"/>
                </a:cxn>
                <a:cxn ang="0">
                  <a:pos x="172" y="242"/>
                </a:cxn>
                <a:cxn ang="0">
                  <a:pos x="162" y="242"/>
                </a:cxn>
                <a:cxn ang="0">
                  <a:pos x="136" y="238"/>
                </a:cxn>
                <a:cxn ang="0">
                  <a:pos x="114" y="232"/>
                </a:cxn>
                <a:cxn ang="0">
                  <a:pos x="108" y="228"/>
                </a:cxn>
                <a:cxn ang="0">
                  <a:pos x="104" y="228"/>
                </a:cxn>
              </a:cxnLst>
              <a:rect l="0" t="0" r="r" b="b"/>
              <a:pathLst>
                <a:path w="282" h="24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2" y="86"/>
                  </a:lnTo>
                  <a:lnTo>
                    <a:pt x="278" y="98"/>
                  </a:lnTo>
                  <a:lnTo>
                    <a:pt x="268" y="116"/>
                  </a:lnTo>
                  <a:lnTo>
                    <a:pt x="262" y="124"/>
                  </a:lnTo>
                  <a:lnTo>
                    <a:pt x="252" y="134"/>
                  </a:lnTo>
                  <a:lnTo>
                    <a:pt x="234" y="152"/>
                  </a:lnTo>
                  <a:lnTo>
                    <a:pt x="224" y="168"/>
                  </a:lnTo>
                  <a:lnTo>
                    <a:pt x="216" y="186"/>
                  </a:lnTo>
                  <a:lnTo>
                    <a:pt x="208" y="204"/>
                  </a:lnTo>
                  <a:lnTo>
                    <a:pt x="202" y="216"/>
                  </a:lnTo>
                  <a:lnTo>
                    <a:pt x="200" y="222"/>
                  </a:lnTo>
                  <a:lnTo>
                    <a:pt x="194" y="232"/>
                  </a:lnTo>
                  <a:lnTo>
                    <a:pt x="188" y="238"/>
                  </a:lnTo>
                  <a:lnTo>
                    <a:pt x="180" y="240"/>
                  </a:lnTo>
                  <a:lnTo>
                    <a:pt x="172" y="242"/>
                  </a:lnTo>
                  <a:lnTo>
                    <a:pt x="162" y="242"/>
                  </a:lnTo>
                  <a:lnTo>
                    <a:pt x="136" y="238"/>
                  </a:lnTo>
                  <a:lnTo>
                    <a:pt x="114" y="232"/>
                  </a:lnTo>
                  <a:lnTo>
                    <a:pt x="108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B558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7" name="Freeform 294"/>
            <p:cNvSpPr>
              <a:spLocks/>
            </p:cNvSpPr>
            <p:nvPr/>
          </p:nvSpPr>
          <p:spPr bwMode="auto">
            <a:xfrm flipH="1">
              <a:off x="4622" y="2916"/>
              <a:ext cx="140" cy="120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8" y="96"/>
                </a:cxn>
                <a:cxn ang="0">
                  <a:pos x="268" y="112"/>
                </a:cxn>
                <a:cxn ang="0">
                  <a:pos x="252" y="132"/>
                </a:cxn>
                <a:cxn ang="0">
                  <a:pos x="234" y="150"/>
                </a:cxn>
                <a:cxn ang="0">
                  <a:pos x="220" y="166"/>
                </a:cxn>
                <a:cxn ang="0">
                  <a:pos x="210" y="182"/>
                </a:cxn>
                <a:cxn ang="0">
                  <a:pos x="202" y="202"/>
                </a:cxn>
                <a:cxn ang="0">
                  <a:pos x="198" y="212"/>
                </a:cxn>
                <a:cxn ang="0">
                  <a:pos x="194" y="220"/>
                </a:cxn>
                <a:cxn ang="0">
                  <a:pos x="190" y="228"/>
                </a:cxn>
                <a:cxn ang="0">
                  <a:pos x="182" y="234"/>
                </a:cxn>
                <a:cxn ang="0">
                  <a:pos x="174" y="238"/>
                </a:cxn>
                <a:cxn ang="0">
                  <a:pos x="168" y="240"/>
                </a:cxn>
                <a:cxn ang="0">
                  <a:pos x="156" y="240"/>
                </a:cxn>
                <a:cxn ang="0">
                  <a:pos x="134" y="238"/>
                </a:cxn>
                <a:cxn ang="0">
                  <a:pos x="112" y="232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4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8" y="96"/>
                  </a:lnTo>
                  <a:lnTo>
                    <a:pt x="268" y="112"/>
                  </a:lnTo>
                  <a:lnTo>
                    <a:pt x="252" y="132"/>
                  </a:lnTo>
                  <a:lnTo>
                    <a:pt x="234" y="150"/>
                  </a:lnTo>
                  <a:lnTo>
                    <a:pt x="220" y="166"/>
                  </a:lnTo>
                  <a:lnTo>
                    <a:pt x="210" y="182"/>
                  </a:lnTo>
                  <a:lnTo>
                    <a:pt x="202" y="202"/>
                  </a:lnTo>
                  <a:lnTo>
                    <a:pt x="198" y="212"/>
                  </a:lnTo>
                  <a:lnTo>
                    <a:pt x="194" y="220"/>
                  </a:lnTo>
                  <a:lnTo>
                    <a:pt x="190" y="228"/>
                  </a:lnTo>
                  <a:lnTo>
                    <a:pt x="182" y="234"/>
                  </a:lnTo>
                  <a:lnTo>
                    <a:pt x="174" y="238"/>
                  </a:lnTo>
                  <a:lnTo>
                    <a:pt x="168" y="240"/>
                  </a:lnTo>
                  <a:lnTo>
                    <a:pt x="156" y="240"/>
                  </a:lnTo>
                  <a:lnTo>
                    <a:pt x="134" y="238"/>
                  </a:lnTo>
                  <a:lnTo>
                    <a:pt x="112" y="232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AD5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8" name="Freeform 295"/>
            <p:cNvSpPr>
              <a:spLocks/>
            </p:cNvSpPr>
            <p:nvPr/>
          </p:nvSpPr>
          <p:spPr bwMode="auto">
            <a:xfrm flipH="1">
              <a:off x="4622" y="2916"/>
              <a:ext cx="140" cy="119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6" y="94"/>
                </a:cxn>
                <a:cxn ang="0">
                  <a:pos x="264" y="108"/>
                </a:cxn>
                <a:cxn ang="0">
                  <a:pos x="248" y="126"/>
                </a:cxn>
                <a:cxn ang="0">
                  <a:pos x="230" y="144"/>
                </a:cxn>
                <a:cxn ang="0">
                  <a:pos x="216" y="160"/>
                </a:cxn>
                <a:cxn ang="0">
                  <a:pos x="206" y="176"/>
                </a:cxn>
                <a:cxn ang="0">
                  <a:pos x="198" y="196"/>
                </a:cxn>
                <a:cxn ang="0">
                  <a:pos x="192" y="206"/>
                </a:cxn>
                <a:cxn ang="0">
                  <a:pos x="190" y="214"/>
                </a:cxn>
                <a:cxn ang="0">
                  <a:pos x="184" y="226"/>
                </a:cxn>
                <a:cxn ang="0">
                  <a:pos x="180" y="232"/>
                </a:cxn>
                <a:cxn ang="0">
                  <a:pos x="172" y="238"/>
                </a:cxn>
                <a:cxn ang="0">
                  <a:pos x="164" y="238"/>
                </a:cxn>
                <a:cxn ang="0">
                  <a:pos x="154" y="238"/>
                </a:cxn>
                <a:cxn ang="0">
                  <a:pos x="132" y="236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8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6" y="94"/>
                  </a:lnTo>
                  <a:lnTo>
                    <a:pt x="264" y="108"/>
                  </a:lnTo>
                  <a:lnTo>
                    <a:pt x="248" y="126"/>
                  </a:lnTo>
                  <a:lnTo>
                    <a:pt x="230" y="144"/>
                  </a:lnTo>
                  <a:lnTo>
                    <a:pt x="216" y="160"/>
                  </a:lnTo>
                  <a:lnTo>
                    <a:pt x="206" y="176"/>
                  </a:lnTo>
                  <a:lnTo>
                    <a:pt x="198" y="196"/>
                  </a:lnTo>
                  <a:lnTo>
                    <a:pt x="192" y="206"/>
                  </a:lnTo>
                  <a:lnTo>
                    <a:pt x="190" y="214"/>
                  </a:lnTo>
                  <a:lnTo>
                    <a:pt x="184" y="226"/>
                  </a:lnTo>
                  <a:lnTo>
                    <a:pt x="180" y="232"/>
                  </a:lnTo>
                  <a:lnTo>
                    <a:pt x="172" y="238"/>
                  </a:lnTo>
                  <a:lnTo>
                    <a:pt x="164" y="238"/>
                  </a:lnTo>
                  <a:lnTo>
                    <a:pt x="154" y="238"/>
                  </a:lnTo>
                  <a:lnTo>
                    <a:pt x="132" y="236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A54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49" name="Freeform 296"/>
            <p:cNvSpPr>
              <a:spLocks/>
            </p:cNvSpPr>
            <p:nvPr/>
          </p:nvSpPr>
          <p:spPr bwMode="auto">
            <a:xfrm flipH="1">
              <a:off x="4622" y="2916"/>
              <a:ext cx="140" cy="118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6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2"/>
                </a:cxn>
                <a:cxn ang="0">
                  <a:pos x="64" y="166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0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4"/>
                </a:cxn>
                <a:cxn ang="0">
                  <a:pos x="274" y="92"/>
                </a:cxn>
                <a:cxn ang="0">
                  <a:pos x="262" y="106"/>
                </a:cxn>
                <a:cxn ang="0">
                  <a:pos x="244" y="122"/>
                </a:cxn>
                <a:cxn ang="0">
                  <a:pos x="226" y="140"/>
                </a:cxn>
                <a:cxn ang="0">
                  <a:pos x="212" y="154"/>
                </a:cxn>
                <a:cxn ang="0">
                  <a:pos x="202" y="172"/>
                </a:cxn>
                <a:cxn ang="0">
                  <a:pos x="192" y="192"/>
                </a:cxn>
                <a:cxn ang="0">
                  <a:pos x="186" y="212"/>
                </a:cxn>
                <a:cxn ang="0">
                  <a:pos x="182" y="224"/>
                </a:cxn>
                <a:cxn ang="0">
                  <a:pos x="174" y="230"/>
                </a:cxn>
                <a:cxn ang="0">
                  <a:pos x="166" y="234"/>
                </a:cxn>
                <a:cxn ang="0">
                  <a:pos x="160" y="236"/>
                </a:cxn>
                <a:cxn ang="0">
                  <a:pos x="150" y="236"/>
                </a:cxn>
                <a:cxn ang="0">
                  <a:pos x="130" y="234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6">
                  <a:moveTo>
                    <a:pt x="104" y="228"/>
                  </a:moveTo>
                  <a:lnTo>
                    <a:pt x="104" y="226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2"/>
                  </a:lnTo>
                  <a:lnTo>
                    <a:pt x="64" y="166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0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4"/>
                  </a:lnTo>
                  <a:lnTo>
                    <a:pt x="274" y="92"/>
                  </a:lnTo>
                  <a:lnTo>
                    <a:pt x="262" y="106"/>
                  </a:lnTo>
                  <a:lnTo>
                    <a:pt x="244" y="122"/>
                  </a:lnTo>
                  <a:lnTo>
                    <a:pt x="226" y="140"/>
                  </a:lnTo>
                  <a:lnTo>
                    <a:pt x="212" y="154"/>
                  </a:lnTo>
                  <a:lnTo>
                    <a:pt x="202" y="172"/>
                  </a:lnTo>
                  <a:lnTo>
                    <a:pt x="192" y="192"/>
                  </a:lnTo>
                  <a:lnTo>
                    <a:pt x="186" y="212"/>
                  </a:lnTo>
                  <a:lnTo>
                    <a:pt x="182" y="224"/>
                  </a:lnTo>
                  <a:lnTo>
                    <a:pt x="174" y="230"/>
                  </a:lnTo>
                  <a:lnTo>
                    <a:pt x="166" y="234"/>
                  </a:lnTo>
                  <a:lnTo>
                    <a:pt x="160" y="236"/>
                  </a:lnTo>
                  <a:lnTo>
                    <a:pt x="150" y="236"/>
                  </a:lnTo>
                  <a:lnTo>
                    <a:pt x="130" y="234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9D4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0" name="Freeform 297"/>
            <p:cNvSpPr>
              <a:spLocks/>
            </p:cNvSpPr>
            <p:nvPr/>
          </p:nvSpPr>
          <p:spPr bwMode="auto">
            <a:xfrm flipH="1">
              <a:off x="4622" y="2916"/>
              <a:ext cx="140" cy="11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80" y="82"/>
                </a:cxn>
                <a:cxn ang="0">
                  <a:pos x="272" y="90"/>
                </a:cxn>
                <a:cxn ang="0">
                  <a:pos x="260" y="102"/>
                </a:cxn>
                <a:cxn ang="0">
                  <a:pos x="242" y="118"/>
                </a:cxn>
                <a:cxn ang="0">
                  <a:pos x="224" y="138"/>
                </a:cxn>
                <a:cxn ang="0">
                  <a:pos x="208" y="152"/>
                </a:cxn>
                <a:cxn ang="0">
                  <a:pos x="198" y="168"/>
                </a:cxn>
                <a:cxn ang="0">
                  <a:pos x="188" y="188"/>
                </a:cxn>
                <a:cxn ang="0">
                  <a:pos x="182" y="208"/>
                </a:cxn>
                <a:cxn ang="0">
                  <a:pos x="176" y="220"/>
                </a:cxn>
                <a:cxn ang="0">
                  <a:pos x="172" y="228"/>
                </a:cxn>
                <a:cxn ang="0">
                  <a:pos x="162" y="232"/>
                </a:cxn>
                <a:cxn ang="0">
                  <a:pos x="148" y="234"/>
                </a:cxn>
                <a:cxn ang="0">
                  <a:pos x="128" y="234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80" y="82"/>
                  </a:lnTo>
                  <a:lnTo>
                    <a:pt x="272" y="90"/>
                  </a:lnTo>
                  <a:lnTo>
                    <a:pt x="260" y="102"/>
                  </a:lnTo>
                  <a:lnTo>
                    <a:pt x="242" y="118"/>
                  </a:lnTo>
                  <a:lnTo>
                    <a:pt x="224" y="138"/>
                  </a:lnTo>
                  <a:lnTo>
                    <a:pt x="208" y="152"/>
                  </a:lnTo>
                  <a:lnTo>
                    <a:pt x="198" y="168"/>
                  </a:lnTo>
                  <a:lnTo>
                    <a:pt x="188" y="188"/>
                  </a:lnTo>
                  <a:lnTo>
                    <a:pt x="182" y="208"/>
                  </a:lnTo>
                  <a:lnTo>
                    <a:pt x="176" y="220"/>
                  </a:lnTo>
                  <a:lnTo>
                    <a:pt x="172" y="228"/>
                  </a:lnTo>
                  <a:lnTo>
                    <a:pt x="162" y="232"/>
                  </a:lnTo>
                  <a:lnTo>
                    <a:pt x="148" y="234"/>
                  </a:lnTo>
                  <a:lnTo>
                    <a:pt x="128" y="234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9546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1" name="Freeform 298"/>
            <p:cNvSpPr>
              <a:spLocks/>
            </p:cNvSpPr>
            <p:nvPr/>
          </p:nvSpPr>
          <p:spPr bwMode="auto">
            <a:xfrm flipH="1">
              <a:off x="4622" y="2916"/>
              <a:ext cx="140" cy="117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70" y="88"/>
                </a:cxn>
                <a:cxn ang="0">
                  <a:pos x="258" y="98"/>
                </a:cxn>
                <a:cxn ang="0">
                  <a:pos x="238" y="116"/>
                </a:cxn>
                <a:cxn ang="0">
                  <a:pos x="218" y="134"/>
                </a:cxn>
                <a:cxn ang="0">
                  <a:pos x="204" y="148"/>
                </a:cxn>
                <a:cxn ang="0">
                  <a:pos x="192" y="164"/>
                </a:cxn>
                <a:cxn ang="0">
                  <a:pos x="182" y="184"/>
                </a:cxn>
                <a:cxn ang="0">
                  <a:pos x="180" y="194"/>
                </a:cxn>
                <a:cxn ang="0">
                  <a:pos x="176" y="202"/>
                </a:cxn>
                <a:cxn ang="0">
                  <a:pos x="172" y="218"/>
                </a:cxn>
                <a:cxn ang="0">
                  <a:pos x="166" y="226"/>
                </a:cxn>
                <a:cxn ang="0">
                  <a:pos x="158" y="230"/>
                </a:cxn>
                <a:cxn ang="0">
                  <a:pos x="144" y="234"/>
                </a:cxn>
                <a:cxn ang="0">
                  <a:pos x="126" y="232"/>
                </a:cxn>
                <a:cxn ang="0">
                  <a:pos x="112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4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70" y="88"/>
                  </a:lnTo>
                  <a:lnTo>
                    <a:pt x="258" y="98"/>
                  </a:lnTo>
                  <a:lnTo>
                    <a:pt x="238" y="116"/>
                  </a:lnTo>
                  <a:lnTo>
                    <a:pt x="218" y="134"/>
                  </a:lnTo>
                  <a:lnTo>
                    <a:pt x="204" y="148"/>
                  </a:lnTo>
                  <a:lnTo>
                    <a:pt x="192" y="164"/>
                  </a:lnTo>
                  <a:lnTo>
                    <a:pt x="182" y="184"/>
                  </a:lnTo>
                  <a:lnTo>
                    <a:pt x="180" y="194"/>
                  </a:lnTo>
                  <a:lnTo>
                    <a:pt x="176" y="202"/>
                  </a:lnTo>
                  <a:lnTo>
                    <a:pt x="172" y="218"/>
                  </a:lnTo>
                  <a:lnTo>
                    <a:pt x="166" y="226"/>
                  </a:lnTo>
                  <a:lnTo>
                    <a:pt x="158" y="230"/>
                  </a:lnTo>
                  <a:lnTo>
                    <a:pt x="144" y="234"/>
                  </a:lnTo>
                  <a:lnTo>
                    <a:pt x="126" y="232"/>
                  </a:lnTo>
                  <a:lnTo>
                    <a:pt x="112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8C4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2" name="Freeform 299"/>
            <p:cNvSpPr>
              <a:spLocks/>
            </p:cNvSpPr>
            <p:nvPr/>
          </p:nvSpPr>
          <p:spPr bwMode="auto">
            <a:xfrm flipH="1">
              <a:off x="4622" y="2916"/>
              <a:ext cx="140" cy="116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68" y="86"/>
                </a:cxn>
                <a:cxn ang="0">
                  <a:pos x="254" y="96"/>
                </a:cxn>
                <a:cxn ang="0">
                  <a:pos x="244" y="102"/>
                </a:cxn>
                <a:cxn ang="0">
                  <a:pos x="234" y="112"/>
                </a:cxn>
                <a:cxn ang="0">
                  <a:pos x="216" y="130"/>
                </a:cxn>
                <a:cxn ang="0">
                  <a:pos x="200" y="144"/>
                </a:cxn>
                <a:cxn ang="0">
                  <a:pos x="190" y="160"/>
                </a:cxn>
                <a:cxn ang="0">
                  <a:pos x="180" y="178"/>
                </a:cxn>
                <a:cxn ang="0">
                  <a:pos x="172" y="200"/>
                </a:cxn>
                <a:cxn ang="0">
                  <a:pos x="166" y="214"/>
                </a:cxn>
                <a:cxn ang="0">
                  <a:pos x="162" y="222"/>
                </a:cxn>
                <a:cxn ang="0">
                  <a:pos x="154" y="228"/>
                </a:cxn>
                <a:cxn ang="0">
                  <a:pos x="140" y="232"/>
                </a:cxn>
                <a:cxn ang="0">
                  <a:pos x="124" y="232"/>
                </a:cxn>
                <a:cxn ang="0">
                  <a:pos x="110" y="230"/>
                </a:cxn>
                <a:cxn ang="0">
                  <a:pos x="106" y="228"/>
                </a:cxn>
                <a:cxn ang="0">
                  <a:pos x="104" y="228"/>
                </a:cxn>
              </a:cxnLst>
              <a:rect l="0" t="0" r="r" b="b"/>
              <a:pathLst>
                <a:path w="282" h="232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68" y="86"/>
                  </a:lnTo>
                  <a:lnTo>
                    <a:pt x="254" y="96"/>
                  </a:lnTo>
                  <a:lnTo>
                    <a:pt x="244" y="102"/>
                  </a:lnTo>
                  <a:lnTo>
                    <a:pt x="234" y="112"/>
                  </a:lnTo>
                  <a:lnTo>
                    <a:pt x="216" y="130"/>
                  </a:lnTo>
                  <a:lnTo>
                    <a:pt x="200" y="144"/>
                  </a:lnTo>
                  <a:lnTo>
                    <a:pt x="190" y="160"/>
                  </a:lnTo>
                  <a:lnTo>
                    <a:pt x="180" y="178"/>
                  </a:lnTo>
                  <a:lnTo>
                    <a:pt x="172" y="200"/>
                  </a:lnTo>
                  <a:lnTo>
                    <a:pt x="166" y="214"/>
                  </a:lnTo>
                  <a:lnTo>
                    <a:pt x="162" y="222"/>
                  </a:lnTo>
                  <a:lnTo>
                    <a:pt x="154" y="228"/>
                  </a:lnTo>
                  <a:lnTo>
                    <a:pt x="140" y="232"/>
                  </a:lnTo>
                  <a:lnTo>
                    <a:pt x="124" y="232"/>
                  </a:lnTo>
                  <a:lnTo>
                    <a:pt x="110" y="230"/>
                  </a:lnTo>
                  <a:lnTo>
                    <a:pt x="106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843D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3" name="Freeform 300"/>
            <p:cNvSpPr>
              <a:spLocks/>
            </p:cNvSpPr>
            <p:nvPr/>
          </p:nvSpPr>
          <p:spPr bwMode="auto">
            <a:xfrm flipH="1">
              <a:off x="4622" y="2916"/>
              <a:ext cx="140" cy="115"/>
            </a:xfrm>
            <a:custGeom>
              <a:avLst/>
              <a:gdLst/>
              <a:ahLst/>
              <a:cxnLst>
                <a:cxn ang="0">
                  <a:pos x="104" y="228"/>
                </a:cxn>
                <a:cxn ang="0">
                  <a:pos x="104" y="228"/>
                </a:cxn>
                <a:cxn ang="0">
                  <a:pos x="100" y="224"/>
                </a:cxn>
                <a:cxn ang="0">
                  <a:pos x="88" y="212"/>
                </a:cxn>
                <a:cxn ang="0">
                  <a:pos x="76" y="194"/>
                </a:cxn>
                <a:cxn ang="0">
                  <a:pos x="64" y="168"/>
                </a:cxn>
                <a:cxn ang="0">
                  <a:pos x="62" y="154"/>
                </a:cxn>
                <a:cxn ang="0">
                  <a:pos x="60" y="146"/>
                </a:cxn>
                <a:cxn ang="0">
                  <a:pos x="58" y="132"/>
                </a:cxn>
                <a:cxn ang="0">
                  <a:pos x="54" y="116"/>
                </a:cxn>
                <a:cxn ang="0">
                  <a:pos x="50" y="106"/>
                </a:cxn>
                <a:cxn ang="0">
                  <a:pos x="44" y="90"/>
                </a:cxn>
                <a:cxn ang="0">
                  <a:pos x="28" y="58"/>
                </a:cxn>
                <a:cxn ang="0">
                  <a:pos x="14" y="30"/>
                </a:cxn>
                <a:cxn ang="0">
                  <a:pos x="8" y="18"/>
                </a:cxn>
                <a:cxn ang="0">
                  <a:pos x="4" y="8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12" y="8"/>
                </a:cxn>
                <a:cxn ang="0">
                  <a:pos x="26" y="16"/>
                </a:cxn>
                <a:cxn ang="0">
                  <a:pos x="44" y="26"/>
                </a:cxn>
                <a:cxn ang="0">
                  <a:pos x="82" y="46"/>
                </a:cxn>
                <a:cxn ang="0">
                  <a:pos x="102" y="54"/>
                </a:cxn>
                <a:cxn ang="0">
                  <a:pos x="122" y="58"/>
                </a:cxn>
                <a:cxn ang="0">
                  <a:pos x="142" y="62"/>
                </a:cxn>
                <a:cxn ang="0">
                  <a:pos x="166" y="66"/>
                </a:cxn>
                <a:cxn ang="0">
                  <a:pos x="220" y="72"/>
                </a:cxn>
                <a:cxn ang="0">
                  <a:pos x="244" y="76"/>
                </a:cxn>
                <a:cxn ang="0">
                  <a:pos x="264" y="80"/>
                </a:cxn>
                <a:cxn ang="0">
                  <a:pos x="278" y="82"/>
                </a:cxn>
                <a:cxn ang="0">
                  <a:pos x="282" y="82"/>
                </a:cxn>
                <a:cxn ang="0">
                  <a:pos x="278" y="82"/>
                </a:cxn>
                <a:cxn ang="0">
                  <a:pos x="268" y="84"/>
                </a:cxn>
                <a:cxn ang="0">
                  <a:pos x="252" y="92"/>
                </a:cxn>
                <a:cxn ang="0">
                  <a:pos x="242" y="98"/>
                </a:cxn>
                <a:cxn ang="0">
                  <a:pos x="234" y="108"/>
                </a:cxn>
                <a:cxn ang="0">
                  <a:pos x="214" y="124"/>
                </a:cxn>
                <a:cxn ang="0">
                  <a:pos x="198" y="140"/>
                </a:cxn>
                <a:cxn ang="0">
                  <a:pos x="184" y="156"/>
                </a:cxn>
                <a:cxn ang="0">
                  <a:pos x="174" y="176"/>
                </a:cxn>
                <a:cxn ang="0">
                  <a:pos x="168" y="194"/>
                </a:cxn>
                <a:cxn ang="0">
                  <a:pos x="164" y="212"/>
                </a:cxn>
                <a:cxn ang="0">
                  <a:pos x="158" y="220"/>
                </a:cxn>
                <a:cxn ang="0">
                  <a:pos x="148" y="228"/>
                </a:cxn>
                <a:cxn ang="0">
                  <a:pos x="136" y="230"/>
                </a:cxn>
                <a:cxn ang="0">
                  <a:pos x="122" y="230"/>
                </a:cxn>
                <a:cxn ang="0">
                  <a:pos x="110" y="228"/>
                </a:cxn>
                <a:cxn ang="0">
                  <a:pos x="104" y="228"/>
                </a:cxn>
              </a:cxnLst>
              <a:rect l="0" t="0" r="r" b="b"/>
              <a:pathLst>
                <a:path w="282" h="230">
                  <a:moveTo>
                    <a:pt x="104" y="228"/>
                  </a:moveTo>
                  <a:lnTo>
                    <a:pt x="104" y="228"/>
                  </a:lnTo>
                  <a:lnTo>
                    <a:pt x="100" y="224"/>
                  </a:lnTo>
                  <a:lnTo>
                    <a:pt x="88" y="212"/>
                  </a:lnTo>
                  <a:lnTo>
                    <a:pt x="76" y="194"/>
                  </a:lnTo>
                  <a:lnTo>
                    <a:pt x="64" y="168"/>
                  </a:lnTo>
                  <a:lnTo>
                    <a:pt x="62" y="154"/>
                  </a:lnTo>
                  <a:lnTo>
                    <a:pt x="60" y="146"/>
                  </a:lnTo>
                  <a:lnTo>
                    <a:pt x="58" y="132"/>
                  </a:lnTo>
                  <a:lnTo>
                    <a:pt x="54" y="116"/>
                  </a:lnTo>
                  <a:lnTo>
                    <a:pt x="50" y="106"/>
                  </a:lnTo>
                  <a:lnTo>
                    <a:pt x="44" y="90"/>
                  </a:lnTo>
                  <a:lnTo>
                    <a:pt x="28" y="58"/>
                  </a:lnTo>
                  <a:lnTo>
                    <a:pt x="14" y="30"/>
                  </a:lnTo>
                  <a:lnTo>
                    <a:pt x="8" y="18"/>
                  </a:lnTo>
                  <a:lnTo>
                    <a:pt x="4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2" y="8"/>
                  </a:lnTo>
                  <a:lnTo>
                    <a:pt x="26" y="16"/>
                  </a:lnTo>
                  <a:lnTo>
                    <a:pt x="44" y="26"/>
                  </a:lnTo>
                  <a:lnTo>
                    <a:pt x="82" y="46"/>
                  </a:lnTo>
                  <a:lnTo>
                    <a:pt x="102" y="54"/>
                  </a:lnTo>
                  <a:lnTo>
                    <a:pt x="122" y="58"/>
                  </a:lnTo>
                  <a:lnTo>
                    <a:pt x="142" y="62"/>
                  </a:lnTo>
                  <a:lnTo>
                    <a:pt x="166" y="66"/>
                  </a:lnTo>
                  <a:lnTo>
                    <a:pt x="220" y="72"/>
                  </a:lnTo>
                  <a:lnTo>
                    <a:pt x="244" y="76"/>
                  </a:lnTo>
                  <a:lnTo>
                    <a:pt x="264" y="80"/>
                  </a:lnTo>
                  <a:lnTo>
                    <a:pt x="278" y="82"/>
                  </a:lnTo>
                  <a:lnTo>
                    <a:pt x="282" y="82"/>
                  </a:lnTo>
                  <a:lnTo>
                    <a:pt x="278" y="82"/>
                  </a:lnTo>
                  <a:lnTo>
                    <a:pt x="268" y="84"/>
                  </a:lnTo>
                  <a:lnTo>
                    <a:pt x="252" y="92"/>
                  </a:lnTo>
                  <a:lnTo>
                    <a:pt x="242" y="98"/>
                  </a:lnTo>
                  <a:lnTo>
                    <a:pt x="234" y="108"/>
                  </a:lnTo>
                  <a:lnTo>
                    <a:pt x="214" y="124"/>
                  </a:lnTo>
                  <a:lnTo>
                    <a:pt x="198" y="140"/>
                  </a:lnTo>
                  <a:lnTo>
                    <a:pt x="184" y="156"/>
                  </a:lnTo>
                  <a:lnTo>
                    <a:pt x="174" y="176"/>
                  </a:lnTo>
                  <a:lnTo>
                    <a:pt x="168" y="194"/>
                  </a:lnTo>
                  <a:lnTo>
                    <a:pt x="164" y="212"/>
                  </a:lnTo>
                  <a:lnTo>
                    <a:pt x="158" y="220"/>
                  </a:lnTo>
                  <a:lnTo>
                    <a:pt x="148" y="228"/>
                  </a:lnTo>
                  <a:lnTo>
                    <a:pt x="136" y="230"/>
                  </a:lnTo>
                  <a:lnTo>
                    <a:pt x="122" y="230"/>
                  </a:lnTo>
                  <a:lnTo>
                    <a:pt x="110" y="228"/>
                  </a:lnTo>
                  <a:lnTo>
                    <a:pt x="104" y="228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4" name="Freeform 301"/>
            <p:cNvSpPr>
              <a:spLocks noEditPoints="1"/>
            </p:cNvSpPr>
            <p:nvPr/>
          </p:nvSpPr>
          <p:spPr bwMode="auto">
            <a:xfrm flipH="1">
              <a:off x="4322" y="2610"/>
              <a:ext cx="540" cy="349"/>
            </a:xfrm>
            <a:custGeom>
              <a:avLst/>
              <a:gdLst/>
              <a:ahLst/>
              <a:cxnLst>
                <a:cxn ang="0">
                  <a:pos x="4" y="381"/>
                </a:cxn>
                <a:cxn ang="0">
                  <a:pos x="22" y="449"/>
                </a:cxn>
                <a:cxn ang="0">
                  <a:pos x="50" y="495"/>
                </a:cxn>
                <a:cxn ang="0">
                  <a:pos x="100" y="553"/>
                </a:cxn>
                <a:cxn ang="0">
                  <a:pos x="185" y="613"/>
                </a:cxn>
                <a:cxn ang="0">
                  <a:pos x="267" y="651"/>
                </a:cxn>
                <a:cxn ang="0">
                  <a:pos x="359" y="679"/>
                </a:cxn>
                <a:cxn ang="0">
                  <a:pos x="513" y="699"/>
                </a:cxn>
                <a:cxn ang="0">
                  <a:pos x="669" y="689"/>
                </a:cxn>
                <a:cxn ang="0">
                  <a:pos x="788" y="659"/>
                </a:cxn>
                <a:cxn ang="0">
                  <a:pos x="854" y="633"/>
                </a:cxn>
                <a:cxn ang="0">
                  <a:pos x="946" y="579"/>
                </a:cxn>
                <a:cxn ang="0">
                  <a:pos x="992" y="537"/>
                </a:cxn>
                <a:cxn ang="0">
                  <a:pos x="1028" y="495"/>
                </a:cxn>
                <a:cxn ang="0">
                  <a:pos x="1056" y="449"/>
                </a:cxn>
                <a:cxn ang="0">
                  <a:pos x="1076" y="381"/>
                </a:cxn>
                <a:cxn ang="0">
                  <a:pos x="1076" y="316"/>
                </a:cxn>
                <a:cxn ang="0">
                  <a:pos x="1056" y="250"/>
                </a:cxn>
                <a:cxn ang="0">
                  <a:pos x="1028" y="202"/>
                </a:cxn>
                <a:cxn ang="0">
                  <a:pos x="992" y="160"/>
                </a:cxn>
                <a:cxn ang="0">
                  <a:pos x="928" y="108"/>
                </a:cxn>
                <a:cxn ang="0">
                  <a:pos x="872" y="76"/>
                </a:cxn>
                <a:cxn ang="0">
                  <a:pos x="810" y="48"/>
                </a:cxn>
                <a:cxn ang="0">
                  <a:pos x="717" y="20"/>
                </a:cxn>
                <a:cxn ang="0">
                  <a:pos x="567" y="0"/>
                </a:cxn>
                <a:cxn ang="0">
                  <a:pos x="409" y="10"/>
                </a:cxn>
                <a:cxn ang="0">
                  <a:pos x="289" y="40"/>
                </a:cxn>
                <a:cxn ang="0">
                  <a:pos x="225" y="66"/>
                </a:cxn>
                <a:cxn ang="0">
                  <a:pos x="167" y="96"/>
                </a:cxn>
                <a:cxn ang="0">
                  <a:pos x="100" y="146"/>
                </a:cxn>
                <a:cxn ang="0">
                  <a:pos x="50" y="202"/>
                </a:cxn>
                <a:cxn ang="0">
                  <a:pos x="22" y="250"/>
                </a:cxn>
                <a:cxn ang="0">
                  <a:pos x="4" y="316"/>
                </a:cxn>
                <a:cxn ang="0">
                  <a:pos x="14" y="344"/>
                </a:cxn>
                <a:cxn ang="0">
                  <a:pos x="38" y="439"/>
                </a:cxn>
                <a:cxn ang="0">
                  <a:pos x="104" y="523"/>
                </a:cxn>
                <a:cxn ang="0">
                  <a:pos x="205" y="591"/>
                </a:cxn>
                <a:cxn ang="0">
                  <a:pos x="335" y="639"/>
                </a:cxn>
                <a:cxn ang="0">
                  <a:pos x="487" y="663"/>
                </a:cxn>
                <a:cxn ang="0">
                  <a:pos x="643" y="659"/>
                </a:cxn>
                <a:cxn ang="0">
                  <a:pos x="786" y="625"/>
                </a:cxn>
                <a:cxn ang="0">
                  <a:pos x="908" y="571"/>
                </a:cxn>
                <a:cxn ang="0">
                  <a:pos x="1000" y="495"/>
                </a:cxn>
                <a:cxn ang="0">
                  <a:pos x="1052" y="407"/>
                </a:cxn>
                <a:cxn ang="0">
                  <a:pos x="1060" y="312"/>
                </a:cxn>
                <a:cxn ang="0">
                  <a:pos x="1020" y="218"/>
                </a:cxn>
                <a:cxn ang="0">
                  <a:pos x="942" y="136"/>
                </a:cxn>
                <a:cxn ang="0">
                  <a:pos x="830" y="70"/>
                </a:cxn>
                <a:cxn ang="0">
                  <a:pos x="693" y="28"/>
                </a:cxn>
                <a:cxn ang="0">
                  <a:pos x="539" y="12"/>
                </a:cxn>
                <a:cxn ang="0">
                  <a:pos x="381" y="28"/>
                </a:cxn>
                <a:cxn ang="0">
                  <a:pos x="245" y="70"/>
                </a:cxn>
                <a:cxn ang="0">
                  <a:pos x="134" y="136"/>
                </a:cxn>
                <a:cxn ang="0">
                  <a:pos x="56" y="218"/>
                </a:cxn>
                <a:cxn ang="0">
                  <a:pos x="18" y="312"/>
                </a:cxn>
              </a:cxnLst>
              <a:rect l="0" t="0" r="r" b="b"/>
              <a:pathLst>
                <a:path w="1080" h="699">
                  <a:moveTo>
                    <a:pt x="0" y="350"/>
                  </a:moveTo>
                  <a:lnTo>
                    <a:pt x="0" y="366"/>
                  </a:lnTo>
                  <a:lnTo>
                    <a:pt x="4" y="381"/>
                  </a:lnTo>
                  <a:lnTo>
                    <a:pt x="6" y="399"/>
                  </a:lnTo>
                  <a:lnTo>
                    <a:pt x="10" y="417"/>
                  </a:lnTo>
                  <a:lnTo>
                    <a:pt x="22" y="449"/>
                  </a:lnTo>
                  <a:lnTo>
                    <a:pt x="30" y="465"/>
                  </a:lnTo>
                  <a:lnTo>
                    <a:pt x="40" y="481"/>
                  </a:lnTo>
                  <a:lnTo>
                    <a:pt x="50" y="495"/>
                  </a:lnTo>
                  <a:lnTo>
                    <a:pt x="72" y="525"/>
                  </a:lnTo>
                  <a:lnTo>
                    <a:pt x="88" y="537"/>
                  </a:lnTo>
                  <a:lnTo>
                    <a:pt x="100" y="553"/>
                  </a:lnTo>
                  <a:lnTo>
                    <a:pt x="134" y="579"/>
                  </a:lnTo>
                  <a:lnTo>
                    <a:pt x="149" y="591"/>
                  </a:lnTo>
                  <a:lnTo>
                    <a:pt x="185" y="613"/>
                  </a:lnTo>
                  <a:lnTo>
                    <a:pt x="203" y="623"/>
                  </a:lnTo>
                  <a:lnTo>
                    <a:pt x="245" y="643"/>
                  </a:lnTo>
                  <a:lnTo>
                    <a:pt x="267" y="651"/>
                  </a:lnTo>
                  <a:lnTo>
                    <a:pt x="313" y="667"/>
                  </a:lnTo>
                  <a:lnTo>
                    <a:pt x="335" y="673"/>
                  </a:lnTo>
                  <a:lnTo>
                    <a:pt x="359" y="679"/>
                  </a:lnTo>
                  <a:lnTo>
                    <a:pt x="409" y="689"/>
                  </a:lnTo>
                  <a:lnTo>
                    <a:pt x="461" y="695"/>
                  </a:lnTo>
                  <a:lnTo>
                    <a:pt x="513" y="699"/>
                  </a:lnTo>
                  <a:lnTo>
                    <a:pt x="567" y="699"/>
                  </a:lnTo>
                  <a:lnTo>
                    <a:pt x="619" y="695"/>
                  </a:lnTo>
                  <a:lnTo>
                    <a:pt x="669" y="689"/>
                  </a:lnTo>
                  <a:lnTo>
                    <a:pt x="717" y="679"/>
                  </a:lnTo>
                  <a:lnTo>
                    <a:pt x="767" y="667"/>
                  </a:lnTo>
                  <a:lnTo>
                    <a:pt x="788" y="659"/>
                  </a:lnTo>
                  <a:lnTo>
                    <a:pt x="810" y="651"/>
                  </a:lnTo>
                  <a:lnTo>
                    <a:pt x="832" y="643"/>
                  </a:lnTo>
                  <a:lnTo>
                    <a:pt x="854" y="633"/>
                  </a:lnTo>
                  <a:lnTo>
                    <a:pt x="892" y="613"/>
                  </a:lnTo>
                  <a:lnTo>
                    <a:pt x="928" y="591"/>
                  </a:lnTo>
                  <a:lnTo>
                    <a:pt x="946" y="579"/>
                  </a:lnTo>
                  <a:lnTo>
                    <a:pt x="962" y="565"/>
                  </a:lnTo>
                  <a:lnTo>
                    <a:pt x="976" y="553"/>
                  </a:lnTo>
                  <a:lnTo>
                    <a:pt x="992" y="537"/>
                  </a:lnTo>
                  <a:lnTo>
                    <a:pt x="1004" y="525"/>
                  </a:lnTo>
                  <a:lnTo>
                    <a:pt x="1018" y="511"/>
                  </a:lnTo>
                  <a:lnTo>
                    <a:pt x="1028" y="495"/>
                  </a:lnTo>
                  <a:lnTo>
                    <a:pt x="1038" y="481"/>
                  </a:lnTo>
                  <a:lnTo>
                    <a:pt x="1048" y="465"/>
                  </a:lnTo>
                  <a:lnTo>
                    <a:pt x="1056" y="449"/>
                  </a:lnTo>
                  <a:lnTo>
                    <a:pt x="1070" y="417"/>
                  </a:lnTo>
                  <a:lnTo>
                    <a:pt x="1072" y="399"/>
                  </a:lnTo>
                  <a:lnTo>
                    <a:pt x="1076" y="381"/>
                  </a:lnTo>
                  <a:lnTo>
                    <a:pt x="1080" y="366"/>
                  </a:lnTo>
                  <a:lnTo>
                    <a:pt x="1080" y="332"/>
                  </a:lnTo>
                  <a:lnTo>
                    <a:pt x="1076" y="316"/>
                  </a:lnTo>
                  <a:lnTo>
                    <a:pt x="1072" y="298"/>
                  </a:lnTo>
                  <a:lnTo>
                    <a:pt x="1070" y="282"/>
                  </a:lnTo>
                  <a:lnTo>
                    <a:pt x="1056" y="250"/>
                  </a:lnTo>
                  <a:lnTo>
                    <a:pt x="1048" y="232"/>
                  </a:lnTo>
                  <a:lnTo>
                    <a:pt x="1038" y="218"/>
                  </a:lnTo>
                  <a:lnTo>
                    <a:pt x="1028" y="202"/>
                  </a:lnTo>
                  <a:lnTo>
                    <a:pt x="1018" y="188"/>
                  </a:lnTo>
                  <a:lnTo>
                    <a:pt x="1004" y="172"/>
                  </a:lnTo>
                  <a:lnTo>
                    <a:pt x="992" y="160"/>
                  </a:lnTo>
                  <a:lnTo>
                    <a:pt x="962" y="134"/>
                  </a:lnTo>
                  <a:lnTo>
                    <a:pt x="946" y="120"/>
                  </a:lnTo>
                  <a:lnTo>
                    <a:pt x="928" y="108"/>
                  </a:lnTo>
                  <a:lnTo>
                    <a:pt x="910" y="96"/>
                  </a:lnTo>
                  <a:lnTo>
                    <a:pt x="892" y="86"/>
                  </a:lnTo>
                  <a:lnTo>
                    <a:pt x="872" y="76"/>
                  </a:lnTo>
                  <a:lnTo>
                    <a:pt x="854" y="66"/>
                  </a:lnTo>
                  <a:lnTo>
                    <a:pt x="832" y="58"/>
                  </a:lnTo>
                  <a:lnTo>
                    <a:pt x="810" y="48"/>
                  </a:lnTo>
                  <a:lnTo>
                    <a:pt x="788" y="40"/>
                  </a:lnTo>
                  <a:lnTo>
                    <a:pt x="767" y="32"/>
                  </a:lnTo>
                  <a:lnTo>
                    <a:pt x="717" y="20"/>
                  </a:lnTo>
                  <a:lnTo>
                    <a:pt x="669" y="10"/>
                  </a:lnTo>
                  <a:lnTo>
                    <a:pt x="619" y="4"/>
                  </a:lnTo>
                  <a:lnTo>
                    <a:pt x="567" y="0"/>
                  </a:lnTo>
                  <a:lnTo>
                    <a:pt x="513" y="0"/>
                  </a:lnTo>
                  <a:lnTo>
                    <a:pt x="461" y="4"/>
                  </a:lnTo>
                  <a:lnTo>
                    <a:pt x="409" y="10"/>
                  </a:lnTo>
                  <a:lnTo>
                    <a:pt x="359" y="20"/>
                  </a:lnTo>
                  <a:lnTo>
                    <a:pt x="335" y="26"/>
                  </a:lnTo>
                  <a:lnTo>
                    <a:pt x="289" y="40"/>
                  </a:lnTo>
                  <a:lnTo>
                    <a:pt x="267" y="48"/>
                  </a:lnTo>
                  <a:lnTo>
                    <a:pt x="245" y="58"/>
                  </a:lnTo>
                  <a:lnTo>
                    <a:pt x="225" y="66"/>
                  </a:lnTo>
                  <a:lnTo>
                    <a:pt x="203" y="76"/>
                  </a:lnTo>
                  <a:lnTo>
                    <a:pt x="185" y="86"/>
                  </a:lnTo>
                  <a:lnTo>
                    <a:pt x="167" y="96"/>
                  </a:lnTo>
                  <a:lnTo>
                    <a:pt x="149" y="108"/>
                  </a:lnTo>
                  <a:lnTo>
                    <a:pt x="116" y="134"/>
                  </a:lnTo>
                  <a:lnTo>
                    <a:pt x="100" y="146"/>
                  </a:lnTo>
                  <a:lnTo>
                    <a:pt x="88" y="160"/>
                  </a:lnTo>
                  <a:lnTo>
                    <a:pt x="72" y="172"/>
                  </a:lnTo>
                  <a:lnTo>
                    <a:pt x="50" y="202"/>
                  </a:lnTo>
                  <a:lnTo>
                    <a:pt x="40" y="218"/>
                  </a:lnTo>
                  <a:lnTo>
                    <a:pt x="30" y="232"/>
                  </a:lnTo>
                  <a:lnTo>
                    <a:pt x="22" y="250"/>
                  </a:lnTo>
                  <a:lnTo>
                    <a:pt x="10" y="282"/>
                  </a:lnTo>
                  <a:lnTo>
                    <a:pt x="6" y="298"/>
                  </a:lnTo>
                  <a:lnTo>
                    <a:pt x="4" y="316"/>
                  </a:lnTo>
                  <a:lnTo>
                    <a:pt x="0" y="332"/>
                  </a:lnTo>
                  <a:lnTo>
                    <a:pt x="0" y="350"/>
                  </a:lnTo>
                  <a:close/>
                  <a:moveTo>
                    <a:pt x="14" y="344"/>
                  </a:moveTo>
                  <a:lnTo>
                    <a:pt x="18" y="375"/>
                  </a:lnTo>
                  <a:lnTo>
                    <a:pt x="26" y="407"/>
                  </a:lnTo>
                  <a:lnTo>
                    <a:pt x="38" y="439"/>
                  </a:lnTo>
                  <a:lnTo>
                    <a:pt x="56" y="469"/>
                  </a:lnTo>
                  <a:lnTo>
                    <a:pt x="78" y="495"/>
                  </a:lnTo>
                  <a:lnTo>
                    <a:pt x="104" y="523"/>
                  </a:lnTo>
                  <a:lnTo>
                    <a:pt x="134" y="547"/>
                  </a:lnTo>
                  <a:lnTo>
                    <a:pt x="167" y="571"/>
                  </a:lnTo>
                  <a:lnTo>
                    <a:pt x="205" y="591"/>
                  </a:lnTo>
                  <a:lnTo>
                    <a:pt x="245" y="609"/>
                  </a:lnTo>
                  <a:lnTo>
                    <a:pt x="289" y="625"/>
                  </a:lnTo>
                  <a:lnTo>
                    <a:pt x="335" y="639"/>
                  </a:lnTo>
                  <a:lnTo>
                    <a:pt x="383" y="651"/>
                  </a:lnTo>
                  <a:lnTo>
                    <a:pt x="435" y="659"/>
                  </a:lnTo>
                  <a:lnTo>
                    <a:pt x="487" y="663"/>
                  </a:lnTo>
                  <a:lnTo>
                    <a:pt x="539" y="665"/>
                  </a:lnTo>
                  <a:lnTo>
                    <a:pt x="593" y="663"/>
                  </a:lnTo>
                  <a:lnTo>
                    <a:pt x="643" y="659"/>
                  </a:lnTo>
                  <a:lnTo>
                    <a:pt x="693" y="651"/>
                  </a:lnTo>
                  <a:lnTo>
                    <a:pt x="743" y="639"/>
                  </a:lnTo>
                  <a:lnTo>
                    <a:pt x="786" y="625"/>
                  </a:lnTo>
                  <a:lnTo>
                    <a:pt x="830" y="609"/>
                  </a:lnTo>
                  <a:lnTo>
                    <a:pt x="872" y="591"/>
                  </a:lnTo>
                  <a:lnTo>
                    <a:pt x="908" y="571"/>
                  </a:lnTo>
                  <a:lnTo>
                    <a:pt x="942" y="547"/>
                  </a:lnTo>
                  <a:lnTo>
                    <a:pt x="974" y="523"/>
                  </a:lnTo>
                  <a:lnTo>
                    <a:pt x="1000" y="495"/>
                  </a:lnTo>
                  <a:lnTo>
                    <a:pt x="1022" y="469"/>
                  </a:lnTo>
                  <a:lnTo>
                    <a:pt x="1038" y="439"/>
                  </a:lnTo>
                  <a:lnTo>
                    <a:pt x="1052" y="407"/>
                  </a:lnTo>
                  <a:lnTo>
                    <a:pt x="1060" y="375"/>
                  </a:lnTo>
                  <a:lnTo>
                    <a:pt x="1062" y="344"/>
                  </a:lnTo>
                  <a:lnTo>
                    <a:pt x="1060" y="312"/>
                  </a:lnTo>
                  <a:lnTo>
                    <a:pt x="1052" y="280"/>
                  </a:lnTo>
                  <a:lnTo>
                    <a:pt x="1038" y="250"/>
                  </a:lnTo>
                  <a:lnTo>
                    <a:pt x="1020" y="218"/>
                  </a:lnTo>
                  <a:lnTo>
                    <a:pt x="1000" y="188"/>
                  </a:lnTo>
                  <a:lnTo>
                    <a:pt x="972" y="162"/>
                  </a:lnTo>
                  <a:lnTo>
                    <a:pt x="942" y="136"/>
                  </a:lnTo>
                  <a:lnTo>
                    <a:pt x="908" y="112"/>
                  </a:lnTo>
                  <a:lnTo>
                    <a:pt x="872" y="90"/>
                  </a:lnTo>
                  <a:lnTo>
                    <a:pt x="830" y="70"/>
                  </a:lnTo>
                  <a:lnTo>
                    <a:pt x="786" y="54"/>
                  </a:lnTo>
                  <a:lnTo>
                    <a:pt x="741" y="40"/>
                  </a:lnTo>
                  <a:lnTo>
                    <a:pt x="693" y="28"/>
                  </a:lnTo>
                  <a:lnTo>
                    <a:pt x="641" y="18"/>
                  </a:lnTo>
                  <a:lnTo>
                    <a:pt x="591" y="14"/>
                  </a:lnTo>
                  <a:lnTo>
                    <a:pt x="539" y="12"/>
                  </a:lnTo>
                  <a:lnTo>
                    <a:pt x="485" y="14"/>
                  </a:lnTo>
                  <a:lnTo>
                    <a:pt x="431" y="18"/>
                  </a:lnTo>
                  <a:lnTo>
                    <a:pt x="381" y="28"/>
                  </a:lnTo>
                  <a:lnTo>
                    <a:pt x="333" y="40"/>
                  </a:lnTo>
                  <a:lnTo>
                    <a:pt x="287" y="54"/>
                  </a:lnTo>
                  <a:lnTo>
                    <a:pt x="245" y="70"/>
                  </a:lnTo>
                  <a:lnTo>
                    <a:pt x="203" y="90"/>
                  </a:lnTo>
                  <a:lnTo>
                    <a:pt x="167" y="112"/>
                  </a:lnTo>
                  <a:lnTo>
                    <a:pt x="134" y="136"/>
                  </a:lnTo>
                  <a:lnTo>
                    <a:pt x="104" y="162"/>
                  </a:lnTo>
                  <a:lnTo>
                    <a:pt x="78" y="188"/>
                  </a:lnTo>
                  <a:lnTo>
                    <a:pt x="56" y="218"/>
                  </a:lnTo>
                  <a:lnTo>
                    <a:pt x="38" y="250"/>
                  </a:lnTo>
                  <a:lnTo>
                    <a:pt x="24" y="280"/>
                  </a:lnTo>
                  <a:lnTo>
                    <a:pt x="18" y="312"/>
                  </a:lnTo>
                  <a:lnTo>
                    <a:pt x="14" y="344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5" name="Freeform 302"/>
            <p:cNvSpPr>
              <a:spLocks/>
            </p:cNvSpPr>
            <p:nvPr/>
          </p:nvSpPr>
          <p:spPr bwMode="auto">
            <a:xfrm flipH="1">
              <a:off x="4441" y="2610"/>
              <a:ext cx="389" cy="103"/>
            </a:xfrm>
            <a:custGeom>
              <a:avLst/>
              <a:gdLst/>
              <a:ahLst/>
              <a:cxnLst>
                <a:cxn ang="0">
                  <a:pos x="778" y="76"/>
                </a:cxn>
                <a:cxn ang="0">
                  <a:pos x="710" y="50"/>
                </a:cxn>
                <a:cxn ang="0">
                  <a:pos x="637" y="30"/>
                </a:cxn>
                <a:cxn ang="0">
                  <a:pos x="555" y="16"/>
                </a:cxn>
                <a:cxn ang="0">
                  <a:pos x="517" y="14"/>
                </a:cxn>
                <a:cxn ang="0">
                  <a:pos x="475" y="12"/>
                </a:cxn>
                <a:cxn ang="0">
                  <a:pos x="399" y="14"/>
                </a:cxn>
                <a:cxn ang="0">
                  <a:pos x="329" y="24"/>
                </a:cxn>
                <a:cxn ang="0">
                  <a:pos x="263" y="40"/>
                </a:cxn>
                <a:cxn ang="0">
                  <a:pos x="199" y="62"/>
                </a:cxn>
                <a:cxn ang="0">
                  <a:pos x="143" y="88"/>
                </a:cxn>
                <a:cxn ang="0">
                  <a:pos x="93" y="120"/>
                </a:cxn>
                <a:cxn ang="0">
                  <a:pos x="50" y="154"/>
                </a:cxn>
                <a:cxn ang="0">
                  <a:pos x="12" y="192"/>
                </a:cxn>
                <a:cxn ang="0">
                  <a:pos x="0" y="208"/>
                </a:cxn>
                <a:cxn ang="0">
                  <a:pos x="0" y="186"/>
                </a:cxn>
                <a:cxn ang="0">
                  <a:pos x="38" y="148"/>
                </a:cxn>
                <a:cxn ang="0">
                  <a:pos x="83" y="112"/>
                </a:cxn>
                <a:cxn ang="0">
                  <a:pos x="137" y="78"/>
                </a:cxn>
                <a:cxn ang="0">
                  <a:pos x="195" y="52"/>
                </a:cxn>
                <a:cxn ang="0">
                  <a:pos x="259" y="30"/>
                </a:cxn>
                <a:cxn ang="0">
                  <a:pos x="327" y="14"/>
                </a:cxn>
                <a:cxn ang="0">
                  <a:pos x="401" y="4"/>
                </a:cxn>
                <a:cxn ang="0">
                  <a:pos x="475" y="0"/>
                </a:cxn>
                <a:cxn ang="0">
                  <a:pos x="553" y="4"/>
                </a:cxn>
                <a:cxn ang="0">
                  <a:pos x="625" y="14"/>
                </a:cxn>
                <a:cxn ang="0">
                  <a:pos x="697" y="32"/>
                </a:cxn>
                <a:cxn ang="0">
                  <a:pos x="760" y="54"/>
                </a:cxn>
                <a:cxn ang="0">
                  <a:pos x="778" y="76"/>
                </a:cxn>
              </a:cxnLst>
              <a:rect l="0" t="0" r="r" b="b"/>
              <a:pathLst>
                <a:path w="778" h="208">
                  <a:moveTo>
                    <a:pt x="778" y="76"/>
                  </a:moveTo>
                  <a:lnTo>
                    <a:pt x="710" y="50"/>
                  </a:lnTo>
                  <a:lnTo>
                    <a:pt x="637" y="30"/>
                  </a:lnTo>
                  <a:lnTo>
                    <a:pt x="555" y="16"/>
                  </a:lnTo>
                  <a:lnTo>
                    <a:pt x="517" y="14"/>
                  </a:lnTo>
                  <a:lnTo>
                    <a:pt x="475" y="12"/>
                  </a:lnTo>
                  <a:lnTo>
                    <a:pt x="399" y="14"/>
                  </a:lnTo>
                  <a:lnTo>
                    <a:pt x="329" y="24"/>
                  </a:lnTo>
                  <a:lnTo>
                    <a:pt x="263" y="40"/>
                  </a:lnTo>
                  <a:lnTo>
                    <a:pt x="199" y="62"/>
                  </a:lnTo>
                  <a:lnTo>
                    <a:pt x="143" y="88"/>
                  </a:lnTo>
                  <a:lnTo>
                    <a:pt x="93" y="120"/>
                  </a:lnTo>
                  <a:lnTo>
                    <a:pt x="50" y="154"/>
                  </a:lnTo>
                  <a:lnTo>
                    <a:pt x="12" y="192"/>
                  </a:lnTo>
                  <a:lnTo>
                    <a:pt x="0" y="208"/>
                  </a:lnTo>
                  <a:lnTo>
                    <a:pt x="0" y="186"/>
                  </a:lnTo>
                  <a:lnTo>
                    <a:pt x="38" y="148"/>
                  </a:lnTo>
                  <a:lnTo>
                    <a:pt x="83" y="112"/>
                  </a:lnTo>
                  <a:lnTo>
                    <a:pt x="137" y="78"/>
                  </a:lnTo>
                  <a:lnTo>
                    <a:pt x="195" y="52"/>
                  </a:lnTo>
                  <a:lnTo>
                    <a:pt x="259" y="30"/>
                  </a:lnTo>
                  <a:lnTo>
                    <a:pt x="327" y="14"/>
                  </a:lnTo>
                  <a:lnTo>
                    <a:pt x="401" y="4"/>
                  </a:lnTo>
                  <a:lnTo>
                    <a:pt x="475" y="0"/>
                  </a:lnTo>
                  <a:lnTo>
                    <a:pt x="553" y="4"/>
                  </a:lnTo>
                  <a:lnTo>
                    <a:pt x="625" y="14"/>
                  </a:lnTo>
                  <a:lnTo>
                    <a:pt x="697" y="32"/>
                  </a:lnTo>
                  <a:lnTo>
                    <a:pt x="760" y="54"/>
                  </a:lnTo>
                  <a:lnTo>
                    <a:pt x="778" y="76"/>
                  </a:lnTo>
                  <a:close/>
                </a:path>
              </a:pathLst>
            </a:custGeom>
            <a:solidFill>
              <a:srgbClr val="212121"/>
            </a:solidFill>
            <a:ln w="1588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6" name="Freeform 303"/>
            <p:cNvSpPr>
              <a:spLocks/>
            </p:cNvSpPr>
            <p:nvPr/>
          </p:nvSpPr>
          <p:spPr bwMode="auto">
            <a:xfrm flipH="1">
              <a:off x="4771" y="2903"/>
              <a:ext cx="66" cy="91"/>
            </a:xfrm>
            <a:custGeom>
              <a:avLst/>
              <a:gdLst/>
              <a:ahLst/>
              <a:cxnLst>
                <a:cxn ang="0">
                  <a:pos x="4" y="110"/>
                </a:cxn>
                <a:cxn ang="0">
                  <a:pos x="12" y="128"/>
                </a:cxn>
                <a:cxn ang="0">
                  <a:pos x="20" y="144"/>
                </a:cxn>
                <a:cxn ang="0">
                  <a:pos x="30" y="158"/>
                </a:cxn>
                <a:cxn ang="0">
                  <a:pos x="42" y="168"/>
                </a:cxn>
                <a:cxn ang="0">
                  <a:pos x="54" y="176"/>
                </a:cxn>
                <a:cxn ang="0">
                  <a:pos x="66" y="180"/>
                </a:cxn>
                <a:cxn ang="0">
                  <a:pos x="78" y="182"/>
                </a:cxn>
                <a:cxn ang="0">
                  <a:pos x="90" y="180"/>
                </a:cxn>
                <a:cxn ang="0">
                  <a:pos x="103" y="174"/>
                </a:cxn>
                <a:cxn ang="0">
                  <a:pos x="111" y="166"/>
                </a:cxn>
                <a:cxn ang="0">
                  <a:pos x="121" y="154"/>
                </a:cxn>
                <a:cxn ang="0">
                  <a:pos x="127" y="142"/>
                </a:cxn>
                <a:cxn ang="0">
                  <a:pos x="129" y="126"/>
                </a:cxn>
                <a:cxn ang="0">
                  <a:pos x="131" y="110"/>
                </a:cxn>
                <a:cxn ang="0">
                  <a:pos x="129" y="90"/>
                </a:cxn>
                <a:cxn ang="0">
                  <a:pos x="127" y="72"/>
                </a:cxn>
                <a:cxn ang="0">
                  <a:pos x="121" y="56"/>
                </a:cxn>
                <a:cxn ang="0">
                  <a:pos x="111" y="38"/>
                </a:cxn>
                <a:cxn ang="0">
                  <a:pos x="101" y="26"/>
                </a:cxn>
                <a:cxn ang="0">
                  <a:pos x="90" y="14"/>
                </a:cxn>
                <a:cxn ang="0">
                  <a:pos x="78" y="6"/>
                </a:cxn>
                <a:cxn ang="0">
                  <a:pos x="66" y="2"/>
                </a:cxn>
                <a:cxn ang="0">
                  <a:pos x="54" y="0"/>
                </a:cxn>
                <a:cxn ang="0">
                  <a:pos x="40" y="2"/>
                </a:cxn>
                <a:cxn ang="0">
                  <a:pos x="28" y="8"/>
                </a:cxn>
                <a:cxn ang="0">
                  <a:pos x="18" y="16"/>
                </a:cxn>
                <a:cxn ang="0">
                  <a:pos x="10" y="28"/>
                </a:cxn>
                <a:cxn ang="0">
                  <a:pos x="4" y="42"/>
                </a:cxn>
                <a:cxn ang="0">
                  <a:pos x="0" y="58"/>
                </a:cxn>
                <a:cxn ang="0">
                  <a:pos x="0" y="74"/>
                </a:cxn>
                <a:cxn ang="0">
                  <a:pos x="2" y="92"/>
                </a:cxn>
                <a:cxn ang="0">
                  <a:pos x="4" y="110"/>
                </a:cxn>
              </a:cxnLst>
              <a:rect l="0" t="0" r="r" b="b"/>
              <a:pathLst>
                <a:path w="131" h="182">
                  <a:moveTo>
                    <a:pt x="4" y="110"/>
                  </a:moveTo>
                  <a:lnTo>
                    <a:pt x="12" y="128"/>
                  </a:lnTo>
                  <a:lnTo>
                    <a:pt x="20" y="144"/>
                  </a:lnTo>
                  <a:lnTo>
                    <a:pt x="30" y="158"/>
                  </a:lnTo>
                  <a:lnTo>
                    <a:pt x="42" y="168"/>
                  </a:lnTo>
                  <a:lnTo>
                    <a:pt x="54" y="176"/>
                  </a:lnTo>
                  <a:lnTo>
                    <a:pt x="66" y="180"/>
                  </a:lnTo>
                  <a:lnTo>
                    <a:pt x="78" y="182"/>
                  </a:lnTo>
                  <a:lnTo>
                    <a:pt x="90" y="180"/>
                  </a:lnTo>
                  <a:lnTo>
                    <a:pt x="103" y="174"/>
                  </a:lnTo>
                  <a:lnTo>
                    <a:pt x="111" y="166"/>
                  </a:lnTo>
                  <a:lnTo>
                    <a:pt x="121" y="154"/>
                  </a:lnTo>
                  <a:lnTo>
                    <a:pt x="127" y="142"/>
                  </a:lnTo>
                  <a:lnTo>
                    <a:pt x="129" y="126"/>
                  </a:lnTo>
                  <a:lnTo>
                    <a:pt x="131" y="110"/>
                  </a:lnTo>
                  <a:lnTo>
                    <a:pt x="129" y="90"/>
                  </a:lnTo>
                  <a:lnTo>
                    <a:pt x="127" y="72"/>
                  </a:lnTo>
                  <a:lnTo>
                    <a:pt x="121" y="56"/>
                  </a:lnTo>
                  <a:lnTo>
                    <a:pt x="111" y="38"/>
                  </a:lnTo>
                  <a:lnTo>
                    <a:pt x="101" y="26"/>
                  </a:lnTo>
                  <a:lnTo>
                    <a:pt x="90" y="14"/>
                  </a:lnTo>
                  <a:lnTo>
                    <a:pt x="78" y="6"/>
                  </a:lnTo>
                  <a:lnTo>
                    <a:pt x="66" y="2"/>
                  </a:lnTo>
                  <a:lnTo>
                    <a:pt x="54" y="0"/>
                  </a:lnTo>
                  <a:lnTo>
                    <a:pt x="40" y="2"/>
                  </a:lnTo>
                  <a:lnTo>
                    <a:pt x="28" y="8"/>
                  </a:lnTo>
                  <a:lnTo>
                    <a:pt x="18" y="16"/>
                  </a:lnTo>
                  <a:lnTo>
                    <a:pt x="10" y="28"/>
                  </a:lnTo>
                  <a:lnTo>
                    <a:pt x="4" y="42"/>
                  </a:lnTo>
                  <a:lnTo>
                    <a:pt x="0" y="58"/>
                  </a:lnTo>
                  <a:lnTo>
                    <a:pt x="0" y="74"/>
                  </a:lnTo>
                  <a:lnTo>
                    <a:pt x="2" y="92"/>
                  </a:lnTo>
                  <a:lnTo>
                    <a:pt x="4" y="110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7" name="Freeform 304"/>
            <p:cNvSpPr>
              <a:spLocks/>
            </p:cNvSpPr>
            <p:nvPr/>
          </p:nvSpPr>
          <p:spPr bwMode="auto">
            <a:xfrm flipH="1">
              <a:off x="4777" y="2908"/>
              <a:ext cx="472" cy="282"/>
            </a:xfrm>
            <a:custGeom>
              <a:avLst/>
              <a:gdLst/>
              <a:ahLst/>
              <a:cxnLst>
                <a:cxn ang="0">
                  <a:pos x="863" y="0"/>
                </a:cxn>
                <a:cxn ang="0">
                  <a:pos x="871" y="0"/>
                </a:cxn>
                <a:cxn ang="0">
                  <a:pos x="881" y="0"/>
                </a:cxn>
                <a:cxn ang="0">
                  <a:pos x="893" y="4"/>
                </a:cxn>
                <a:cxn ang="0">
                  <a:pos x="905" y="8"/>
                </a:cxn>
                <a:cxn ang="0">
                  <a:pos x="917" y="18"/>
                </a:cxn>
                <a:cxn ang="0">
                  <a:pos x="928" y="28"/>
                </a:cxn>
                <a:cxn ang="0">
                  <a:pos x="936" y="44"/>
                </a:cxn>
                <a:cxn ang="0">
                  <a:pos x="940" y="64"/>
                </a:cxn>
                <a:cxn ang="0">
                  <a:pos x="942" y="84"/>
                </a:cxn>
                <a:cxn ang="0">
                  <a:pos x="940" y="102"/>
                </a:cxn>
                <a:cxn ang="0">
                  <a:pos x="936" y="120"/>
                </a:cxn>
                <a:cxn ang="0">
                  <a:pos x="930" y="136"/>
                </a:cxn>
                <a:cxn ang="0">
                  <a:pos x="924" y="148"/>
                </a:cxn>
                <a:cxn ang="0">
                  <a:pos x="920" y="156"/>
                </a:cxn>
                <a:cxn ang="0">
                  <a:pos x="920" y="158"/>
                </a:cxn>
                <a:cxn ang="0">
                  <a:pos x="70" y="563"/>
                </a:cxn>
                <a:cxn ang="0">
                  <a:pos x="78" y="545"/>
                </a:cxn>
                <a:cxn ang="0">
                  <a:pos x="86" y="529"/>
                </a:cxn>
                <a:cxn ang="0">
                  <a:pos x="94" y="501"/>
                </a:cxn>
                <a:cxn ang="0">
                  <a:pos x="96" y="485"/>
                </a:cxn>
                <a:cxn ang="0">
                  <a:pos x="94" y="467"/>
                </a:cxn>
                <a:cxn ang="0">
                  <a:pos x="90" y="447"/>
                </a:cxn>
                <a:cxn ang="0">
                  <a:pos x="86" y="423"/>
                </a:cxn>
                <a:cxn ang="0">
                  <a:pos x="78" y="400"/>
                </a:cxn>
                <a:cxn ang="0">
                  <a:pos x="70" y="384"/>
                </a:cxn>
                <a:cxn ang="0">
                  <a:pos x="64" y="372"/>
                </a:cxn>
                <a:cxn ang="0">
                  <a:pos x="54" y="364"/>
                </a:cxn>
                <a:cxn ang="0">
                  <a:pos x="44" y="356"/>
                </a:cxn>
                <a:cxn ang="0">
                  <a:pos x="32" y="352"/>
                </a:cxn>
                <a:cxn ang="0">
                  <a:pos x="18" y="346"/>
                </a:cxn>
                <a:cxn ang="0">
                  <a:pos x="0" y="340"/>
                </a:cxn>
                <a:cxn ang="0">
                  <a:pos x="0" y="338"/>
                </a:cxn>
                <a:cxn ang="0">
                  <a:pos x="8" y="336"/>
                </a:cxn>
                <a:cxn ang="0">
                  <a:pos x="18" y="330"/>
                </a:cxn>
                <a:cxn ang="0">
                  <a:pos x="34" y="324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296"/>
                </a:cxn>
                <a:cxn ang="0">
                  <a:pos x="132" y="286"/>
                </a:cxn>
                <a:cxn ang="0">
                  <a:pos x="164" y="274"/>
                </a:cxn>
                <a:cxn ang="0">
                  <a:pos x="198" y="260"/>
                </a:cxn>
                <a:cxn ang="0">
                  <a:pos x="270" y="232"/>
                </a:cxn>
                <a:cxn ang="0">
                  <a:pos x="349" y="200"/>
                </a:cxn>
                <a:cxn ang="0">
                  <a:pos x="431" y="168"/>
                </a:cxn>
                <a:cxn ang="0">
                  <a:pos x="509" y="138"/>
                </a:cxn>
                <a:cxn ang="0">
                  <a:pos x="587" y="106"/>
                </a:cxn>
                <a:cxn ang="0">
                  <a:pos x="661" y="78"/>
                </a:cxn>
                <a:cxn ang="0">
                  <a:pos x="695" y="64"/>
                </a:cxn>
                <a:cxn ang="0">
                  <a:pos x="727" y="52"/>
                </a:cxn>
                <a:cxn ang="0">
                  <a:pos x="757" y="42"/>
                </a:cxn>
                <a:cxn ang="0">
                  <a:pos x="783" y="30"/>
                </a:cxn>
                <a:cxn ang="0">
                  <a:pos x="807" y="22"/>
                </a:cxn>
                <a:cxn ang="0">
                  <a:pos x="827" y="14"/>
                </a:cxn>
                <a:cxn ang="0">
                  <a:pos x="843" y="8"/>
                </a:cxn>
                <a:cxn ang="0">
                  <a:pos x="853" y="2"/>
                </a:cxn>
                <a:cxn ang="0">
                  <a:pos x="861" y="0"/>
                </a:cxn>
                <a:cxn ang="0">
                  <a:pos x="863" y="0"/>
                </a:cxn>
              </a:cxnLst>
              <a:rect l="0" t="0" r="r" b="b"/>
              <a:pathLst>
                <a:path w="942" h="563">
                  <a:moveTo>
                    <a:pt x="863" y="0"/>
                  </a:moveTo>
                  <a:lnTo>
                    <a:pt x="871" y="0"/>
                  </a:lnTo>
                  <a:lnTo>
                    <a:pt x="881" y="0"/>
                  </a:lnTo>
                  <a:lnTo>
                    <a:pt x="893" y="4"/>
                  </a:lnTo>
                  <a:lnTo>
                    <a:pt x="905" y="8"/>
                  </a:lnTo>
                  <a:lnTo>
                    <a:pt x="917" y="18"/>
                  </a:lnTo>
                  <a:lnTo>
                    <a:pt x="928" y="28"/>
                  </a:lnTo>
                  <a:lnTo>
                    <a:pt x="936" y="44"/>
                  </a:lnTo>
                  <a:lnTo>
                    <a:pt x="940" y="64"/>
                  </a:lnTo>
                  <a:lnTo>
                    <a:pt x="942" y="84"/>
                  </a:lnTo>
                  <a:lnTo>
                    <a:pt x="940" y="102"/>
                  </a:lnTo>
                  <a:lnTo>
                    <a:pt x="936" y="120"/>
                  </a:lnTo>
                  <a:lnTo>
                    <a:pt x="930" y="136"/>
                  </a:lnTo>
                  <a:lnTo>
                    <a:pt x="924" y="148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70" y="563"/>
                  </a:lnTo>
                  <a:lnTo>
                    <a:pt x="78" y="545"/>
                  </a:lnTo>
                  <a:lnTo>
                    <a:pt x="86" y="529"/>
                  </a:lnTo>
                  <a:lnTo>
                    <a:pt x="94" y="501"/>
                  </a:lnTo>
                  <a:lnTo>
                    <a:pt x="96" y="485"/>
                  </a:lnTo>
                  <a:lnTo>
                    <a:pt x="94" y="467"/>
                  </a:lnTo>
                  <a:lnTo>
                    <a:pt x="90" y="447"/>
                  </a:lnTo>
                  <a:lnTo>
                    <a:pt x="86" y="423"/>
                  </a:lnTo>
                  <a:lnTo>
                    <a:pt x="78" y="400"/>
                  </a:lnTo>
                  <a:lnTo>
                    <a:pt x="70" y="384"/>
                  </a:lnTo>
                  <a:lnTo>
                    <a:pt x="64" y="372"/>
                  </a:lnTo>
                  <a:lnTo>
                    <a:pt x="54" y="364"/>
                  </a:lnTo>
                  <a:lnTo>
                    <a:pt x="44" y="356"/>
                  </a:lnTo>
                  <a:lnTo>
                    <a:pt x="32" y="352"/>
                  </a:lnTo>
                  <a:lnTo>
                    <a:pt x="18" y="346"/>
                  </a:lnTo>
                  <a:lnTo>
                    <a:pt x="0" y="340"/>
                  </a:lnTo>
                  <a:lnTo>
                    <a:pt x="0" y="338"/>
                  </a:lnTo>
                  <a:lnTo>
                    <a:pt x="8" y="336"/>
                  </a:lnTo>
                  <a:lnTo>
                    <a:pt x="18" y="330"/>
                  </a:lnTo>
                  <a:lnTo>
                    <a:pt x="34" y="324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296"/>
                  </a:lnTo>
                  <a:lnTo>
                    <a:pt x="132" y="286"/>
                  </a:lnTo>
                  <a:lnTo>
                    <a:pt x="164" y="274"/>
                  </a:lnTo>
                  <a:lnTo>
                    <a:pt x="198" y="260"/>
                  </a:lnTo>
                  <a:lnTo>
                    <a:pt x="270" y="232"/>
                  </a:lnTo>
                  <a:lnTo>
                    <a:pt x="349" y="200"/>
                  </a:lnTo>
                  <a:lnTo>
                    <a:pt x="431" y="168"/>
                  </a:lnTo>
                  <a:lnTo>
                    <a:pt x="509" y="138"/>
                  </a:lnTo>
                  <a:lnTo>
                    <a:pt x="587" y="106"/>
                  </a:lnTo>
                  <a:lnTo>
                    <a:pt x="661" y="78"/>
                  </a:lnTo>
                  <a:lnTo>
                    <a:pt x="695" y="64"/>
                  </a:lnTo>
                  <a:lnTo>
                    <a:pt x="727" y="52"/>
                  </a:lnTo>
                  <a:lnTo>
                    <a:pt x="757" y="42"/>
                  </a:lnTo>
                  <a:lnTo>
                    <a:pt x="783" y="30"/>
                  </a:lnTo>
                  <a:lnTo>
                    <a:pt x="807" y="22"/>
                  </a:lnTo>
                  <a:lnTo>
                    <a:pt x="827" y="14"/>
                  </a:lnTo>
                  <a:lnTo>
                    <a:pt x="843" y="8"/>
                  </a:lnTo>
                  <a:lnTo>
                    <a:pt x="853" y="2"/>
                  </a:lnTo>
                  <a:lnTo>
                    <a:pt x="861" y="0"/>
                  </a:lnTo>
                  <a:lnTo>
                    <a:pt x="863" y="0"/>
                  </a:lnTo>
                  <a:close/>
                </a:path>
              </a:pathLst>
            </a:custGeom>
            <a:solidFill>
              <a:srgbClr val="AF6B3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8" name="Freeform 305"/>
            <p:cNvSpPr>
              <a:spLocks/>
            </p:cNvSpPr>
            <p:nvPr/>
          </p:nvSpPr>
          <p:spPr bwMode="auto">
            <a:xfrm flipH="1">
              <a:off x="4777" y="2908"/>
              <a:ext cx="471" cy="280"/>
            </a:xfrm>
            <a:custGeom>
              <a:avLst/>
              <a:gdLst/>
              <a:ahLst/>
              <a:cxnLst>
                <a:cxn ang="0">
                  <a:pos x="863" y="0"/>
                </a:cxn>
                <a:cxn ang="0">
                  <a:pos x="871" y="0"/>
                </a:cxn>
                <a:cxn ang="0">
                  <a:pos x="879" y="2"/>
                </a:cxn>
                <a:cxn ang="0">
                  <a:pos x="891" y="6"/>
                </a:cxn>
                <a:cxn ang="0">
                  <a:pos x="903" y="10"/>
                </a:cxn>
                <a:cxn ang="0">
                  <a:pos x="915" y="18"/>
                </a:cxn>
                <a:cxn ang="0">
                  <a:pos x="924" y="30"/>
                </a:cxn>
                <a:cxn ang="0">
                  <a:pos x="932" y="46"/>
                </a:cxn>
                <a:cxn ang="0">
                  <a:pos x="938" y="64"/>
                </a:cxn>
                <a:cxn ang="0">
                  <a:pos x="940" y="84"/>
                </a:cxn>
                <a:cxn ang="0">
                  <a:pos x="936" y="102"/>
                </a:cxn>
                <a:cxn ang="0">
                  <a:pos x="932" y="118"/>
                </a:cxn>
                <a:cxn ang="0">
                  <a:pos x="928" y="136"/>
                </a:cxn>
                <a:cxn ang="0">
                  <a:pos x="922" y="146"/>
                </a:cxn>
                <a:cxn ang="0">
                  <a:pos x="920" y="154"/>
                </a:cxn>
                <a:cxn ang="0">
                  <a:pos x="918" y="158"/>
                </a:cxn>
                <a:cxn ang="0">
                  <a:pos x="70" y="559"/>
                </a:cxn>
                <a:cxn ang="0">
                  <a:pos x="78" y="541"/>
                </a:cxn>
                <a:cxn ang="0">
                  <a:pos x="88" y="511"/>
                </a:cxn>
                <a:cxn ang="0">
                  <a:pos x="90" y="499"/>
                </a:cxn>
                <a:cxn ang="0">
                  <a:pos x="92" y="483"/>
                </a:cxn>
                <a:cxn ang="0">
                  <a:pos x="90" y="467"/>
                </a:cxn>
                <a:cxn ang="0">
                  <a:pos x="88" y="447"/>
                </a:cxn>
                <a:cxn ang="0">
                  <a:pos x="82" y="423"/>
                </a:cxn>
                <a:cxn ang="0">
                  <a:pos x="76" y="404"/>
                </a:cxn>
                <a:cxn ang="0">
                  <a:pos x="70" y="388"/>
                </a:cxn>
                <a:cxn ang="0">
                  <a:pos x="62" y="374"/>
                </a:cxn>
                <a:cxn ang="0">
                  <a:pos x="54" y="366"/>
                </a:cxn>
                <a:cxn ang="0">
                  <a:pos x="30" y="352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6"/>
                </a:cxn>
                <a:cxn ang="0">
                  <a:pos x="18" y="334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9" y="170"/>
                </a:cxn>
                <a:cxn ang="0">
                  <a:pos x="509" y="138"/>
                </a:cxn>
                <a:cxn ang="0">
                  <a:pos x="587" y="108"/>
                </a:cxn>
                <a:cxn ang="0">
                  <a:pos x="661" y="80"/>
                </a:cxn>
                <a:cxn ang="0">
                  <a:pos x="695" y="66"/>
                </a:cxn>
                <a:cxn ang="0">
                  <a:pos x="725" y="54"/>
                </a:cxn>
                <a:cxn ang="0">
                  <a:pos x="755" y="42"/>
                </a:cxn>
                <a:cxn ang="0">
                  <a:pos x="781" y="32"/>
                </a:cxn>
                <a:cxn ang="0">
                  <a:pos x="805" y="22"/>
                </a:cxn>
                <a:cxn ang="0">
                  <a:pos x="825" y="14"/>
                </a:cxn>
                <a:cxn ang="0">
                  <a:pos x="841" y="8"/>
                </a:cxn>
                <a:cxn ang="0">
                  <a:pos x="853" y="4"/>
                </a:cxn>
                <a:cxn ang="0">
                  <a:pos x="859" y="2"/>
                </a:cxn>
                <a:cxn ang="0">
                  <a:pos x="863" y="0"/>
                </a:cxn>
              </a:cxnLst>
              <a:rect l="0" t="0" r="r" b="b"/>
              <a:pathLst>
                <a:path w="940" h="559">
                  <a:moveTo>
                    <a:pt x="863" y="0"/>
                  </a:moveTo>
                  <a:lnTo>
                    <a:pt x="871" y="0"/>
                  </a:lnTo>
                  <a:lnTo>
                    <a:pt x="879" y="2"/>
                  </a:lnTo>
                  <a:lnTo>
                    <a:pt x="891" y="6"/>
                  </a:lnTo>
                  <a:lnTo>
                    <a:pt x="903" y="10"/>
                  </a:lnTo>
                  <a:lnTo>
                    <a:pt x="915" y="18"/>
                  </a:lnTo>
                  <a:lnTo>
                    <a:pt x="924" y="30"/>
                  </a:lnTo>
                  <a:lnTo>
                    <a:pt x="932" y="46"/>
                  </a:lnTo>
                  <a:lnTo>
                    <a:pt x="938" y="64"/>
                  </a:lnTo>
                  <a:lnTo>
                    <a:pt x="940" y="84"/>
                  </a:lnTo>
                  <a:lnTo>
                    <a:pt x="936" y="102"/>
                  </a:lnTo>
                  <a:lnTo>
                    <a:pt x="932" y="118"/>
                  </a:lnTo>
                  <a:lnTo>
                    <a:pt x="928" y="136"/>
                  </a:lnTo>
                  <a:lnTo>
                    <a:pt x="922" y="146"/>
                  </a:lnTo>
                  <a:lnTo>
                    <a:pt x="920" y="154"/>
                  </a:lnTo>
                  <a:lnTo>
                    <a:pt x="918" y="158"/>
                  </a:lnTo>
                  <a:lnTo>
                    <a:pt x="70" y="559"/>
                  </a:lnTo>
                  <a:lnTo>
                    <a:pt x="78" y="541"/>
                  </a:lnTo>
                  <a:lnTo>
                    <a:pt x="88" y="511"/>
                  </a:lnTo>
                  <a:lnTo>
                    <a:pt x="90" y="499"/>
                  </a:lnTo>
                  <a:lnTo>
                    <a:pt x="92" y="483"/>
                  </a:lnTo>
                  <a:lnTo>
                    <a:pt x="90" y="467"/>
                  </a:lnTo>
                  <a:lnTo>
                    <a:pt x="88" y="447"/>
                  </a:lnTo>
                  <a:lnTo>
                    <a:pt x="82" y="423"/>
                  </a:lnTo>
                  <a:lnTo>
                    <a:pt x="76" y="404"/>
                  </a:lnTo>
                  <a:lnTo>
                    <a:pt x="70" y="388"/>
                  </a:lnTo>
                  <a:lnTo>
                    <a:pt x="62" y="374"/>
                  </a:lnTo>
                  <a:lnTo>
                    <a:pt x="54" y="366"/>
                  </a:lnTo>
                  <a:lnTo>
                    <a:pt x="30" y="352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6"/>
                  </a:lnTo>
                  <a:lnTo>
                    <a:pt x="18" y="334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9" y="170"/>
                  </a:lnTo>
                  <a:lnTo>
                    <a:pt x="509" y="138"/>
                  </a:lnTo>
                  <a:lnTo>
                    <a:pt x="587" y="108"/>
                  </a:lnTo>
                  <a:lnTo>
                    <a:pt x="661" y="80"/>
                  </a:lnTo>
                  <a:lnTo>
                    <a:pt x="695" y="66"/>
                  </a:lnTo>
                  <a:lnTo>
                    <a:pt x="725" y="54"/>
                  </a:lnTo>
                  <a:lnTo>
                    <a:pt x="755" y="42"/>
                  </a:lnTo>
                  <a:lnTo>
                    <a:pt x="781" y="32"/>
                  </a:lnTo>
                  <a:lnTo>
                    <a:pt x="805" y="22"/>
                  </a:lnTo>
                  <a:lnTo>
                    <a:pt x="825" y="14"/>
                  </a:lnTo>
                  <a:lnTo>
                    <a:pt x="841" y="8"/>
                  </a:lnTo>
                  <a:lnTo>
                    <a:pt x="853" y="4"/>
                  </a:lnTo>
                  <a:lnTo>
                    <a:pt x="859" y="2"/>
                  </a:lnTo>
                  <a:lnTo>
                    <a:pt x="863" y="0"/>
                  </a:lnTo>
                  <a:close/>
                </a:path>
              </a:pathLst>
            </a:custGeom>
            <a:solidFill>
              <a:srgbClr val="B4743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59" name="Freeform 306"/>
            <p:cNvSpPr>
              <a:spLocks/>
            </p:cNvSpPr>
            <p:nvPr/>
          </p:nvSpPr>
          <p:spPr bwMode="auto">
            <a:xfrm flipH="1">
              <a:off x="4777" y="2909"/>
              <a:ext cx="469" cy="277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69" y="0"/>
                </a:cxn>
                <a:cxn ang="0">
                  <a:pos x="879" y="2"/>
                </a:cxn>
                <a:cxn ang="0">
                  <a:pos x="889" y="4"/>
                </a:cxn>
                <a:cxn ang="0">
                  <a:pos x="901" y="10"/>
                </a:cxn>
                <a:cxn ang="0">
                  <a:pos x="913" y="18"/>
                </a:cxn>
                <a:cxn ang="0">
                  <a:pos x="922" y="30"/>
                </a:cxn>
                <a:cxn ang="0">
                  <a:pos x="930" y="44"/>
                </a:cxn>
                <a:cxn ang="0">
                  <a:pos x="934" y="62"/>
                </a:cxn>
                <a:cxn ang="0">
                  <a:pos x="936" y="82"/>
                </a:cxn>
                <a:cxn ang="0">
                  <a:pos x="932" y="98"/>
                </a:cxn>
                <a:cxn ang="0">
                  <a:pos x="930" y="116"/>
                </a:cxn>
                <a:cxn ang="0">
                  <a:pos x="924" y="130"/>
                </a:cxn>
                <a:cxn ang="0">
                  <a:pos x="920" y="142"/>
                </a:cxn>
                <a:cxn ang="0">
                  <a:pos x="916" y="150"/>
                </a:cxn>
                <a:cxn ang="0">
                  <a:pos x="914" y="152"/>
                </a:cxn>
                <a:cxn ang="0">
                  <a:pos x="66" y="553"/>
                </a:cxn>
                <a:cxn ang="0">
                  <a:pos x="74" y="535"/>
                </a:cxn>
                <a:cxn ang="0">
                  <a:pos x="80" y="521"/>
                </a:cxn>
                <a:cxn ang="0">
                  <a:pos x="84" y="507"/>
                </a:cxn>
                <a:cxn ang="0">
                  <a:pos x="88" y="495"/>
                </a:cxn>
                <a:cxn ang="0">
                  <a:pos x="90" y="479"/>
                </a:cxn>
                <a:cxn ang="0">
                  <a:pos x="88" y="463"/>
                </a:cxn>
                <a:cxn ang="0">
                  <a:pos x="84" y="445"/>
                </a:cxn>
                <a:cxn ang="0">
                  <a:pos x="80" y="421"/>
                </a:cxn>
                <a:cxn ang="0">
                  <a:pos x="72" y="402"/>
                </a:cxn>
                <a:cxn ang="0">
                  <a:pos x="66" y="386"/>
                </a:cxn>
                <a:cxn ang="0">
                  <a:pos x="58" y="374"/>
                </a:cxn>
                <a:cxn ang="0">
                  <a:pos x="50" y="364"/>
                </a:cxn>
                <a:cxn ang="0">
                  <a:pos x="28" y="352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6"/>
                </a:cxn>
                <a:cxn ang="0">
                  <a:pos x="20" y="332"/>
                </a:cxn>
                <a:cxn ang="0">
                  <a:pos x="34" y="324"/>
                </a:cxn>
                <a:cxn ang="0">
                  <a:pos x="54" y="318"/>
                </a:cxn>
                <a:cxn ang="0">
                  <a:pos x="76" y="308"/>
                </a:cxn>
                <a:cxn ang="0">
                  <a:pos x="102" y="298"/>
                </a:cxn>
                <a:cxn ang="0">
                  <a:pos x="132" y="286"/>
                </a:cxn>
                <a:cxn ang="0">
                  <a:pos x="162" y="274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7" y="168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59" y="78"/>
                </a:cxn>
                <a:cxn ang="0">
                  <a:pos x="693" y="64"/>
                </a:cxn>
                <a:cxn ang="0">
                  <a:pos x="725" y="54"/>
                </a:cxn>
                <a:cxn ang="0">
                  <a:pos x="753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51" y="4"/>
                </a:cxn>
                <a:cxn ang="0">
                  <a:pos x="857" y="2"/>
                </a:cxn>
                <a:cxn ang="0">
                  <a:pos x="861" y="0"/>
                </a:cxn>
              </a:cxnLst>
              <a:rect l="0" t="0" r="r" b="b"/>
              <a:pathLst>
                <a:path w="936" h="553">
                  <a:moveTo>
                    <a:pt x="861" y="0"/>
                  </a:moveTo>
                  <a:lnTo>
                    <a:pt x="869" y="0"/>
                  </a:lnTo>
                  <a:lnTo>
                    <a:pt x="879" y="2"/>
                  </a:lnTo>
                  <a:lnTo>
                    <a:pt x="889" y="4"/>
                  </a:lnTo>
                  <a:lnTo>
                    <a:pt x="901" y="10"/>
                  </a:lnTo>
                  <a:lnTo>
                    <a:pt x="913" y="18"/>
                  </a:lnTo>
                  <a:lnTo>
                    <a:pt x="922" y="30"/>
                  </a:lnTo>
                  <a:lnTo>
                    <a:pt x="930" y="44"/>
                  </a:lnTo>
                  <a:lnTo>
                    <a:pt x="934" y="62"/>
                  </a:lnTo>
                  <a:lnTo>
                    <a:pt x="936" y="82"/>
                  </a:lnTo>
                  <a:lnTo>
                    <a:pt x="932" y="98"/>
                  </a:lnTo>
                  <a:lnTo>
                    <a:pt x="930" y="116"/>
                  </a:lnTo>
                  <a:lnTo>
                    <a:pt x="924" y="130"/>
                  </a:lnTo>
                  <a:lnTo>
                    <a:pt x="920" y="142"/>
                  </a:lnTo>
                  <a:lnTo>
                    <a:pt x="916" y="150"/>
                  </a:lnTo>
                  <a:lnTo>
                    <a:pt x="914" y="152"/>
                  </a:lnTo>
                  <a:lnTo>
                    <a:pt x="66" y="553"/>
                  </a:lnTo>
                  <a:lnTo>
                    <a:pt x="74" y="535"/>
                  </a:lnTo>
                  <a:lnTo>
                    <a:pt x="80" y="521"/>
                  </a:lnTo>
                  <a:lnTo>
                    <a:pt x="84" y="507"/>
                  </a:lnTo>
                  <a:lnTo>
                    <a:pt x="88" y="495"/>
                  </a:lnTo>
                  <a:lnTo>
                    <a:pt x="90" y="479"/>
                  </a:lnTo>
                  <a:lnTo>
                    <a:pt x="88" y="463"/>
                  </a:lnTo>
                  <a:lnTo>
                    <a:pt x="84" y="445"/>
                  </a:lnTo>
                  <a:lnTo>
                    <a:pt x="80" y="421"/>
                  </a:lnTo>
                  <a:lnTo>
                    <a:pt x="72" y="402"/>
                  </a:lnTo>
                  <a:lnTo>
                    <a:pt x="66" y="386"/>
                  </a:lnTo>
                  <a:lnTo>
                    <a:pt x="58" y="374"/>
                  </a:lnTo>
                  <a:lnTo>
                    <a:pt x="50" y="364"/>
                  </a:lnTo>
                  <a:lnTo>
                    <a:pt x="28" y="352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6"/>
                  </a:lnTo>
                  <a:lnTo>
                    <a:pt x="20" y="332"/>
                  </a:lnTo>
                  <a:lnTo>
                    <a:pt x="34" y="324"/>
                  </a:lnTo>
                  <a:lnTo>
                    <a:pt x="54" y="318"/>
                  </a:lnTo>
                  <a:lnTo>
                    <a:pt x="76" y="308"/>
                  </a:lnTo>
                  <a:lnTo>
                    <a:pt x="102" y="298"/>
                  </a:lnTo>
                  <a:lnTo>
                    <a:pt x="132" y="286"/>
                  </a:lnTo>
                  <a:lnTo>
                    <a:pt x="162" y="274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7" y="168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59" y="78"/>
                  </a:lnTo>
                  <a:lnTo>
                    <a:pt x="693" y="64"/>
                  </a:lnTo>
                  <a:lnTo>
                    <a:pt x="725" y="54"/>
                  </a:lnTo>
                  <a:lnTo>
                    <a:pt x="753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51" y="4"/>
                  </a:lnTo>
                  <a:lnTo>
                    <a:pt x="857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B97E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0" name="Freeform 307"/>
            <p:cNvSpPr>
              <a:spLocks/>
            </p:cNvSpPr>
            <p:nvPr/>
          </p:nvSpPr>
          <p:spPr bwMode="auto">
            <a:xfrm flipH="1">
              <a:off x="4777" y="2909"/>
              <a:ext cx="468" cy="276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71" y="0"/>
                </a:cxn>
                <a:cxn ang="0">
                  <a:pos x="879" y="2"/>
                </a:cxn>
                <a:cxn ang="0">
                  <a:pos x="887" y="6"/>
                </a:cxn>
                <a:cxn ang="0">
                  <a:pos x="899" y="10"/>
                </a:cxn>
                <a:cxn ang="0">
                  <a:pos x="911" y="18"/>
                </a:cxn>
                <a:cxn ang="0">
                  <a:pos x="920" y="30"/>
                </a:cxn>
                <a:cxn ang="0">
                  <a:pos x="928" y="44"/>
                </a:cxn>
                <a:cxn ang="0">
                  <a:pos x="932" y="62"/>
                </a:cxn>
                <a:cxn ang="0">
                  <a:pos x="934" y="80"/>
                </a:cxn>
                <a:cxn ang="0">
                  <a:pos x="930" y="114"/>
                </a:cxn>
                <a:cxn ang="0">
                  <a:pos x="924" y="130"/>
                </a:cxn>
                <a:cxn ang="0">
                  <a:pos x="922" y="140"/>
                </a:cxn>
                <a:cxn ang="0">
                  <a:pos x="918" y="148"/>
                </a:cxn>
                <a:cxn ang="0">
                  <a:pos x="916" y="152"/>
                </a:cxn>
                <a:cxn ang="0">
                  <a:pos x="66" y="551"/>
                </a:cxn>
                <a:cxn ang="0">
                  <a:pos x="70" y="541"/>
                </a:cxn>
                <a:cxn ang="0">
                  <a:pos x="72" y="533"/>
                </a:cxn>
                <a:cxn ang="0">
                  <a:pos x="78" y="519"/>
                </a:cxn>
                <a:cxn ang="0">
                  <a:pos x="82" y="505"/>
                </a:cxn>
                <a:cxn ang="0">
                  <a:pos x="86" y="493"/>
                </a:cxn>
                <a:cxn ang="0">
                  <a:pos x="88" y="479"/>
                </a:cxn>
                <a:cxn ang="0">
                  <a:pos x="86" y="465"/>
                </a:cxn>
                <a:cxn ang="0">
                  <a:pos x="82" y="445"/>
                </a:cxn>
                <a:cxn ang="0">
                  <a:pos x="78" y="423"/>
                </a:cxn>
                <a:cxn ang="0">
                  <a:pos x="70" y="402"/>
                </a:cxn>
                <a:cxn ang="0">
                  <a:pos x="64" y="386"/>
                </a:cxn>
                <a:cxn ang="0">
                  <a:pos x="56" y="374"/>
                </a:cxn>
                <a:cxn ang="0">
                  <a:pos x="48" y="366"/>
                </a:cxn>
                <a:cxn ang="0">
                  <a:pos x="28" y="354"/>
                </a:cxn>
                <a:cxn ang="0">
                  <a:pos x="16" y="348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70" y="234"/>
                </a:cxn>
                <a:cxn ang="0">
                  <a:pos x="347" y="202"/>
                </a:cxn>
                <a:cxn ang="0">
                  <a:pos x="429" y="172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61" y="80"/>
                </a:cxn>
                <a:cxn ang="0">
                  <a:pos x="695" y="66"/>
                </a:cxn>
                <a:cxn ang="0">
                  <a:pos x="725" y="54"/>
                </a:cxn>
                <a:cxn ang="0">
                  <a:pos x="755" y="44"/>
                </a:cxn>
                <a:cxn ang="0">
                  <a:pos x="781" y="32"/>
                </a:cxn>
                <a:cxn ang="0">
                  <a:pos x="805" y="24"/>
                </a:cxn>
                <a:cxn ang="0">
                  <a:pos x="825" y="16"/>
                </a:cxn>
                <a:cxn ang="0">
                  <a:pos x="841" y="8"/>
                </a:cxn>
                <a:cxn ang="0">
                  <a:pos x="853" y="4"/>
                </a:cxn>
                <a:cxn ang="0">
                  <a:pos x="859" y="2"/>
                </a:cxn>
                <a:cxn ang="0">
                  <a:pos x="861" y="0"/>
                </a:cxn>
              </a:cxnLst>
              <a:rect l="0" t="0" r="r" b="b"/>
              <a:pathLst>
                <a:path w="934" h="551">
                  <a:moveTo>
                    <a:pt x="861" y="0"/>
                  </a:moveTo>
                  <a:lnTo>
                    <a:pt x="871" y="0"/>
                  </a:lnTo>
                  <a:lnTo>
                    <a:pt x="879" y="2"/>
                  </a:lnTo>
                  <a:lnTo>
                    <a:pt x="887" y="6"/>
                  </a:lnTo>
                  <a:lnTo>
                    <a:pt x="899" y="10"/>
                  </a:lnTo>
                  <a:lnTo>
                    <a:pt x="911" y="18"/>
                  </a:lnTo>
                  <a:lnTo>
                    <a:pt x="920" y="30"/>
                  </a:lnTo>
                  <a:lnTo>
                    <a:pt x="928" y="44"/>
                  </a:lnTo>
                  <a:lnTo>
                    <a:pt x="932" y="62"/>
                  </a:lnTo>
                  <a:lnTo>
                    <a:pt x="934" y="80"/>
                  </a:lnTo>
                  <a:lnTo>
                    <a:pt x="930" y="114"/>
                  </a:lnTo>
                  <a:lnTo>
                    <a:pt x="924" y="130"/>
                  </a:lnTo>
                  <a:lnTo>
                    <a:pt x="922" y="140"/>
                  </a:lnTo>
                  <a:lnTo>
                    <a:pt x="918" y="148"/>
                  </a:lnTo>
                  <a:lnTo>
                    <a:pt x="916" y="152"/>
                  </a:lnTo>
                  <a:lnTo>
                    <a:pt x="66" y="551"/>
                  </a:lnTo>
                  <a:lnTo>
                    <a:pt x="70" y="541"/>
                  </a:lnTo>
                  <a:lnTo>
                    <a:pt x="72" y="533"/>
                  </a:lnTo>
                  <a:lnTo>
                    <a:pt x="78" y="519"/>
                  </a:lnTo>
                  <a:lnTo>
                    <a:pt x="82" y="505"/>
                  </a:lnTo>
                  <a:lnTo>
                    <a:pt x="86" y="493"/>
                  </a:lnTo>
                  <a:lnTo>
                    <a:pt x="88" y="479"/>
                  </a:lnTo>
                  <a:lnTo>
                    <a:pt x="86" y="465"/>
                  </a:lnTo>
                  <a:lnTo>
                    <a:pt x="82" y="445"/>
                  </a:lnTo>
                  <a:lnTo>
                    <a:pt x="78" y="423"/>
                  </a:lnTo>
                  <a:lnTo>
                    <a:pt x="70" y="402"/>
                  </a:lnTo>
                  <a:lnTo>
                    <a:pt x="64" y="386"/>
                  </a:lnTo>
                  <a:lnTo>
                    <a:pt x="56" y="374"/>
                  </a:lnTo>
                  <a:lnTo>
                    <a:pt x="48" y="366"/>
                  </a:lnTo>
                  <a:lnTo>
                    <a:pt x="28" y="354"/>
                  </a:lnTo>
                  <a:lnTo>
                    <a:pt x="16" y="348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70" y="234"/>
                  </a:lnTo>
                  <a:lnTo>
                    <a:pt x="347" y="202"/>
                  </a:lnTo>
                  <a:lnTo>
                    <a:pt x="429" y="172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61" y="80"/>
                  </a:lnTo>
                  <a:lnTo>
                    <a:pt x="695" y="66"/>
                  </a:lnTo>
                  <a:lnTo>
                    <a:pt x="725" y="54"/>
                  </a:lnTo>
                  <a:lnTo>
                    <a:pt x="755" y="44"/>
                  </a:lnTo>
                  <a:lnTo>
                    <a:pt x="781" y="32"/>
                  </a:lnTo>
                  <a:lnTo>
                    <a:pt x="805" y="24"/>
                  </a:lnTo>
                  <a:lnTo>
                    <a:pt x="825" y="16"/>
                  </a:lnTo>
                  <a:lnTo>
                    <a:pt x="841" y="8"/>
                  </a:lnTo>
                  <a:lnTo>
                    <a:pt x="853" y="4"/>
                  </a:lnTo>
                  <a:lnTo>
                    <a:pt x="859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BE872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1" name="Freeform 308"/>
            <p:cNvSpPr>
              <a:spLocks/>
            </p:cNvSpPr>
            <p:nvPr/>
          </p:nvSpPr>
          <p:spPr bwMode="auto">
            <a:xfrm flipH="1">
              <a:off x="4777" y="2909"/>
              <a:ext cx="466" cy="274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7" y="0"/>
                </a:cxn>
                <a:cxn ang="0">
                  <a:pos x="885" y="4"/>
                </a:cxn>
                <a:cxn ang="0">
                  <a:pos x="897" y="12"/>
                </a:cxn>
                <a:cxn ang="0">
                  <a:pos x="907" y="18"/>
                </a:cxn>
                <a:cxn ang="0">
                  <a:pos x="916" y="30"/>
                </a:cxn>
                <a:cxn ang="0">
                  <a:pos x="924" y="44"/>
                </a:cxn>
                <a:cxn ang="0">
                  <a:pos x="928" y="60"/>
                </a:cxn>
                <a:cxn ang="0">
                  <a:pos x="930" y="78"/>
                </a:cxn>
                <a:cxn ang="0">
                  <a:pos x="926" y="112"/>
                </a:cxn>
                <a:cxn ang="0">
                  <a:pos x="920" y="126"/>
                </a:cxn>
                <a:cxn ang="0">
                  <a:pos x="918" y="138"/>
                </a:cxn>
                <a:cxn ang="0">
                  <a:pos x="914" y="144"/>
                </a:cxn>
                <a:cxn ang="0">
                  <a:pos x="912" y="148"/>
                </a:cxn>
                <a:cxn ang="0">
                  <a:pos x="64" y="547"/>
                </a:cxn>
                <a:cxn ang="0">
                  <a:pos x="72" y="529"/>
                </a:cxn>
                <a:cxn ang="0">
                  <a:pos x="76" y="515"/>
                </a:cxn>
                <a:cxn ang="0">
                  <a:pos x="82" y="491"/>
                </a:cxn>
                <a:cxn ang="0">
                  <a:pos x="82" y="463"/>
                </a:cxn>
                <a:cxn ang="0">
                  <a:pos x="80" y="445"/>
                </a:cxn>
                <a:cxn ang="0">
                  <a:pos x="74" y="421"/>
                </a:cxn>
                <a:cxn ang="0">
                  <a:pos x="68" y="402"/>
                </a:cxn>
                <a:cxn ang="0">
                  <a:pos x="62" y="386"/>
                </a:cxn>
                <a:cxn ang="0">
                  <a:pos x="54" y="374"/>
                </a:cxn>
                <a:cxn ang="0">
                  <a:pos x="46" y="366"/>
                </a:cxn>
                <a:cxn ang="0">
                  <a:pos x="28" y="354"/>
                </a:cxn>
                <a:cxn ang="0">
                  <a:pos x="14" y="350"/>
                </a:cxn>
                <a:cxn ang="0">
                  <a:pos x="0" y="342"/>
                </a:cxn>
                <a:cxn ang="0">
                  <a:pos x="2" y="342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2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2"/>
                </a:cxn>
                <a:cxn ang="0">
                  <a:pos x="429" y="170"/>
                </a:cxn>
                <a:cxn ang="0">
                  <a:pos x="505" y="138"/>
                </a:cxn>
                <a:cxn ang="0">
                  <a:pos x="585" y="108"/>
                </a:cxn>
                <a:cxn ang="0">
                  <a:pos x="659" y="80"/>
                </a:cxn>
                <a:cxn ang="0">
                  <a:pos x="693" y="64"/>
                </a:cxn>
                <a:cxn ang="0">
                  <a:pos x="723" y="54"/>
                </a:cxn>
                <a:cxn ang="0">
                  <a:pos x="753" y="42"/>
                </a:cxn>
                <a:cxn ang="0">
                  <a:pos x="781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49" y="4"/>
                </a:cxn>
                <a:cxn ang="0">
                  <a:pos x="857" y="2"/>
                </a:cxn>
                <a:cxn ang="0">
                  <a:pos x="859" y="0"/>
                </a:cxn>
              </a:cxnLst>
              <a:rect l="0" t="0" r="r" b="b"/>
              <a:pathLst>
                <a:path w="930" h="547">
                  <a:moveTo>
                    <a:pt x="859" y="0"/>
                  </a:moveTo>
                  <a:lnTo>
                    <a:pt x="867" y="0"/>
                  </a:lnTo>
                  <a:lnTo>
                    <a:pt x="885" y="4"/>
                  </a:lnTo>
                  <a:lnTo>
                    <a:pt x="897" y="12"/>
                  </a:lnTo>
                  <a:lnTo>
                    <a:pt x="907" y="18"/>
                  </a:lnTo>
                  <a:lnTo>
                    <a:pt x="916" y="30"/>
                  </a:lnTo>
                  <a:lnTo>
                    <a:pt x="924" y="44"/>
                  </a:lnTo>
                  <a:lnTo>
                    <a:pt x="928" y="60"/>
                  </a:lnTo>
                  <a:lnTo>
                    <a:pt x="930" y="78"/>
                  </a:lnTo>
                  <a:lnTo>
                    <a:pt x="926" y="112"/>
                  </a:lnTo>
                  <a:lnTo>
                    <a:pt x="920" y="126"/>
                  </a:lnTo>
                  <a:lnTo>
                    <a:pt x="918" y="138"/>
                  </a:lnTo>
                  <a:lnTo>
                    <a:pt x="914" y="144"/>
                  </a:lnTo>
                  <a:lnTo>
                    <a:pt x="912" y="148"/>
                  </a:lnTo>
                  <a:lnTo>
                    <a:pt x="64" y="547"/>
                  </a:lnTo>
                  <a:lnTo>
                    <a:pt x="72" y="529"/>
                  </a:lnTo>
                  <a:lnTo>
                    <a:pt x="76" y="515"/>
                  </a:lnTo>
                  <a:lnTo>
                    <a:pt x="82" y="491"/>
                  </a:lnTo>
                  <a:lnTo>
                    <a:pt x="82" y="463"/>
                  </a:lnTo>
                  <a:lnTo>
                    <a:pt x="80" y="445"/>
                  </a:lnTo>
                  <a:lnTo>
                    <a:pt x="74" y="421"/>
                  </a:lnTo>
                  <a:lnTo>
                    <a:pt x="68" y="402"/>
                  </a:lnTo>
                  <a:lnTo>
                    <a:pt x="62" y="386"/>
                  </a:lnTo>
                  <a:lnTo>
                    <a:pt x="54" y="374"/>
                  </a:lnTo>
                  <a:lnTo>
                    <a:pt x="46" y="366"/>
                  </a:lnTo>
                  <a:lnTo>
                    <a:pt x="28" y="354"/>
                  </a:lnTo>
                  <a:lnTo>
                    <a:pt x="14" y="350"/>
                  </a:lnTo>
                  <a:lnTo>
                    <a:pt x="0" y="342"/>
                  </a:lnTo>
                  <a:lnTo>
                    <a:pt x="2" y="342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2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2"/>
                  </a:lnTo>
                  <a:lnTo>
                    <a:pt x="429" y="170"/>
                  </a:lnTo>
                  <a:lnTo>
                    <a:pt x="505" y="138"/>
                  </a:lnTo>
                  <a:lnTo>
                    <a:pt x="585" y="108"/>
                  </a:lnTo>
                  <a:lnTo>
                    <a:pt x="659" y="80"/>
                  </a:lnTo>
                  <a:lnTo>
                    <a:pt x="693" y="64"/>
                  </a:lnTo>
                  <a:lnTo>
                    <a:pt x="723" y="54"/>
                  </a:lnTo>
                  <a:lnTo>
                    <a:pt x="753" y="42"/>
                  </a:lnTo>
                  <a:lnTo>
                    <a:pt x="781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49" y="4"/>
                  </a:lnTo>
                  <a:lnTo>
                    <a:pt x="857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C3902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2" name="Freeform 309"/>
            <p:cNvSpPr>
              <a:spLocks/>
            </p:cNvSpPr>
            <p:nvPr/>
          </p:nvSpPr>
          <p:spPr bwMode="auto">
            <a:xfrm flipH="1">
              <a:off x="4777" y="2910"/>
              <a:ext cx="466" cy="271"/>
            </a:xfrm>
            <a:custGeom>
              <a:avLst/>
              <a:gdLst/>
              <a:ahLst/>
              <a:cxnLst>
                <a:cxn ang="0">
                  <a:pos x="861" y="0"/>
                </a:cxn>
                <a:cxn ang="0">
                  <a:pos x="869" y="0"/>
                </a:cxn>
                <a:cxn ang="0">
                  <a:pos x="885" y="4"/>
                </a:cxn>
                <a:cxn ang="0">
                  <a:pos x="895" y="10"/>
                </a:cxn>
                <a:cxn ang="0">
                  <a:pos x="905" y="18"/>
                </a:cxn>
                <a:cxn ang="0">
                  <a:pos x="914" y="28"/>
                </a:cxn>
                <a:cxn ang="0">
                  <a:pos x="922" y="42"/>
                </a:cxn>
                <a:cxn ang="0">
                  <a:pos x="928" y="58"/>
                </a:cxn>
                <a:cxn ang="0">
                  <a:pos x="930" y="76"/>
                </a:cxn>
                <a:cxn ang="0">
                  <a:pos x="924" y="108"/>
                </a:cxn>
                <a:cxn ang="0">
                  <a:pos x="920" y="122"/>
                </a:cxn>
                <a:cxn ang="0">
                  <a:pos x="916" y="132"/>
                </a:cxn>
                <a:cxn ang="0">
                  <a:pos x="914" y="140"/>
                </a:cxn>
                <a:cxn ang="0">
                  <a:pos x="912" y="142"/>
                </a:cxn>
                <a:cxn ang="0">
                  <a:pos x="62" y="541"/>
                </a:cxn>
                <a:cxn ang="0">
                  <a:pos x="70" y="523"/>
                </a:cxn>
                <a:cxn ang="0">
                  <a:pos x="74" y="511"/>
                </a:cxn>
                <a:cxn ang="0">
                  <a:pos x="80" y="487"/>
                </a:cxn>
                <a:cxn ang="0">
                  <a:pos x="80" y="461"/>
                </a:cxn>
                <a:cxn ang="0">
                  <a:pos x="78" y="443"/>
                </a:cxn>
                <a:cxn ang="0">
                  <a:pos x="72" y="419"/>
                </a:cxn>
                <a:cxn ang="0">
                  <a:pos x="66" y="400"/>
                </a:cxn>
                <a:cxn ang="0">
                  <a:pos x="60" y="384"/>
                </a:cxn>
                <a:cxn ang="0">
                  <a:pos x="52" y="374"/>
                </a:cxn>
                <a:cxn ang="0">
                  <a:pos x="44" y="366"/>
                </a:cxn>
                <a:cxn ang="0">
                  <a:pos x="26" y="354"/>
                </a:cxn>
                <a:cxn ang="0">
                  <a:pos x="14" y="348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2"/>
                </a:cxn>
                <a:cxn ang="0">
                  <a:pos x="34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0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9" y="170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9" y="80"/>
                </a:cxn>
                <a:cxn ang="0">
                  <a:pos x="693" y="64"/>
                </a:cxn>
                <a:cxn ang="0">
                  <a:pos x="723" y="54"/>
                </a:cxn>
                <a:cxn ang="0">
                  <a:pos x="753" y="42"/>
                </a:cxn>
                <a:cxn ang="0">
                  <a:pos x="781" y="30"/>
                </a:cxn>
                <a:cxn ang="0">
                  <a:pos x="803" y="22"/>
                </a:cxn>
                <a:cxn ang="0">
                  <a:pos x="823" y="14"/>
                </a:cxn>
                <a:cxn ang="0">
                  <a:pos x="839" y="8"/>
                </a:cxn>
                <a:cxn ang="0">
                  <a:pos x="851" y="2"/>
                </a:cxn>
                <a:cxn ang="0">
                  <a:pos x="857" y="2"/>
                </a:cxn>
                <a:cxn ang="0">
                  <a:pos x="861" y="0"/>
                </a:cxn>
              </a:cxnLst>
              <a:rect l="0" t="0" r="r" b="b"/>
              <a:pathLst>
                <a:path w="930" h="541">
                  <a:moveTo>
                    <a:pt x="861" y="0"/>
                  </a:moveTo>
                  <a:lnTo>
                    <a:pt x="869" y="0"/>
                  </a:lnTo>
                  <a:lnTo>
                    <a:pt x="885" y="4"/>
                  </a:lnTo>
                  <a:lnTo>
                    <a:pt x="895" y="10"/>
                  </a:lnTo>
                  <a:lnTo>
                    <a:pt x="905" y="18"/>
                  </a:lnTo>
                  <a:lnTo>
                    <a:pt x="914" y="28"/>
                  </a:lnTo>
                  <a:lnTo>
                    <a:pt x="922" y="42"/>
                  </a:lnTo>
                  <a:lnTo>
                    <a:pt x="928" y="58"/>
                  </a:lnTo>
                  <a:lnTo>
                    <a:pt x="930" y="76"/>
                  </a:lnTo>
                  <a:lnTo>
                    <a:pt x="924" y="108"/>
                  </a:lnTo>
                  <a:lnTo>
                    <a:pt x="920" y="122"/>
                  </a:lnTo>
                  <a:lnTo>
                    <a:pt x="916" y="132"/>
                  </a:lnTo>
                  <a:lnTo>
                    <a:pt x="914" y="140"/>
                  </a:lnTo>
                  <a:lnTo>
                    <a:pt x="912" y="142"/>
                  </a:lnTo>
                  <a:lnTo>
                    <a:pt x="62" y="541"/>
                  </a:lnTo>
                  <a:lnTo>
                    <a:pt x="70" y="523"/>
                  </a:lnTo>
                  <a:lnTo>
                    <a:pt x="74" y="511"/>
                  </a:lnTo>
                  <a:lnTo>
                    <a:pt x="80" y="487"/>
                  </a:lnTo>
                  <a:lnTo>
                    <a:pt x="80" y="461"/>
                  </a:lnTo>
                  <a:lnTo>
                    <a:pt x="78" y="443"/>
                  </a:lnTo>
                  <a:lnTo>
                    <a:pt x="72" y="419"/>
                  </a:lnTo>
                  <a:lnTo>
                    <a:pt x="66" y="400"/>
                  </a:lnTo>
                  <a:lnTo>
                    <a:pt x="60" y="384"/>
                  </a:lnTo>
                  <a:lnTo>
                    <a:pt x="52" y="374"/>
                  </a:lnTo>
                  <a:lnTo>
                    <a:pt x="44" y="366"/>
                  </a:lnTo>
                  <a:lnTo>
                    <a:pt x="26" y="354"/>
                  </a:lnTo>
                  <a:lnTo>
                    <a:pt x="14" y="348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2"/>
                  </a:lnTo>
                  <a:lnTo>
                    <a:pt x="34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0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9" y="170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9" y="80"/>
                  </a:lnTo>
                  <a:lnTo>
                    <a:pt x="693" y="64"/>
                  </a:lnTo>
                  <a:lnTo>
                    <a:pt x="723" y="54"/>
                  </a:lnTo>
                  <a:lnTo>
                    <a:pt x="753" y="42"/>
                  </a:lnTo>
                  <a:lnTo>
                    <a:pt x="781" y="30"/>
                  </a:lnTo>
                  <a:lnTo>
                    <a:pt x="803" y="22"/>
                  </a:lnTo>
                  <a:lnTo>
                    <a:pt x="823" y="14"/>
                  </a:lnTo>
                  <a:lnTo>
                    <a:pt x="839" y="8"/>
                  </a:lnTo>
                  <a:lnTo>
                    <a:pt x="851" y="2"/>
                  </a:lnTo>
                  <a:lnTo>
                    <a:pt x="857" y="2"/>
                  </a:lnTo>
                  <a:lnTo>
                    <a:pt x="861" y="0"/>
                  </a:lnTo>
                  <a:close/>
                </a:path>
              </a:pathLst>
            </a:custGeom>
            <a:solidFill>
              <a:srgbClr val="C899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3" name="Freeform 310"/>
            <p:cNvSpPr>
              <a:spLocks/>
            </p:cNvSpPr>
            <p:nvPr/>
          </p:nvSpPr>
          <p:spPr bwMode="auto">
            <a:xfrm flipH="1">
              <a:off x="4777" y="2911"/>
              <a:ext cx="464" cy="268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7" y="0"/>
                </a:cxn>
                <a:cxn ang="0">
                  <a:pos x="883" y="4"/>
                </a:cxn>
                <a:cxn ang="0">
                  <a:pos x="904" y="16"/>
                </a:cxn>
                <a:cxn ang="0">
                  <a:pos x="912" y="26"/>
                </a:cxn>
                <a:cxn ang="0">
                  <a:pos x="920" y="40"/>
                </a:cxn>
                <a:cxn ang="0">
                  <a:pos x="924" y="56"/>
                </a:cxn>
                <a:cxn ang="0">
                  <a:pos x="926" y="72"/>
                </a:cxn>
                <a:cxn ang="0">
                  <a:pos x="922" y="104"/>
                </a:cxn>
                <a:cxn ang="0">
                  <a:pos x="918" y="118"/>
                </a:cxn>
                <a:cxn ang="0">
                  <a:pos x="914" y="130"/>
                </a:cxn>
                <a:cxn ang="0">
                  <a:pos x="912" y="136"/>
                </a:cxn>
                <a:cxn ang="0">
                  <a:pos x="910" y="138"/>
                </a:cxn>
                <a:cxn ang="0">
                  <a:pos x="62" y="535"/>
                </a:cxn>
                <a:cxn ang="0">
                  <a:pos x="66" y="517"/>
                </a:cxn>
                <a:cxn ang="0">
                  <a:pos x="70" y="503"/>
                </a:cxn>
                <a:cxn ang="0">
                  <a:pos x="78" y="483"/>
                </a:cxn>
                <a:cxn ang="0">
                  <a:pos x="78" y="457"/>
                </a:cxn>
                <a:cxn ang="0">
                  <a:pos x="74" y="441"/>
                </a:cxn>
                <a:cxn ang="0">
                  <a:pos x="70" y="417"/>
                </a:cxn>
                <a:cxn ang="0">
                  <a:pos x="62" y="398"/>
                </a:cxn>
                <a:cxn ang="0">
                  <a:pos x="56" y="382"/>
                </a:cxn>
                <a:cxn ang="0">
                  <a:pos x="50" y="372"/>
                </a:cxn>
                <a:cxn ang="0">
                  <a:pos x="44" y="364"/>
                </a:cxn>
                <a:cxn ang="0">
                  <a:pos x="26" y="352"/>
                </a:cxn>
                <a:cxn ang="0">
                  <a:pos x="14" y="346"/>
                </a:cxn>
                <a:cxn ang="0">
                  <a:pos x="0" y="340"/>
                </a:cxn>
                <a:cxn ang="0">
                  <a:pos x="2" y="338"/>
                </a:cxn>
                <a:cxn ang="0">
                  <a:pos x="8" y="336"/>
                </a:cxn>
                <a:cxn ang="0">
                  <a:pos x="18" y="330"/>
                </a:cxn>
                <a:cxn ang="0">
                  <a:pos x="36" y="324"/>
                </a:cxn>
                <a:cxn ang="0">
                  <a:pos x="54" y="318"/>
                </a:cxn>
                <a:cxn ang="0">
                  <a:pos x="78" y="308"/>
                </a:cxn>
                <a:cxn ang="0">
                  <a:pos x="104" y="296"/>
                </a:cxn>
                <a:cxn ang="0">
                  <a:pos x="132" y="286"/>
                </a:cxn>
                <a:cxn ang="0">
                  <a:pos x="164" y="274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7" y="168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7" y="78"/>
                </a:cxn>
                <a:cxn ang="0">
                  <a:pos x="691" y="64"/>
                </a:cxn>
                <a:cxn ang="0">
                  <a:pos x="723" y="52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2"/>
                </a:cxn>
                <a:cxn ang="0">
                  <a:pos x="855" y="0"/>
                </a:cxn>
                <a:cxn ang="0">
                  <a:pos x="859" y="0"/>
                </a:cxn>
              </a:cxnLst>
              <a:rect l="0" t="0" r="r" b="b"/>
              <a:pathLst>
                <a:path w="926" h="535">
                  <a:moveTo>
                    <a:pt x="859" y="0"/>
                  </a:moveTo>
                  <a:lnTo>
                    <a:pt x="867" y="0"/>
                  </a:lnTo>
                  <a:lnTo>
                    <a:pt x="883" y="4"/>
                  </a:lnTo>
                  <a:lnTo>
                    <a:pt x="904" y="16"/>
                  </a:lnTo>
                  <a:lnTo>
                    <a:pt x="912" y="26"/>
                  </a:lnTo>
                  <a:lnTo>
                    <a:pt x="920" y="40"/>
                  </a:lnTo>
                  <a:lnTo>
                    <a:pt x="924" y="56"/>
                  </a:lnTo>
                  <a:lnTo>
                    <a:pt x="926" y="72"/>
                  </a:lnTo>
                  <a:lnTo>
                    <a:pt x="922" y="104"/>
                  </a:lnTo>
                  <a:lnTo>
                    <a:pt x="918" y="118"/>
                  </a:lnTo>
                  <a:lnTo>
                    <a:pt x="914" y="130"/>
                  </a:lnTo>
                  <a:lnTo>
                    <a:pt x="912" y="136"/>
                  </a:lnTo>
                  <a:lnTo>
                    <a:pt x="910" y="138"/>
                  </a:lnTo>
                  <a:lnTo>
                    <a:pt x="62" y="535"/>
                  </a:lnTo>
                  <a:lnTo>
                    <a:pt x="66" y="517"/>
                  </a:lnTo>
                  <a:lnTo>
                    <a:pt x="70" y="503"/>
                  </a:lnTo>
                  <a:lnTo>
                    <a:pt x="78" y="483"/>
                  </a:lnTo>
                  <a:lnTo>
                    <a:pt x="78" y="457"/>
                  </a:lnTo>
                  <a:lnTo>
                    <a:pt x="74" y="441"/>
                  </a:lnTo>
                  <a:lnTo>
                    <a:pt x="70" y="417"/>
                  </a:lnTo>
                  <a:lnTo>
                    <a:pt x="62" y="398"/>
                  </a:lnTo>
                  <a:lnTo>
                    <a:pt x="56" y="382"/>
                  </a:lnTo>
                  <a:lnTo>
                    <a:pt x="50" y="372"/>
                  </a:lnTo>
                  <a:lnTo>
                    <a:pt x="44" y="364"/>
                  </a:lnTo>
                  <a:lnTo>
                    <a:pt x="26" y="352"/>
                  </a:lnTo>
                  <a:lnTo>
                    <a:pt x="14" y="346"/>
                  </a:lnTo>
                  <a:lnTo>
                    <a:pt x="0" y="340"/>
                  </a:lnTo>
                  <a:lnTo>
                    <a:pt x="2" y="338"/>
                  </a:lnTo>
                  <a:lnTo>
                    <a:pt x="8" y="336"/>
                  </a:lnTo>
                  <a:lnTo>
                    <a:pt x="18" y="330"/>
                  </a:lnTo>
                  <a:lnTo>
                    <a:pt x="36" y="324"/>
                  </a:lnTo>
                  <a:lnTo>
                    <a:pt x="54" y="318"/>
                  </a:lnTo>
                  <a:lnTo>
                    <a:pt x="78" y="308"/>
                  </a:lnTo>
                  <a:lnTo>
                    <a:pt x="104" y="296"/>
                  </a:lnTo>
                  <a:lnTo>
                    <a:pt x="132" y="286"/>
                  </a:lnTo>
                  <a:lnTo>
                    <a:pt x="164" y="274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7" y="168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7" y="78"/>
                  </a:lnTo>
                  <a:lnTo>
                    <a:pt x="691" y="64"/>
                  </a:lnTo>
                  <a:lnTo>
                    <a:pt x="723" y="52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2"/>
                  </a:lnTo>
                  <a:lnTo>
                    <a:pt x="855" y="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CDA3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4" name="Freeform 311"/>
            <p:cNvSpPr>
              <a:spLocks/>
            </p:cNvSpPr>
            <p:nvPr/>
          </p:nvSpPr>
          <p:spPr bwMode="auto">
            <a:xfrm flipH="1">
              <a:off x="4777" y="2911"/>
              <a:ext cx="462" cy="266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5" y="0"/>
                </a:cxn>
                <a:cxn ang="0">
                  <a:pos x="881" y="4"/>
                </a:cxn>
                <a:cxn ang="0">
                  <a:pos x="900" y="16"/>
                </a:cxn>
                <a:cxn ang="0">
                  <a:pos x="910" y="26"/>
                </a:cxn>
                <a:cxn ang="0">
                  <a:pos x="916" y="40"/>
                </a:cxn>
                <a:cxn ang="0">
                  <a:pos x="920" y="54"/>
                </a:cxn>
                <a:cxn ang="0">
                  <a:pos x="922" y="70"/>
                </a:cxn>
                <a:cxn ang="0">
                  <a:pos x="918" y="104"/>
                </a:cxn>
                <a:cxn ang="0">
                  <a:pos x="914" y="116"/>
                </a:cxn>
                <a:cxn ang="0">
                  <a:pos x="910" y="126"/>
                </a:cxn>
                <a:cxn ang="0">
                  <a:pos x="910" y="132"/>
                </a:cxn>
                <a:cxn ang="0">
                  <a:pos x="908" y="136"/>
                </a:cxn>
                <a:cxn ang="0">
                  <a:pos x="58" y="531"/>
                </a:cxn>
                <a:cxn ang="0">
                  <a:pos x="64" y="513"/>
                </a:cxn>
                <a:cxn ang="0">
                  <a:pos x="68" y="501"/>
                </a:cxn>
                <a:cxn ang="0">
                  <a:pos x="74" y="479"/>
                </a:cxn>
                <a:cxn ang="0">
                  <a:pos x="74" y="457"/>
                </a:cxn>
                <a:cxn ang="0">
                  <a:pos x="72" y="439"/>
                </a:cxn>
                <a:cxn ang="0">
                  <a:pos x="66" y="417"/>
                </a:cxn>
                <a:cxn ang="0">
                  <a:pos x="60" y="398"/>
                </a:cxn>
                <a:cxn ang="0">
                  <a:pos x="54" y="382"/>
                </a:cxn>
                <a:cxn ang="0">
                  <a:pos x="48" y="372"/>
                </a:cxn>
                <a:cxn ang="0">
                  <a:pos x="42" y="364"/>
                </a:cxn>
                <a:cxn ang="0">
                  <a:pos x="24" y="352"/>
                </a:cxn>
                <a:cxn ang="0">
                  <a:pos x="12" y="346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4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2" y="286"/>
                </a:cxn>
                <a:cxn ang="0">
                  <a:pos x="196" y="260"/>
                </a:cxn>
                <a:cxn ang="0">
                  <a:pos x="270" y="232"/>
                </a:cxn>
                <a:cxn ang="0">
                  <a:pos x="347" y="200"/>
                </a:cxn>
                <a:cxn ang="0">
                  <a:pos x="427" y="170"/>
                </a:cxn>
                <a:cxn ang="0">
                  <a:pos x="505" y="138"/>
                </a:cxn>
                <a:cxn ang="0">
                  <a:pos x="583" y="106"/>
                </a:cxn>
                <a:cxn ang="0">
                  <a:pos x="657" y="78"/>
                </a:cxn>
                <a:cxn ang="0">
                  <a:pos x="691" y="64"/>
                </a:cxn>
                <a:cxn ang="0">
                  <a:pos x="721" y="52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1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2"/>
                </a:cxn>
                <a:cxn ang="0">
                  <a:pos x="855" y="0"/>
                </a:cxn>
                <a:cxn ang="0">
                  <a:pos x="859" y="0"/>
                </a:cxn>
              </a:cxnLst>
              <a:rect l="0" t="0" r="r" b="b"/>
              <a:pathLst>
                <a:path w="922" h="531">
                  <a:moveTo>
                    <a:pt x="859" y="0"/>
                  </a:moveTo>
                  <a:lnTo>
                    <a:pt x="865" y="0"/>
                  </a:lnTo>
                  <a:lnTo>
                    <a:pt x="881" y="4"/>
                  </a:lnTo>
                  <a:lnTo>
                    <a:pt x="900" y="16"/>
                  </a:lnTo>
                  <a:lnTo>
                    <a:pt x="910" y="26"/>
                  </a:lnTo>
                  <a:lnTo>
                    <a:pt x="916" y="40"/>
                  </a:lnTo>
                  <a:lnTo>
                    <a:pt x="920" y="54"/>
                  </a:lnTo>
                  <a:lnTo>
                    <a:pt x="922" y="70"/>
                  </a:lnTo>
                  <a:lnTo>
                    <a:pt x="918" y="104"/>
                  </a:lnTo>
                  <a:lnTo>
                    <a:pt x="914" y="116"/>
                  </a:lnTo>
                  <a:lnTo>
                    <a:pt x="910" y="126"/>
                  </a:lnTo>
                  <a:lnTo>
                    <a:pt x="910" y="132"/>
                  </a:lnTo>
                  <a:lnTo>
                    <a:pt x="908" y="136"/>
                  </a:lnTo>
                  <a:lnTo>
                    <a:pt x="58" y="531"/>
                  </a:lnTo>
                  <a:lnTo>
                    <a:pt x="64" y="513"/>
                  </a:lnTo>
                  <a:lnTo>
                    <a:pt x="68" y="501"/>
                  </a:lnTo>
                  <a:lnTo>
                    <a:pt x="74" y="479"/>
                  </a:lnTo>
                  <a:lnTo>
                    <a:pt x="74" y="457"/>
                  </a:lnTo>
                  <a:lnTo>
                    <a:pt x="72" y="439"/>
                  </a:lnTo>
                  <a:lnTo>
                    <a:pt x="66" y="417"/>
                  </a:lnTo>
                  <a:lnTo>
                    <a:pt x="60" y="398"/>
                  </a:lnTo>
                  <a:lnTo>
                    <a:pt x="54" y="382"/>
                  </a:lnTo>
                  <a:lnTo>
                    <a:pt x="48" y="372"/>
                  </a:lnTo>
                  <a:lnTo>
                    <a:pt x="42" y="364"/>
                  </a:lnTo>
                  <a:lnTo>
                    <a:pt x="24" y="352"/>
                  </a:lnTo>
                  <a:lnTo>
                    <a:pt x="12" y="346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4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2" y="286"/>
                  </a:lnTo>
                  <a:lnTo>
                    <a:pt x="196" y="260"/>
                  </a:lnTo>
                  <a:lnTo>
                    <a:pt x="270" y="232"/>
                  </a:lnTo>
                  <a:lnTo>
                    <a:pt x="347" y="200"/>
                  </a:lnTo>
                  <a:lnTo>
                    <a:pt x="427" y="170"/>
                  </a:lnTo>
                  <a:lnTo>
                    <a:pt x="505" y="138"/>
                  </a:lnTo>
                  <a:lnTo>
                    <a:pt x="583" y="106"/>
                  </a:lnTo>
                  <a:lnTo>
                    <a:pt x="657" y="78"/>
                  </a:lnTo>
                  <a:lnTo>
                    <a:pt x="691" y="64"/>
                  </a:lnTo>
                  <a:lnTo>
                    <a:pt x="721" y="52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1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2"/>
                  </a:lnTo>
                  <a:lnTo>
                    <a:pt x="855" y="0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2AC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5" name="Freeform 312"/>
            <p:cNvSpPr>
              <a:spLocks/>
            </p:cNvSpPr>
            <p:nvPr/>
          </p:nvSpPr>
          <p:spPr bwMode="auto">
            <a:xfrm flipH="1">
              <a:off x="4777" y="2911"/>
              <a:ext cx="462" cy="265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1" y="0"/>
                </a:cxn>
                <a:cxn ang="0">
                  <a:pos x="865" y="2"/>
                </a:cxn>
                <a:cxn ang="0">
                  <a:pos x="881" y="6"/>
                </a:cxn>
                <a:cxn ang="0">
                  <a:pos x="899" y="18"/>
                </a:cxn>
                <a:cxn ang="0">
                  <a:pos x="908" y="28"/>
                </a:cxn>
                <a:cxn ang="0">
                  <a:pos x="914" y="40"/>
                </a:cxn>
                <a:cxn ang="0">
                  <a:pos x="920" y="56"/>
                </a:cxn>
                <a:cxn ang="0">
                  <a:pos x="922" y="72"/>
                </a:cxn>
                <a:cxn ang="0">
                  <a:pos x="918" y="100"/>
                </a:cxn>
                <a:cxn ang="0">
                  <a:pos x="914" y="114"/>
                </a:cxn>
                <a:cxn ang="0">
                  <a:pos x="912" y="124"/>
                </a:cxn>
                <a:cxn ang="0">
                  <a:pos x="910" y="130"/>
                </a:cxn>
                <a:cxn ang="0">
                  <a:pos x="908" y="134"/>
                </a:cxn>
                <a:cxn ang="0">
                  <a:pos x="60" y="529"/>
                </a:cxn>
                <a:cxn ang="0">
                  <a:pos x="64" y="511"/>
                </a:cxn>
                <a:cxn ang="0">
                  <a:pos x="68" y="499"/>
                </a:cxn>
                <a:cxn ang="0">
                  <a:pos x="72" y="479"/>
                </a:cxn>
                <a:cxn ang="0">
                  <a:pos x="74" y="469"/>
                </a:cxn>
                <a:cxn ang="0">
                  <a:pos x="72" y="455"/>
                </a:cxn>
                <a:cxn ang="0">
                  <a:pos x="70" y="439"/>
                </a:cxn>
                <a:cxn ang="0">
                  <a:pos x="64" y="419"/>
                </a:cxn>
                <a:cxn ang="0">
                  <a:pos x="58" y="400"/>
                </a:cxn>
                <a:cxn ang="0">
                  <a:pos x="52" y="384"/>
                </a:cxn>
                <a:cxn ang="0">
                  <a:pos x="46" y="372"/>
                </a:cxn>
                <a:cxn ang="0">
                  <a:pos x="40" y="364"/>
                </a:cxn>
                <a:cxn ang="0">
                  <a:pos x="24" y="354"/>
                </a:cxn>
                <a:cxn ang="0">
                  <a:pos x="12" y="350"/>
                </a:cxn>
                <a:cxn ang="0">
                  <a:pos x="0" y="342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0" y="290"/>
                </a:cxn>
                <a:cxn ang="0">
                  <a:pos x="196" y="264"/>
                </a:cxn>
                <a:cxn ang="0">
                  <a:pos x="268" y="234"/>
                </a:cxn>
                <a:cxn ang="0">
                  <a:pos x="345" y="204"/>
                </a:cxn>
                <a:cxn ang="0">
                  <a:pos x="507" y="138"/>
                </a:cxn>
                <a:cxn ang="0">
                  <a:pos x="585" y="108"/>
                </a:cxn>
                <a:cxn ang="0">
                  <a:pos x="657" y="80"/>
                </a:cxn>
                <a:cxn ang="0">
                  <a:pos x="691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9" y="30"/>
                </a:cxn>
                <a:cxn ang="0">
                  <a:pos x="801" y="22"/>
                </a:cxn>
                <a:cxn ang="0">
                  <a:pos x="821" y="14"/>
                </a:cxn>
                <a:cxn ang="0">
                  <a:pos x="837" y="8"/>
                </a:cxn>
                <a:cxn ang="0">
                  <a:pos x="849" y="4"/>
                </a:cxn>
                <a:cxn ang="0">
                  <a:pos x="855" y="2"/>
                </a:cxn>
                <a:cxn ang="0">
                  <a:pos x="859" y="0"/>
                </a:cxn>
              </a:cxnLst>
              <a:rect l="0" t="0" r="r" b="b"/>
              <a:pathLst>
                <a:path w="922" h="529">
                  <a:moveTo>
                    <a:pt x="859" y="0"/>
                  </a:moveTo>
                  <a:lnTo>
                    <a:pt x="861" y="0"/>
                  </a:lnTo>
                  <a:lnTo>
                    <a:pt x="865" y="2"/>
                  </a:lnTo>
                  <a:lnTo>
                    <a:pt x="881" y="6"/>
                  </a:lnTo>
                  <a:lnTo>
                    <a:pt x="899" y="18"/>
                  </a:lnTo>
                  <a:lnTo>
                    <a:pt x="908" y="28"/>
                  </a:lnTo>
                  <a:lnTo>
                    <a:pt x="914" y="40"/>
                  </a:lnTo>
                  <a:lnTo>
                    <a:pt x="920" y="56"/>
                  </a:lnTo>
                  <a:lnTo>
                    <a:pt x="922" y="72"/>
                  </a:lnTo>
                  <a:lnTo>
                    <a:pt x="918" y="100"/>
                  </a:lnTo>
                  <a:lnTo>
                    <a:pt x="914" y="114"/>
                  </a:lnTo>
                  <a:lnTo>
                    <a:pt x="912" y="124"/>
                  </a:lnTo>
                  <a:lnTo>
                    <a:pt x="910" y="130"/>
                  </a:lnTo>
                  <a:lnTo>
                    <a:pt x="908" y="134"/>
                  </a:lnTo>
                  <a:lnTo>
                    <a:pt x="60" y="529"/>
                  </a:lnTo>
                  <a:lnTo>
                    <a:pt x="64" y="511"/>
                  </a:lnTo>
                  <a:lnTo>
                    <a:pt x="68" y="499"/>
                  </a:lnTo>
                  <a:lnTo>
                    <a:pt x="72" y="479"/>
                  </a:lnTo>
                  <a:lnTo>
                    <a:pt x="74" y="469"/>
                  </a:lnTo>
                  <a:lnTo>
                    <a:pt x="72" y="455"/>
                  </a:lnTo>
                  <a:lnTo>
                    <a:pt x="70" y="439"/>
                  </a:lnTo>
                  <a:lnTo>
                    <a:pt x="64" y="419"/>
                  </a:lnTo>
                  <a:lnTo>
                    <a:pt x="58" y="400"/>
                  </a:lnTo>
                  <a:lnTo>
                    <a:pt x="52" y="384"/>
                  </a:lnTo>
                  <a:lnTo>
                    <a:pt x="46" y="372"/>
                  </a:lnTo>
                  <a:lnTo>
                    <a:pt x="40" y="364"/>
                  </a:lnTo>
                  <a:lnTo>
                    <a:pt x="24" y="354"/>
                  </a:lnTo>
                  <a:lnTo>
                    <a:pt x="12" y="350"/>
                  </a:lnTo>
                  <a:lnTo>
                    <a:pt x="0" y="342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0" y="290"/>
                  </a:lnTo>
                  <a:lnTo>
                    <a:pt x="196" y="264"/>
                  </a:lnTo>
                  <a:lnTo>
                    <a:pt x="268" y="234"/>
                  </a:lnTo>
                  <a:lnTo>
                    <a:pt x="345" y="204"/>
                  </a:lnTo>
                  <a:lnTo>
                    <a:pt x="507" y="138"/>
                  </a:lnTo>
                  <a:lnTo>
                    <a:pt x="585" y="108"/>
                  </a:lnTo>
                  <a:lnTo>
                    <a:pt x="657" y="80"/>
                  </a:lnTo>
                  <a:lnTo>
                    <a:pt x="691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9" y="30"/>
                  </a:lnTo>
                  <a:lnTo>
                    <a:pt x="801" y="22"/>
                  </a:lnTo>
                  <a:lnTo>
                    <a:pt x="821" y="14"/>
                  </a:lnTo>
                  <a:lnTo>
                    <a:pt x="837" y="8"/>
                  </a:lnTo>
                  <a:lnTo>
                    <a:pt x="849" y="4"/>
                  </a:lnTo>
                  <a:lnTo>
                    <a:pt x="855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7B5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6" name="Freeform 313"/>
            <p:cNvSpPr>
              <a:spLocks/>
            </p:cNvSpPr>
            <p:nvPr/>
          </p:nvSpPr>
          <p:spPr bwMode="auto">
            <a:xfrm flipH="1">
              <a:off x="4777" y="2912"/>
              <a:ext cx="461" cy="262"/>
            </a:xfrm>
            <a:custGeom>
              <a:avLst/>
              <a:gdLst/>
              <a:ahLst/>
              <a:cxnLst>
                <a:cxn ang="0">
                  <a:pos x="859" y="0"/>
                </a:cxn>
                <a:cxn ang="0">
                  <a:pos x="861" y="0"/>
                </a:cxn>
                <a:cxn ang="0">
                  <a:pos x="865" y="2"/>
                </a:cxn>
                <a:cxn ang="0">
                  <a:pos x="883" y="4"/>
                </a:cxn>
                <a:cxn ang="0">
                  <a:pos x="898" y="18"/>
                </a:cxn>
                <a:cxn ang="0">
                  <a:pos x="908" y="26"/>
                </a:cxn>
                <a:cxn ang="0">
                  <a:pos x="914" y="38"/>
                </a:cxn>
                <a:cxn ang="0">
                  <a:pos x="918" y="54"/>
                </a:cxn>
                <a:cxn ang="0">
                  <a:pos x="920" y="68"/>
                </a:cxn>
                <a:cxn ang="0">
                  <a:pos x="916" y="98"/>
                </a:cxn>
                <a:cxn ang="0">
                  <a:pos x="914" y="110"/>
                </a:cxn>
                <a:cxn ang="0">
                  <a:pos x="910" y="120"/>
                </a:cxn>
                <a:cxn ang="0">
                  <a:pos x="908" y="128"/>
                </a:cxn>
                <a:cxn ang="0">
                  <a:pos x="908" y="130"/>
                </a:cxn>
                <a:cxn ang="0">
                  <a:pos x="58" y="523"/>
                </a:cxn>
                <a:cxn ang="0">
                  <a:pos x="64" y="505"/>
                </a:cxn>
                <a:cxn ang="0">
                  <a:pos x="70" y="483"/>
                </a:cxn>
                <a:cxn ang="0">
                  <a:pos x="72" y="475"/>
                </a:cxn>
                <a:cxn ang="0">
                  <a:pos x="74" y="465"/>
                </a:cxn>
                <a:cxn ang="0">
                  <a:pos x="72" y="453"/>
                </a:cxn>
                <a:cxn ang="0">
                  <a:pos x="68" y="437"/>
                </a:cxn>
                <a:cxn ang="0">
                  <a:pos x="64" y="417"/>
                </a:cxn>
                <a:cxn ang="0">
                  <a:pos x="56" y="398"/>
                </a:cxn>
                <a:cxn ang="0">
                  <a:pos x="52" y="382"/>
                </a:cxn>
                <a:cxn ang="0">
                  <a:pos x="46" y="370"/>
                </a:cxn>
                <a:cxn ang="0">
                  <a:pos x="38" y="364"/>
                </a:cxn>
                <a:cxn ang="0">
                  <a:pos x="22" y="352"/>
                </a:cxn>
                <a:cxn ang="0">
                  <a:pos x="12" y="348"/>
                </a:cxn>
                <a:cxn ang="0">
                  <a:pos x="0" y="342"/>
                </a:cxn>
                <a:cxn ang="0">
                  <a:pos x="2" y="340"/>
                </a:cxn>
                <a:cxn ang="0">
                  <a:pos x="8" y="338"/>
                </a:cxn>
                <a:cxn ang="0">
                  <a:pos x="20" y="332"/>
                </a:cxn>
                <a:cxn ang="0">
                  <a:pos x="36" y="326"/>
                </a:cxn>
                <a:cxn ang="0">
                  <a:pos x="56" y="318"/>
                </a:cxn>
                <a:cxn ang="0">
                  <a:pos x="78" y="310"/>
                </a:cxn>
                <a:cxn ang="0">
                  <a:pos x="104" y="298"/>
                </a:cxn>
                <a:cxn ang="0">
                  <a:pos x="134" y="288"/>
                </a:cxn>
                <a:cxn ang="0">
                  <a:pos x="164" y="274"/>
                </a:cxn>
                <a:cxn ang="0">
                  <a:pos x="198" y="262"/>
                </a:cxn>
                <a:cxn ang="0">
                  <a:pos x="271" y="232"/>
                </a:cxn>
                <a:cxn ang="0">
                  <a:pos x="349" y="202"/>
                </a:cxn>
                <a:cxn ang="0">
                  <a:pos x="427" y="170"/>
                </a:cxn>
                <a:cxn ang="0">
                  <a:pos x="507" y="138"/>
                </a:cxn>
                <a:cxn ang="0">
                  <a:pos x="585" y="106"/>
                </a:cxn>
                <a:cxn ang="0">
                  <a:pos x="657" y="80"/>
                </a:cxn>
                <a:cxn ang="0">
                  <a:pos x="693" y="64"/>
                </a:cxn>
                <a:cxn ang="0">
                  <a:pos x="725" y="54"/>
                </a:cxn>
                <a:cxn ang="0">
                  <a:pos x="753" y="42"/>
                </a:cxn>
                <a:cxn ang="0">
                  <a:pos x="779" y="30"/>
                </a:cxn>
                <a:cxn ang="0">
                  <a:pos x="803" y="22"/>
                </a:cxn>
                <a:cxn ang="0">
                  <a:pos x="821" y="14"/>
                </a:cxn>
                <a:cxn ang="0">
                  <a:pos x="839" y="8"/>
                </a:cxn>
                <a:cxn ang="0">
                  <a:pos x="849" y="2"/>
                </a:cxn>
                <a:cxn ang="0">
                  <a:pos x="857" y="2"/>
                </a:cxn>
                <a:cxn ang="0">
                  <a:pos x="859" y="0"/>
                </a:cxn>
              </a:cxnLst>
              <a:rect l="0" t="0" r="r" b="b"/>
              <a:pathLst>
                <a:path w="920" h="523">
                  <a:moveTo>
                    <a:pt x="859" y="0"/>
                  </a:moveTo>
                  <a:lnTo>
                    <a:pt x="861" y="0"/>
                  </a:lnTo>
                  <a:lnTo>
                    <a:pt x="865" y="2"/>
                  </a:lnTo>
                  <a:lnTo>
                    <a:pt x="883" y="4"/>
                  </a:lnTo>
                  <a:lnTo>
                    <a:pt x="898" y="18"/>
                  </a:lnTo>
                  <a:lnTo>
                    <a:pt x="908" y="26"/>
                  </a:lnTo>
                  <a:lnTo>
                    <a:pt x="914" y="38"/>
                  </a:lnTo>
                  <a:lnTo>
                    <a:pt x="918" y="54"/>
                  </a:lnTo>
                  <a:lnTo>
                    <a:pt x="920" y="68"/>
                  </a:lnTo>
                  <a:lnTo>
                    <a:pt x="916" y="98"/>
                  </a:lnTo>
                  <a:lnTo>
                    <a:pt x="914" y="110"/>
                  </a:lnTo>
                  <a:lnTo>
                    <a:pt x="910" y="120"/>
                  </a:lnTo>
                  <a:lnTo>
                    <a:pt x="908" y="128"/>
                  </a:lnTo>
                  <a:lnTo>
                    <a:pt x="908" y="130"/>
                  </a:lnTo>
                  <a:lnTo>
                    <a:pt x="58" y="523"/>
                  </a:lnTo>
                  <a:lnTo>
                    <a:pt x="64" y="505"/>
                  </a:lnTo>
                  <a:lnTo>
                    <a:pt x="70" y="483"/>
                  </a:lnTo>
                  <a:lnTo>
                    <a:pt x="72" y="475"/>
                  </a:lnTo>
                  <a:lnTo>
                    <a:pt x="74" y="465"/>
                  </a:lnTo>
                  <a:lnTo>
                    <a:pt x="72" y="453"/>
                  </a:lnTo>
                  <a:lnTo>
                    <a:pt x="68" y="437"/>
                  </a:lnTo>
                  <a:lnTo>
                    <a:pt x="64" y="417"/>
                  </a:lnTo>
                  <a:lnTo>
                    <a:pt x="56" y="398"/>
                  </a:lnTo>
                  <a:lnTo>
                    <a:pt x="52" y="382"/>
                  </a:lnTo>
                  <a:lnTo>
                    <a:pt x="46" y="370"/>
                  </a:lnTo>
                  <a:lnTo>
                    <a:pt x="38" y="364"/>
                  </a:lnTo>
                  <a:lnTo>
                    <a:pt x="22" y="352"/>
                  </a:lnTo>
                  <a:lnTo>
                    <a:pt x="12" y="348"/>
                  </a:lnTo>
                  <a:lnTo>
                    <a:pt x="0" y="342"/>
                  </a:lnTo>
                  <a:lnTo>
                    <a:pt x="2" y="340"/>
                  </a:lnTo>
                  <a:lnTo>
                    <a:pt x="8" y="338"/>
                  </a:lnTo>
                  <a:lnTo>
                    <a:pt x="20" y="332"/>
                  </a:lnTo>
                  <a:lnTo>
                    <a:pt x="36" y="326"/>
                  </a:lnTo>
                  <a:lnTo>
                    <a:pt x="56" y="318"/>
                  </a:lnTo>
                  <a:lnTo>
                    <a:pt x="78" y="310"/>
                  </a:lnTo>
                  <a:lnTo>
                    <a:pt x="104" y="298"/>
                  </a:lnTo>
                  <a:lnTo>
                    <a:pt x="134" y="288"/>
                  </a:lnTo>
                  <a:lnTo>
                    <a:pt x="164" y="274"/>
                  </a:lnTo>
                  <a:lnTo>
                    <a:pt x="198" y="262"/>
                  </a:lnTo>
                  <a:lnTo>
                    <a:pt x="271" y="232"/>
                  </a:lnTo>
                  <a:lnTo>
                    <a:pt x="349" y="202"/>
                  </a:lnTo>
                  <a:lnTo>
                    <a:pt x="427" y="170"/>
                  </a:lnTo>
                  <a:lnTo>
                    <a:pt x="507" y="138"/>
                  </a:lnTo>
                  <a:lnTo>
                    <a:pt x="585" y="106"/>
                  </a:lnTo>
                  <a:lnTo>
                    <a:pt x="657" y="80"/>
                  </a:lnTo>
                  <a:lnTo>
                    <a:pt x="693" y="64"/>
                  </a:lnTo>
                  <a:lnTo>
                    <a:pt x="725" y="54"/>
                  </a:lnTo>
                  <a:lnTo>
                    <a:pt x="753" y="42"/>
                  </a:lnTo>
                  <a:lnTo>
                    <a:pt x="779" y="30"/>
                  </a:lnTo>
                  <a:lnTo>
                    <a:pt x="803" y="22"/>
                  </a:lnTo>
                  <a:lnTo>
                    <a:pt x="821" y="14"/>
                  </a:lnTo>
                  <a:lnTo>
                    <a:pt x="839" y="8"/>
                  </a:lnTo>
                  <a:lnTo>
                    <a:pt x="849" y="2"/>
                  </a:lnTo>
                  <a:lnTo>
                    <a:pt x="857" y="2"/>
                  </a:lnTo>
                  <a:lnTo>
                    <a:pt x="859" y="0"/>
                  </a:lnTo>
                  <a:close/>
                </a:path>
              </a:pathLst>
            </a:custGeom>
            <a:solidFill>
              <a:srgbClr val="DCBE1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7" name="Freeform 314"/>
            <p:cNvSpPr>
              <a:spLocks/>
            </p:cNvSpPr>
            <p:nvPr/>
          </p:nvSpPr>
          <p:spPr bwMode="auto">
            <a:xfrm flipH="1">
              <a:off x="4777" y="2912"/>
              <a:ext cx="459" cy="260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3" y="2"/>
                </a:cxn>
                <a:cxn ang="0">
                  <a:pos x="879" y="6"/>
                </a:cxn>
                <a:cxn ang="0">
                  <a:pos x="894" y="18"/>
                </a:cxn>
                <a:cxn ang="0">
                  <a:pos x="904" y="28"/>
                </a:cxn>
                <a:cxn ang="0">
                  <a:pos x="910" y="38"/>
                </a:cxn>
                <a:cxn ang="0">
                  <a:pos x="914" y="52"/>
                </a:cxn>
                <a:cxn ang="0">
                  <a:pos x="916" y="66"/>
                </a:cxn>
                <a:cxn ang="0">
                  <a:pos x="912" y="96"/>
                </a:cxn>
                <a:cxn ang="0">
                  <a:pos x="912" y="106"/>
                </a:cxn>
                <a:cxn ang="0">
                  <a:pos x="908" y="118"/>
                </a:cxn>
                <a:cxn ang="0">
                  <a:pos x="906" y="124"/>
                </a:cxn>
                <a:cxn ang="0">
                  <a:pos x="904" y="126"/>
                </a:cxn>
                <a:cxn ang="0">
                  <a:pos x="56" y="519"/>
                </a:cxn>
                <a:cxn ang="0">
                  <a:pos x="60" y="503"/>
                </a:cxn>
                <a:cxn ang="0">
                  <a:pos x="64" y="489"/>
                </a:cxn>
                <a:cxn ang="0">
                  <a:pos x="68" y="473"/>
                </a:cxn>
                <a:cxn ang="0">
                  <a:pos x="70" y="465"/>
                </a:cxn>
                <a:cxn ang="0">
                  <a:pos x="68" y="453"/>
                </a:cxn>
                <a:cxn ang="0">
                  <a:pos x="64" y="437"/>
                </a:cxn>
                <a:cxn ang="0">
                  <a:pos x="60" y="417"/>
                </a:cxn>
                <a:cxn ang="0">
                  <a:pos x="52" y="398"/>
                </a:cxn>
                <a:cxn ang="0">
                  <a:pos x="48" y="382"/>
                </a:cxn>
                <a:cxn ang="0">
                  <a:pos x="42" y="372"/>
                </a:cxn>
                <a:cxn ang="0">
                  <a:pos x="36" y="364"/>
                </a:cxn>
                <a:cxn ang="0">
                  <a:pos x="20" y="352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4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5" y="106"/>
                </a:cxn>
                <a:cxn ang="0">
                  <a:pos x="655" y="80"/>
                </a:cxn>
                <a:cxn ang="0">
                  <a:pos x="689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801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2"/>
                </a:cxn>
                <a:cxn ang="0">
                  <a:pos x="857" y="0"/>
                </a:cxn>
              </a:cxnLst>
              <a:rect l="0" t="0" r="r" b="b"/>
              <a:pathLst>
                <a:path w="916" h="519">
                  <a:moveTo>
                    <a:pt x="857" y="0"/>
                  </a:moveTo>
                  <a:lnTo>
                    <a:pt x="859" y="0"/>
                  </a:lnTo>
                  <a:lnTo>
                    <a:pt x="863" y="2"/>
                  </a:lnTo>
                  <a:lnTo>
                    <a:pt x="879" y="6"/>
                  </a:lnTo>
                  <a:lnTo>
                    <a:pt x="894" y="18"/>
                  </a:lnTo>
                  <a:lnTo>
                    <a:pt x="904" y="28"/>
                  </a:lnTo>
                  <a:lnTo>
                    <a:pt x="910" y="38"/>
                  </a:lnTo>
                  <a:lnTo>
                    <a:pt x="914" y="52"/>
                  </a:lnTo>
                  <a:lnTo>
                    <a:pt x="916" y="66"/>
                  </a:lnTo>
                  <a:lnTo>
                    <a:pt x="912" y="96"/>
                  </a:lnTo>
                  <a:lnTo>
                    <a:pt x="912" y="106"/>
                  </a:lnTo>
                  <a:lnTo>
                    <a:pt x="908" y="118"/>
                  </a:lnTo>
                  <a:lnTo>
                    <a:pt x="906" y="124"/>
                  </a:lnTo>
                  <a:lnTo>
                    <a:pt x="904" y="126"/>
                  </a:lnTo>
                  <a:lnTo>
                    <a:pt x="56" y="519"/>
                  </a:lnTo>
                  <a:lnTo>
                    <a:pt x="60" y="503"/>
                  </a:lnTo>
                  <a:lnTo>
                    <a:pt x="64" y="489"/>
                  </a:lnTo>
                  <a:lnTo>
                    <a:pt x="68" y="473"/>
                  </a:lnTo>
                  <a:lnTo>
                    <a:pt x="70" y="465"/>
                  </a:lnTo>
                  <a:lnTo>
                    <a:pt x="68" y="453"/>
                  </a:lnTo>
                  <a:lnTo>
                    <a:pt x="64" y="437"/>
                  </a:lnTo>
                  <a:lnTo>
                    <a:pt x="60" y="417"/>
                  </a:lnTo>
                  <a:lnTo>
                    <a:pt x="52" y="398"/>
                  </a:lnTo>
                  <a:lnTo>
                    <a:pt x="48" y="382"/>
                  </a:lnTo>
                  <a:lnTo>
                    <a:pt x="42" y="372"/>
                  </a:lnTo>
                  <a:lnTo>
                    <a:pt x="36" y="364"/>
                  </a:lnTo>
                  <a:lnTo>
                    <a:pt x="20" y="352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4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5" y="106"/>
                  </a:lnTo>
                  <a:lnTo>
                    <a:pt x="655" y="80"/>
                  </a:lnTo>
                  <a:lnTo>
                    <a:pt x="689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801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2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1C81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8" name="Freeform 315"/>
            <p:cNvSpPr>
              <a:spLocks/>
            </p:cNvSpPr>
            <p:nvPr/>
          </p:nvSpPr>
          <p:spPr bwMode="auto">
            <a:xfrm flipH="1">
              <a:off x="4778" y="2912"/>
              <a:ext cx="457" cy="258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3" y="2"/>
                </a:cxn>
                <a:cxn ang="0">
                  <a:pos x="877" y="6"/>
                </a:cxn>
                <a:cxn ang="0">
                  <a:pos x="892" y="18"/>
                </a:cxn>
                <a:cxn ang="0">
                  <a:pos x="900" y="26"/>
                </a:cxn>
                <a:cxn ang="0">
                  <a:pos x="906" y="38"/>
                </a:cxn>
                <a:cxn ang="0">
                  <a:pos x="910" y="50"/>
                </a:cxn>
                <a:cxn ang="0">
                  <a:pos x="912" y="66"/>
                </a:cxn>
                <a:cxn ang="0">
                  <a:pos x="910" y="92"/>
                </a:cxn>
                <a:cxn ang="0">
                  <a:pos x="906" y="114"/>
                </a:cxn>
                <a:cxn ang="0">
                  <a:pos x="904" y="120"/>
                </a:cxn>
                <a:cxn ang="0">
                  <a:pos x="904" y="122"/>
                </a:cxn>
                <a:cxn ang="0">
                  <a:pos x="54" y="515"/>
                </a:cxn>
                <a:cxn ang="0">
                  <a:pos x="58" y="499"/>
                </a:cxn>
                <a:cxn ang="0">
                  <a:pos x="62" y="487"/>
                </a:cxn>
                <a:cxn ang="0">
                  <a:pos x="64" y="477"/>
                </a:cxn>
                <a:cxn ang="0">
                  <a:pos x="66" y="471"/>
                </a:cxn>
                <a:cxn ang="0">
                  <a:pos x="66" y="461"/>
                </a:cxn>
                <a:cxn ang="0">
                  <a:pos x="64" y="451"/>
                </a:cxn>
                <a:cxn ang="0">
                  <a:pos x="62" y="437"/>
                </a:cxn>
                <a:cxn ang="0">
                  <a:pos x="56" y="415"/>
                </a:cxn>
                <a:cxn ang="0">
                  <a:pos x="50" y="396"/>
                </a:cxn>
                <a:cxn ang="0">
                  <a:pos x="44" y="382"/>
                </a:cxn>
                <a:cxn ang="0">
                  <a:pos x="40" y="370"/>
                </a:cxn>
                <a:cxn ang="0">
                  <a:pos x="34" y="362"/>
                </a:cxn>
                <a:cxn ang="0">
                  <a:pos x="20" y="352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8" y="338"/>
                </a:cxn>
                <a:cxn ang="0">
                  <a:pos x="18" y="336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6" y="310"/>
                </a:cxn>
                <a:cxn ang="0">
                  <a:pos x="102" y="300"/>
                </a:cxn>
                <a:cxn ang="0">
                  <a:pos x="132" y="290"/>
                </a:cxn>
                <a:cxn ang="0">
                  <a:pos x="162" y="276"/>
                </a:cxn>
                <a:cxn ang="0">
                  <a:pos x="196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3" y="108"/>
                </a:cxn>
                <a:cxn ang="0">
                  <a:pos x="655" y="80"/>
                </a:cxn>
                <a:cxn ang="0">
                  <a:pos x="689" y="66"/>
                </a:cxn>
                <a:cxn ang="0">
                  <a:pos x="723" y="54"/>
                </a:cxn>
                <a:cxn ang="0">
                  <a:pos x="751" y="42"/>
                </a:cxn>
                <a:cxn ang="0">
                  <a:pos x="777" y="32"/>
                </a:cxn>
                <a:cxn ang="0">
                  <a:pos x="801" y="24"/>
                </a:cxn>
                <a:cxn ang="0">
                  <a:pos x="819" y="14"/>
                </a:cxn>
                <a:cxn ang="0">
                  <a:pos x="837" y="8"/>
                </a:cxn>
                <a:cxn ang="0">
                  <a:pos x="847" y="4"/>
                </a:cxn>
                <a:cxn ang="0">
                  <a:pos x="853" y="2"/>
                </a:cxn>
                <a:cxn ang="0">
                  <a:pos x="857" y="0"/>
                </a:cxn>
              </a:cxnLst>
              <a:rect l="0" t="0" r="r" b="b"/>
              <a:pathLst>
                <a:path w="912" h="515">
                  <a:moveTo>
                    <a:pt x="857" y="0"/>
                  </a:moveTo>
                  <a:lnTo>
                    <a:pt x="859" y="0"/>
                  </a:lnTo>
                  <a:lnTo>
                    <a:pt x="863" y="2"/>
                  </a:lnTo>
                  <a:lnTo>
                    <a:pt x="877" y="6"/>
                  </a:lnTo>
                  <a:lnTo>
                    <a:pt x="892" y="18"/>
                  </a:lnTo>
                  <a:lnTo>
                    <a:pt x="900" y="26"/>
                  </a:lnTo>
                  <a:lnTo>
                    <a:pt x="906" y="38"/>
                  </a:lnTo>
                  <a:lnTo>
                    <a:pt x="910" y="50"/>
                  </a:lnTo>
                  <a:lnTo>
                    <a:pt x="912" y="66"/>
                  </a:lnTo>
                  <a:lnTo>
                    <a:pt x="910" y="92"/>
                  </a:lnTo>
                  <a:lnTo>
                    <a:pt x="906" y="114"/>
                  </a:lnTo>
                  <a:lnTo>
                    <a:pt x="904" y="120"/>
                  </a:lnTo>
                  <a:lnTo>
                    <a:pt x="904" y="122"/>
                  </a:lnTo>
                  <a:lnTo>
                    <a:pt x="54" y="515"/>
                  </a:lnTo>
                  <a:lnTo>
                    <a:pt x="58" y="499"/>
                  </a:lnTo>
                  <a:lnTo>
                    <a:pt x="62" y="487"/>
                  </a:lnTo>
                  <a:lnTo>
                    <a:pt x="64" y="477"/>
                  </a:lnTo>
                  <a:lnTo>
                    <a:pt x="66" y="471"/>
                  </a:lnTo>
                  <a:lnTo>
                    <a:pt x="66" y="461"/>
                  </a:lnTo>
                  <a:lnTo>
                    <a:pt x="64" y="451"/>
                  </a:lnTo>
                  <a:lnTo>
                    <a:pt x="62" y="437"/>
                  </a:lnTo>
                  <a:lnTo>
                    <a:pt x="56" y="415"/>
                  </a:lnTo>
                  <a:lnTo>
                    <a:pt x="50" y="396"/>
                  </a:lnTo>
                  <a:lnTo>
                    <a:pt x="44" y="382"/>
                  </a:lnTo>
                  <a:lnTo>
                    <a:pt x="40" y="370"/>
                  </a:lnTo>
                  <a:lnTo>
                    <a:pt x="34" y="362"/>
                  </a:lnTo>
                  <a:lnTo>
                    <a:pt x="20" y="352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8" y="338"/>
                  </a:lnTo>
                  <a:lnTo>
                    <a:pt x="18" y="336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6" y="310"/>
                  </a:lnTo>
                  <a:lnTo>
                    <a:pt x="102" y="300"/>
                  </a:lnTo>
                  <a:lnTo>
                    <a:pt x="132" y="290"/>
                  </a:lnTo>
                  <a:lnTo>
                    <a:pt x="162" y="276"/>
                  </a:lnTo>
                  <a:lnTo>
                    <a:pt x="196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3" y="108"/>
                  </a:lnTo>
                  <a:lnTo>
                    <a:pt x="655" y="80"/>
                  </a:lnTo>
                  <a:lnTo>
                    <a:pt x="689" y="66"/>
                  </a:lnTo>
                  <a:lnTo>
                    <a:pt x="723" y="54"/>
                  </a:lnTo>
                  <a:lnTo>
                    <a:pt x="751" y="42"/>
                  </a:lnTo>
                  <a:lnTo>
                    <a:pt x="777" y="32"/>
                  </a:lnTo>
                  <a:lnTo>
                    <a:pt x="801" y="24"/>
                  </a:lnTo>
                  <a:lnTo>
                    <a:pt x="819" y="14"/>
                  </a:lnTo>
                  <a:lnTo>
                    <a:pt x="837" y="8"/>
                  </a:lnTo>
                  <a:lnTo>
                    <a:pt x="847" y="4"/>
                  </a:lnTo>
                  <a:lnTo>
                    <a:pt x="853" y="2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6D11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69" name="Freeform 316"/>
            <p:cNvSpPr>
              <a:spLocks/>
            </p:cNvSpPr>
            <p:nvPr/>
          </p:nvSpPr>
          <p:spPr bwMode="auto">
            <a:xfrm flipH="1">
              <a:off x="4778" y="2912"/>
              <a:ext cx="456" cy="256"/>
            </a:xfrm>
            <a:custGeom>
              <a:avLst/>
              <a:gdLst/>
              <a:ahLst/>
              <a:cxnLst>
                <a:cxn ang="0">
                  <a:pos x="857" y="0"/>
                </a:cxn>
                <a:cxn ang="0">
                  <a:pos x="859" y="0"/>
                </a:cxn>
                <a:cxn ang="0">
                  <a:pos x="861" y="0"/>
                </a:cxn>
                <a:cxn ang="0">
                  <a:pos x="877" y="6"/>
                </a:cxn>
                <a:cxn ang="0">
                  <a:pos x="892" y="18"/>
                </a:cxn>
                <a:cxn ang="0">
                  <a:pos x="898" y="26"/>
                </a:cxn>
                <a:cxn ang="0">
                  <a:pos x="904" y="36"/>
                </a:cxn>
                <a:cxn ang="0">
                  <a:pos x="908" y="50"/>
                </a:cxn>
                <a:cxn ang="0">
                  <a:pos x="910" y="62"/>
                </a:cxn>
                <a:cxn ang="0">
                  <a:pos x="908" y="90"/>
                </a:cxn>
                <a:cxn ang="0">
                  <a:pos x="904" y="112"/>
                </a:cxn>
                <a:cxn ang="0">
                  <a:pos x="902" y="118"/>
                </a:cxn>
                <a:cxn ang="0">
                  <a:pos x="902" y="120"/>
                </a:cxn>
                <a:cxn ang="0">
                  <a:pos x="52" y="511"/>
                </a:cxn>
                <a:cxn ang="0">
                  <a:pos x="56" y="495"/>
                </a:cxn>
                <a:cxn ang="0">
                  <a:pos x="60" y="483"/>
                </a:cxn>
                <a:cxn ang="0">
                  <a:pos x="60" y="475"/>
                </a:cxn>
                <a:cxn ang="0">
                  <a:pos x="62" y="469"/>
                </a:cxn>
                <a:cxn ang="0">
                  <a:pos x="62" y="451"/>
                </a:cxn>
                <a:cxn ang="0">
                  <a:pos x="60" y="435"/>
                </a:cxn>
                <a:cxn ang="0">
                  <a:pos x="54" y="415"/>
                </a:cxn>
                <a:cxn ang="0">
                  <a:pos x="48" y="396"/>
                </a:cxn>
                <a:cxn ang="0">
                  <a:pos x="42" y="382"/>
                </a:cxn>
                <a:cxn ang="0">
                  <a:pos x="38" y="370"/>
                </a:cxn>
                <a:cxn ang="0">
                  <a:pos x="34" y="362"/>
                </a:cxn>
                <a:cxn ang="0">
                  <a:pos x="18" y="352"/>
                </a:cxn>
                <a:cxn ang="0">
                  <a:pos x="0" y="342"/>
                </a:cxn>
                <a:cxn ang="0">
                  <a:pos x="0" y="340"/>
                </a:cxn>
                <a:cxn ang="0">
                  <a:pos x="8" y="338"/>
                </a:cxn>
                <a:cxn ang="0">
                  <a:pos x="18" y="334"/>
                </a:cxn>
                <a:cxn ang="0">
                  <a:pos x="34" y="328"/>
                </a:cxn>
                <a:cxn ang="0">
                  <a:pos x="54" y="320"/>
                </a:cxn>
                <a:cxn ang="0">
                  <a:pos x="78" y="310"/>
                </a:cxn>
                <a:cxn ang="0">
                  <a:pos x="104" y="300"/>
                </a:cxn>
                <a:cxn ang="0">
                  <a:pos x="132" y="288"/>
                </a:cxn>
                <a:cxn ang="0">
                  <a:pos x="164" y="276"/>
                </a:cxn>
                <a:cxn ang="0">
                  <a:pos x="198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5" y="170"/>
                </a:cxn>
                <a:cxn ang="0">
                  <a:pos x="505" y="138"/>
                </a:cxn>
                <a:cxn ang="0">
                  <a:pos x="585" y="106"/>
                </a:cxn>
                <a:cxn ang="0">
                  <a:pos x="655" y="78"/>
                </a:cxn>
                <a:cxn ang="0">
                  <a:pos x="689" y="66"/>
                </a:cxn>
                <a:cxn ang="0">
                  <a:pos x="723" y="52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801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0"/>
                </a:cxn>
                <a:cxn ang="0">
                  <a:pos x="857" y="0"/>
                </a:cxn>
              </a:cxnLst>
              <a:rect l="0" t="0" r="r" b="b"/>
              <a:pathLst>
                <a:path w="910" h="511">
                  <a:moveTo>
                    <a:pt x="857" y="0"/>
                  </a:moveTo>
                  <a:lnTo>
                    <a:pt x="859" y="0"/>
                  </a:lnTo>
                  <a:lnTo>
                    <a:pt x="861" y="0"/>
                  </a:lnTo>
                  <a:lnTo>
                    <a:pt x="877" y="6"/>
                  </a:lnTo>
                  <a:lnTo>
                    <a:pt x="892" y="18"/>
                  </a:lnTo>
                  <a:lnTo>
                    <a:pt x="898" y="26"/>
                  </a:lnTo>
                  <a:lnTo>
                    <a:pt x="904" y="36"/>
                  </a:lnTo>
                  <a:lnTo>
                    <a:pt x="908" y="50"/>
                  </a:lnTo>
                  <a:lnTo>
                    <a:pt x="910" y="62"/>
                  </a:lnTo>
                  <a:lnTo>
                    <a:pt x="908" y="90"/>
                  </a:lnTo>
                  <a:lnTo>
                    <a:pt x="904" y="112"/>
                  </a:lnTo>
                  <a:lnTo>
                    <a:pt x="902" y="118"/>
                  </a:lnTo>
                  <a:lnTo>
                    <a:pt x="902" y="120"/>
                  </a:lnTo>
                  <a:lnTo>
                    <a:pt x="52" y="511"/>
                  </a:lnTo>
                  <a:lnTo>
                    <a:pt x="56" y="495"/>
                  </a:lnTo>
                  <a:lnTo>
                    <a:pt x="60" y="483"/>
                  </a:lnTo>
                  <a:lnTo>
                    <a:pt x="60" y="475"/>
                  </a:lnTo>
                  <a:lnTo>
                    <a:pt x="62" y="469"/>
                  </a:lnTo>
                  <a:lnTo>
                    <a:pt x="62" y="451"/>
                  </a:lnTo>
                  <a:lnTo>
                    <a:pt x="60" y="435"/>
                  </a:lnTo>
                  <a:lnTo>
                    <a:pt x="54" y="415"/>
                  </a:lnTo>
                  <a:lnTo>
                    <a:pt x="48" y="396"/>
                  </a:lnTo>
                  <a:lnTo>
                    <a:pt x="42" y="382"/>
                  </a:lnTo>
                  <a:lnTo>
                    <a:pt x="38" y="370"/>
                  </a:lnTo>
                  <a:lnTo>
                    <a:pt x="34" y="362"/>
                  </a:lnTo>
                  <a:lnTo>
                    <a:pt x="18" y="352"/>
                  </a:lnTo>
                  <a:lnTo>
                    <a:pt x="0" y="342"/>
                  </a:lnTo>
                  <a:lnTo>
                    <a:pt x="0" y="340"/>
                  </a:lnTo>
                  <a:lnTo>
                    <a:pt x="8" y="338"/>
                  </a:lnTo>
                  <a:lnTo>
                    <a:pt x="18" y="334"/>
                  </a:lnTo>
                  <a:lnTo>
                    <a:pt x="34" y="328"/>
                  </a:lnTo>
                  <a:lnTo>
                    <a:pt x="54" y="320"/>
                  </a:lnTo>
                  <a:lnTo>
                    <a:pt x="78" y="310"/>
                  </a:lnTo>
                  <a:lnTo>
                    <a:pt x="104" y="300"/>
                  </a:lnTo>
                  <a:lnTo>
                    <a:pt x="132" y="288"/>
                  </a:lnTo>
                  <a:lnTo>
                    <a:pt x="164" y="276"/>
                  </a:lnTo>
                  <a:lnTo>
                    <a:pt x="198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5" y="170"/>
                  </a:lnTo>
                  <a:lnTo>
                    <a:pt x="505" y="138"/>
                  </a:lnTo>
                  <a:lnTo>
                    <a:pt x="585" y="106"/>
                  </a:lnTo>
                  <a:lnTo>
                    <a:pt x="655" y="78"/>
                  </a:lnTo>
                  <a:lnTo>
                    <a:pt x="689" y="66"/>
                  </a:lnTo>
                  <a:lnTo>
                    <a:pt x="723" y="52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801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0"/>
                  </a:lnTo>
                  <a:lnTo>
                    <a:pt x="857" y="0"/>
                  </a:lnTo>
                  <a:close/>
                </a:path>
              </a:pathLst>
            </a:custGeom>
            <a:solidFill>
              <a:srgbClr val="EBDA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0" name="Freeform 317"/>
            <p:cNvSpPr>
              <a:spLocks/>
            </p:cNvSpPr>
            <p:nvPr/>
          </p:nvSpPr>
          <p:spPr bwMode="auto">
            <a:xfrm flipH="1">
              <a:off x="4777" y="2912"/>
              <a:ext cx="455" cy="255"/>
            </a:xfrm>
            <a:custGeom>
              <a:avLst/>
              <a:gdLst/>
              <a:ahLst/>
              <a:cxnLst>
                <a:cxn ang="0">
                  <a:pos x="855" y="0"/>
                </a:cxn>
                <a:cxn ang="0">
                  <a:pos x="857" y="0"/>
                </a:cxn>
                <a:cxn ang="0">
                  <a:pos x="861" y="2"/>
                </a:cxn>
                <a:cxn ang="0">
                  <a:pos x="875" y="6"/>
                </a:cxn>
                <a:cxn ang="0">
                  <a:pos x="888" y="18"/>
                </a:cxn>
                <a:cxn ang="0">
                  <a:pos x="902" y="38"/>
                </a:cxn>
                <a:cxn ang="0">
                  <a:pos x="906" y="50"/>
                </a:cxn>
                <a:cxn ang="0">
                  <a:pos x="908" y="64"/>
                </a:cxn>
                <a:cxn ang="0">
                  <a:pos x="906" y="90"/>
                </a:cxn>
                <a:cxn ang="0">
                  <a:pos x="902" y="110"/>
                </a:cxn>
                <a:cxn ang="0">
                  <a:pos x="900" y="116"/>
                </a:cxn>
                <a:cxn ang="0">
                  <a:pos x="900" y="118"/>
                </a:cxn>
                <a:cxn ang="0">
                  <a:pos x="52" y="509"/>
                </a:cxn>
                <a:cxn ang="0">
                  <a:pos x="54" y="491"/>
                </a:cxn>
                <a:cxn ang="0">
                  <a:pos x="56" y="481"/>
                </a:cxn>
                <a:cxn ang="0">
                  <a:pos x="58" y="473"/>
                </a:cxn>
                <a:cxn ang="0">
                  <a:pos x="60" y="465"/>
                </a:cxn>
                <a:cxn ang="0">
                  <a:pos x="60" y="449"/>
                </a:cxn>
                <a:cxn ang="0">
                  <a:pos x="56" y="437"/>
                </a:cxn>
                <a:cxn ang="0">
                  <a:pos x="52" y="415"/>
                </a:cxn>
                <a:cxn ang="0">
                  <a:pos x="46" y="396"/>
                </a:cxn>
                <a:cxn ang="0">
                  <a:pos x="40" y="382"/>
                </a:cxn>
                <a:cxn ang="0">
                  <a:pos x="36" y="370"/>
                </a:cxn>
                <a:cxn ang="0">
                  <a:pos x="30" y="364"/>
                </a:cxn>
                <a:cxn ang="0">
                  <a:pos x="18" y="354"/>
                </a:cxn>
                <a:cxn ang="0">
                  <a:pos x="0" y="344"/>
                </a:cxn>
                <a:cxn ang="0">
                  <a:pos x="8" y="340"/>
                </a:cxn>
                <a:cxn ang="0">
                  <a:pos x="18" y="336"/>
                </a:cxn>
                <a:cxn ang="0">
                  <a:pos x="36" y="330"/>
                </a:cxn>
                <a:cxn ang="0">
                  <a:pos x="54" y="322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0" y="290"/>
                </a:cxn>
                <a:cxn ang="0">
                  <a:pos x="164" y="278"/>
                </a:cxn>
                <a:cxn ang="0">
                  <a:pos x="196" y="264"/>
                </a:cxn>
                <a:cxn ang="0">
                  <a:pos x="267" y="234"/>
                </a:cxn>
                <a:cxn ang="0">
                  <a:pos x="345" y="204"/>
                </a:cxn>
                <a:cxn ang="0">
                  <a:pos x="423" y="172"/>
                </a:cxn>
                <a:cxn ang="0">
                  <a:pos x="505" y="140"/>
                </a:cxn>
                <a:cxn ang="0">
                  <a:pos x="583" y="110"/>
                </a:cxn>
                <a:cxn ang="0">
                  <a:pos x="655" y="80"/>
                </a:cxn>
                <a:cxn ang="0">
                  <a:pos x="721" y="54"/>
                </a:cxn>
                <a:cxn ang="0">
                  <a:pos x="749" y="42"/>
                </a:cxn>
                <a:cxn ang="0">
                  <a:pos x="775" y="32"/>
                </a:cxn>
                <a:cxn ang="0">
                  <a:pos x="799" y="24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5" y="4"/>
                </a:cxn>
                <a:cxn ang="0">
                  <a:pos x="853" y="2"/>
                </a:cxn>
                <a:cxn ang="0">
                  <a:pos x="855" y="0"/>
                </a:cxn>
              </a:cxnLst>
              <a:rect l="0" t="0" r="r" b="b"/>
              <a:pathLst>
                <a:path w="908" h="509">
                  <a:moveTo>
                    <a:pt x="855" y="0"/>
                  </a:moveTo>
                  <a:lnTo>
                    <a:pt x="857" y="0"/>
                  </a:lnTo>
                  <a:lnTo>
                    <a:pt x="861" y="2"/>
                  </a:lnTo>
                  <a:lnTo>
                    <a:pt x="875" y="6"/>
                  </a:lnTo>
                  <a:lnTo>
                    <a:pt x="888" y="18"/>
                  </a:lnTo>
                  <a:lnTo>
                    <a:pt x="902" y="38"/>
                  </a:lnTo>
                  <a:lnTo>
                    <a:pt x="906" y="50"/>
                  </a:lnTo>
                  <a:lnTo>
                    <a:pt x="908" y="64"/>
                  </a:lnTo>
                  <a:lnTo>
                    <a:pt x="906" y="90"/>
                  </a:lnTo>
                  <a:lnTo>
                    <a:pt x="902" y="110"/>
                  </a:lnTo>
                  <a:lnTo>
                    <a:pt x="900" y="116"/>
                  </a:lnTo>
                  <a:lnTo>
                    <a:pt x="900" y="118"/>
                  </a:lnTo>
                  <a:lnTo>
                    <a:pt x="52" y="509"/>
                  </a:lnTo>
                  <a:lnTo>
                    <a:pt x="54" y="491"/>
                  </a:lnTo>
                  <a:lnTo>
                    <a:pt x="56" y="481"/>
                  </a:lnTo>
                  <a:lnTo>
                    <a:pt x="58" y="473"/>
                  </a:lnTo>
                  <a:lnTo>
                    <a:pt x="60" y="465"/>
                  </a:lnTo>
                  <a:lnTo>
                    <a:pt x="60" y="449"/>
                  </a:lnTo>
                  <a:lnTo>
                    <a:pt x="56" y="437"/>
                  </a:lnTo>
                  <a:lnTo>
                    <a:pt x="52" y="415"/>
                  </a:lnTo>
                  <a:lnTo>
                    <a:pt x="46" y="396"/>
                  </a:lnTo>
                  <a:lnTo>
                    <a:pt x="40" y="382"/>
                  </a:lnTo>
                  <a:lnTo>
                    <a:pt x="36" y="370"/>
                  </a:lnTo>
                  <a:lnTo>
                    <a:pt x="30" y="364"/>
                  </a:lnTo>
                  <a:lnTo>
                    <a:pt x="18" y="354"/>
                  </a:lnTo>
                  <a:lnTo>
                    <a:pt x="0" y="344"/>
                  </a:lnTo>
                  <a:lnTo>
                    <a:pt x="8" y="340"/>
                  </a:lnTo>
                  <a:lnTo>
                    <a:pt x="18" y="336"/>
                  </a:lnTo>
                  <a:lnTo>
                    <a:pt x="36" y="330"/>
                  </a:lnTo>
                  <a:lnTo>
                    <a:pt x="54" y="322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0" y="290"/>
                  </a:lnTo>
                  <a:lnTo>
                    <a:pt x="164" y="278"/>
                  </a:lnTo>
                  <a:lnTo>
                    <a:pt x="196" y="264"/>
                  </a:lnTo>
                  <a:lnTo>
                    <a:pt x="267" y="234"/>
                  </a:lnTo>
                  <a:lnTo>
                    <a:pt x="345" y="204"/>
                  </a:lnTo>
                  <a:lnTo>
                    <a:pt x="423" y="172"/>
                  </a:lnTo>
                  <a:lnTo>
                    <a:pt x="505" y="140"/>
                  </a:lnTo>
                  <a:lnTo>
                    <a:pt x="583" y="110"/>
                  </a:lnTo>
                  <a:lnTo>
                    <a:pt x="655" y="80"/>
                  </a:lnTo>
                  <a:lnTo>
                    <a:pt x="721" y="54"/>
                  </a:lnTo>
                  <a:lnTo>
                    <a:pt x="749" y="42"/>
                  </a:lnTo>
                  <a:lnTo>
                    <a:pt x="775" y="32"/>
                  </a:lnTo>
                  <a:lnTo>
                    <a:pt x="799" y="24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5" y="4"/>
                  </a:lnTo>
                  <a:lnTo>
                    <a:pt x="853" y="2"/>
                  </a:lnTo>
                  <a:lnTo>
                    <a:pt x="855" y="0"/>
                  </a:lnTo>
                  <a:close/>
                </a:path>
              </a:pathLst>
            </a:custGeom>
            <a:solidFill>
              <a:srgbClr val="F0E30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1" name="Freeform 318"/>
            <p:cNvSpPr>
              <a:spLocks/>
            </p:cNvSpPr>
            <p:nvPr/>
          </p:nvSpPr>
          <p:spPr bwMode="auto">
            <a:xfrm flipH="1">
              <a:off x="4777" y="2913"/>
              <a:ext cx="453" cy="252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5" y="0"/>
                </a:cxn>
                <a:cxn ang="0">
                  <a:pos x="857" y="2"/>
                </a:cxn>
                <a:cxn ang="0">
                  <a:pos x="871" y="6"/>
                </a:cxn>
                <a:cxn ang="0">
                  <a:pos x="886" y="18"/>
                </a:cxn>
                <a:cxn ang="0">
                  <a:pos x="892" y="26"/>
                </a:cxn>
                <a:cxn ang="0">
                  <a:pos x="898" y="36"/>
                </a:cxn>
                <a:cxn ang="0">
                  <a:pos x="902" y="48"/>
                </a:cxn>
                <a:cxn ang="0">
                  <a:pos x="904" y="60"/>
                </a:cxn>
                <a:cxn ang="0">
                  <a:pos x="902" y="84"/>
                </a:cxn>
                <a:cxn ang="0">
                  <a:pos x="900" y="104"/>
                </a:cxn>
                <a:cxn ang="0">
                  <a:pos x="898" y="110"/>
                </a:cxn>
                <a:cxn ang="0">
                  <a:pos x="898" y="112"/>
                </a:cxn>
                <a:cxn ang="0">
                  <a:pos x="48" y="503"/>
                </a:cxn>
                <a:cxn ang="0">
                  <a:pos x="52" y="487"/>
                </a:cxn>
                <a:cxn ang="0">
                  <a:pos x="54" y="475"/>
                </a:cxn>
                <a:cxn ang="0">
                  <a:pos x="56" y="463"/>
                </a:cxn>
                <a:cxn ang="0">
                  <a:pos x="56" y="447"/>
                </a:cxn>
                <a:cxn ang="0">
                  <a:pos x="54" y="433"/>
                </a:cxn>
                <a:cxn ang="0">
                  <a:pos x="48" y="413"/>
                </a:cxn>
                <a:cxn ang="0">
                  <a:pos x="44" y="394"/>
                </a:cxn>
                <a:cxn ang="0">
                  <a:pos x="36" y="380"/>
                </a:cxn>
                <a:cxn ang="0">
                  <a:pos x="34" y="370"/>
                </a:cxn>
                <a:cxn ang="0">
                  <a:pos x="28" y="362"/>
                </a:cxn>
                <a:cxn ang="0">
                  <a:pos x="16" y="352"/>
                </a:cxn>
                <a:cxn ang="0">
                  <a:pos x="10" y="350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8" y="340"/>
                </a:cxn>
                <a:cxn ang="0">
                  <a:pos x="20" y="334"/>
                </a:cxn>
                <a:cxn ang="0">
                  <a:pos x="36" y="328"/>
                </a:cxn>
                <a:cxn ang="0">
                  <a:pos x="54" y="320"/>
                </a:cxn>
                <a:cxn ang="0">
                  <a:pos x="78" y="312"/>
                </a:cxn>
                <a:cxn ang="0">
                  <a:pos x="104" y="300"/>
                </a:cxn>
                <a:cxn ang="0">
                  <a:pos x="132" y="290"/>
                </a:cxn>
                <a:cxn ang="0">
                  <a:pos x="162" y="276"/>
                </a:cxn>
                <a:cxn ang="0">
                  <a:pos x="196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3" y="170"/>
                </a:cxn>
                <a:cxn ang="0">
                  <a:pos x="503" y="140"/>
                </a:cxn>
                <a:cxn ang="0">
                  <a:pos x="581" y="108"/>
                </a:cxn>
                <a:cxn ang="0">
                  <a:pos x="653" y="80"/>
                </a:cxn>
                <a:cxn ang="0">
                  <a:pos x="687" y="66"/>
                </a:cxn>
                <a:cxn ang="0">
                  <a:pos x="719" y="54"/>
                </a:cxn>
                <a:cxn ang="0">
                  <a:pos x="747" y="42"/>
                </a:cxn>
                <a:cxn ang="0">
                  <a:pos x="773" y="30"/>
                </a:cxn>
                <a:cxn ang="0">
                  <a:pos x="797" y="22"/>
                </a:cxn>
                <a:cxn ang="0">
                  <a:pos x="815" y="14"/>
                </a:cxn>
                <a:cxn ang="0">
                  <a:pos x="831" y="8"/>
                </a:cxn>
                <a:cxn ang="0">
                  <a:pos x="843" y="4"/>
                </a:cxn>
                <a:cxn ang="0">
                  <a:pos x="849" y="2"/>
                </a:cxn>
                <a:cxn ang="0">
                  <a:pos x="853" y="0"/>
                </a:cxn>
              </a:cxnLst>
              <a:rect l="0" t="0" r="r" b="b"/>
              <a:pathLst>
                <a:path w="904" h="503">
                  <a:moveTo>
                    <a:pt x="853" y="0"/>
                  </a:moveTo>
                  <a:lnTo>
                    <a:pt x="855" y="0"/>
                  </a:lnTo>
                  <a:lnTo>
                    <a:pt x="857" y="2"/>
                  </a:lnTo>
                  <a:lnTo>
                    <a:pt x="871" y="6"/>
                  </a:lnTo>
                  <a:lnTo>
                    <a:pt x="886" y="18"/>
                  </a:lnTo>
                  <a:lnTo>
                    <a:pt x="892" y="26"/>
                  </a:lnTo>
                  <a:lnTo>
                    <a:pt x="898" y="36"/>
                  </a:lnTo>
                  <a:lnTo>
                    <a:pt x="902" y="48"/>
                  </a:lnTo>
                  <a:lnTo>
                    <a:pt x="904" y="60"/>
                  </a:lnTo>
                  <a:lnTo>
                    <a:pt x="902" y="84"/>
                  </a:lnTo>
                  <a:lnTo>
                    <a:pt x="900" y="104"/>
                  </a:lnTo>
                  <a:lnTo>
                    <a:pt x="898" y="110"/>
                  </a:lnTo>
                  <a:lnTo>
                    <a:pt x="898" y="112"/>
                  </a:lnTo>
                  <a:lnTo>
                    <a:pt x="48" y="503"/>
                  </a:lnTo>
                  <a:lnTo>
                    <a:pt x="52" y="487"/>
                  </a:lnTo>
                  <a:lnTo>
                    <a:pt x="54" y="475"/>
                  </a:lnTo>
                  <a:lnTo>
                    <a:pt x="56" y="463"/>
                  </a:lnTo>
                  <a:lnTo>
                    <a:pt x="56" y="447"/>
                  </a:lnTo>
                  <a:lnTo>
                    <a:pt x="54" y="433"/>
                  </a:lnTo>
                  <a:lnTo>
                    <a:pt x="48" y="413"/>
                  </a:lnTo>
                  <a:lnTo>
                    <a:pt x="44" y="394"/>
                  </a:lnTo>
                  <a:lnTo>
                    <a:pt x="36" y="380"/>
                  </a:lnTo>
                  <a:lnTo>
                    <a:pt x="34" y="370"/>
                  </a:lnTo>
                  <a:lnTo>
                    <a:pt x="28" y="362"/>
                  </a:lnTo>
                  <a:lnTo>
                    <a:pt x="16" y="352"/>
                  </a:lnTo>
                  <a:lnTo>
                    <a:pt x="10" y="350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8" y="340"/>
                  </a:lnTo>
                  <a:lnTo>
                    <a:pt x="20" y="334"/>
                  </a:lnTo>
                  <a:lnTo>
                    <a:pt x="36" y="328"/>
                  </a:lnTo>
                  <a:lnTo>
                    <a:pt x="54" y="320"/>
                  </a:lnTo>
                  <a:lnTo>
                    <a:pt x="78" y="312"/>
                  </a:lnTo>
                  <a:lnTo>
                    <a:pt x="104" y="300"/>
                  </a:lnTo>
                  <a:lnTo>
                    <a:pt x="132" y="290"/>
                  </a:lnTo>
                  <a:lnTo>
                    <a:pt x="162" y="276"/>
                  </a:lnTo>
                  <a:lnTo>
                    <a:pt x="196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3" y="170"/>
                  </a:lnTo>
                  <a:lnTo>
                    <a:pt x="503" y="140"/>
                  </a:lnTo>
                  <a:lnTo>
                    <a:pt x="581" y="108"/>
                  </a:lnTo>
                  <a:lnTo>
                    <a:pt x="653" y="80"/>
                  </a:lnTo>
                  <a:lnTo>
                    <a:pt x="687" y="66"/>
                  </a:lnTo>
                  <a:lnTo>
                    <a:pt x="719" y="54"/>
                  </a:lnTo>
                  <a:lnTo>
                    <a:pt x="747" y="42"/>
                  </a:lnTo>
                  <a:lnTo>
                    <a:pt x="773" y="30"/>
                  </a:lnTo>
                  <a:lnTo>
                    <a:pt x="797" y="22"/>
                  </a:lnTo>
                  <a:lnTo>
                    <a:pt x="815" y="14"/>
                  </a:lnTo>
                  <a:lnTo>
                    <a:pt x="831" y="8"/>
                  </a:lnTo>
                  <a:lnTo>
                    <a:pt x="843" y="4"/>
                  </a:lnTo>
                  <a:lnTo>
                    <a:pt x="849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5ED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2" name="Freeform 319"/>
            <p:cNvSpPr>
              <a:spLocks/>
            </p:cNvSpPr>
            <p:nvPr/>
          </p:nvSpPr>
          <p:spPr bwMode="auto">
            <a:xfrm flipH="1">
              <a:off x="4778" y="2913"/>
              <a:ext cx="452" cy="250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5" y="0"/>
                </a:cxn>
                <a:cxn ang="0">
                  <a:pos x="859" y="2"/>
                </a:cxn>
                <a:cxn ang="0">
                  <a:pos x="871" y="8"/>
                </a:cxn>
                <a:cxn ang="0">
                  <a:pos x="886" y="18"/>
                </a:cxn>
                <a:cxn ang="0">
                  <a:pos x="892" y="26"/>
                </a:cxn>
                <a:cxn ang="0">
                  <a:pos x="896" y="36"/>
                </a:cxn>
                <a:cxn ang="0">
                  <a:pos x="900" y="48"/>
                </a:cxn>
                <a:cxn ang="0">
                  <a:pos x="902" y="60"/>
                </a:cxn>
                <a:cxn ang="0">
                  <a:pos x="902" y="84"/>
                </a:cxn>
                <a:cxn ang="0">
                  <a:pos x="898" y="104"/>
                </a:cxn>
                <a:cxn ang="0">
                  <a:pos x="896" y="110"/>
                </a:cxn>
                <a:cxn ang="0">
                  <a:pos x="896" y="112"/>
                </a:cxn>
                <a:cxn ang="0">
                  <a:pos x="50" y="499"/>
                </a:cxn>
                <a:cxn ang="0">
                  <a:pos x="52" y="483"/>
                </a:cxn>
                <a:cxn ang="0">
                  <a:pos x="52" y="471"/>
                </a:cxn>
                <a:cxn ang="0">
                  <a:pos x="54" y="465"/>
                </a:cxn>
                <a:cxn ang="0">
                  <a:pos x="54" y="455"/>
                </a:cxn>
                <a:cxn ang="0">
                  <a:pos x="52" y="447"/>
                </a:cxn>
                <a:cxn ang="0">
                  <a:pos x="52" y="433"/>
                </a:cxn>
                <a:cxn ang="0">
                  <a:pos x="46" y="415"/>
                </a:cxn>
                <a:cxn ang="0">
                  <a:pos x="42" y="396"/>
                </a:cxn>
                <a:cxn ang="0">
                  <a:pos x="36" y="382"/>
                </a:cxn>
                <a:cxn ang="0">
                  <a:pos x="32" y="372"/>
                </a:cxn>
                <a:cxn ang="0">
                  <a:pos x="26" y="364"/>
                </a:cxn>
                <a:cxn ang="0">
                  <a:pos x="16" y="356"/>
                </a:cxn>
                <a:cxn ang="0">
                  <a:pos x="0" y="348"/>
                </a:cxn>
                <a:cxn ang="0">
                  <a:pos x="0" y="346"/>
                </a:cxn>
                <a:cxn ang="0">
                  <a:pos x="8" y="342"/>
                </a:cxn>
                <a:cxn ang="0">
                  <a:pos x="18" y="338"/>
                </a:cxn>
                <a:cxn ang="0">
                  <a:pos x="34" y="330"/>
                </a:cxn>
                <a:cxn ang="0">
                  <a:pos x="54" y="322"/>
                </a:cxn>
                <a:cxn ang="0">
                  <a:pos x="78" y="314"/>
                </a:cxn>
                <a:cxn ang="0">
                  <a:pos x="104" y="304"/>
                </a:cxn>
                <a:cxn ang="0">
                  <a:pos x="130" y="292"/>
                </a:cxn>
                <a:cxn ang="0">
                  <a:pos x="162" y="278"/>
                </a:cxn>
                <a:cxn ang="0">
                  <a:pos x="196" y="266"/>
                </a:cxn>
                <a:cxn ang="0">
                  <a:pos x="267" y="236"/>
                </a:cxn>
                <a:cxn ang="0">
                  <a:pos x="345" y="206"/>
                </a:cxn>
                <a:cxn ang="0">
                  <a:pos x="503" y="140"/>
                </a:cxn>
                <a:cxn ang="0">
                  <a:pos x="581" y="110"/>
                </a:cxn>
                <a:cxn ang="0">
                  <a:pos x="653" y="80"/>
                </a:cxn>
                <a:cxn ang="0">
                  <a:pos x="689" y="68"/>
                </a:cxn>
                <a:cxn ang="0">
                  <a:pos x="719" y="54"/>
                </a:cxn>
                <a:cxn ang="0">
                  <a:pos x="749" y="44"/>
                </a:cxn>
                <a:cxn ang="0">
                  <a:pos x="775" y="32"/>
                </a:cxn>
                <a:cxn ang="0">
                  <a:pos x="797" y="24"/>
                </a:cxn>
                <a:cxn ang="0">
                  <a:pos x="817" y="16"/>
                </a:cxn>
                <a:cxn ang="0">
                  <a:pos x="833" y="10"/>
                </a:cxn>
                <a:cxn ang="0">
                  <a:pos x="843" y="4"/>
                </a:cxn>
                <a:cxn ang="0">
                  <a:pos x="851" y="2"/>
                </a:cxn>
                <a:cxn ang="0">
                  <a:pos x="853" y="0"/>
                </a:cxn>
              </a:cxnLst>
              <a:rect l="0" t="0" r="r" b="b"/>
              <a:pathLst>
                <a:path w="902" h="499">
                  <a:moveTo>
                    <a:pt x="853" y="0"/>
                  </a:moveTo>
                  <a:lnTo>
                    <a:pt x="855" y="0"/>
                  </a:lnTo>
                  <a:lnTo>
                    <a:pt x="859" y="2"/>
                  </a:lnTo>
                  <a:lnTo>
                    <a:pt x="871" y="8"/>
                  </a:lnTo>
                  <a:lnTo>
                    <a:pt x="886" y="18"/>
                  </a:lnTo>
                  <a:lnTo>
                    <a:pt x="892" y="26"/>
                  </a:lnTo>
                  <a:lnTo>
                    <a:pt x="896" y="36"/>
                  </a:lnTo>
                  <a:lnTo>
                    <a:pt x="900" y="48"/>
                  </a:lnTo>
                  <a:lnTo>
                    <a:pt x="902" y="60"/>
                  </a:lnTo>
                  <a:lnTo>
                    <a:pt x="902" y="84"/>
                  </a:lnTo>
                  <a:lnTo>
                    <a:pt x="898" y="104"/>
                  </a:lnTo>
                  <a:lnTo>
                    <a:pt x="896" y="110"/>
                  </a:lnTo>
                  <a:lnTo>
                    <a:pt x="896" y="112"/>
                  </a:lnTo>
                  <a:lnTo>
                    <a:pt x="50" y="499"/>
                  </a:lnTo>
                  <a:lnTo>
                    <a:pt x="52" y="483"/>
                  </a:lnTo>
                  <a:lnTo>
                    <a:pt x="52" y="471"/>
                  </a:lnTo>
                  <a:lnTo>
                    <a:pt x="54" y="465"/>
                  </a:lnTo>
                  <a:lnTo>
                    <a:pt x="54" y="455"/>
                  </a:lnTo>
                  <a:lnTo>
                    <a:pt x="52" y="447"/>
                  </a:lnTo>
                  <a:lnTo>
                    <a:pt x="52" y="433"/>
                  </a:lnTo>
                  <a:lnTo>
                    <a:pt x="46" y="415"/>
                  </a:lnTo>
                  <a:lnTo>
                    <a:pt x="42" y="396"/>
                  </a:lnTo>
                  <a:lnTo>
                    <a:pt x="36" y="382"/>
                  </a:lnTo>
                  <a:lnTo>
                    <a:pt x="32" y="372"/>
                  </a:lnTo>
                  <a:lnTo>
                    <a:pt x="26" y="364"/>
                  </a:lnTo>
                  <a:lnTo>
                    <a:pt x="16" y="356"/>
                  </a:lnTo>
                  <a:lnTo>
                    <a:pt x="0" y="348"/>
                  </a:lnTo>
                  <a:lnTo>
                    <a:pt x="0" y="346"/>
                  </a:lnTo>
                  <a:lnTo>
                    <a:pt x="8" y="342"/>
                  </a:lnTo>
                  <a:lnTo>
                    <a:pt x="18" y="338"/>
                  </a:lnTo>
                  <a:lnTo>
                    <a:pt x="34" y="330"/>
                  </a:lnTo>
                  <a:lnTo>
                    <a:pt x="54" y="322"/>
                  </a:lnTo>
                  <a:lnTo>
                    <a:pt x="78" y="314"/>
                  </a:lnTo>
                  <a:lnTo>
                    <a:pt x="104" y="304"/>
                  </a:lnTo>
                  <a:lnTo>
                    <a:pt x="130" y="292"/>
                  </a:lnTo>
                  <a:lnTo>
                    <a:pt x="162" y="278"/>
                  </a:lnTo>
                  <a:lnTo>
                    <a:pt x="196" y="266"/>
                  </a:lnTo>
                  <a:lnTo>
                    <a:pt x="267" y="236"/>
                  </a:lnTo>
                  <a:lnTo>
                    <a:pt x="345" y="206"/>
                  </a:lnTo>
                  <a:lnTo>
                    <a:pt x="503" y="140"/>
                  </a:lnTo>
                  <a:lnTo>
                    <a:pt x="581" y="110"/>
                  </a:lnTo>
                  <a:lnTo>
                    <a:pt x="653" y="80"/>
                  </a:lnTo>
                  <a:lnTo>
                    <a:pt x="689" y="68"/>
                  </a:lnTo>
                  <a:lnTo>
                    <a:pt x="719" y="54"/>
                  </a:lnTo>
                  <a:lnTo>
                    <a:pt x="749" y="44"/>
                  </a:lnTo>
                  <a:lnTo>
                    <a:pt x="775" y="32"/>
                  </a:lnTo>
                  <a:lnTo>
                    <a:pt x="797" y="24"/>
                  </a:lnTo>
                  <a:lnTo>
                    <a:pt x="817" y="16"/>
                  </a:lnTo>
                  <a:lnTo>
                    <a:pt x="833" y="10"/>
                  </a:lnTo>
                  <a:lnTo>
                    <a:pt x="843" y="4"/>
                  </a:lnTo>
                  <a:lnTo>
                    <a:pt x="851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AF60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3" name="Freeform 320"/>
            <p:cNvSpPr>
              <a:spLocks/>
            </p:cNvSpPr>
            <p:nvPr/>
          </p:nvSpPr>
          <p:spPr bwMode="auto">
            <a:xfrm flipH="1">
              <a:off x="4778" y="2914"/>
              <a:ext cx="451" cy="247"/>
            </a:xfrm>
            <a:custGeom>
              <a:avLst/>
              <a:gdLst/>
              <a:ahLst/>
              <a:cxnLst>
                <a:cxn ang="0">
                  <a:pos x="855" y="0"/>
                </a:cxn>
                <a:cxn ang="0">
                  <a:pos x="857" y="0"/>
                </a:cxn>
                <a:cxn ang="0">
                  <a:pos x="861" y="2"/>
                </a:cxn>
                <a:cxn ang="0">
                  <a:pos x="873" y="6"/>
                </a:cxn>
                <a:cxn ang="0">
                  <a:pos x="884" y="18"/>
                </a:cxn>
                <a:cxn ang="0">
                  <a:pos x="896" y="34"/>
                </a:cxn>
                <a:cxn ang="0">
                  <a:pos x="900" y="56"/>
                </a:cxn>
                <a:cxn ang="0">
                  <a:pos x="900" y="80"/>
                </a:cxn>
                <a:cxn ang="0">
                  <a:pos x="898" y="98"/>
                </a:cxn>
                <a:cxn ang="0">
                  <a:pos x="898" y="104"/>
                </a:cxn>
                <a:cxn ang="0">
                  <a:pos x="898" y="106"/>
                </a:cxn>
                <a:cxn ang="0">
                  <a:pos x="48" y="493"/>
                </a:cxn>
                <a:cxn ang="0">
                  <a:pos x="50" y="477"/>
                </a:cxn>
                <a:cxn ang="0">
                  <a:pos x="52" y="467"/>
                </a:cxn>
                <a:cxn ang="0">
                  <a:pos x="54" y="455"/>
                </a:cxn>
                <a:cxn ang="0">
                  <a:pos x="54" y="451"/>
                </a:cxn>
                <a:cxn ang="0">
                  <a:pos x="52" y="443"/>
                </a:cxn>
                <a:cxn ang="0">
                  <a:pos x="50" y="431"/>
                </a:cxn>
                <a:cxn ang="0">
                  <a:pos x="46" y="411"/>
                </a:cxn>
                <a:cxn ang="0">
                  <a:pos x="40" y="392"/>
                </a:cxn>
                <a:cxn ang="0">
                  <a:pos x="36" y="380"/>
                </a:cxn>
                <a:cxn ang="0">
                  <a:pos x="30" y="368"/>
                </a:cxn>
                <a:cxn ang="0">
                  <a:pos x="26" y="362"/>
                </a:cxn>
                <a:cxn ang="0">
                  <a:pos x="16" y="352"/>
                </a:cxn>
                <a:cxn ang="0">
                  <a:pos x="8" y="348"/>
                </a:cxn>
                <a:cxn ang="0">
                  <a:pos x="0" y="344"/>
                </a:cxn>
                <a:cxn ang="0">
                  <a:pos x="2" y="342"/>
                </a:cxn>
                <a:cxn ang="0">
                  <a:pos x="10" y="340"/>
                </a:cxn>
                <a:cxn ang="0">
                  <a:pos x="20" y="336"/>
                </a:cxn>
                <a:cxn ang="0">
                  <a:pos x="36" y="330"/>
                </a:cxn>
                <a:cxn ang="0">
                  <a:pos x="56" y="322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4" y="288"/>
                </a:cxn>
                <a:cxn ang="0">
                  <a:pos x="164" y="278"/>
                </a:cxn>
                <a:cxn ang="0">
                  <a:pos x="198" y="262"/>
                </a:cxn>
                <a:cxn ang="0">
                  <a:pos x="271" y="234"/>
                </a:cxn>
                <a:cxn ang="0">
                  <a:pos x="347" y="202"/>
                </a:cxn>
                <a:cxn ang="0">
                  <a:pos x="425" y="172"/>
                </a:cxn>
                <a:cxn ang="0">
                  <a:pos x="505" y="140"/>
                </a:cxn>
                <a:cxn ang="0">
                  <a:pos x="583" y="108"/>
                </a:cxn>
                <a:cxn ang="0">
                  <a:pos x="657" y="80"/>
                </a:cxn>
                <a:cxn ang="0">
                  <a:pos x="691" y="66"/>
                </a:cxn>
                <a:cxn ang="0">
                  <a:pos x="721" y="54"/>
                </a:cxn>
                <a:cxn ang="0">
                  <a:pos x="751" y="42"/>
                </a:cxn>
                <a:cxn ang="0">
                  <a:pos x="777" y="30"/>
                </a:cxn>
                <a:cxn ang="0">
                  <a:pos x="799" y="22"/>
                </a:cxn>
                <a:cxn ang="0">
                  <a:pos x="819" y="14"/>
                </a:cxn>
                <a:cxn ang="0">
                  <a:pos x="835" y="8"/>
                </a:cxn>
                <a:cxn ang="0">
                  <a:pos x="847" y="2"/>
                </a:cxn>
                <a:cxn ang="0">
                  <a:pos x="853" y="2"/>
                </a:cxn>
                <a:cxn ang="0">
                  <a:pos x="855" y="0"/>
                </a:cxn>
              </a:cxnLst>
              <a:rect l="0" t="0" r="r" b="b"/>
              <a:pathLst>
                <a:path w="900" h="493">
                  <a:moveTo>
                    <a:pt x="855" y="0"/>
                  </a:moveTo>
                  <a:lnTo>
                    <a:pt x="857" y="0"/>
                  </a:lnTo>
                  <a:lnTo>
                    <a:pt x="861" y="2"/>
                  </a:lnTo>
                  <a:lnTo>
                    <a:pt x="873" y="6"/>
                  </a:lnTo>
                  <a:lnTo>
                    <a:pt x="884" y="18"/>
                  </a:lnTo>
                  <a:lnTo>
                    <a:pt x="896" y="34"/>
                  </a:lnTo>
                  <a:lnTo>
                    <a:pt x="900" y="56"/>
                  </a:lnTo>
                  <a:lnTo>
                    <a:pt x="900" y="80"/>
                  </a:lnTo>
                  <a:lnTo>
                    <a:pt x="898" y="98"/>
                  </a:lnTo>
                  <a:lnTo>
                    <a:pt x="898" y="104"/>
                  </a:lnTo>
                  <a:lnTo>
                    <a:pt x="898" y="106"/>
                  </a:lnTo>
                  <a:lnTo>
                    <a:pt x="48" y="493"/>
                  </a:lnTo>
                  <a:lnTo>
                    <a:pt x="50" y="477"/>
                  </a:lnTo>
                  <a:lnTo>
                    <a:pt x="52" y="467"/>
                  </a:lnTo>
                  <a:lnTo>
                    <a:pt x="54" y="455"/>
                  </a:lnTo>
                  <a:lnTo>
                    <a:pt x="54" y="451"/>
                  </a:lnTo>
                  <a:lnTo>
                    <a:pt x="52" y="443"/>
                  </a:lnTo>
                  <a:lnTo>
                    <a:pt x="50" y="431"/>
                  </a:lnTo>
                  <a:lnTo>
                    <a:pt x="46" y="411"/>
                  </a:lnTo>
                  <a:lnTo>
                    <a:pt x="40" y="392"/>
                  </a:lnTo>
                  <a:lnTo>
                    <a:pt x="36" y="380"/>
                  </a:lnTo>
                  <a:lnTo>
                    <a:pt x="30" y="368"/>
                  </a:lnTo>
                  <a:lnTo>
                    <a:pt x="26" y="362"/>
                  </a:lnTo>
                  <a:lnTo>
                    <a:pt x="16" y="352"/>
                  </a:lnTo>
                  <a:lnTo>
                    <a:pt x="8" y="348"/>
                  </a:lnTo>
                  <a:lnTo>
                    <a:pt x="0" y="344"/>
                  </a:lnTo>
                  <a:lnTo>
                    <a:pt x="2" y="342"/>
                  </a:lnTo>
                  <a:lnTo>
                    <a:pt x="10" y="340"/>
                  </a:lnTo>
                  <a:lnTo>
                    <a:pt x="20" y="336"/>
                  </a:lnTo>
                  <a:lnTo>
                    <a:pt x="36" y="330"/>
                  </a:lnTo>
                  <a:lnTo>
                    <a:pt x="56" y="322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4" y="288"/>
                  </a:lnTo>
                  <a:lnTo>
                    <a:pt x="164" y="278"/>
                  </a:lnTo>
                  <a:lnTo>
                    <a:pt x="198" y="262"/>
                  </a:lnTo>
                  <a:lnTo>
                    <a:pt x="271" y="234"/>
                  </a:lnTo>
                  <a:lnTo>
                    <a:pt x="347" y="202"/>
                  </a:lnTo>
                  <a:lnTo>
                    <a:pt x="425" y="172"/>
                  </a:lnTo>
                  <a:lnTo>
                    <a:pt x="505" y="140"/>
                  </a:lnTo>
                  <a:lnTo>
                    <a:pt x="583" y="108"/>
                  </a:lnTo>
                  <a:lnTo>
                    <a:pt x="657" y="80"/>
                  </a:lnTo>
                  <a:lnTo>
                    <a:pt x="691" y="66"/>
                  </a:lnTo>
                  <a:lnTo>
                    <a:pt x="721" y="54"/>
                  </a:lnTo>
                  <a:lnTo>
                    <a:pt x="751" y="42"/>
                  </a:lnTo>
                  <a:lnTo>
                    <a:pt x="777" y="30"/>
                  </a:lnTo>
                  <a:lnTo>
                    <a:pt x="799" y="22"/>
                  </a:lnTo>
                  <a:lnTo>
                    <a:pt x="819" y="14"/>
                  </a:lnTo>
                  <a:lnTo>
                    <a:pt x="835" y="8"/>
                  </a:lnTo>
                  <a:lnTo>
                    <a:pt x="847" y="2"/>
                  </a:lnTo>
                  <a:lnTo>
                    <a:pt x="853" y="2"/>
                  </a:lnTo>
                  <a:lnTo>
                    <a:pt x="855" y="0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4" name="Freeform 321"/>
            <p:cNvSpPr>
              <a:spLocks/>
            </p:cNvSpPr>
            <p:nvPr/>
          </p:nvSpPr>
          <p:spPr bwMode="auto">
            <a:xfrm flipH="1">
              <a:off x="4778" y="2915"/>
              <a:ext cx="449" cy="245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9" y="0"/>
                </a:cxn>
                <a:cxn ang="0">
                  <a:pos x="869" y="6"/>
                </a:cxn>
                <a:cxn ang="0">
                  <a:pos x="880" y="16"/>
                </a:cxn>
                <a:cxn ang="0">
                  <a:pos x="892" y="32"/>
                </a:cxn>
                <a:cxn ang="0">
                  <a:pos x="896" y="52"/>
                </a:cxn>
                <a:cxn ang="0">
                  <a:pos x="896" y="76"/>
                </a:cxn>
                <a:cxn ang="0">
                  <a:pos x="894" y="94"/>
                </a:cxn>
                <a:cxn ang="0">
                  <a:pos x="894" y="98"/>
                </a:cxn>
                <a:cxn ang="0">
                  <a:pos x="894" y="100"/>
                </a:cxn>
                <a:cxn ang="0">
                  <a:pos x="44" y="489"/>
                </a:cxn>
                <a:cxn ang="0">
                  <a:pos x="46" y="473"/>
                </a:cxn>
                <a:cxn ang="0">
                  <a:pos x="48" y="463"/>
                </a:cxn>
                <a:cxn ang="0">
                  <a:pos x="50" y="451"/>
                </a:cxn>
                <a:cxn ang="0">
                  <a:pos x="50" y="449"/>
                </a:cxn>
                <a:cxn ang="0">
                  <a:pos x="48" y="441"/>
                </a:cxn>
                <a:cxn ang="0">
                  <a:pos x="46" y="429"/>
                </a:cxn>
                <a:cxn ang="0">
                  <a:pos x="42" y="409"/>
                </a:cxn>
                <a:cxn ang="0">
                  <a:pos x="36" y="392"/>
                </a:cxn>
                <a:cxn ang="0">
                  <a:pos x="32" y="378"/>
                </a:cxn>
                <a:cxn ang="0">
                  <a:pos x="28" y="368"/>
                </a:cxn>
                <a:cxn ang="0">
                  <a:pos x="24" y="362"/>
                </a:cxn>
                <a:cxn ang="0">
                  <a:pos x="14" y="354"/>
                </a:cxn>
                <a:cxn ang="0">
                  <a:pos x="0" y="344"/>
                </a:cxn>
                <a:cxn ang="0">
                  <a:pos x="0" y="342"/>
                </a:cxn>
                <a:cxn ang="0">
                  <a:pos x="8" y="338"/>
                </a:cxn>
                <a:cxn ang="0">
                  <a:pos x="18" y="336"/>
                </a:cxn>
                <a:cxn ang="0">
                  <a:pos x="34" y="330"/>
                </a:cxn>
                <a:cxn ang="0">
                  <a:pos x="54" y="320"/>
                </a:cxn>
                <a:cxn ang="0">
                  <a:pos x="78" y="312"/>
                </a:cxn>
                <a:cxn ang="0">
                  <a:pos x="104" y="302"/>
                </a:cxn>
                <a:cxn ang="0">
                  <a:pos x="130" y="288"/>
                </a:cxn>
                <a:cxn ang="0">
                  <a:pos x="162" y="278"/>
                </a:cxn>
                <a:cxn ang="0">
                  <a:pos x="196" y="262"/>
                </a:cxn>
                <a:cxn ang="0">
                  <a:pos x="267" y="234"/>
                </a:cxn>
                <a:cxn ang="0">
                  <a:pos x="345" y="202"/>
                </a:cxn>
                <a:cxn ang="0">
                  <a:pos x="423" y="172"/>
                </a:cxn>
                <a:cxn ang="0">
                  <a:pos x="503" y="138"/>
                </a:cxn>
                <a:cxn ang="0">
                  <a:pos x="581" y="108"/>
                </a:cxn>
                <a:cxn ang="0">
                  <a:pos x="653" y="78"/>
                </a:cxn>
                <a:cxn ang="0">
                  <a:pos x="687" y="66"/>
                </a:cxn>
                <a:cxn ang="0">
                  <a:pos x="719" y="52"/>
                </a:cxn>
                <a:cxn ang="0">
                  <a:pos x="749" y="42"/>
                </a:cxn>
                <a:cxn ang="0">
                  <a:pos x="775" y="30"/>
                </a:cxn>
                <a:cxn ang="0">
                  <a:pos x="797" y="22"/>
                </a:cxn>
                <a:cxn ang="0">
                  <a:pos x="817" y="14"/>
                </a:cxn>
                <a:cxn ang="0">
                  <a:pos x="833" y="8"/>
                </a:cxn>
                <a:cxn ang="0">
                  <a:pos x="843" y="2"/>
                </a:cxn>
                <a:cxn ang="0">
                  <a:pos x="851" y="0"/>
                </a:cxn>
                <a:cxn ang="0">
                  <a:pos x="853" y="0"/>
                </a:cxn>
              </a:cxnLst>
              <a:rect l="0" t="0" r="r" b="b"/>
              <a:pathLst>
                <a:path w="896" h="489">
                  <a:moveTo>
                    <a:pt x="853" y="0"/>
                  </a:moveTo>
                  <a:lnTo>
                    <a:pt x="859" y="0"/>
                  </a:lnTo>
                  <a:lnTo>
                    <a:pt x="869" y="6"/>
                  </a:lnTo>
                  <a:lnTo>
                    <a:pt x="880" y="16"/>
                  </a:lnTo>
                  <a:lnTo>
                    <a:pt x="892" y="32"/>
                  </a:lnTo>
                  <a:lnTo>
                    <a:pt x="896" y="52"/>
                  </a:lnTo>
                  <a:lnTo>
                    <a:pt x="896" y="76"/>
                  </a:lnTo>
                  <a:lnTo>
                    <a:pt x="894" y="94"/>
                  </a:lnTo>
                  <a:lnTo>
                    <a:pt x="894" y="98"/>
                  </a:lnTo>
                  <a:lnTo>
                    <a:pt x="894" y="100"/>
                  </a:lnTo>
                  <a:lnTo>
                    <a:pt x="44" y="489"/>
                  </a:lnTo>
                  <a:lnTo>
                    <a:pt x="46" y="473"/>
                  </a:lnTo>
                  <a:lnTo>
                    <a:pt x="48" y="463"/>
                  </a:lnTo>
                  <a:lnTo>
                    <a:pt x="50" y="451"/>
                  </a:lnTo>
                  <a:lnTo>
                    <a:pt x="50" y="449"/>
                  </a:lnTo>
                  <a:lnTo>
                    <a:pt x="48" y="441"/>
                  </a:lnTo>
                  <a:lnTo>
                    <a:pt x="46" y="429"/>
                  </a:lnTo>
                  <a:lnTo>
                    <a:pt x="42" y="409"/>
                  </a:lnTo>
                  <a:lnTo>
                    <a:pt x="36" y="392"/>
                  </a:lnTo>
                  <a:lnTo>
                    <a:pt x="32" y="378"/>
                  </a:lnTo>
                  <a:lnTo>
                    <a:pt x="28" y="368"/>
                  </a:lnTo>
                  <a:lnTo>
                    <a:pt x="24" y="362"/>
                  </a:lnTo>
                  <a:lnTo>
                    <a:pt x="14" y="354"/>
                  </a:lnTo>
                  <a:lnTo>
                    <a:pt x="0" y="344"/>
                  </a:lnTo>
                  <a:lnTo>
                    <a:pt x="0" y="342"/>
                  </a:lnTo>
                  <a:lnTo>
                    <a:pt x="8" y="338"/>
                  </a:lnTo>
                  <a:lnTo>
                    <a:pt x="18" y="336"/>
                  </a:lnTo>
                  <a:lnTo>
                    <a:pt x="34" y="330"/>
                  </a:lnTo>
                  <a:lnTo>
                    <a:pt x="54" y="320"/>
                  </a:lnTo>
                  <a:lnTo>
                    <a:pt x="78" y="312"/>
                  </a:lnTo>
                  <a:lnTo>
                    <a:pt x="104" y="302"/>
                  </a:lnTo>
                  <a:lnTo>
                    <a:pt x="130" y="288"/>
                  </a:lnTo>
                  <a:lnTo>
                    <a:pt x="162" y="278"/>
                  </a:lnTo>
                  <a:lnTo>
                    <a:pt x="196" y="262"/>
                  </a:lnTo>
                  <a:lnTo>
                    <a:pt x="267" y="234"/>
                  </a:lnTo>
                  <a:lnTo>
                    <a:pt x="345" y="202"/>
                  </a:lnTo>
                  <a:lnTo>
                    <a:pt x="423" y="172"/>
                  </a:lnTo>
                  <a:lnTo>
                    <a:pt x="503" y="138"/>
                  </a:lnTo>
                  <a:lnTo>
                    <a:pt x="581" y="108"/>
                  </a:lnTo>
                  <a:lnTo>
                    <a:pt x="653" y="78"/>
                  </a:lnTo>
                  <a:lnTo>
                    <a:pt x="687" y="66"/>
                  </a:lnTo>
                  <a:lnTo>
                    <a:pt x="719" y="52"/>
                  </a:lnTo>
                  <a:lnTo>
                    <a:pt x="749" y="42"/>
                  </a:lnTo>
                  <a:lnTo>
                    <a:pt x="775" y="30"/>
                  </a:lnTo>
                  <a:lnTo>
                    <a:pt x="797" y="22"/>
                  </a:lnTo>
                  <a:lnTo>
                    <a:pt x="817" y="14"/>
                  </a:lnTo>
                  <a:lnTo>
                    <a:pt x="833" y="8"/>
                  </a:lnTo>
                  <a:lnTo>
                    <a:pt x="843" y="2"/>
                  </a:lnTo>
                  <a:lnTo>
                    <a:pt x="851" y="0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F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5" name="Freeform 322"/>
            <p:cNvSpPr>
              <a:spLocks/>
            </p:cNvSpPr>
            <p:nvPr/>
          </p:nvSpPr>
          <p:spPr bwMode="auto">
            <a:xfrm flipH="1">
              <a:off x="4778" y="2915"/>
              <a:ext cx="448" cy="244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9" y="0"/>
                </a:cxn>
                <a:cxn ang="0">
                  <a:pos x="867" y="6"/>
                </a:cxn>
                <a:cxn ang="0">
                  <a:pos x="878" y="16"/>
                </a:cxn>
                <a:cxn ang="0">
                  <a:pos x="890" y="32"/>
                </a:cxn>
                <a:cxn ang="0">
                  <a:pos x="894" y="52"/>
                </a:cxn>
                <a:cxn ang="0">
                  <a:pos x="894" y="76"/>
                </a:cxn>
                <a:cxn ang="0">
                  <a:pos x="892" y="92"/>
                </a:cxn>
                <a:cxn ang="0">
                  <a:pos x="892" y="96"/>
                </a:cxn>
                <a:cxn ang="0">
                  <a:pos x="892" y="98"/>
                </a:cxn>
                <a:cxn ang="0">
                  <a:pos x="44" y="487"/>
                </a:cxn>
                <a:cxn ang="0">
                  <a:pos x="46" y="471"/>
                </a:cxn>
                <a:cxn ang="0">
                  <a:pos x="46" y="459"/>
                </a:cxn>
                <a:cxn ang="0">
                  <a:pos x="48" y="451"/>
                </a:cxn>
                <a:cxn ang="0">
                  <a:pos x="48" y="445"/>
                </a:cxn>
                <a:cxn ang="0">
                  <a:pos x="46" y="439"/>
                </a:cxn>
                <a:cxn ang="0">
                  <a:pos x="44" y="429"/>
                </a:cxn>
                <a:cxn ang="0">
                  <a:pos x="40" y="411"/>
                </a:cxn>
                <a:cxn ang="0">
                  <a:pos x="36" y="393"/>
                </a:cxn>
                <a:cxn ang="0">
                  <a:pos x="32" y="382"/>
                </a:cxn>
                <a:cxn ang="0">
                  <a:pos x="28" y="372"/>
                </a:cxn>
                <a:cxn ang="0">
                  <a:pos x="26" y="364"/>
                </a:cxn>
                <a:cxn ang="0">
                  <a:pos x="16" y="356"/>
                </a:cxn>
                <a:cxn ang="0">
                  <a:pos x="8" y="352"/>
                </a:cxn>
                <a:cxn ang="0">
                  <a:pos x="0" y="346"/>
                </a:cxn>
                <a:cxn ang="0">
                  <a:pos x="2" y="346"/>
                </a:cxn>
                <a:cxn ang="0">
                  <a:pos x="10" y="342"/>
                </a:cxn>
                <a:cxn ang="0">
                  <a:pos x="20" y="338"/>
                </a:cxn>
                <a:cxn ang="0">
                  <a:pos x="36" y="330"/>
                </a:cxn>
                <a:cxn ang="0">
                  <a:pos x="54" y="322"/>
                </a:cxn>
                <a:cxn ang="0">
                  <a:pos x="78" y="314"/>
                </a:cxn>
                <a:cxn ang="0">
                  <a:pos x="104" y="304"/>
                </a:cxn>
                <a:cxn ang="0">
                  <a:pos x="132" y="292"/>
                </a:cxn>
                <a:cxn ang="0">
                  <a:pos x="164" y="278"/>
                </a:cxn>
                <a:cxn ang="0">
                  <a:pos x="198" y="264"/>
                </a:cxn>
                <a:cxn ang="0">
                  <a:pos x="269" y="234"/>
                </a:cxn>
                <a:cxn ang="0">
                  <a:pos x="347" y="204"/>
                </a:cxn>
                <a:cxn ang="0">
                  <a:pos x="423" y="172"/>
                </a:cxn>
                <a:cxn ang="0">
                  <a:pos x="505" y="138"/>
                </a:cxn>
                <a:cxn ang="0">
                  <a:pos x="581" y="108"/>
                </a:cxn>
                <a:cxn ang="0">
                  <a:pos x="653" y="78"/>
                </a:cxn>
                <a:cxn ang="0">
                  <a:pos x="687" y="66"/>
                </a:cxn>
                <a:cxn ang="0">
                  <a:pos x="719" y="52"/>
                </a:cxn>
                <a:cxn ang="0">
                  <a:pos x="747" y="42"/>
                </a:cxn>
                <a:cxn ang="0">
                  <a:pos x="773" y="32"/>
                </a:cxn>
                <a:cxn ang="0">
                  <a:pos x="797" y="22"/>
                </a:cxn>
                <a:cxn ang="0">
                  <a:pos x="815" y="14"/>
                </a:cxn>
                <a:cxn ang="0">
                  <a:pos x="833" y="8"/>
                </a:cxn>
                <a:cxn ang="0">
                  <a:pos x="843" y="2"/>
                </a:cxn>
                <a:cxn ang="0">
                  <a:pos x="849" y="0"/>
                </a:cxn>
                <a:cxn ang="0">
                  <a:pos x="853" y="0"/>
                </a:cxn>
              </a:cxnLst>
              <a:rect l="0" t="0" r="r" b="b"/>
              <a:pathLst>
                <a:path w="894" h="487">
                  <a:moveTo>
                    <a:pt x="853" y="0"/>
                  </a:moveTo>
                  <a:lnTo>
                    <a:pt x="859" y="0"/>
                  </a:lnTo>
                  <a:lnTo>
                    <a:pt x="867" y="6"/>
                  </a:lnTo>
                  <a:lnTo>
                    <a:pt x="878" y="16"/>
                  </a:lnTo>
                  <a:lnTo>
                    <a:pt x="890" y="32"/>
                  </a:lnTo>
                  <a:lnTo>
                    <a:pt x="894" y="52"/>
                  </a:lnTo>
                  <a:lnTo>
                    <a:pt x="894" y="76"/>
                  </a:lnTo>
                  <a:lnTo>
                    <a:pt x="892" y="92"/>
                  </a:lnTo>
                  <a:lnTo>
                    <a:pt x="892" y="96"/>
                  </a:lnTo>
                  <a:lnTo>
                    <a:pt x="892" y="98"/>
                  </a:lnTo>
                  <a:lnTo>
                    <a:pt x="44" y="487"/>
                  </a:lnTo>
                  <a:lnTo>
                    <a:pt x="46" y="471"/>
                  </a:lnTo>
                  <a:lnTo>
                    <a:pt x="46" y="459"/>
                  </a:lnTo>
                  <a:lnTo>
                    <a:pt x="48" y="451"/>
                  </a:lnTo>
                  <a:lnTo>
                    <a:pt x="48" y="445"/>
                  </a:lnTo>
                  <a:lnTo>
                    <a:pt x="46" y="439"/>
                  </a:lnTo>
                  <a:lnTo>
                    <a:pt x="44" y="429"/>
                  </a:lnTo>
                  <a:lnTo>
                    <a:pt x="40" y="411"/>
                  </a:lnTo>
                  <a:lnTo>
                    <a:pt x="36" y="393"/>
                  </a:lnTo>
                  <a:lnTo>
                    <a:pt x="32" y="382"/>
                  </a:lnTo>
                  <a:lnTo>
                    <a:pt x="28" y="372"/>
                  </a:lnTo>
                  <a:lnTo>
                    <a:pt x="26" y="364"/>
                  </a:lnTo>
                  <a:lnTo>
                    <a:pt x="16" y="356"/>
                  </a:lnTo>
                  <a:lnTo>
                    <a:pt x="8" y="352"/>
                  </a:lnTo>
                  <a:lnTo>
                    <a:pt x="0" y="346"/>
                  </a:lnTo>
                  <a:lnTo>
                    <a:pt x="2" y="346"/>
                  </a:lnTo>
                  <a:lnTo>
                    <a:pt x="10" y="342"/>
                  </a:lnTo>
                  <a:lnTo>
                    <a:pt x="20" y="338"/>
                  </a:lnTo>
                  <a:lnTo>
                    <a:pt x="36" y="330"/>
                  </a:lnTo>
                  <a:lnTo>
                    <a:pt x="54" y="322"/>
                  </a:lnTo>
                  <a:lnTo>
                    <a:pt x="78" y="314"/>
                  </a:lnTo>
                  <a:lnTo>
                    <a:pt x="104" y="304"/>
                  </a:lnTo>
                  <a:lnTo>
                    <a:pt x="132" y="292"/>
                  </a:lnTo>
                  <a:lnTo>
                    <a:pt x="164" y="278"/>
                  </a:lnTo>
                  <a:lnTo>
                    <a:pt x="198" y="264"/>
                  </a:lnTo>
                  <a:lnTo>
                    <a:pt x="269" y="234"/>
                  </a:lnTo>
                  <a:lnTo>
                    <a:pt x="347" y="204"/>
                  </a:lnTo>
                  <a:lnTo>
                    <a:pt x="423" y="172"/>
                  </a:lnTo>
                  <a:lnTo>
                    <a:pt x="505" y="138"/>
                  </a:lnTo>
                  <a:lnTo>
                    <a:pt x="581" y="108"/>
                  </a:lnTo>
                  <a:lnTo>
                    <a:pt x="653" y="78"/>
                  </a:lnTo>
                  <a:lnTo>
                    <a:pt x="687" y="66"/>
                  </a:lnTo>
                  <a:lnTo>
                    <a:pt x="719" y="52"/>
                  </a:lnTo>
                  <a:lnTo>
                    <a:pt x="747" y="42"/>
                  </a:lnTo>
                  <a:lnTo>
                    <a:pt x="773" y="32"/>
                  </a:lnTo>
                  <a:lnTo>
                    <a:pt x="797" y="22"/>
                  </a:lnTo>
                  <a:lnTo>
                    <a:pt x="815" y="14"/>
                  </a:lnTo>
                  <a:lnTo>
                    <a:pt x="833" y="8"/>
                  </a:lnTo>
                  <a:lnTo>
                    <a:pt x="843" y="2"/>
                  </a:lnTo>
                  <a:lnTo>
                    <a:pt x="849" y="0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E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6" name="Freeform 323"/>
            <p:cNvSpPr>
              <a:spLocks/>
            </p:cNvSpPr>
            <p:nvPr/>
          </p:nvSpPr>
          <p:spPr bwMode="auto">
            <a:xfrm flipH="1">
              <a:off x="4778" y="2916"/>
              <a:ext cx="447" cy="242"/>
            </a:xfrm>
            <a:custGeom>
              <a:avLst/>
              <a:gdLst/>
              <a:ahLst/>
              <a:cxnLst>
                <a:cxn ang="0">
                  <a:pos x="853" y="0"/>
                </a:cxn>
                <a:cxn ang="0">
                  <a:pos x="857" y="2"/>
                </a:cxn>
                <a:cxn ang="0">
                  <a:pos x="865" y="4"/>
                </a:cxn>
                <a:cxn ang="0">
                  <a:pos x="878" y="14"/>
                </a:cxn>
                <a:cxn ang="0">
                  <a:pos x="888" y="30"/>
                </a:cxn>
                <a:cxn ang="0">
                  <a:pos x="892" y="52"/>
                </a:cxn>
                <a:cxn ang="0">
                  <a:pos x="892" y="72"/>
                </a:cxn>
                <a:cxn ang="0">
                  <a:pos x="890" y="90"/>
                </a:cxn>
                <a:cxn ang="0">
                  <a:pos x="890" y="94"/>
                </a:cxn>
                <a:cxn ang="0">
                  <a:pos x="890" y="96"/>
                </a:cxn>
                <a:cxn ang="0">
                  <a:pos x="42" y="483"/>
                </a:cxn>
                <a:cxn ang="0">
                  <a:pos x="44" y="467"/>
                </a:cxn>
                <a:cxn ang="0">
                  <a:pos x="46" y="457"/>
                </a:cxn>
                <a:cxn ang="0">
                  <a:pos x="46" y="443"/>
                </a:cxn>
                <a:cxn ang="0">
                  <a:pos x="44" y="437"/>
                </a:cxn>
                <a:cxn ang="0">
                  <a:pos x="42" y="427"/>
                </a:cxn>
                <a:cxn ang="0">
                  <a:pos x="38" y="411"/>
                </a:cxn>
                <a:cxn ang="0">
                  <a:pos x="32" y="393"/>
                </a:cxn>
                <a:cxn ang="0">
                  <a:pos x="30" y="382"/>
                </a:cxn>
                <a:cxn ang="0">
                  <a:pos x="26" y="372"/>
                </a:cxn>
                <a:cxn ang="0">
                  <a:pos x="22" y="366"/>
                </a:cxn>
                <a:cxn ang="0">
                  <a:pos x="14" y="356"/>
                </a:cxn>
                <a:cxn ang="0">
                  <a:pos x="0" y="348"/>
                </a:cxn>
                <a:cxn ang="0">
                  <a:pos x="2" y="346"/>
                </a:cxn>
                <a:cxn ang="0">
                  <a:pos x="8" y="342"/>
                </a:cxn>
                <a:cxn ang="0">
                  <a:pos x="20" y="338"/>
                </a:cxn>
                <a:cxn ang="0">
                  <a:pos x="36" y="332"/>
                </a:cxn>
                <a:cxn ang="0">
                  <a:pos x="56" y="324"/>
                </a:cxn>
                <a:cxn ang="0">
                  <a:pos x="78" y="316"/>
                </a:cxn>
                <a:cxn ang="0">
                  <a:pos x="102" y="304"/>
                </a:cxn>
                <a:cxn ang="0">
                  <a:pos x="132" y="292"/>
                </a:cxn>
                <a:cxn ang="0">
                  <a:pos x="162" y="280"/>
                </a:cxn>
                <a:cxn ang="0">
                  <a:pos x="196" y="264"/>
                </a:cxn>
                <a:cxn ang="0">
                  <a:pos x="267" y="236"/>
                </a:cxn>
                <a:cxn ang="0">
                  <a:pos x="345" y="204"/>
                </a:cxn>
                <a:cxn ang="0">
                  <a:pos x="423" y="172"/>
                </a:cxn>
                <a:cxn ang="0">
                  <a:pos x="503" y="140"/>
                </a:cxn>
                <a:cxn ang="0">
                  <a:pos x="579" y="108"/>
                </a:cxn>
                <a:cxn ang="0">
                  <a:pos x="653" y="80"/>
                </a:cxn>
                <a:cxn ang="0">
                  <a:pos x="687" y="66"/>
                </a:cxn>
                <a:cxn ang="0">
                  <a:pos x="719" y="54"/>
                </a:cxn>
                <a:cxn ang="0">
                  <a:pos x="747" y="42"/>
                </a:cxn>
                <a:cxn ang="0">
                  <a:pos x="773" y="32"/>
                </a:cxn>
                <a:cxn ang="0">
                  <a:pos x="795" y="22"/>
                </a:cxn>
                <a:cxn ang="0">
                  <a:pos x="815" y="14"/>
                </a:cxn>
                <a:cxn ang="0">
                  <a:pos x="831" y="8"/>
                </a:cxn>
                <a:cxn ang="0">
                  <a:pos x="843" y="4"/>
                </a:cxn>
                <a:cxn ang="0">
                  <a:pos x="849" y="2"/>
                </a:cxn>
                <a:cxn ang="0">
                  <a:pos x="853" y="0"/>
                </a:cxn>
              </a:cxnLst>
              <a:rect l="0" t="0" r="r" b="b"/>
              <a:pathLst>
                <a:path w="892" h="483">
                  <a:moveTo>
                    <a:pt x="853" y="0"/>
                  </a:moveTo>
                  <a:lnTo>
                    <a:pt x="857" y="2"/>
                  </a:lnTo>
                  <a:lnTo>
                    <a:pt x="865" y="4"/>
                  </a:lnTo>
                  <a:lnTo>
                    <a:pt x="878" y="14"/>
                  </a:lnTo>
                  <a:lnTo>
                    <a:pt x="888" y="30"/>
                  </a:lnTo>
                  <a:lnTo>
                    <a:pt x="892" y="52"/>
                  </a:lnTo>
                  <a:lnTo>
                    <a:pt x="892" y="72"/>
                  </a:lnTo>
                  <a:lnTo>
                    <a:pt x="890" y="90"/>
                  </a:lnTo>
                  <a:lnTo>
                    <a:pt x="890" y="94"/>
                  </a:lnTo>
                  <a:lnTo>
                    <a:pt x="890" y="96"/>
                  </a:lnTo>
                  <a:lnTo>
                    <a:pt x="42" y="483"/>
                  </a:lnTo>
                  <a:lnTo>
                    <a:pt x="44" y="467"/>
                  </a:lnTo>
                  <a:lnTo>
                    <a:pt x="46" y="457"/>
                  </a:lnTo>
                  <a:lnTo>
                    <a:pt x="46" y="443"/>
                  </a:lnTo>
                  <a:lnTo>
                    <a:pt x="44" y="437"/>
                  </a:lnTo>
                  <a:lnTo>
                    <a:pt x="42" y="427"/>
                  </a:lnTo>
                  <a:lnTo>
                    <a:pt x="38" y="411"/>
                  </a:lnTo>
                  <a:lnTo>
                    <a:pt x="32" y="393"/>
                  </a:lnTo>
                  <a:lnTo>
                    <a:pt x="30" y="382"/>
                  </a:lnTo>
                  <a:lnTo>
                    <a:pt x="26" y="372"/>
                  </a:lnTo>
                  <a:lnTo>
                    <a:pt x="22" y="366"/>
                  </a:lnTo>
                  <a:lnTo>
                    <a:pt x="14" y="356"/>
                  </a:lnTo>
                  <a:lnTo>
                    <a:pt x="0" y="348"/>
                  </a:lnTo>
                  <a:lnTo>
                    <a:pt x="2" y="346"/>
                  </a:lnTo>
                  <a:lnTo>
                    <a:pt x="8" y="342"/>
                  </a:lnTo>
                  <a:lnTo>
                    <a:pt x="20" y="338"/>
                  </a:lnTo>
                  <a:lnTo>
                    <a:pt x="36" y="332"/>
                  </a:lnTo>
                  <a:lnTo>
                    <a:pt x="56" y="324"/>
                  </a:lnTo>
                  <a:lnTo>
                    <a:pt x="78" y="316"/>
                  </a:lnTo>
                  <a:lnTo>
                    <a:pt x="102" y="304"/>
                  </a:lnTo>
                  <a:lnTo>
                    <a:pt x="132" y="292"/>
                  </a:lnTo>
                  <a:lnTo>
                    <a:pt x="162" y="280"/>
                  </a:lnTo>
                  <a:lnTo>
                    <a:pt x="196" y="264"/>
                  </a:lnTo>
                  <a:lnTo>
                    <a:pt x="267" y="236"/>
                  </a:lnTo>
                  <a:lnTo>
                    <a:pt x="345" y="204"/>
                  </a:lnTo>
                  <a:lnTo>
                    <a:pt x="423" y="172"/>
                  </a:lnTo>
                  <a:lnTo>
                    <a:pt x="503" y="140"/>
                  </a:lnTo>
                  <a:lnTo>
                    <a:pt x="579" y="108"/>
                  </a:lnTo>
                  <a:lnTo>
                    <a:pt x="653" y="80"/>
                  </a:lnTo>
                  <a:lnTo>
                    <a:pt x="687" y="66"/>
                  </a:lnTo>
                  <a:lnTo>
                    <a:pt x="719" y="54"/>
                  </a:lnTo>
                  <a:lnTo>
                    <a:pt x="747" y="42"/>
                  </a:lnTo>
                  <a:lnTo>
                    <a:pt x="773" y="32"/>
                  </a:lnTo>
                  <a:lnTo>
                    <a:pt x="795" y="22"/>
                  </a:lnTo>
                  <a:lnTo>
                    <a:pt x="815" y="14"/>
                  </a:lnTo>
                  <a:lnTo>
                    <a:pt x="831" y="8"/>
                  </a:lnTo>
                  <a:lnTo>
                    <a:pt x="843" y="4"/>
                  </a:lnTo>
                  <a:lnTo>
                    <a:pt x="849" y="2"/>
                  </a:lnTo>
                  <a:lnTo>
                    <a:pt x="853" y="0"/>
                  </a:lnTo>
                  <a:close/>
                </a:path>
              </a:pathLst>
            </a:custGeom>
            <a:solidFill>
              <a:srgbClr val="FFE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7" name="Freeform 324"/>
            <p:cNvSpPr>
              <a:spLocks/>
            </p:cNvSpPr>
            <p:nvPr/>
          </p:nvSpPr>
          <p:spPr bwMode="auto">
            <a:xfrm flipH="1">
              <a:off x="4778" y="2916"/>
              <a:ext cx="446" cy="240"/>
            </a:xfrm>
            <a:custGeom>
              <a:avLst/>
              <a:gdLst/>
              <a:ahLst/>
              <a:cxnLst>
                <a:cxn ang="0">
                  <a:pos x="851" y="0"/>
                </a:cxn>
                <a:cxn ang="0">
                  <a:pos x="855" y="0"/>
                </a:cxn>
                <a:cxn ang="0">
                  <a:pos x="863" y="6"/>
                </a:cxn>
                <a:cxn ang="0">
                  <a:pos x="876" y="14"/>
                </a:cxn>
                <a:cxn ang="0">
                  <a:pos x="880" y="20"/>
                </a:cxn>
                <a:cxn ang="0">
                  <a:pos x="886" y="30"/>
                </a:cxn>
                <a:cxn ang="0">
                  <a:pos x="890" y="50"/>
                </a:cxn>
                <a:cxn ang="0">
                  <a:pos x="890" y="72"/>
                </a:cxn>
                <a:cxn ang="0">
                  <a:pos x="888" y="86"/>
                </a:cxn>
                <a:cxn ang="0">
                  <a:pos x="888" y="92"/>
                </a:cxn>
                <a:cxn ang="0">
                  <a:pos x="888" y="94"/>
                </a:cxn>
                <a:cxn ang="0">
                  <a:pos x="40" y="479"/>
                </a:cxn>
                <a:cxn ang="0">
                  <a:pos x="42" y="463"/>
                </a:cxn>
                <a:cxn ang="0">
                  <a:pos x="42" y="453"/>
                </a:cxn>
                <a:cxn ang="0">
                  <a:pos x="44" y="443"/>
                </a:cxn>
                <a:cxn ang="0">
                  <a:pos x="42" y="435"/>
                </a:cxn>
                <a:cxn ang="0">
                  <a:pos x="38" y="425"/>
                </a:cxn>
                <a:cxn ang="0">
                  <a:pos x="36" y="409"/>
                </a:cxn>
                <a:cxn ang="0">
                  <a:pos x="32" y="393"/>
                </a:cxn>
                <a:cxn ang="0">
                  <a:pos x="28" y="380"/>
                </a:cxn>
                <a:cxn ang="0">
                  <a:pos x="26" y="372"/>
                </a:cxn>
                <a:cxn ang="0">
                  <a:pos x="22" y="366"/>
                </a:cxn>
                <a:cxn ang="0">
                  <a:pos x="14" y="358"/>
                </a:cxn>
                <a:cxn ang="0">
                  <a:pos x="8" y="354"/>
                </a:cxn>
                <a:cxn ang="0">
                  <a:pos x="0" y="348"/>
                </a:cxn>
                <a:cxn ang="0">
                  <a:pos x="2" y="346"/>
                </a:cxn>
                <a:cxn ang="0">
                  <a:pos x="10" y="344"/>
                </a:cxn>
                <a:cxn ang="0">
                  <a:pos x="20" y="338"/>
                </a:cxn>
                <a:cxn ang="0">
                  <a:pos x="36" y="334"/>
                </a:cxn>
                <a:cxn ang="0">
                  <a:pos x="54" y="326"/>
                </a:cxn>
                <a:cxn ang="0">
                  <a:pos x="78" y="316"/>
                </a:cxn>
                <a:cxn ang="0">
                  <a:pos x="104" y="304"/>
                </a:cxn>
                <a:cxn ang="0">
                  <a:pos x="132" y="292"/>
                </a:cxn>
                <a:cxn ang="0">
                  <a:pos x="196" y="266"/>
                </a:cxn>
                <a:cxn ang="0">
                  <a:pos x="269" y="238"/>
                </a:cxn>
                <a:cxn ang="0">
                  <a:pos x="345" y="206"/>
                </a:cxn>
                <a:cxn ang="0">
                  <a:pos x="501" y="142"/>
                </a:cxn>
                <a:cxn ang="0">
                  <a:pos x="579" y="110"/>
                </a:cxn>
                <a:cxn ang="0">
                  <a:pos x="653" y="80"/>
                </a:cxn>
                <a:cxn ang="0">
                  <a:pos x="717" y="54"/>
                </a:cxn>
                <a:cxn ang="0">
                  <a:pos x="745" y="42"/>
                </a:cxn>
                <a:cxn ang="0">
                  <a:pos x="771" y="32"/>
                </a:cxn>
                <a:cxn ang="0">
                  <a:pos x="793" y="24"/>
                </a:cxn>
                <a:cxn ang="0">
                  <a:pos x="813" y="16"/>
                </a:cxn>
                <a:cxn ang="0">
                  <a:pos x="829" y="8"/>
                </a:cxn>
                <a:cxn ang="0">
                  <a:pos x="841" y="4"/>
                </a:cxn>
                <a:cxn ang="0">
                  <a:pos x="847" y="2"/>
                </a:cxn>
                <a:cxn ang="0">
                  <a:pos x="851" y="0"/>
                </a:cxn>
              </a:cxnLst>
              <a:rect l="0" t="0" r="r" b="b"/>
              <a:pathLst>
                <a:path w="890" h="479">
                  <a:moveTo>
                    <a:pt x="851" y="0"/>
                  </a:moveTo>
                  <a:lnTo>
                    <a:pt x="855" y="0"/>
                  </a:lnTo>
                  <a:lnTo>
                    <a:pt x="863" y="6"/>
                  </a:lnTo>
                  <a:lnTo>
                    <a:pt x="876" y="14"/>
                  </a:lnTo>
                  <a:lnTo>
                    <a:pt x="880" y="20"/>
                  </a:lnTo>
                  <a:lnTo>
                    <a:pt x="886" y="30"/>
                  </a:lnTo>
                  <a:lnTo>
                    <a:pt x="890" y="50"/>
                  </a:lnTo>
                  <a:lnTo>
                    <a:pt x="890" y="72"/>
                  </a:lnTo>
                  <a:lnTo>
                    <a:pt x="888" y="86"/>
                  </a:lnTo>
                  <a:lnTo>
                    <a:pt x="888" y="92"/>
                  </a:lnTo>
                  <a:lnTo>
                    <a:pt x="888" y="94"/>
                  </a:lnTo>
                  <a:lnTo>
                    <a:pt x="40" y="479"/>
                  </a:lnTo>
                  <a:lnTo>
                    <a:pt x="42" y="463"/>
                  </a:lnTo>
                  <a:lnTo>
                    <a:pt x="42" y="453"/>
                  </a:lnTo>
                  <a:lnTo>
                    <a:pt x="44" y="443"/>
                  </a:lnTo>
                  <a:lnTo>
                    <a:pt x="42" y="435"/>
                  </a:lnTo>
                  <a:lnTo>
                    <a:pt x="38" y="425"/>
                  </a:lnTo>
                  <a:lnTo>
                    <a:pt x="36" y="409"/>
                  </a:lnTo>
                  <a:lnTo>
                    <a:pt x="32" y="393"/>
                  </a:lnTo>
                  <a:lnTo>
                    <a:pt x="28" y="380"/>
                  </a:lnTo>
                  <a:lnTo>
                    <a:pt x="26" y="372"/>
                  </a:lnTo>
                  <a:lnTo>
                    <a:pt x="22" y="366"/>
                  </a:lnTo>
                  <a:lnTo>
                    <a:pt x="14" y="358"/>
                  </a:lnTo>
                  <a:lnTo>
                    <a:pt x="8" y="354"/>
                  </a:lnTo>
                  <a:lnTo>
                    <a:pt x="0" y="348"/>
                  </a:lnTo>
                  <a:lnTo>
                    <a:pt x="2" y="346"/>
                  </a:lnTo>
                  <a:lnTo>
                    <a:pt x="10" y="344"/>
                  </a:lnTo>
                  <a:lnTo>
                    <a:pt x="20" y="338"/>
                  </a:lnTo>
                  <a:lnTo>
                    <a:pt x="36" y="334"/>
                  </a:lnTo>
                  <a:lnTo>
                    <a:pt x="54" y="326"/>
                  </a:lnTo>
                  <a:lnTo>
                    <a:pt x="78" y="316"/>
                  </a:lnTo>
                  <a:lnTo>
                    <a:pt x="104" y="304"/>
                  </a:lnTo>
                  <a:lnTo>
                    <a:pt x="132" y="292"/>
                  </a:lnTo>
                  <a:lnTo>
                    <a:pt x="196" y="266"/>
                  </a:lnTo>
                  <a:lnTo>
                    <a:pt x="269" y="238"/>
                  </a:lnTo>
                  <a:lnTo>
                    <a:pt x="345" y="206"/>
                  </a:lnTo>
                  <a:lnTo>
                    <a:pt x="501" y="142"/>
                  </a:lnTo>
                  <a:lnTo>
                    <a:pt x="579" y="110"/>
                  </a:lnTo>
                  <a:lnTo>
                    <a:pt x="653" y="80"/>
                  </a:lnTo>
                  <a:lnTo>
                    <a:pt x="717" y="54"/>
                  </a:lnTo>
                  <a:lnTo>
                    <a:pt x="745" y="42"/>
                  </a:lnTo>
                  <a:lnTo>
                    <a:pt x="771" y="32"/>
                  </a:lnTo>
                  <a:lnTo>
                    <a:pt x="793" y="24"/>
                  </a:lnTo>
                  <a:lnTo>
                    <a:pt x="813" y="16"/>
                  </a:lnTo>
                  <a:lnTo>
                    <a:pt x="829" y="8"/>
                  </a:lnTo>
                  <a:lnTo>
                    <a:pt x="841" y="4"/>
                  </a:lnTo>
                  <a:lnTo>
                    <a:pt x="847" y="2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rgbClr val="FFD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8" name="Freeform 325"/>
            <p:cNvSpPr>
              <a:spLocks/>
            </p:cNvSpPr>
            <p:nvPr/>
          </p:nvSpPr>
          <p:spPr bwMode="auto">
            <a:xfrm flipH="1">
              <a:off x="4778" y="2916"/>
              <a:ext cx="445" cy="239"/>
            </a:xfrm>
            <a:custGeom>
              <a:avLst/>
              <a:gdLst/>
              <a:ahLst/>
              <a:cxnLst>
                <a:cxn ang="0">
                  <a:pos x="851" y="0"/>
                </a:cxn>
                <a:cxn ang="0">
                  <a:pos x="853" y="0"/>
                </a:cxn>
                <a:cxn ang="0">
                  <a:pos x="863" y="4"/>
                </a:cxn>
                <a:cxn ang="0">
                  <a:pos x="874" y="12"/>
                </a:cxn>
                <a:cxn ang="0">
                  <a:pos x="878" y="18"/>
                </a:cxn>
                <a:cxn ang="0">
                  <a:pos x="884" y="28"/>
                </a:cxn>
                <a:cxn ang="0">
                  <a:pos x="888" y="50"/>
                </a:cxn>
                <a:cxn ang="0">
                  <a:pos x="888" y="70"/>
                </a:cxn>
                <a:cxn ang="0">
                  <a:pos x="886" y="84"/>
                </a:cxn>
                <a:cxn ang="0">
                  <a:pos x="886" y="88"/>
                </a:cxn>
                <a:cxn ang="0">
                  <a:pos x="886" y="90"/>
                </a:cxn>
                <a:cxn ang="0">
                  <a:pos x="38" y="477"/>
                </a:cxn>
                <a:cxn ang="0">
                  <a:pos x="40" y="461"/>
                </a:cxn>
                <a:cxn ang="0">
                  <a:pos x="40" y="449"/>
                </a:cxn>
                <a:cxn ang="0">
                  <a:pos x="42" y="443"/>
                </a:cxn>
                <a:cxn ang="0">
                  <a:pos x="42" y="441"/>
                </a:cxn>
                <a:cxn ang="0">
                  <a:pos x="38" y="431"/>
                </a:cxn>
                <a:cxn ang="0">
                  <a:pos x="36" y="423"/>
                </a:cxn>
                <a:cxn ang="0">
                  <a:pos x="34" y="409"/>
                </a:cxn>
                <a:cxn ang="0">
                  <a:pos x="30" y="391"/>
                </a:cxn>
                <a:cxn ang="0">
                  <a:pos x="26" y="382"/>
                </a:cxn>
                <a:cxn ang="0">
                  <a:pos x="22" y="368"/>
                </a:cxn>
                <a:cxn ang="0">
                  <a:pos x="14" y="358"/>
                </a:cxn>
                <a:cxn ang="0">
                  <a:pos x="8" y="356"/>
                </a:cxn>
                <a:cxn ang="0">
                  <a:pos x="0" y="350"/>
                </a:cxn>
                <a:cxn ang="0">
                  <a:pos x="0" y="348"/>
                </a:cxn>
                <a:cxn ang="0">
                  <a:pos x="8" y="346"/>
                </a:cxn>
                <a:cxn ang="0">
                  <a:pos x="20" y="340"/>
                </a:cxn>
                <a:cxn ang="0">
                  <a:pos x="34" y="334"/>
                </a:cxn>
                <a:cxn ang="0">
                  <a:pos x="54" y="326"/>
                </a:cxn>
                <a:cxn ang="0">
                  <a:pos x="78" y="316"/>
                </a:cxn>
                <a:cxn ang="0">
                  <a:pos x="104" y="306"/>
                </a:cxn>
                <a:cxn ang="0">
                  <a:pos x="130" y="294"/>
                </a:cxn>
                <a:cxn ang="0">
                  <a:pos x="196" y="268"/>
                </a:cxn>
                <a:cxn ang="0">
                  <a:pos x="267" y="238"/>
                </a:cxn>
                <a:cxn ang="0">
                  <a:pos x="345" y="206"/>
                </a:cxn>
                <a:cxn ang="0">
                  <a:pos x="501" y="140"/>
                </a:cxn>
                <a:cxn ang="0">
                  <a:pos x="579" y="110"/>
                </a:cxn>
                <a:cxn ang="0">
                  <a:pos x="653" y="80"/>
                </a:cxn>
                <a:cxn ang="0">
                  <a:pos x="685" y="66"/>
                </a:cxn>
                <a:cxn ang="0">
                  <a:pos x="717" y="54"/>
                </a:cxn>
                <a:cxn ang="0">
                  <a:pos x="745" y="42"/>
                </a:cxn>
                <a:cxn ang="0">
                  <a:pos x="771" y="32"/>
                </a:cxn>
                <a:cxn ang="0">
                  <a:pos x="793" y="22"/>
                </a:cxn>
                <a:cxn ang="0">
                  <a:pos x="813" y="14"/>
                </a:cxn>
                <a:cxn ang="0">
                  <a:pos x="829" y="8"/>
                </a:cxn>
                <a:cxn ang="0">
                  <a:pos x="841" y="2"/>
                </a:cxn>
                <a:cxn ang="0">
                  <a:pos x="847" y="2"/>
                </a:cxn>
                <a:cxn ang="0">
                  <a:pos x="851" y="0"/>
                </a:cxn>
              </a:cxnLst>
              <a:rect l="0" t="0" r="r" b="b"/>
              <a:pathLst>
                <a:path w="888" h="477">
                  <a:moveTo>
                    <a:pt x="851" y="0"/>
                  </a:moveTo>
                  <a:lnTo>
                    <a:pt x="853" y="0"/>
                  </a:lnTo>
                  <a:lnTo>
                    <a:pt x="863" y="4"/>
                  </a:lnTo>
                  <a:lnTo>
                    <a:pt x="874" y="12"/>
                  </a:lnTo>
                  <a:lnTo>
                    <a:pt x="878" y="18"/>
                  </a:lnTo>
                  <a:lnTo>
                    <a:pt x="884" y="28"/>
                  </a:lnTo>
                  <a:lnTo>
                    <a:pt x="888" y="50"/>
                  </a:lnTo>
                  <a:lnTo>
                    <a:pt x="888" y="70"/>
                  </a:lnTo>
                  <a:lnTo>
                    <a:pt x="886" y="84"/>
                  </a:lnTo>
                  <a:lnTo>
                    <a:pt x="886" y="88"/>
                  </a:lnTo>
                  <a:lnTo>
                    <a:pt x="886" y="90"/>
                  </a:lnTo>
                  <a:lnTo>
                    <a:pt x="38" y="477"/>
                  </a:lnTo>
                  <a:lnTo>
                    <a:pt x="40" y="461"/>
                  </a:lnTo>
                  <a:lnTo>
                    <a:pt x="40" y="449"/>
                  </a:lnTo>
                  <a:lnTo>
                    <a:pt x="42" y="443"/>
                  </a:lnTo>
                  <a:lnTo>
                    <a:pt x="42" y="441"/>
                  </a:lnTo>
                  <a:lnTo>
                    <a:pt x="38" y="431"/>
                  </a:lnTo>
                  <a:lnTo>
                    <a:pt x="36" y="423"/>
                  </a:lnTo>
                  <a:lnTo>
                    <a:pt x="34" y="409"/>
                  </a:lnTo>
                  <a:lnTo>
                    <a:pt x="30" y="391"/>
                  </a:lnTo>
                  <a:lnTo>
                    <a:pt x="26" y="382"/>
                  </a:lnTo>
                  <a:lnTo>
                    <a:pt x="22" y="368"/>
                  </a:lnTo>
                  <a:lnTo>
                    <a:pt x="14" y="358"/>
                  </a:lnTo>
                  <a:lnTo>
                    <a:pt x="8" y="356"/>
                  </a:lnTo>
                  <a:lnTo>
                    <a:pt x="0" y="350"/>
                  </a:lnTo>
                  <a:lnTo>
                    <a:pt x="0" y="348"/>
                  </a:lnTo>
                  <a:lnTo>
                    <a:pt x="8" y="346"/>
                  </a:lnTo>
                  <a:lnTo>
                    <a:pt x="20" y="340"/>
                  </a:lnTo>
                  <a:lnTo>
                    <a:pt x="34" y="334"/>
                  </a:lnTo>
                  <a:lnTo>
                    <a:pt x="54" y="326"/>
                  </a:lnTo>
                  <a:lnTo>
                    <a:pt x="78" y="316"/>
                  </a:lnTo>
                  <a:lnTo>
                    <a:pt x="104" y="306"/>
                  </a:lnTo>
                  <a:lnTo>
                    <a:pt x="130" y="294"/>
                  </a:lnTo>
                  <a:lnTo>
                    <a:pt x="196" y="268"/>
                  </a:lnTo>
                  <a:lnTo>
                    <a:pt x="267" y="238"/>
                  </a:lnTo>
                  <a:lnTo>
                    <a:pt x="345" y="206"/>
                  </a:lnTo>
                  <a:lnTo>
                    <a:pt x="501" y="140"/>
                  </a:lnTo>
                  <a:lnTo>
                    <a:pt x="579" y="110"/>
                  </a:lnTo>
                  <a:lnTo>
                    <a:pt x="653" y="80"/>
                  </a:lnTo>
                  <a:lnTo>
                    <a:pt x="685" y="66"/>
                  </a:lnTo>
                  <a:lnTo>
                    <a:pt x="717" y="54"/>
                  </a:lnTo>
                  <a:lnTo>
                    <a:pt x="745" y="42"/>
                  </a:lnTo>
                  <a:lnTo>
                    <a:pt x="771" y="32"/>
                  </a:lnTo>
                  <a:lnTo>
                    <a:pt x="793" y="22"/>
                  </a:lnTo>
                  <a:lnTo>
                    <a:pt x="813" y="14"/>
                  </a:lnTo>
                  <a:lnTo>
                    <a:pt x="829" y="8"/>
                  </a:lnTo>
                  <a:lnTo>
                    <a:pt x="841" y="2"/>
                  </a:lnTo>
                  <a:lnTo>
                    <a:pt x="847" y="2"/>
                  </a:lnTo>
                  <a:lnTo>
                    <a:pt x="851" y="0"/>
                  </a:lnTo>
                  <a:close/>
                </a:path>
              </a:pathLst>
            </a:custGeom>
            <a:solidFill>
              <a:srgbClr val="FFD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79" name="Freeform 326"/>
            <p:cNvSpPr>
              <a:spLocks/>
            </p:cNvSpPr>
            <p:nvPr/>
          </p:nvSpPr>
          <p:spPr bwMode="auto">
            <a:xfrm flipH="1">
              <a:off x="4778" y="2917"/>
              <a:ext cx="444" cy="237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61" y="4"/>
                </a:cxn>
                <a:cxn ang="0">
                  <a:pos x="870" y="12"/>
                </a:cxn>
                <a:cxn ang="0">
                  <a:pos x="876" y="18"/>
                </a:cxn>
                <a:cxn ang="0">
                  <a:pos x="880" y="28"/>
                </a:cxn>
                <a:cxn ang="0">
                  <a:pos x="886" y="48"/>
                </a:cxn>
                <a:cxn ang="0">
                  <a:pos x="886" y="66"/>
                </a:cxn>
                <a:cxn ang="0">
                  <a:pos x="884" y="82"/>
                </a:cxn>
                <a:cxn ang="0">
                  <a:pos x="882" y="84"/>
                </a:cxn>
                <a:cxn ang="0">
                  <a:pos x="882" y="86"/>
                </a:cxn>
                <a:cxn ang="0">
                  <a:pos x="36" y="473"/>
                </a:cxn>
                <a:cxn ang="0">
                  <a:pos x="36" y="455"/>
                </a:cxn>
                <a:cxn ang="0">
                  <a:pos x="36" y="447"/>
                </a:cxn>
                <a:cxn ang="0">
                  <a:pos x="38" y="439"/>
                </a:cxn>
                <a:cxn ang="0">
                  <a:pos x="38" y="437"/>
                </a:cxn>
                <a:cxn ang="0">
                  <a:pos x="36" y="429"/>
                </a:cxn>
                <a:cxn ang="0">
                  <a:pos x="34" y="421"/>
                </a:cxn>
                <a:cxn ang="0">
                  <a:pos x="30" y="407"/>
                </a:cxn>
                <a:cxn ang="0">
                  <a:pos x="28" y="393"/>
                </a:cxn>
                <a:cxn ang="0">
                  <a:pos x="26" y="382"/>
                </a:cxn>
                <a:cxn ang="0">
                  <a:pos x="20" y="370"/>
                </a:cxn>
                <a:cxn ang="0">
                  <a:pos x="14" y="360"/>
                </a:cxn>
                <a:cxn ang="0">
                  <a:pos x="8" y="356"/>
                </a:cxn>
                <a:cxn ang="0">
                  <a:pos x="0" y="352"/>
                </a:cxn>
                <a:cxn ang="0">
                  <a:pos x="2" y="350"/>
                </a:cxn>
                <a:cxn ang="0">
                  <a:pos x="8" y="346"/>
                </a:cxn>
                <a:cxn ang="0">
                  <a:pos x="18" y="342"/>
                </a:cxn>
                <a:cxn ang="0">
                  <a:pos x="36" y="334"/>
                </a:cxn>
                <a:cxn ang="0">
                  <a:pos x="54" y="326"/>
                </a:cxn>
                <a:cxn ang="0">
                  <a:pos x="76" y="318"/>
                </a:cxn>
                <a:cxn ang="0">
                  <a:pos x="102" y="308"/>
                </a:cxn>
                <a:cxn ang="0">
                  <a:pos x="132" y="296"/>
                </a:cxn>
                <a:cxn ang="0">
                  <a:pos x="162" y="282"/>
                </a:cxn>
                <a:cxn ang="0">
                  <a:pos x="194" y="268"/>
                </a:cxn>
                <a:cxn ang="0">
                  <a:pos x="267" y="238"/>
                </a:cxn>
                <a:cxn ang="0">
                  <a:pos x="343" y="208"/>
                </a:cxn>
                <a:cxn ang="0">
                  <a:pos x="499" y="144"/>
                </a:cxn>
                <a:cxn ang="0">
                  <a:pos x="577" y="110"/>
                </a:cxn>
                <a:cxn ang="0">
                  <a:pos x="651" y="82"/>
                </a:cxn>
                <a:cxn ang="0">
                  <a:pos x="683" y="66"/>
                </a:cxn>
                <a:cxn ang="0">
                  <a:pos x="715" y="56"/>
                </a:cxn>
                <a:cxn ang="0">
                  <a:pos x="743" y="42"/>
                </a:cxn>
                <a:cxn ang="0">
                  <a:pos x="769" y="32"/>
                </a:cxn>
                <a:cxn ang="0">
                  <a:pos x="793" y="22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4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6" h="473">
                  <a:moveTo>
                    <a:pt x="849" y="0"/>
                  </a:moveTo>
                  <a:lnTo>
                    <a:pt x="853" y="0"/>
                  </a:lnTo>
                  <a:lnTo>
                    <a:pt x="861" y="4"/>
                  </a:lnTo>
                  <a:lnTo>
                    <a:pt x="870" y="12"/>
                  </a:lnTo>
                  <a:lnTo>
                    <a:pt x="876" y="18"/>
                  </a:lnTo>
                  <a:lnTo>
                    <a:pt x="880" y="28"/>
                  </a:lnTo>
                  <a:lnTo>
                    <a:pt x="886" y="48"/>
                  </a:lnTo>
                  <a:lnTo>
                    <a:pt x="886" y="66"/>
                  </a:lnTo>
                  <a:lnTo>
                    <a:pt x="884" y="82"/>
                  </a:lnTo>
                  <a:lnTo>
                    <a:pt x="882" y="84"/>
                  </a:lnTo>
                  <a:lnTo>
                    <a:pt x="882" y="86"/>
                  </a:lnTo>
                  <a:lnTo>
                    <a:pt x="36" y="473"/>
                  </a:lnTo>
                  <a:lnTo>
                    <a:pt x="36" y="455"/>
                  </a:lnTo>
                  <a:lnTo>
                    <a:pt x="36" y="447"/>
                  </a:lnTo>
                  <a:lnTo>
                    <a:pt x="38" y="439"/>
                  </a:lnTo>
                  <a:lnTo>
                    <a:pt x="38" y="437"/>
                  </a:lnTo>
                  <a:lnTo>
                    <a:pt x="36" y="429"/>
                  </a:lnTo>
                  <a:lnTo>
                    <a:pt x="34" y="421"/>
                  </a:lnTo>
                  <a:lnTo>
                    <a:pt x="30" y="407"/>
                  </a:lnTo>
                  <a:lnTo>
                    <a:pt x="28" y="393"/>
                  </a:lnTo>
                  <a:lnTo>
                    <a:pt x="26" y="382"/>
                  </a:lnTo>
                  <a:lnTo>
                    <a:pt x="20" y="370"/>
                  </a:lnTo>
                  <a:lnTo>
                    <a:pt x="14" y="360"/>
                  </a:lnTo>
                  <a:lnTo>
                    <a:pt x="8" y="356"/>
                  </a:lnTo>
                  <a:lnTo>
                    <a:pt x="0" y="352"/>
                  </a:lnTo>
                  <a:lnTo>
                    <a:pt x="2" y="350"/>
                  </a:lnTo>
                  <a:lnTo>
                    <a:pt x="8" y="346"/>
                  </a:lnTo>
                  <a:lnTo>
                    <a:pt x="18" y="342"/>
                  </a:lnTo>
                  <a:lnTo>
                    <a:pt x="36" y="334"/>
                  </a:lnTo>
                  <a:lnTo>
                    <a:pt x="54" y="326"/>
                  </a:lnTo>
                  <a:lnTo>
                    <a:pt x="76" y="318"/>
                  </a:lnTo>
                  <a:lnTo>
                    <a:pt x="102" y="308"/>
                  </a:lnTo>
                  <a:lnTo>
                    <a:pt x="132" y="296"/>
                  </a:lnTo>
                  <a:lnTo>
                    <a:pt x="162" y="282"/>
                  </a:lnTo>
                  <a:lnTo>
                    <a:pt x="194" y="268"/>
                  </a:lnTo>
                  <a:lnTo>
                    <a:pt x="267" y="238"/>
                  </a:lnTo>
                  <a:lnTo>
                    <a:pt x="343" y="208"/>
                  </a:lnTo>
                  <a:lnTo>
                    <a:pt x="499" y="144"/>
                  </a:lnTo>
                  <a:lnTo>
                    <a:pt x="577" y="110"/>
                  </a:lnTo>
                  <a:lnTo>
                    <a:pt x="651" y="82"/>
                  </a:lnTo>
                  <a:lnTo>
                    <a:pt x="683" y="66"/>
                  </a:lnTo>
                  <a:lnTo>
                    <a:pt x="715" y="56"/>
                  </a:lnTo>
                  <a:lnTo>
                    <a:pt x="743" y="42"/>
                  </a:lnTo>
                  <a:lnTo>
                    <a:pt x="769" y="32"/>
                  </a:lnTo>
                  <a:lnTo>
                    <a:pt x="793" y="22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4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0" name="Freeform 327"/>
            <p:cNvSpPr>
              <a:spLocks/>
            </p:cNvSpPr>
            <p:nvPr/>
          </p:nvSpPr>
          <p:spPr bwMode="auto">
            <a:xfrm flipH="1">
              <a:off x="4778" y="2918"/>
              <a:ext cx="443" cy="234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1" y="0"/>
                </a:cxn>
                <a:cxn ang="0">
                  <a:pos x="861" y="2"/>
                </a:cxn>
                <a:cxn ang="0">
                  <a:pos x="868" y="10"/>
                </a:cxn>
                <a:cxn ang="0">
                  <a:pos x="874" y="16"/>
                </a:cxn>
                <a:cxn ang="0">
                  <a:pos x="878" y="26"/>
                </a:cxn>
                <a:cxn ang="0">
                  <a:pos x="884" y="46"/>
                </a:cxn>
                <a:cxn ang="0">
                  <a:pos x="884" y="64"/>
                </a:cxn>
                <a:cxn ang="0">
                  <a:pos x="882" y="78"/>
                </a:cxn>
                <a:cxn ang="0">
                  <a:pos x="880" y="80"/>
                </a:cxn>
                <a:cxn ang="0">
                  <a:pos x="880" y="82"/>
                </a:cxn>
                <a:cxn ang="0">
                  <a:pos x="34" y="467"/>
                </a:cxn>
                <a:cxn ang="0">
                  <a:pos x="34" y="451"/>
                </a:cxn>
                <a:cxn ang="0">
                  <a:pos x="34" y="433"/>
                </a:cxn>
                <a:cxn ang="0">
                  <a:pos x="34" y="427"/>
                </a:cxn>
                <a:cxn ang="0">
                  <a:pos x="32" y="419"/>
                </a:cxn>
                <a:cxn ang="0">
                  <a:pos x="28" y="405"/>
                </a:cxn>
                <a:cxn ang="0">
                  <a:pos x="26" y="391"/>
                </a:cxn>
                <a:cxn ang="0">
                  <a:pos x="24" y="382"/>
                </a:cxn>
                <a:cxn ang="0">
                  <a:pos x="20" y="368"/>
                </a:cxn>
                <a:cxn ang="0">
                  <a:pos x="14" y="360"/>
                </a:cxn>
                <a:cxn ang="0">
                  <a:pos x="8" y="358"/>
                </a:cxn>
                <a:cxn ang="0">
                  <a:pos x="0" y="352"/>
                </a:cxn>
                <a:cxn ang="0">
                  <a:pos x="0" y="350"/>
                </a:cxn>
                <a:cxn ang="0">
                  <a:pos x="8" y="348"/>
                </a:cxn>
                <a:cxn ang="0">
                  <a:pos x="18" y="342"/>
                </a:cxn>
                <a:cxn ang="0">
                  <a:pos x="34" y="336"/>
                </a:cxn>
                <a:cxn ang="0">
                  <a:pos x="52" y="328"/>
                </a:cxn>
                <a:cxn ang="0">
                  <a:pos x="76" y="318"/>
                </a:cxn>
                <a:cxn ang="0">
                  <a:pos x="102" y="308"/>
                </a:cxn>
                <a:cxn ang="0">
                  <a:pos x="130" y="296"/>
                </a:cxn>
                <a:cxn ang="0">
                  <a:pos x="162" y="282"/>
                </a:cxn>
                <a:cxn ang="0">
                  <a:pos x="194" y="270"/>
                </a:cxn>
                <a:cxn ang="0">
                  <a:pos x="267" y="238"/>
                </a:cxn>
                <a:cxn ang="0">
                  <a:pos x="343" y="208"/>
                </a:cxn>
                <a:cxn ang="0">
                  <a:pos x="499" y="142"/>
                </a:cxn>
                <a:cxn ang="0">
                  <a:pos x="577" y="110"/>
                </a:cxn>
                <a:cxn ang="0">
                  <a:pos x="651" y="80"/>
                </a:cxn>
                <a:cxn ang="0">
                  <a:pos x="683" y="66"/>
                </a:cxn>
                <a:cxn ang="0">
                  <a:pos x="715" y="54"/>
                </a:cxn>
                <a:cxn ang="0">
                  <a:pos x="743" y="42"/>
                </a:cxn>
                <a:cxn ang="0">
                  <a:pos x="769" y="32"/>
                </a:cxn>
                <a:cxn ang="0">
                  <a:pos x="791" y="22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2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4" h="467">
                  <a:moveTo>
                    <a:pt x="849" y="0"/>
                  </a:moveTo>
                  <a:lnTo>
                    <a:pt x="851" y="0"/>
                  </a:lnTo>
                  <a:lnTo>
                    <a:pt x="861" y="2"/>
                  </a:lnTo>
                  <a:lnTo>
                    <a:pt x="868" y="10"/>
                  </a:lnTo>
                  <a:lnTo>
                    <a:pt x="874" y="16"/>
                  </a:lnTo>
                  <a:lnTo>
                    <a:pt x="878" y="26"/>
                  </a:lnTo>
                  <a:lnTo>
                    <a:pt x="884" y="46"/>
                  </a:lnTo>
                  <a:lnTo>
                    <a:pt x="884" y="64"/>
                  </a:lnTo>
                  <a:lnTo>
                    <a:pt x="882" y="78"/>
                  </a:lnTo>
                  <a:lnTo>
                    <a:pt x="880" y="80"/>
                  </a:lnTo>
                  <a:lnTo>
                    <a:pt x="880" y="82"/>
                  </a:lnTo>
                  <a:lnTo>
                    <a:pt x="34" y="467"/>
                  </a:lnTo>
                  <a:lnTo>
                    <a:pt x="34" y="451"/>
                  </a:lnTo>
                  <a:lnTo>
                    <a:pt x="34" y="433"/>
                  </a:lnTo>
                  <a:lnTo>
                    <a:pt x="34" y="427"/>
                  </a:lnTo>
                  <a:lnTo>
                    <a:pt x="32" y="419"/>
                  </a:lnTo>
                  <a:lnTo>
                    <a:pt x="28" y="405"/>
                  </a:lnTo>
                  <a:lnTo>
                    <a:pt x="26" y="391"/>
                  </a:lnTo>
                  <a:lnTo>
                    <a:pt x="24" y="382"/>
                  </a:lnTo>
                  <a:lnTo>
                    <a:pt x="20" y="368"/>
                  </a:lnTo>
                  <a:lnTo>
                    <a:pt x="14" y="360"/>
                  </a:lnTo>
                  <a:lnTo>
                    <a:pt x="8" y="358"/>
                  </a:lnTo>
                  <a:lnTo>
                    <a:pt x="0" y="352"/>
                  </a:lnTo>
                  <a:lnTo>
                    <a:pt x="0" y="350"/>
                  </a:lnTo>
                  <a:lnTo>
                    <a:pt x="8" y="348"/>
                  </a:lnTo>
                  <a:lnTo>
                    <a:pt x="18" y="342"/>
                  </a:lnTo>
                  <a:lnTo>
                    <a:pt x="34" y="336"/>
                  </a:lnTo>
                  <a:lnTo>
                    <a:pt x="52" y="328"/>
                  </a:lnTo>
                  <a:lnTo>
                    <a:pt x="76" y="318"/>
                  </a:lnTo>
                  <a:lnTo>
                    <a:pt x="102" y="308"/>
                  </a:lnTo>
                  <a:lnTo>
                    <a:pt x="130" y="296"/>
                  </a:lnTo>
                  <a:lnTo>
                    <a:pt x="162" y="282"/>
                  </a:lnTo>
                  <a:lnTo>
                    <a:pt x="194" y="270"/>
                  </a:lnTo>
                  <a:lnTo>
                    <a:pt x="267" y="238"/>
                  </a:lnTo>
                  <a:lnTo>
                    <a:pt x="343" y="208"/>
                  </a:lnTo>
                  <a:lnTo>
                    <a:pt x="499" y="142"/>
                  </a:lnTo>
                  <a:lnTo>
                    <a:pt x="577" y="110"/>
                  </a:lnTo>
                  <a:lnTo>
                    <a:pt x="651" y="80"/>
                  </a:lnTo>
                  <a:lnTo>
                    <a:pt x="683" y="66"/>
                  </a:lnTo>
                  <a:lnTo>
                    <a:pt x="715" y="54"/>
                  </a:lnTo>
                  <a:lnTo>
                    <a:pt x="743" y="42"/>
                  </a:lnTo>
                  <a:lnTo>
                    <a:pt x="769" y="32"/>
                  </a:lnTo>
                  <a:lnTo>
                    <a:pt x="791" y="22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2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7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1" name="Freeform 328"/>
            <p:cNvSpPr>
              <a:spLocks/>
            </p:cNvSpPr>
            <p:nvPr/>
          </p:nvSpPr>
          <p:spPr bwMode="auto">
            <a:xfrm flipH="1">
              <a:off x="4778" y="2918"/>
              <a:ext cx="442" cy="233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59" y="2"/>
                </a:cxn>
                <a:cxn ang="0">
                  <a:pos x="868" y="10"/>
                </a:cxn>
                <a:cxn ang="0">
                  <a:pos x="872" y="16"/>
                </a:cxn>
                <a:cxn ang="0">
                  <a:pos x="878" y="26"/>
                </a:cxn>
                <a:cxn ang="0">
                  <a:pos x="882" y="46"/>
                </a:cxn>
                <a:cxn ang="0">
                  <a:pos x="882" y="64"/>
                </a:cxn>
                <a:cxn ang="0">
                  <a:pos x="880" y="76"/>
                </a:cxn>
                <a:cxn ang="0">
                  <a:pos x="880" y="80"/>
                </a:cxn>
                <a:cxn ang="0">
                  <a:pos x="32" y="465"/>
                </a:cxn>
                <a:cxn ang="0">
                  <a:pos x="34" y="449"/>
                </a:cxn>
                <a:cxn ang="0">
                  <a:pos x="34" y="431"/>
                </a:cxn>
                <a:cxn ang="0">
                  <a:pos x="28" y="405"/>
                </a:cxn>
                <a:cxn ang="0">
                  <a:pos x="24" y="393"/>
                </a:cxn>
                <a:cxn ang="0">
                  <a:pos x="22" y="384"/>
                </a:cxn>
                <a:cxn ang="0">
                  <a:pos x="20" y="370"/>
                </a:cxn>
                <a:cxn ang="0">
                  <a:pos x="14" y="362"/>
                </a:cxn>
                <a:cxn ang="0">
                  <a:pos x="8" y="358"/>
                </a:cxn>
                <a:cxn ang="0">
                  <a:pos x="0" y="354"/>
                </a:cxn>
                <a:cxn ang="0">
                  <a:pos x="2" y="352"/>
                </a:cxn>
                <a:cxn ang="0">
                  <a:pos x="10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8" y="322"/>
                </a:cxn>
                <a:cxn ang="0">
                  <a:pos x="104" y="310"/>
                </a:cxn>
                <a:cxn ang="0">
                  <a:pos x="132" y="298"/>
                </a:cxn>
                <a:cxn ang="0">
                  <a:pos x="162" y="286"/>
                </a:cxn>
                <a:cxn ang="0">
                  <a:pos x="196" y="272"/>
                </a:cxn>
                <a:cxn ang="0">
                  <a:pos x="267" y="242"/>
                </a:cxn>
                <a:cxn ang="0">
                  <a:pos x="345" y="210"/>
                </a:cxn>
                <a:cxn ang="0">
                  <a:pos x="423" y="176"/>
                </a:cxn>
                <a:cxn ang="0">
                  <a:pos x="501" y="142"/>
                </a:cxn>
                <a:cxn ang="0">
                  <a:pos x="579" y="112"/>
                </a:cxn>
                <a:cxn ang="0">
                  <a:pos x="651" y="80"/>
                </a:cxn>
                <a:cxn ang="0">
                  <a:pos x="717" y="54"/>
                </a:cxn>
                <a:cxn ang="0">
                  <a:pos x="743" y="44"/>
                </a:cxn>
                <a:cxn ang="0">
                  <a:pos x="769" y="32"/>
                </a:cxn>
                <a:cxn ang="0">
                  <a:pos x="793" y="22"/>
                </a:cxn>
                <a:cxn ang="0">
                  <a:pos x="811" y="14"/>
                </a:cxn>
                <a:cxn ang="0">
                  <a:pos x="829" y="8"/>
                </a:cxn>
                <a:cxn ang="0">
                  <a:pos x="839" y="2"/>
                </a:cxn>
                <a:cxn ang="0">
                  <a:pos x="847" y="2"/>
                </a:cxn>
                <a:cxn ang="0">
                  <a:pos x="849" y="0"/>
                </a:cxn>
              </a:cxnLst>
              <a:rect l="0" t="0" r="r" b="b"/>
              <a:pathLst>
                <a:path w="882" h="465">
                  <a:moveTo>
                    <a:pt x="849" y="0"/>
                  </a:moveTo>
                  <a:lnTo>
                    <a:pt x="853" y="0"/>
                  </a:lnTo>
                  <a:lnTo>
                    <a:pt x="859" y="2"/>
                  </a:lnTo>
                  <a:lnTo>
                    <a:pt x="868" y="10"/>
                  </a:lnTo>
                  <a:lnTo>
                    <a:pt x="872" y="16"/>
                  </a:lnTo>
                  <a:lnTo>
                    <a:pt x="878" y="26"/>
                  </a:lnTo>
                  <a:lnTo>
                    <a:pt x="882" y="46"/>
                  </a:lnTo>
                  <a:lnTo>
                    <a:pt x="882" y="64"/>
                  </a:lnTo>
                  <a:lnTo>
                    <a:pt x="880" y="76"/>
                  </a:lnTo>
                  <a:lnTo>
                    <a:pt x="880" y="80"/>
                  </a:lnTo>
                  <a:lnTo>
                    <a:pt x="32" y="465"/>
                  </a:lnTo>
                  <a:lnTo>
                    <a:pt x="34" y="449"/>
                  </a:lnTo>
                  <a:lnTo>
                    <a:pt x="34" y="431"/>
                  </a:lnTo>
                  <a:lnTo>
                    <a:pt x="28" y="405"/>
                  </a:lnTo>
                  <a:lnTo>
                    <a:pt x="24" y="393"/>
                  </a:lnTo>
                  <a:lnTo>
                    <a:pt x="22" y="384"/>
                  </a:lnTo>
                  <a:lnTo>
                    <a:pt x="20" y="370"/>
                  </a:lnTo>
                  <a:lnTo>
                    <a:pt x="14" y="362"/>
                  </a:lnTo>
                  <a:lnTo>
                    <a:pt x="8" y="358"/>
                  </a:lnTo>
                  <a:lnTo>
                    <a:pt x="0" y="354"/>
                  </a:lnTo>
                  <a:lnTo>
                    <a:pt x="2" y="352"/>
                  </a:lnTo>
                  <a:lnTo>
                    <a:pt x="10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8" y="322"/>
                  </a:lnTo>
                  <a:lnTo>
                    <a:pt x="104" y="310"/>
                  </a:lnTo>
                  <a:lnTo>
                    <a:pt x="132" y="298"/>
                  </a:lnTo>
                  <a:lnTo>
                    <a:pt x="162" y="286"/>
                  </a:lnTo>
                  <a:lnTo>
                    <a:pt x="196" y="272"/>
                  </a:lnTo>
                  <a:lnTo>
                    <a:pt x="267" y="242"/>
                  </a:lnTo>
                  <a:lnTo>
                    <a:pt x="345" y="210"/>
                  </a:lnTo>
                  <a:lnTo>
                    <a:pt x="423" y="176"/>
                  </a:lnTo>
                  <a:lnTo>
                    <a:pt x="501" y="142"/>
                  </a:lnTo>
                  <a:lnTo>
                    <a:pt x="579" y="112"/>
                  </a:lnTo>
                  <a:lnTo>
                    <a:pt x="651" y="80"/>
                  </a:lnTo>
                  <a:lnTo>
                    <a:pt x="717" y="54"/>
                  </a:lnTo>
                  <a:lnTo>
                    <a:pt x="743" y="44"/>
                  </a:lnTo>
                  <a:lnTo>
                    <a:pt x="769" y="32"/>
                  </a:lnTo>
                  <a:lnTo>
                    <a:pt x="793" y="22"/>
                  </a:lnTo>
                  <a:lnTo>
                    <a:pt x="811" y="14"/>
                  </a:lnTo>
                  <a:lnTo>
                    <a:pt x="829" y="8"/>
                  </a:lnTo>
                  <a:lnTo>
                    <a:pt x="839" y="2"/>
                  </a:lnTo>
                  <a:lnTo>
                    <a:pt x="847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2" name="Freeform 329"/>
            <p:cNvSpPr>
              <a:spLocks/>
            </p:cNvSpPr>
            <p:nvPr/>
          </p:nvSpPr>
          <p:spPr bwMode="auto">
            <a:xfrm flipH="1">
              <a:off x="4778" y="2919"/>
              <a:ext cx="441" cy="231"/>
            </a:xfrm>
            <a:custGeom>
              <a:avLst/>
              <a:gdLst/>
              <a:ahLst/>
              <a:cxnLst>
                <a:cxn ang="0">
                  <a:pos x="849" y="0"/>
                </a:cxn>
                <a:cxn ang="0">
                  <a:pos x="853" y="0"/>
                </a:cxn>
                <a:cxn ang="0">
                  <a:pos x="859" y="2"/>
                </a:cxn>
                <a:cxn ang="0">
                  <a:pos x="866" y="8"/>
                </a:cxn>
                <a:cxn ang="0">
                  <a:pos x="870" y="14"/>
                </a:cxn>
                <a:cxn ang="0">
                  <a:pos x="876" y="24"/>
                </a:cxn>
                <a:cxn ang="0">
                  <a:pos x="880" y="44"/>
                </a:cxn>
                <a:cxn ang="0">
                  <a:pos x="880" y="62"/>
                </a:cxn>
                <a:cxn ang="0">
                  <a:pos x="878" y="74"/>
                </a:cxn>
                <a:cxn ang="0">
                  <a:pos x="878" y="76"/>
                </a:cxn>
                <a:cxn ang="0">
                  <a:pos x="878" y="78"/>
                </a:cxn>
                <a:cxn ang="0">
                  <a:pos x="30" y="461"/>
                </a:cxn>
                <a:cxn ang="0">
                  <a:pos x="32" y="445"/>
                </a:cxn>
                <a:cxn ang="0">
                  <a:pos x="32" y="427"/>
                </a:cxn>
                <a:cxn ang="0">
                  <a:pos x="30" y="421"/>
                </a:cxn>
                <a:cxn ang="0">
                  <a:pos x="28" y="415"/>
                </a:cxn>
                <a:cxn ang="0">
                  <a:pos x="26" y="405"/>
                </a:cxn>
                <a:cxn ang="0">
                  <a:pos x="24" y="393"/>
                </a:cxn>
                <a:cxn ang="0">
                  <a:pos x="22" y="384"/>
                </a:cxn>
                <a:cxn ang="0">
                  <a:pos x="18" y="372"/>
                </a:cxn>
                <a:cxn ang="0">
                  <a:pos x="14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0" y="352"/>
                </a:cxn>
                <a:cxn ang="0">
                  <a:pos x="10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8" y="322"/>
                </a:cxn>
                <a:cxn ang="0">
                  <a:pos x="104" y="310"/>
                </a:cxn>
                <a:cxn ang="0">
                  <a:pos x="130" y="300"/>
                </a:cxn>
                <a:cxn ang="0">
                  <a:pos x="162" y="286"/>
                </a:cxn>
                <a:cxn ang="0">
                  <a:pos x="196" y="272"/>
                </a:cxn>
                <a:cxn ang="0">
                  <a:pos x="267" y="242"/>
                </a:cxn>
                <a:cxn ang="0">
                  <a:pos x="345" y="210"/>
                </a:cxn>
                <a:cxn ang="0">
                  <a:pos x="421" y="178"/>
                </a:cxn>
                <a:cxn ang="0">
                  <a:pos x="501" y="144"/>
                </a:cxn>
                <a:cxn ang="0">
                  <a:pos x="577" y="112"/>
                </a:cxn>
                <a:cxn ang="0">
                  <a:pos x="651" y="82"/>
                </a:cxn>
                <a:cxn ang="0">
                  <a:pos x="715" y="56"/>
                </a:cxn>
                <a:cxn ang="0">
                  <a:pos x="743" y="44"/>
                </a:cxn>
                <a:cxn ang="0">
                  <a:pos x="769" y="32"/>
                </a:cxn>
                <a:cxn ang="0">
                  <a:pos x="793" y="24"/>
                </a:cxn>
                <a:cxn ang="0">
                  <a:pos x="811" y="14"/>
                </a:cxn>
                <a:cxn ang="0">
                  <a:pos x="827" y="8"/>
                </a:cxn>
                <a:cxn ang="0">
                  <a:pos x="839" y="4"/>
                </a:cxn>
                <a:cxn ang="0">
                  <a:pos x="845" y="2"/>
                </a:cxn>
                <a:cxn ang="0">
                  <a:pos x="849" y="0"/>
                </a:cxn>
              </a:cxnLst>
              <a:rect l="0" t="0" r="r" b="b"/>
              <a:pathLst>
                <a:path w="880" h="461">
                  <a:moveTo>
                    <a:pt x="849" y="0"/>
                  </a:moveTo>
                  <a:lnTo>
                    <a:pt x="853" y="0"/>
                  </a:lnTo>
                  <a:lnTo>
                    <a:pt x="859" y="2"/>
                  </a:lnTo>
                  <a:lnTo>
                    <a:pt x="866" y="8"/>
                  </a:lnTo>
                  <a:lnTo>
                    <a:pt x="870" y="14"/>
                  </a:lnTo>
                  <a:lnTo>
                    <a:pt x="876" y="24"/>
                  </a:lnTo>
                  <a:lnTo>
                    <a:pt x="880" y="44"/>
                  </a:lnTo>
                  <a:lnTo>
                    <a:pt x="880" y="62"/>
                  </a:lnTo>
                  <a:lnTo>
                    <a:pt x="878" y="74"/>
                  </a:lnTo>
                  <a:lnTo>
                    <a:pt x="878" y="76"/>
                  </a:lnTo>
                  <a:lnTo>
                    <a:pt x="878" y="78"/>
                  </a:lnTo>
                  <a:lnTo>
                    <a:pt x="30" y="461"/>
                  </a:lnTo>
                  <a:lnTo>
                    <a:pt x="32" y="445"/>
                  </a:lnTo>
                  <a:lnTo>
                    <a:pt x="32" y="427"/>
                  </a:lnTo>
                  <a:lnTo>
                    <a:pt x="30" y="421"/>
                  </a:lnTo>
                  <a:lnTo>
                    <a:pt x="28" y="415"/>
                  </a:lnTo>
                  <a:lnTo>
                    <a:pt x="26" y="405"/>
                  </a:lnTo>
                  <a:lnTo>
                    <a:pt x="24" y="393"/>
                  </a:lnTo>
                  <a:lnTo>
                    <a:pt x="22" y="384"/>
                  </a:lnTo>
                  <a:lnTo>
                    <a:pt x="18" y="372"/>
                  </a:lnTo>
                  <a:lnTo>
                    <a:pt x="14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0" y="352"/>
                  </a:lnTo>
                  <a:lnTo>
                    <a:pt x="10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8" y="322"/>
                  </a:lnTo>
                  <a:lnTo>
                    <a:pt x="104" y="310"/>
                  </a:lnTo>
                  <a:lnTo>
                    <a:pt x="130" y="300"/>
                  </a:lnTo>
                  <a:lnTo>
                    <a:pt x="162" y="286"/>
                  </a:lnTo>
                  <a:lnTo>
                    <a:pt x="196" y="272"/>
                  </a:lnTo>
                  <a:lnTo>
                    <a:pt x="267" y="242"/>
                  </a:lnTo>
                  <a:lnTo>
                    <a:pt x="345" y="210"/>
                  </a:lnTo>
                  <a:lnTo>
                    <a:pt x="421" y="178"/>
                  </a:lnTo>
                  <a:lnTo>
                    <a:pt x="501" y="144"/>
                  </a:lnTo>
                  <a:lnTo>
                    <a:pt x="577" y="112"/>
                  </a:lnTo>
                  <a:lnTo>
                    <a:pt x="651" y="82"/>
                  </a:lnTo>
                  <a:lnTo>
                    <a:pt x="715" y="56"/>
                  </a:lnTo>
                  <a:lnTo>
                    <a:pt x="743" y="44"/>
                  </a:lnTo>
                  <a:lnTo>
                    <a:pt x="769" y="32"/>
                  </a:lnTo>
                  <a:lnTo>
                    <a:pt x="793" y="24"/>
                  </a:lnTo>
                  <a:lnTo>
                    <a:pt x="811" y="14"/>
                  </a:lnTo>
                  <a:lnTo>
                    <a:pt x="827" y="8"/>
                  </a:lnTo>
                  <a:lnTo>
                    <a:pt x="839" y="4"/>
                  </a:lnTo>
                  <a:lnTo>
                    <a:pt x="845" y="2"/>
                  </a:lnTo>
                  <a:lnTo>
                    <a:pt x="849" y="0"/>
                  </a:lnTo>
                  <a:close/>
                </a:path>
              </a:pathLst>
            </a:custGeom>
            <a:solidFill>
              <a:srgbClr val="FFB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3" name="Freeform 330"/>
            <p:cNvSpPr>
              <a:spLocks/>
            </p:cNvSpPr>
            <p:nvPr/>
          </p:nvSpPr>
          <p:spPr bwMode="auto">
            <a:xfrm flipH="1">
              <a:off x="4778" y="2920"/>
              <a:ext cx="439" cy="229"/>
            </a:xfrm>
            <a:custGeom>
              <a:avLst/>
              <a:gdLst/>
              <a:ahLst/>
              <a:cxnLst>
                <a:cxn ang="0">
                  <a:pos x="847" y="0"/>
                </a:cxn>
                <a:cxn ang="0">
                  <a:pos x="849" y="0"/>
                </a:cxn>
                <a:cxn ang="0">
                  <a:pos x="855" y="2"/>
                </a:cxn>
                <a:cxn ang="0">
                  <a:pos x="864" y="8"/>
                </a:cxn>
                <a:cxn ang="0">
                  <a:pos x="866" y="14"/>
                </a:cxn>
                <a:cxn ang="0">
                  <a:pos x="872" y="22"/>
                </a:cxn>
                <a:cxn ang="0">
                  <a:pos x="876" y="42"/>
                </a:cxn>
                <a:cxn ang="0">
                  <a:pos x="876" y="58"/>
                </a:cxn>
                <a:cxn ang="0">
                  <a:pos x="874" y="70"/>
                </a:cxn>
                <a:cxn ang="0">
                  <a:pos x="874" y="74"/>
                </a:cxn>
                <a:cxn ang="0">
                  <a:pos x="28" y="457"/>
                </a:cxn>
                <a:cxn ang="0">
                  <a:pos x="28" y="441"/>
                </a:cxn>
                <a:cxn ang="0">
                  <a:pos x="28" y="423"/>
                </a:cxn>
                <a:cxn ang="0">
                  <a:pos x="26" y="419"/>
                </a:cxn>
                <a:cxn ang="0">
                  <a:pos x="24" y="411"/>
                </a:cxn>
                <a:cxn ang="0">
                  <a:pos x="22" y="403"/>
                </a:cxn>
                <a:cxn ang="0">
                  <a:pos x="20" y="391"/>
                </a:cxn>
                <a:cxn ang="0">
                  <a:pos x="20" y="383"/>
                </a:cxn>
                <a:cxn ang="0">
                  <a:pos x="18" y="372"/>
                </a:cxn>
                <a:cxn ang="0">
                  <a:pos x="12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2" y="352"/>
                </a:cxn>
                <a:cxn ang="0">
                  <a:pos x="8" y="350"/>
                </a:cxn>
                <a:cxn ang="0">
                  <a:pos x="20" y="344"/>
                </a:cxn>
                <a:cxn ang="0">
                  <a:pos x="36" y="338"/>
                </a:cxn>
                <a:cxn ang="0">
                  <a:pos x="54" y="330"/>
                </a:cxn>
                <a:cxn ang="0">
                  <a:pos x="76" y="322"/>
                </a:cxn>
                <a:cxn ang="0">
                  <a:pos x="102" y="310"/>
                </a:cxn>
                <a:cxn ang="0">
                  <a:pos x="132" y="298"/>
                </a:cxn>
                <a:cxn ang="0">
                  <a:pos x="162" y="286"/>
                </a:cxn>
                <a:cxn ang="0">
                  <a:pos x="194" y="272"/>
                </a:cxn>
                <a:cxn ang="0">
                  <a:pos x="265" y="242"/>
                </a:cxn>
                <a:cxn ang="0">
                  <a:pos x="343" y="210"/>
                </a:cxn>
                <a:cxn ang="0">
                  <a:pos x="421" y="178"/>
                </a:cxn>
                <a:cxn ang="0">
                  <a:pos x="499" y="142"/>
                </a:cxn>
                <a:cxn ang="0">
                  <a:pos x="575" y="112"/>
                </a:cxn>
                <a:cxn ang="0">
                  <a:pos x="649" y="82"/>
                </a:cxn>
                <a:cxn ang="0">
                  <a:pos x="713" y="56"/>
                </a:cxn>
                <a:cxn ang="0">
                  <a:pos x="741" y="44"/>
                </a:cxn>
                <a:cxn ang="0">
                  <a:pos x="767" y="32"/>
                </a:cxn>
                <a:cxn ang="0">
                  <a:pos x="789" y="22"/>
                </a:cxn>
                <a:cxn ang="0">
                  <a:pos x="809" y="14"/>
                </a:cxn>
                <a:cxn ang="0">
                  <a:pos x="825" y="8"/>
                </a:cxn>
                <a:cxn ang="0">
                  <a:pos x="837" y="4"/>
                </a:cxn>
                <a:cxn ang="0">
                  <a:pos x="843" y="2"/>
                </a:cxn>
                <a:cxn ang="0">
                  <a:pos x="847" y="0"/>
                </a:cxn>
              </a:cxnLst>
              <a:rect l="0" t="0" r="r" b="b"/>
              <a:pathLst>
                <a:path w="876" h="457">
                  <a:moveTo>
                    <a:pt x="847" y="0"/>
                  </a:moveTo>
                  <a:lnTo>
                    <a:pt x="849" y="0"/>
                  </a:lnTo>
                  <a:lnTo>
                    <a:pt x="855" y="2"/>
                  </a:lnTo>
                  <a:lnTo>
                    <a:pt x="864" y="8"/>
                  </a:lnTo>
                  <a:lnTo>
                    <a:pt x="866" y="14"/>
                  </a:lnTo>
                  <a:lnTo>
                    <a:pt x="872" y="22"/>
                  </a:lnTo>
                  <a:lnTo>
                    <a:pt x="876" y="42"/>
                  </a:lnTo>
                  <a:lnTo>
                    <a:pt x="876" y="58"/>
                  </a:lnTo>
                  <a:lnTo>
                    <a:pt x="874" y="70"/>
                  </a:lnTo>
                  <a:lnTo>
                    <a:pt x="874" y="74"/>
                  </a:lnTo>
                  <a:lnTo>
                    <a:pt x="28" y="457"/>
                  </a:lnTo>
                  <a:lnTo>
                    <a:pt x="28" y="441"/>
                  </a:lnTo>
                  <a:lnTo>
                    <a:pt x="28" y="423"/>
                  </a:lnTo>
                  <a:lnTo>
                    <a:pt x="26" y="419"/>
                  </a:lnTo>
                  <a:lnTo>
                    <a:pt x="24" y="411"/>
                  </a:lnTo>
                  <a:lnTo>
                    <a:pt x="22" y="403"/>
                  </a:lnTo>
                  <a:lnTo>
                    <a:pt x="20" y="391"/>
                  </a:lnTo>
                  <a:lnTo>
                    <a:pt x="20" y="383"/>
                  </a:lnTo>
                  <a:lnTo>
                    <a:pt x="18" y="372"/>
                  </a:lnTo>
                  <a:lnTo>
                    <a:pt x="12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2" y="352"/>
                  </a:lnTo>
                  <a:lnTo>
                    <a:pt x="8" y="350"/>
                  </a:lnTo>
                  <a:lnTo>
                    <a:pt x="20" y="344"/>
                  </a:lnTo>
                  <a:lnTo>
                    <a:pt x="36" y="338"/>
                  </a:lnTo>
                  <a:lnTo>
                    <a:pt x="54" y="330"/>
                  </a:lnTo>
                  <a:lnTo>
                    <a:pt x="76" y="322"/>
                  </a:lnTo>
                  <a:lnTo>
                    <a:pt x="102" y="310"/>
                  </a:lnTo>
                  <a:lnTo>
                    <a:pt x="132" y="298"/>
                  </a:lnTo>
                  <a:lnTo>
                    <a:pt x="162" y="286"/>
                  </a:lnTo>
                  <a:lnTo>
                    <a:pt x="194" y="272"/>
                  </a:lnTo>
                  <a:lnTo>
                    <a:pt x="265" y="242"/>
                  </a:lnTo>
                  <a:lnTo>
                    <a:pt x="343" y="210"/>
                  </a:lnTo>
                  <a:lnTo>
                    <a:pt x="421" y="178"/>
                  </a:lnTo>
                  <a:lnTo>
                    <a:pt x="499" y="142"/>
                  </a:lnTo>
                  <a:lnTo>
                    <a:pt x="575" y="112"/>
                  </a:lnTo>
                  <a:lnTo>
                    <a:pt x="649" y="82"/>
                  </a:lnTo>
                  <a:lnTo>
                    <a:pt x="713" y="56"/>
                  </a:lnTo>
                  <a:lnTo>
                    <a:pt x="741" y="44"/>
                  </a:lnTo>
                  <a:lnTo>
                    <a:pt x="767" y="32"/>
                  </a:lnTo>
                  <a:lnTo>
                    <a:pt x="789" y="22"/>
                  </a:lnTo>
                  <a:lnTo>
                    <a:pt x="809" y="14"/>
                  </a:lnTo>
                  <a:lnTo>
                    <a:pt x="825" y="8"/>
                  </a:lnTo>
                  <a:lnTo>
                    <a:pt x="837" y="4"/>
                  </a:lnTo>
                  <a:lnTo>
                    <a:pt x="843" y="2"/>
                  </a:lnTo>
                  <a:lnTo>
                    <a:pt x="847" y="0"/>
                  </a:lnTo>
                  <a:close/>
                </a:path>
              </a:pathLst>
            </a:custGeom>
            <a:solidFill>
              <a:srgbClr val="FFB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4" name="Freeform 331"/>
            <p:cNvSpPr>
              <a:spLocks/>
            </p:cNvSpPr>
            <p:nvPr/>
          </p:nvSpPr>
          <p:spPr bwMode="auto">
            <a:xfrm flipH="1">
              <a:off x="4777" y="2921"/>
              <a:ext cx="440" cy="226"/>
            </a:xfrm>
            <a:custGeom>
              <a:avLst/>
              <a:gdLst/>
              <a:ahLst/>
              <a:cxnLst>
                <a:cxn ang="0">
                  <a:pos x="847" y="0"/>
                </a:cxn>
                <a:cxn ang="0">
                  <a:pos x="855" y="0"/>
                </a:cxn>
                <a:cxn ang="0">
                  <a:pos x="862" y="6"/>
                </a:cxn>
                <a:cxn ang="0">
                  <a:pos x="866" y="12"/>
                </a:cxn>
                <a:cxn ang="0">
                  <a:pos x="870" y="20"/>
                </a:cxn>
                <a:cxn ang="0">
                  <a:pos x="876" y="38"/>
                </a:cxn>
                <a:cxn ang="0">
                  <a:pos x="878" y="54"/>
                </a:cxn>
                <a:cxn ang="0">
                  <a:pos x="876" y="66"/>
                </a:cxn>
                <a:cxn ang="0">
                  <a:pos x="874" y="70"/>
                </a:cxn>
                <a:cxn ang="0">
                  <a:pos x="26" y="451"/>
                </a:cxn>
                <a:cxn ang="0">
                  <a:pos x="28" y="435"/>
                </a:cxn>
                <a:cxn ang="0">
                  <a:pos x="28" y="421"/>
                </a:cxn>
                <a:cxn ang="0">
                  <a:pos x="26" y="419"/>
                </a:cxn>
                <a:cxn ang="0">
                  <a:pos x="26" y="417"/>
                </a:cxn>
                <a:cxn ang="0">
                  <a:pos x="26" y="413"/>
                </a:cxn>
                <a:cxn ang="0">
                  <a:pos x="22" y="409"/>
                </a:cxn>
                <a:cxn ang="0">
                  <a:pos x="20" y="399"/>
                </a:cxn>
                <a:cxn ang="0">
                  <a:pos x="18" y="389"/>
                </a:cxn>
                <a:cxn ang="0">
                  <a:pos x="18" y="381"/>
                </a:cxn>
                <a:cxn ang="0">
                  <a:pos x="18" y="370"/>
                </a:cxn>
                <a:cxn ang="0">
                  <a:pos x="12" y="364"/>
                </a:cxn>
                <a:cxn ang="0">
                  <a:pos x="8" y="360"/>
                </a:cxn>
                <a:cxn ang="0">
                  <a:pos x="0" y="354"/>
                </a:cxn>
                <a:cxn ang="0">
                  <a:pos x="0" y="352"/>
                </a:cxn>
                <a:cxn ang="0">
                  <a:pos x="8" y="350"/>
                </a:cxn>
                <a:cxn ang="0">
                  <a:pos x="18" y="344"/>
                </a:cxn>
                <a:cxn ang="0">
                  <a:pos x="34" y="338"/>
                </a:cxn>
                <a:cxn ang="0">
                  <a:pos x="54" y="330"/>
                </a:cxn>
                <a:cxn ang="0">
                  <a:pos x="78" y="320"/>
                </a:cxn>
                <a:cxn ang="0">
                  <a:pos x="102" y="308"/>
                </a:cxn>
                <a:cxn ang="0">
                  <a:pos x="130" y="298"/>
                </a:cxn>
                <a:cxn ang="0">
                  <a:pos x="162" y="284"/>
                </a:cxn>
                <a:cxn ang="0">
                  <a:pos x="196" y="270"/>
                </a:cxn>
                <a:cxn ang="0">
                  <a:pos x="267" y="240"/>
                </a:cxn>
                <a:cxn ang="0">
                  <a:pos x="343" y="210"/>
                </a:cxn>
                <a:cxn ang="0">
                  <a:pos x="421" y="176"/>
                </a:cxn>
                <a:cxn ang="0">
                  <a:pos x="499" y="142"/>
                </a:cxn>
                <a:cxn ang="0">
                  <a:pos x="577" y="112"/>
                </a:cxn>
                <a:cxn ang="0">
                  <a:pos x="649" y="80"/>
                </a:cxn>
                <a:cxn ang="0">
                  <a:pos x="683" y="68"/>
                </a:cxn>
                <a:cxn ang="0">
                  <a:pos x="715" y="54"/>
                </a:cxn>
                <a:cxn ang="0">
                  <a:pos x="743" y="44"/>
                </a:cxn>
                <a:cxn ang="0">
                  <a:pos x="767" y="32"/>
                </a:cxn>
                <a:cxn ang="0">
                  <a:pos x="791" y="22"/>
                </a:cxn>
                <a:cxn ang="0">
                  <a:pos x="809" y="14"/>
                </a:cxn>
                <a:cxn ang="0">
                  <a:pos x="827" y="8"/>
                </a:cxn>
                <a:cxn ang="0">
                  <a:pos x="837" y="2"/>
                </a:cxn>
                <a:cxn ang="0">
                  <a:pos x="843" y="2"/>
                </a:cxn>
                <a:cxn ang="0">
                  <a:pos x="847" y="0"/>
                </a:cxn>
              </a:cxnLst>
              <a:rect l="0" t="0" r="r" b="b"/>
              <a:pathLst>
                <a:path w="878" h="451">
                  <a:moveTo>
                    <a:pt x="847" y="0"/>
                  </a:moveTo>
                  <a:lnTo>
                    <a:pt x="855" y="0"/>
                  </a:lnTo>
                  <a:lnTo>
                    <a:pt x="862" y="6"/>
                  </a:lnTo>
                  <a:lnTo>
                    <a:pt x="866" y="12"/>
                  </a:lnTo>
                  <a:lnTo>
                    <a:pt x="870" y="20"/>
                  </a:lnTo>
                  <a:lnTo>
                    <a:pt x="876" y="38"/>
                  </a:lnTo>
                  <a:lnTo>
                    <a:pt x="878" y="54"/>
                  </a:lnTo>
                  <a:lnTo>
                    <a:pt x="876" y="66"/>
                  </a:lnTo>
                  <a:lnTo>
                    <a:pt x="874" y="70"/>
                  </a:lnTo>
                  <a:lnTo>
                    <a:pt x="26" y="451"/>
                  </a:lnTo>
                  <a:lnTo>
                    <a:pt x="28" y="435"/>
                  </a:lnTo>
                  <a:lnTo>
                    <a:pt x="28" y="421"/>
                  </a:lnTo>
                  <a:lnTo>
                    <a:pt x="26" y="419"/>
                  </a:lnTo>
                  <a:lnTo>
                    <a:pt x="26" y="417"/>
                  </a:lnTo>
                  <a:lnTo>
                    <a:pt x="26" y="413"/>
                  </a:lnTo>
                  <a:lnTo>
                    <a:pt x="22" y="409"/>
                  </a:lnTo>
                  <a:lnTo>
                    <a:pt x="20" y="399"/>
                  </a:lnTo>
                  <a:lnTo>
                    <a:pt x="18" y="389"/>
                  </a:lnTo>
                  <a:lnTo>
                    <a:pt x="18" y="381"/>
                  </a:lnTo>
                  <a:lnTo>
                    <a:pt x="18" y="370"/>
                  </a:lnTo>
                  <a:lnTo>
                    <a:pt x="12" y="364"/>
                  </a:lnTo>
                  <a:lnTo>
                    <a:pt x="8" y="360"/>
                  </a:lnTo>
                  <a:lnTo>
                    <a:pt x="0" y="354"/>
                  </a:lnTo>
                  <a:lnTo>
                    <a:pt x="0" y="352"/>
                  </a:lnTo>
                  <a:lnTo>
                    <a:pt x="8" y="350"/>
                  </a:lnTo>
                  <a:lnTo>
                    <a:pt x="18" y="344"/>
                  </a:lnTo>
                  <a:lnTo>
                    <a:pt x="34" y="338"/>
                  </a:lnTo>
                  <a:lnTo>
                    <a:pt x="54" y="330"/>
                  </a:lnTo>
                  <a:lnTo>
                    <a:pt x="78" y="320"/>
                  </a:lnTo>
                  <a:lnTo>
                    <a:pt x="102" y="308"/>
                  </a:lnTo>
                  <a:lnTo>
                    <a:pt x="130" y="298"/>
                  </a:lnTo>
                  <a:lnTo>
                    <a:pt x="162" y="284"/>
                  </a:lnTo>
                  <a:lnTo>
                    <a:pt x="196" y="270"/>
                  </a:lnTo>
                  <a:lnTo>
                    <a:pt x="267" y="240"/>
                  </a:lnTo>
                  <a:lnTo>
                    <a:pt x="343" y="210"/>
                  </a:lnTo>
                  <a:lnTo>
                    <a:pt x="421" y="176"/>
                  </a:lnTo>
                  <a:lnTo>
                    <a:pt x="499" y="142"/>
                  </a:lnTo>
                  <a:lnTo>
                    <a:pt x="577" y="112"/>
                  </a:lnTo>
                  <a:lnTo>
                    <a:pt x="649" y="80"/>
                  </a:lnTo>
                  <a:lnTo>
                    <a:pt x="683" y="68"/>
                  </a:lnTo>
                  <a:lnTo>
                    <a:pt x="715" y="54"/>
                  </a:lnTo>
                  <a:lnTo>
                    <a:pt x="743" y="44"/>
                  </a:lnTo>
                  <a:lnTo>
                    <a:pt x="767" y="32"/>
                  </a:lnTo>
                  <a:lnTo>
                    <a:pt x="791" y="22"/>
                  </a:lnTo>
                  <a:lnTo>
                    <a:pt x="809" y="14"/>
                  </a:lnTo>
                  <a:lnTo>
                    <a:pt x="827" y="8"/>
                  </a:lnTo>
                  <a:lnTo>
                    <a:pt x="837" y="2"/>
                  </a:lnTo>
                  <a:lnTo>
                    <a:pt x="843" y="2"/>
                  </a:lnTo>
                  <a:lnTo>
                    <a:pt x="847" y="0"/>
                  </a:lnTo>
                  <a:close/>
                </a:path>
              </a:pathLst>
            </a:custGeom>
            <a:solidFill>
              <a:srgbClr val="FFA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5" name="Freeform 332"/>
            <p:cNvSpPr>
              <a:spLocks/>
            </p:cNvSpPr>
            <p:nvPr/>
          </p:nvSpPr>
          <p:spPr bwMode="auto">
            <a:xfrm flipH="1">
              <a:off x="4777" y="2921"/>
              <a:ext cx="438" cy="225"/>
            </a:xfrm>
            <a:custGeom>
              <a:avLst/>
              <a:gdLst/>
              <a:ahLst/>
              <a:cxnLst>
                <a:cxn ang="0">
                  <a:pos x="845" y="0"/>
                </a:cxn>
                <a:cxn ang="0">
                  <a:pos x="852" y="0"/>
                </a:cxn>
                <a:cxn ang="0">
                  <a:pos x="860" y="6"/>
                </a:cxn>
                <a:cxn ang="0">
                  <a:pos x="862" y="12"/>
                </a:cxn>
                <a:cxn ang="0">
                  <a:pos x="868" y="20"/>
                </a:cxn>
                <a:cxn ang="0">
                  <a:pos x="872" y="38"/>
                </a:cxn>
                <a:cxn ang="0">
                  <a:pos x="874" y="54"/>
                </a:cxn>
                <a:cxn ang="0">
                  <a:pos x="872" y="64"/>
                </a:cxn>
                <a:cxn ang="0">
                  <a:pos x="870" y="68"/>
                </a:cxn>
                <a:cxn ang="0">
                  <a:pos x="24" y="449"/>
                </a:cxn>
                <a:cxn ang="0">
                  <a:pos x="26" y="433"/>
                </a:cxn>
                <a:cxn ang="0">
                  <a:pos x="26" y="421"/>
                </a:cxn>
                <a:cxn ang="0">
                  <a:pos x="24" y="417"/>
                </a:cxn>
                <a:cxn ang="0">
                  <a:pos x="24" y="415"/>
                </a:cxn>
                <a:cxn ang="0">
                  <a:pos x="20" y="413"/>
                </a:cxn>
                <a:cxn ang="0">
                  <a:pos x="18" y="407"/>
                </a:cxn>
                <a:cxn ang="0">
                  <a:pos x="18" y="399"/>
                </a:cxn>
                <a:cxn ang="0">
                  <a:pos x="16" y="389"/>
                </a:cxn>
                <a:cxn ang="0">
                  <a:pos x="16" y="374"/>
                </a:cxn>
                <a:cxn ang="0">
                  <a:pos x="12" y="366"/>
                </a:cxn>
                <a:cxn ang="0">
                  <a:pos x="8" y="362"/>
                </a:cxn>
                <a:cxn ang="0">
                  <a:pos x="0" y="356"/>
                </a:cxn>
                <a:cxn ang="0">
                  <a:pos x="2" y="354"/>
                </a:cxn>
                <a:cxn ang="0">
                  <a:pos x="8" y="352"/>
                </a:cxn>
                <a:cxn ang="0">
                  <a:pos x="18" y="346"/>
                </a:cxn>
                <a:cxn ang="0">
                  <a:pos x="36" y="340"/>
                </a:cxn>
                <a:cxn ang="0">
                  <a:pos x="54" y="332"/>
                </a:cxn>
                <a:cxn ang="0">
                  <a:pos x="76" y="322"/>
                </a:cxn>
                <a:cxn ang="0">
                  <a:pos x="102" y="312"/>
                </a:cxn>
                <a:cxn ang="0">
                  <a:pos x="130" y="300"/>
                </a:cxn>
                <a:cxn ang="0">
                  <a:pos x="194" y="274"/>
                </a:cxn>
                <a:cxn ang="0">
                  <a:pos x="265" y="242"/>
                </a:cxn>
                <a:cxn ang="0">
                  <a:pos x="341" y="210"/>
                </a:cxn>
                <a:cxn ang="0">
                  <a:pos x="419" y="178"/>
                </a:cxn>
                <a:cxn ang="0">
                  <a:pos x="499" y="144"/>
                </a:cxn>
                <a:cxn ang="0">
                  <a:pos x="577" y="112"/>
                </a:cxn>
                <a:cxn ang="0">
                  <a:pos x="647" y="82"/>
                </a:cxn>
                <a:cxn ang="0">
                  <a:pos x="681" y="68"/>
                </a:cxn>
                <a:cxn ang="0">
                  <a:pos x="713" y="54"/>
                </a:cxn>
                <a:cxn ang="0">
                  <a:pos x="741" y="44"/>
                </a:cxn>
                <a:cxn ang="0">
                  <a:pos x="767" y="32"/>
                </a:cxn>
                <a:cxn ang="0">
                  <a:pos x="789" y="22"/>
                </a:cxn>
                <a:cxn ang="0">
                  <a:pos x="809" y="14"/>
                </a:cxn>
                <a:cxn ang="0">
                  <a:pos x="825" y="8"/>
                </a:cxn>
                <a:cxn ang="0">
                  <a:pos x="837" y="2"/>
                </a:cxn>
                <a:cxn ang="0">
                  <a:pos x="843" y="2"/>
                </a:cxn>
                <a:cxn ang="0">
                  <a:pos x="845" y="0"/>
                </a:cxn>
              </a:cxnLst>
              <a:rect l="0" t="0" r="r" b="b"/>
              <a:pathLst>
                <a:path w="874" h="449">
                  <a:moveTo>
                    <a:pt x="845" y="0"/>
                  </a:moveTo>
                  <a:lnTo>
                    <a:pt x="852" y="0"/>
                  </a:lnTo>
                  <a:lnTo>
                    <a:pt x="860" y="6"/>
                  </a:lnTo>
                  <a:lnTo>
                    <a:pt x="862" y="12"/>
                  </a:lnTo>
                  <a:lnTo>
                    <a:pt x="868" y="20"/>
                  </a:lnTo>
                  <a:lnTo>
                    <a:pt x="872" y="38"/>
                  </a:lnTo>
                  <a:lnTo>
                    <a:pt x="874" y="54"/>
                  </a:lnTo>
                  <a:lnTo>
                    <a:pt x="872" y="64"/>
                  </a:lnTo>
                  <a:lnTo>
                    <a:pt x="870" y="68"/>
                  </a:lnTo>
                  <a:lnTo>
                    <a:pt x="24" y="449"/>
                  </a:lnTo>
                  <a:lnTo>
                    <a:pt x="26" y="433"/>
                  </a:lnTo>
                  <a:lnTo>
                    <a:pt x="26" y="421"/>
                  </a:lnTo>
                  <a:lnTo>
                    <a:pt x="24" y="417"/>
                  </a:lnTo>
                  <a:lnTo>
                    <a:pt x="24" y="415"/>
                  </a:lnTo>
                  <a:lnTo>
                    <a:pt x="20" y="413"/>
                  </a:lnTo>
                  <a:lnTo>
                    <a:pt x="18" y="407"/>
                  </a:lnTo>
                  <a:lnTo>
                    <a:pt x="18" y="399"/>
                  </a:lnTo>
                  <a:lnTo>
                    <a:pt x="16" y="389"/>
                  </a:lnTo>
                  <a:lnTo>
                    <a:pt x="16" y="374"/>
                  </a:lnTo>
                  <a:lnTo>
                    <a:pt x="12" y="366"/>
                  </a:lnTo>
                  <a:lnTo>
                    <a:pt x="8" y="362"/>
                  </a:lnTo>
                  <a:lnTo>
                    <a:pt x="0" y="356"/>
                  </a:lnTo>
                  <a:lnTo>
                    <a:pt x="2" y="354"/>
                  </a:lnTo>
                  <a:lnTo>
                    <a:pt x="8" y="352"/>
                  </a:lnTo>
                  <a:lnTo>
                    <a:pt x="18" y="346"/>
                  </a:lnTo>
                  <a:lnTo>
                    <a:pt x="36" y="340"/>
                  </a:lnTo>
                  <a:lnTo>
                    <a:pt x="54" y="332"/>
                  </a:lnTo>
                  <a:lnTo>
                    <a:pt x="76" y="322"/>
                  </a:lnTo>
                  <a:lnTo>
                    <a:pt x="102" y="312"/>
                  </a:lnTo>
                  <a:lnTo>
                    <a:pt x="130" y="300"/>
                  </a:lnTo>
                  <a:lnTo>
                    <a:pt x="194" y="274"/>
                  </a:lnTo>
                  <a:lnTo>
                    <a:pt x="265" y="242"/>
                  </a:lnTo>
                  <a:lnTo>
                    <a:pt x="341" y="210"/>
                  </a:lnTo>
                  <a:lnTo>
                    <a:pt x="419" y="178"/>
                  </a:lnTo>
                  <a:lnTo>
                    <a:pt x="499" y="144"/>
                  </a:lnTo>
                  <a:lnTo>
                    <a:pt x="577" y="112"/>
                  </a:lnTo>
                  <a:lnTo>
                    <a:pt x="647" y="82"/>
                  </a:lnTo>
                  <a:lnTo>
                    <a:pt x="681" y="68"/>
                  </a:lnTo>
                  <a:lnTo>
                    <a:pt x="713" y="54"/>
                  </a:lnTo>
                  <a:lnTo>
                    <a:pt x="741" y="44"/>
                  </a:lnTo>
                  <a:lnTo>
                    <a:pt x="767" y="32"/>
                  </a:lnTo>
                  <a:lnTo>
                    <a:pt x="789" y="22"/>
                  </a:lnTo>
                  <a:lnTo>
                    <a:pt x="809" y="14"/>
                  </a:lnTo>
                  <a:lnTo>
                    <a:pt x="825" y="8"/>
                  </a:lnTo>
                  <a:lnTo>
                    <a:pt x="837" y="2"/>
                  </a:lnTo>
                  <a:lnTo>
                    <a:pt x="843" y="2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FFA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6" name="Freeform 333"/>
            <p:cNvSpPr>
              <a:spLocks/>
            </p:cNvSpPr>
            <p:nvPr/>
          </p:nvSpPr>
          <p:spPr bwMode="auto">
            <a:xfrm flipH="1">
              <a:off x="4777" y="2921"/>
              <a:ext cx="437" cy="224"/>
            </a:xfrm>
            <a:custGeom>
              <a:avLst/>
              <a:gdLst/>
              <a:ahLst/>
              <a:cxnLst>
                <a:cxn ang="0">
                  <a:pos x="845" y="2"/>
                </a:cxn>
                <a:cxn ang="0">
                  <a:pos x="847" y="0"/>
                </a:cxn>
                <a:cxn ang="0">
                  <a:pos x="850" y="2"/>
                </a:cxn>
                <a:cxn ang="0">
                  <a:pos x="858" y="6"/>
                </a:cxn>
                <a:cxn ang="0">
                  <a:pos x="860" y="12"/>
                </a:cxn>
                <a:cxn ang="0">
                  <a:pos x="866" y="20"/>
                </a:cxn>
                <a:cxn ang="0">
                  <a:pos x="870" y="38"/>
                </a:cxn>
                <a:cxn ang="0">
                  <a:pos x="872" y="54"/>
                </a:cxn>
                <a:cxn ang="0">
                  <a:pos x="870" y="62"/>
                </a:cxn>
                <a:cxn ang="0">
                  <a:pos x="868" y="66"/>
                </a:cxn>
                <a:cxn ang="0">
                  <a:pos x="22" y="447"/>
                </a:cxn>
                <a:cxn ang="0">
                  <a:pos x="24" y="431"/>
                </a:cxn>
                <a:cxn ang="0">
                  <a:pos x="24" y="421"/>
                </a:cxn>
                <a:cxn ang="0">
                  <a:pos x="22" y="417"/>
                </a:cxn>
                <a:cxn ang="0">
                  <a:pos x="22" y="415"/>
                </a:cxn>
                <a:cxn ang="0">
                  <a:pos x="18" y="411"/>
                </a:cxn>
                <a:cxn ang="0">
                  <a:pos x="16" y="409"/>
                </a:cxn>
                <a:cxn ang="0">
                  <a:pos x="16" y="401"/>
                </a:cxn>
                <a:cxn ang="0">
                  <a:pos x="14" y="391"/>
                </a:cxn>
                <a:cxn ang="0">
                  <a:pos x="14" y="385"/>
                </a:cxn>
                <a:cxn ang="0">
                  <a:pos x="16" y="376"/>
                </a:cxn>
                <a:cxn ang="0">
                  <a:pos x="12" y="368"/>
                </a:cxn>
                <a:cxn ang="0">
                  <a:pos x="8" y="366"/>
                </a:cxn>
                <a:cxn ang="0">
                  <a:pos x="0" y="360"/>
                </a:cxn>
                <a:cxn ang="0">
                  <a:pos x="0" y="358"/>
                </a:cxn>
                <a:cxn ang="0">
                  <a:pos x="8" y="356"/>
                </a:cxn>
                <a:cxn ang="0">
                  <a:pos x="18" y="350"/>
                </a:cxn>
                <a:cxn ang="0">
                  <a:pos x="34" y="344"/>
                </a:cxn>
                <a:cxn ang="0">
                  <a:pos x="54" y="336"/>
                </a:cxn>
                <a:cxn ang="0">
                  <a:pos x="78" y="326"/>
                </a:cxn>
                <a:cxn ang="0">
                  <a:pos x="102" y="314"/>
                </a:cxn>
                <a:cxn ang="0">
                  <a:pos x="130" y="304"/>
                </a:cxn>
                <a:cxn ang="0">
                  <a:pos x="162" y="290"/>
                </a:cxn>
                <a:cxn ang="0">
                  <a:pos x="194" y="276"/>
                </a:cxn>
                <a:cxn ang="0">
                  <a:pos x="267" y="244"/>
                </a:cxn>
                <a:cxn ang="0">
                  <a:pos x="343" y="212"/>
                </a:cxn>
                <a:cxn ang="0">
                  <a:pos x="419" y="180"/>
                </a:cxn>
                <a:cxn ang="0">
                  <a:pos x="499" y="146"/>
                </a:cxn>
                <a:cxn ang="0">
                  <a:pos x="575" y="114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3" y="56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91" y="24"/>
                </a:cxn>
                <a:cxn ang="0">
                  <a:pos x="809" y="16"/>
                </a:cxn>
                <a:cxn ang="0">
                  <a:pos x="825" y="10"/>
                </a:cxn>
                <a:cxn ang="0">
                  <a:pos x="835" y="4"/>
                </a:cxn>
                <a:cxn ang="0">
                  <a:pos x="843" y="2"/>
                </a:cxn>
                <a:cxn ang="0">
                  <a:pos x="845" y="2"/>
                </a:cxn>
              </a:cxnLst>
              <a:rect l="0" t="0" r="r" b="b"/>
              <a:pathLst>
                <a:path w="872" h="447">
                  <a:moveTo>
                    <a:pt x="845" y="2"/>
                  </a:moveTo>
                  <a:lnTo>
                    <a:pt x="847" y="0"/>
                  </a:lnTo>
                  <a:lnTo>
                    <a:pt x="850" y="2"/>
                  </a:lnTo>
                  <a:lnTo>
                    <a:pt x="858" y="6"/>
                  </a:lnTo>
                  <a:lnTo>
                    <a:pt x="860" y="12"/>
                  </a:lnTo>
                  <a:lnTo>
                    <a:pt x="866" y="20"/>
                  </a:lnTo>
                  <a:lnTo>
                    <a:pt x="870" y="38"/>
                  </a:lnTo>
                  <a:lnTo>
                    <a:pt x="872" y="54"/>
                  </a:lnTo>
                  <a:lnTo>
                    <a:pt x="870" y="62"/>
                  </a:lnTo>
                  <a:lnTo>
                    <a:pt x="868" y="66"/>
                  </a:lnTo>
                  <a:lnTo>
                    <a:pt x="22" y="447"/>
                  </a:lnTo>
                  <a:lnTo>
                    <a:pt x="24" y="431"/>
                  </a:lnTo>
                  <a:lnTo>
                    <a:pt x="24" y="421"/>
                  </a:lnTo>
                  <a:lnTo>
                    <a:pt x="22" y="417"/>
                  </a:lnTo>
                  <a:lnTo>
                    <a:pt x="22" y="415"/>
                  </a:lnTo>
                  <a:lnTo>
                    <a:pt x="18" y="411"/>
                  </a:lnTo>
                  <a:lnTo>
                    <a:pt x="16" y="409"/>
                  </a:lnTo>
                  <a:lnTo>
                    <a:pt x="16" y="401"/>
                  </a:lnTo>
                  <a:lnTo>
                    <a:pt x="14" y="391"/>
                  </a:lnTo>
                  <a:lnTo>
                    <a:pt x="14" y="385"/>
                  </a:lnTo>
                  <a:lnTo>
                    <a:pt x="16" y="376"/>
                  </a:lnTo>
                  <a:lnTo>
                    <a:pt x="12" y="368"/>
                  </a:lnTo>
                  <a:lnTo>
                    <a:pt x="8" y="366"/>
                  </a:lnTo>
                  <a:lnTo>
                    <a:pt x="0" y="360"/>
                  </a:lnTo>
                  <a:lnTo>
                    <a:pt x="0" y="358"/>
                  </a:lnTo>
                  <a:lnTo>
                    <a:pt x="8" y="356"/>
                  </a:lnTo>
                  <a:lnTo>
                    <a:pt x="18" y="350"/>
                  </a:lnTo>
                  <a:lnTo>
                    <a:pt x="34" y="344"/>
                  </a:lnTo>
                  <a:lnTo>
                    <a:pt x="54" y="336"/>
                  </a:lnTo>
                  <a:lnTo>
                    <a:pt x="78" y="326"/>
                  </a:lnTo>
                  <a:lnTo>
                    <a:pt x="102" y="314"/>
                  </a:lnTo>
                  <a:lnTo>
                    <a:pt x="130" y="304"/>
                  </a:lnTo>
                  <a:lnTo>
                    <a:pt x="162" y="290"/>
                  </a:lnTo>
                  <a:lnTo>
                    <a:pt x="194" y="276"/>
                  </a:lnTo>
                  <a:lnTo>
                    <a:pt x="267" y="244"/>
                  </a:lnTo>
                  <a:lnTo>
                    <a:pt x="343" y="212"/>
                  </a:lnTo>
                  <a:lnTo>
                    <a:pt x="419" y="180"/>
                  </a:lnTo>
                  <a:lnTo>
                    <a:pt x="499" y="146"/>
                  </a:lnTo>
                  <a:lnTo>
                    <a:pt x="575" y="114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3" y="56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91" y="24"/>
                  </a:lnTo>
                  <a:lnTo>
                    <a:pt x="809" y="16"/>
                  </a:lnTo>
                  <a:lnTo>
                    <a:pt x="825" y="10"/>
                  </a:lnTo>
                  <a:lnTo>
                    <a:pt x="835" y="4"/>
                  </a:lnTo>
                  <a:lnTo>
                    <a:pt x="843" y="2"/>
                  </a:lnTo>
                  <a:lnTo>
                    <a:pt x="845" y="2"/>
                  </a:lnTo>
                  <a:close/>
                </a:path>
              </a:pathLst>
            </a:custGeom>
            <a:solidFill>
              <a:srgbClr val="FF9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7" name="Freeform 334"/>
            <p:cNvSpPr>
              <a:spLocks/>
            </p:cNvSpPr>
            <p:nvPr/>
          </p:nvSpPr>
          <p:spPr bwMode="auto">
            <a:xfrm flipH="1">
              <a:off x="4777" y="2921"/>
              <a:ext cx="436" cy="222"/>
            </a:xfrm>
            <a:custGeom>
              <a:avLst/>
              <a:gdLst/>
              <a:ahLst/>
              <a:cxnLst>
                <a:cxn ang="0">
                  <a:pos x="845" y="2"/>
                </a:cxn>
                <a:cxn ang="0">
                  <a:pos x="847" y="0"/>
                </a:cxn>
                <a:cxn ang="0">
                  <a:pos x="848" y="0"/>
                </a:cxn>
                <a:cxn ang="0">
                  <a:pos x="856" y="6"/>
                </a:cxn>
                <a:cxn ang="0">
                  <a:pos x="858" y="12"/>
                </a:cxn>
                <a:cxn ang="0">
                  <a:pos x="864" y="20"/>
                </a:cxn>
                <a:cxn ang="0">
                  <a:pos x="868" y="38"/>
                </a:cxn>
                <a:cxn ang="0">
                  <a:pos x="870" y="52"/>
                </a:cxn>
                <a:cxn ang="0">
                  <a:pos x="868" y="60"/>
                </a:cxn>
                <a:cxn ang="0">
                  <a:pos x="866" y="64"/>
                </a:cxn>
                <a:cxn ang="0">
                  <a:pos x="20" y="443"/>
                </a:cxn>
                <a:cxn ang="0">
                  <a:pos x="20" y="427"/>
                </a:cxn>
                <a:cxn ang="0">
                  <a:pos x="22" y="417"/>
                </a:cxn>
                <a:cxn ang="0">
                  <a:pos x="20" y="413"/>
                </a:cxn>
                <a:cxn ang="0">
                  <a:pos x="20" y="411"/>
                </a:cxn>
                <a:cxn ang="0">
                  <a:pos x="18" y="409"/>
                </a:cxn>
                <a:cxn ang="0">
                  <a:pos x="16" y="405"/>
                </a:cxn>
                <a:cxn ang="0">
                  <a:pos x="14" y="399"/>
                </a:cxn>
                <a:cxn ang="0">
                  <a:pos x="14" y="387"/>
                </a:cxn>
                <a:cxn ang="0">
                  <a:pos x="16" y="378"/>
                </a:cxn>
                <a:cxn ang="0">
                  <a:pos x="12" y="370"/>
                </a:cxn>
                <a:cxn ang="0">
                  <a:pos x="8" y="366"/>
                </a:cxn>
                <a:cxn ang="0">
                  <a:pos x="0" y="362"/>
                </a:cxn>
                <a:cxn ang="0">
                  <a:pos x="2" y="360"/>
                </a:cxn>
                <a:cxn ang="0">
                  <a:pos x="10" y="356"/>
                </a:cxn>
                <a:cxn ang="0">
                  <a:pos x="20" y="352"/>
                </a:cxn>
                <a:cxn ang="0">
                  <a:pos x="36" y="344"/>
                </a:cxn>
                <a:cxn ang="0">
                  <a:pos x="54" y="336"/>
                </a:cxn>
                <a:cxn ang="0">
                  <a:pos x="78" y="326"/>
                </a:cxn>
                <a:cxn ang="0">
                  <a:pos x="102" y="318"/>
                </a:cxn>
                <a:cxn ang="0">
                  <a:pos x="132" y="304"/>
                </a:cxn>
                <a:cxn ang="0">
                  <a:pos x="162" y="292"/>
                </a:cxn>
                <a:cxn ang="0">
                  <a:pos x="194" y="276"/>
                </a:cxn>
                <a:cxn ang="0">
                  <a:pos x="267" y="248"/>
                </a:cxn>
                <a:cxn ang="0">
                  <a:pos x="343" y="214"/>
                </a:cxn>
                <a:cxn ang="0">
                  <a:pos x="421" y="180"/>
                </a:cxn>
                <a:cxn ang="0">
                  <a:pos x="499" y="148"/>
                </a:cxn>
                <a:cxn ang="0">
                  <a:pos x="575" y="116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1" y="58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89" y="24"/>
                </a:cxn>
                <a:cxn ang="0">
                  <a:pos x="807" y="16"/>
                </a:cxn>
                <a:cxn ang="0">
                  <a:pos x="823" y="10"/>
                </a:cxn>
                <a:cxn ang="0">
                  <a:pos x="835" y="6"/>
                </a:cxn>
                <a:cxn ang="0">
                  <a:pos x="841" y="4"/>
                </a:cxn>
                <a:cxn ang="0">
                  <a:pos x="845" y="2"/>
                </a:cxn>
              </a:cxnLst>
              <a:rect l="0" t="0" r="r" b="b"/>
              <a:pathLst>
                <a:path w="870" h="443">
                  <a:moveTo>
                    <a:pt x="845" y="2"/>
                  </a:moveTo>
                  <a:lnTo>
                    <a:pt x="847" y="0"/>
                  </a:lnTo>
                  <a:lnTo>
                    <a:pt x="848" y="0"/>
                  </a:lnTo>
                  <a:lnTo>
                    <a:pt x="856" y="6"/>
                  </a:lnTo>
                  <a:lnTo>
                    <a:pt x="858" y="12"/>
                  </a:lnTo>
                  <a:lnTo>
                    <a:pt x="864" y="20"/>
                  </a:lnTo>
                  <a:lnTo>
                    <a:pt x="868" y="38"/>
                  </a:lnTo>
                  <a:lnTo>
                    <a:pt x="870" y="52"/>
                  </a:lnTo>
                  <a:lnTo>
                    <a:pt x="868" y="60"/>
                  </a:lnTo>
                  <a:lnTo>
                    <a:pt x="866" y="64"/>
                  </a:lnTo>
                  <a:lnTo>
                    <a:pt x="20" y="443"/>
                  </a:lnTo>
                  <a:lnTo>
                    <a:pt x="20" y="427"/>
                  </a:lnTo>
                  <a:lnTo>
                    <a:pt x="22" y="417"/>
                  </a:lnTo>
                  <a:lnTo>
                    <a:pt x="20" y="413"/>
                  </a:lnTo>
                  <a:lnTo>
                    <a:pt x="20" y="411"/>
                  </a:lnTo>
                  <a:lnTo>
                    <a:pt x="18" y="409"/>
                  </a:lnTo>
                  <a:lnTo>
                    <a:pt x="16" y="405"/>
                  </a:lnTo>
                  <a:lnTo>
                    <a:pt x="14" y="399"/>
                  </a:lnTo>
                  <a:lnTo>
                    <a:pt x="14" y="387"/>
                  </a:lnTo>
                  <a:lnTo>
                    <a:pt x="16" y="378"/>
                  </a:lnTo>
                  <a:lnTo>
                    <a:pt x="12" y="370"/>
                  </a:lnTo>
                  <a:lnTo>
                    <a:pt x="8" y="366"/>
                  </a:lnTo>
                  <a:lnTo>
                    <a:pt x="0" y="362"/>
                  </a:lnTo>
                  <a:lnTo>
                    <a:pt x="2" y="360"/>
                  </a:lnTo>
                  <a:lnTo>
                    <a:pt x="10" y="356"/>
                  </a:lnTo>
                  <a:lnTo>
                    <a:pt x="20" y="352"/>
                  </a:lnTo>
                  <a:lnTo>
                    <a:pt x="36" y="344"/>
                  </a:lnTo>
                  <a:lnTo>
                    <a:pt x="54" y="336"/>
                  </a:lnTo>
                  <a:lnTo>
                    <a:pt x="78" y="326"/>
                  </a:lnTo>
                  <a:lnTo>
                    <a:pt x="102" y="318"/>
                  </a:lnTo>
                  <a:lnTo>
                    <a:pt x="132" y="304"/>
                  </a:lnTo>
                  <a:lnTo>
                    <a:pt x="162" y="292"/>
                  </a:lnTo>
                  <a:lnTo>
                    <a:pt x="194" y="276"/>
                  </a:lnTo>
                  <a:lnTo>
                    <a:pt x="267" y="248"/>
                  </a:lnTo>
                  <a:lnTo>
                    <a:pt x="343" y="214"/>
                  </a:lnTo>
                  <a:lnTo>
                    <a:pt x="421" y="180"/>
                  </a:lnTo>
                  <a:lnTo>
                    <a:pt x="499" y="148"/>
                  </a:lnTo>
                  <a:lnTo>
                    <a:pt x="575" y="116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1" y="58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89" y="24"/>
                  </a:lnTo>
                  <a:lnTo>
                    <a:pt x="807" y="16"/>
                  </a:lnTo>
                  <a:lnTo>
                    <a:pt x="823" y="10"/>
                  </a:lnTo>
                  <a:lnTo>
                    <a:pt x="835" y="6"/>
                  </a:lnTo>
                  <a:lnTo>
                    <a:pt x="841" y="4"/>
                  </a:lnTo>
                  <a:lnTo>
                    <a:pt x="845" y="2"/>
                  </a:lnTo>
                  <a:close/>
                </a:path>
              </a:pathLst>
            </a:custGeom>
            <a:solidFill>
              <a:srgbClr val="FF9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8" name="Freeform 335"/>
            <p:cNvSpPr>
              <a:spLocks/>
            </p:cNvSpPr>
            <p:nvPr/>
          </p:nvSpPr>
          <p:spPr bwMode="auto">
            <a:xfrm flipH="1">
              <a:off x="4777" y="2921"/>
              <a:ext cx="435" cy="221"/>
            </a:xfrm>
            <a:custGeom>
              <a:avLst/>
              <a:gdLst/>
              <a:ahLst/>
              <a:cxnLst>
                <a:cxn ang="0">
                  <a:pos x="845" y="0"/>
                </a:cxn>
                <a:cxn ang="0">
                  <a:pos x="846" y="0"/>
                </a:cxn>
                <a:cxn ang="0">
                  <a:pos x="848" y="0"/>
                </a:cxn>
                <a:cxn ang="0">
                  <a:pos x="854" y="4"/>
                </a:cxn>
                <a:cxn ang="0">
                  <a:pos x="858" y="10"/>
                </a:cxn>
                <a:cxn ang="0">
                  <a:pos x="862" y="18"/>
                </a:cxn>
                <a:cxn ang="0">
                  <a:pos x="866" y="36"/>
                </a:cxn>
                <a:cxn ang="0">
                  <a:pos x="868" y="50"/>
                </a:cxn>
                <a:cxn ang="0">
                  <a:pos x="866" y="58"/>
                </a:cxn>
                <a:cxn ang="0">
                  <a:pos x="864" y="60"/>
                </a:cxn>
                <a:cxn ang="0">
                  <a:pos x="18" y="441"/>
                </a:cxn>
                <a:cxn ang="0">
                  <a:pos x="18" y="425"/>
                </a:cxn>
                <a:cxn ang="0">
                  <a:pos x="20" y="415"/>
                </a:cxn>
                <a:cxn ang="0">
                  <a:pos x="18" y="409"/>
                </a:cxn>
                <a:cxn ang="0">
                  <a:pos x="18" y="407"/>
                </a:cxn>
                <a:cxn ang="0">
                  <a:pos x="14" y="407"/>
                </a:cxn>
                <a:cxn ang="0">
                  <a:pos x="12" y="405"/>
                </a:cxn>
                <a:cxn ang="0">
                  <a:pos x="12" y="399"/>
                </a:cxn>
                <a:cxn ang="0">
                  <a:pos x="12" y="387"/>
                </a:cxn>
                <a:cxn ang="0">
                  <a:pos x="14" y="380"/>
                </a:cxn>
                <a:cxn ang="0">
                  <a:pos x="12" y="372"/>
                </a:cxn>
                <a:cxn ang="0">
                  <a:pos x="8" y="368"/>
                </a:cxn>
                <a:cxn ang="0">
                  <a:pos x="0" y="364"/>
                </a:cxn>
                <a:cxn ang="0">
                  <a:pos x="2" y="362"/>
                </a:cxn>
                <a:cxn ang="0">
                  <a:pos x="8" y="358"/>
                </a:cxn>
                <a:cxn ang="0">
                  <a:pos x="20" y="354"/>
                </a:cxn>
                <a:cxn ang="0">
                  <a:pos x="36" y="346"/>
                </a:cxn>
                <a:cxn ang="0">
                  <a:pos x="54" y="338"/>
                </a:cxn>
                <a:cxn ang="0">
                  <a:pos x="76" y="330"/>
                </a:cxn>
                <a:cxn ang="0">
                  <a:pos x="102" y="318"/>
                </a:cxn>
                <a:cxn ang="0">
                  <a:pos x="130" y="304"/>
                </a:cxn>
                <a:cxn ang="0">
                  <a:pos x="160" y="292"/>
                </a:cxn>
                <a:cxn ang="0">
                  <a:pos x="194" y="278"/>
                </a:cxn>
                <a:cxn ang="0">
                  <a:pos x="265" y="248"/>
                </a:cxn>
                <a:cxn ang="0">
                  <a:pos x="341" y="214"/>
                </a:cxn>
                <a:cxn ang="0">
                  <a:pos x="419" y="182"/>
                </a:cxn>
                <a:cxn ang="0">
                  <a:pos x="499" y="148"/>
                </a:cxn>
                <a:cxn ang="0">
                  <a:pos x="575" y="114"/>
                </a:cxn>
                <a:cxn ang="0">
                  <a:pos x="647" y="84"/>
                </a:cxn>
                <a:cxn ang="0">
                  <a:pos x="681" y="70"/>
                </a:cxn>
                <a:cxn ang="0">
                  <a:pos x="711" y="58"/>
                </a:cxn>
                <a:cxn ang="0">
                  <a:pos x="741" y="44"/>
                </a:cxn>
                <a:cxn ang="0">
                  <a:pos x="767" y="34"/>
                </a:cxn>
                <a:cxn ang="0">
                  <a:pos x="789" y="26"/>
                </a:cxn>
                <a:cxn ang="0">
                  <a:pos x="807" y="18"/>
                </a:cxn>
                <a:cxn ang="0">
                  <a:pos x="823" y="8"/>
                </a:cxn>
                <a:cxn ang="0">
                  <a:pos x="835" y="4"/>
                </a:cxn>
                <a:cxn ang="0">
                  <a:pos x="841" y="2"/>
                </a:cxn>
                <a:cxn ang="0">
                  <a:pos x="845" y="0"/>
                </a:cxn>
              </a:cxnLst>
              <a:rect l="0" t="0" r="r" b="b"/>
              <a:pathLst>
                <a:path w="868" h="441">
                  <a:moveTo>
                    <a:pt x="845" y="0"/>
                  </a:moveTo>
                  <a:lnTo>
                    <a:pt x="846" y="0"/>
                  </a:lnTo>
                  <a:lnTo>
                    <a:pt x="848" y="0"/>
                  </a:lnTo>
                  <a:lnTo>
                    <a:pt x="854" y="4"/>
                  </a:lnTo>
                  <a:lnTo>
                    <a:pt x="858" y="10"/>
                  </a:lnTo>
                  <a:lnTo>
                    <a:pt x="862" y="18"/>
                  </a:lnTo>
                  <a:lnTo>
                    <a:pt x="866" y="36"/>
                  </a:lnTo>
                  <a:lnTo>
                    <a:pt x="868" y="50"/>
                  </a:lnTo>
                  <a:lnTo>
                    <a:pt x="866" y="58"/>
                  </a:lnTo>
                  <a:lnTo>
                    <a:pt x="864" y="60"/>
                  </a:lnTo>
                  <a:lnTo>
                    <a:pt x="18" y="441"/>
                  </a:lnTo>
                  <a:lnTo>
                    <a:pt x="18" y="425"/>
                  </a:lnTo>
                  <a:lnTo>
                    <a:pt x="20" y="415"/>
                  </a:lnTo>
                  <a:lnTo>
                    <a:pt x="18" y="409"/>
                  </a:lnTo>
                  <a:lnTo>
                    <a:pt x="18" y="407"/>
                  </a:lnTo>
                  <a:lnTo>
                    <a:pt x="14" y="407"/>
                  </a:lnTo>
                  <a:lnTo>
                    <a:pt x="12" y="405"/>
                  </a:lnTo>
                  <a:lnTo>
                    <a:pt x="12" y="399"/>
                  </a:lnTo>
                  <a:lnTo>
                    <a:pt x="12" y="387"/>
                  </a:lnTo>
                  <a:lnTo>
                    <a:pt x="14" y="380"/>
                  </a:lnTo>
                  <a:lnTo>
                    <a:pt x="12" y="372"/>
                  </a:lnTo>
                  <a:lnTo>
                    <a:pt x="8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8" y="358"/>
                  </a:lnTo>
                  <a:lnTo>
                    <a:pt x="20" y="354"/>
                  </a:lnTo>
                  <a:lnTo>
                    <a:pt x="36" y="346"/>
                  </a:lnTo>
                  <a:lnTo>
                    <a:pt x="54" y="338"/>
                  </a:lnTo>
                  <a:lnTo>
                    <a:pt x="76" y="330"/>
                  </a:lnTo>
                  <a:lnTo>
                    <a:pt x="102" y="318"/>
                  </a:lnTo>
                  <a:lnTo>
                    <a:pt x="130" y="304"/>
                  </a:lnTo>
                  <a:lnTo>
                    <a:pt x="160" y="292"/>
                  </a:lnTo>
                  <a:lnTo>
                    <a:pt x="194" y="278"/>
                  </a:lnTo>
                  <a:lnTo>
                    <a:pt x="265" y="248"/>
                  </a:lnTo>
                  <a:lnTo>
                    <a:pt x="341" y="214"/>
                  </a:lnTo>
                  <a:lnTo>
                    <a:pt x="419" y="182"/>
                  </a:lnTo>
                  <a:lnTo>
                    <a:pt x="499" y="148"/>
                  </a:lnTo>
                  <a:lnTo>
                    <a:pt x="575" y="114"/>
                  </a:lnTo>
                  <a:lnTo>
                    <a:pt x="647" y="84"/>
                  </a:lnTo>
                  <a:lnTo>
                    <a:pt x="681" y="70"/>
                  </a:lnTo>
                  <a:lnTo>
                    <a:pt x="711" y="58"/>
                  </a:lnTo>
                  <a:lnTo>
                    <a:pt x="741" y="44"/>
                  </a:lnTo>
                  <a:lnTo>
                    <a:pt x="767" y="34"/>
                  </a:lnTo>
                  <a:lnTo>
                    <a:pt x="789" y="26"/>
                  </a:lnTo>
                  <a:lnTo>
                    <a:pt x="807" y="18"/>
                  </a:lnTo>
                  <a:lnTo>
                    <a:pt x="823" y="8"/>
                  </a:lnTo>
                  <a:lnTo>
                    <a:pt x="835" y="4"/>
                  </a:lnTo>
                  <a:lnTo>
                    <a:pt x="841" y="2"/>
                  </a:lnTo>
                  <a:lnTo>
                    <a:pt x="845" y="0"/>
                  </a:lnTo>
                  <a:close/>
                </a:path>
              </a:pathLst>
            </a:custGeom>
            <a:solidFill>
              <a:srgbClr val="FF88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89" name="Freeform 336"/>
            <p:cNvSpPr>
              <a:spLocks/>
            </p:cNvSpPr>
            <p:nvPr/>
          </p:nvSpPr>
          <p:spPr bwMode="auto">
            <a:xfrm flipH="1">
              <a:off x="4777" y="2922"/>
              <a:ext cx="434" cy="219"/>
            </a:xfrm>
            <a:custGeom>
              <a:avLst/>
              <a:gdLst/>
              <a:ahLst/>
              <a:cxnLst>
                <a:cxn ang="0">
                  <a:pos x="844" y="2"/>
                </a:cxn>
                <a:cxn ang="0">
                  <a:pos x="846" y="0"/>
                </a:cxn>
                <a:cxn ang="0">
                  <a:pos x="852" y="4"/>
                </a:cxn>
                <a:cxn ang="0">
                  <a:pos x="856" y="10"/>
                </a:cxn>
                <a:cxn ang="0">
                  <a:pos x="860" y="18"/>
                </a:cxn>
                <a:cxn ang="0">
                  <a:pos x="864" y="36"/>
                </a:cxn>
                <a:cxn ang="0">
                  <a:pos x="866" y="46"/>
                </a:cxn>
                <a:cxn ang="0">
                  <a:pos x="864" y="56"/>
                </a:cxn>
                <a:cxn ang="0">
                  <a:pos x="862" y="56"/>
                </a:cxn>
                <a:cxn ang="0">
                  <a:pos x="16" y="437"/>
                </a:cxn>
                <a:cxn ang="0">
                  <a:pos x="16" y="405"/>
                </a:cxn>
                <a:cxn ang="0">
                  <a:pos x="14" y="403"/>
                </a:cxn>
                <a:cxn ang="0">
                  <a:pos x="10" y="403"/>
                </a:cxn>
                <a:cxn ang="0">
                  <a:pos x="10" y="401"/>
                </a:cxn>
                <a:cxn ang="0">
                  <a:pos x="10" y="397"/>
                </a:cxn>
                <a:cxn ang="0">
                  <a:pos x="10" y="385"/>
                </a:cxn>
                <a:cxn ang="0">
                  <a:pos x="14" y="379"/>
                </a:cxn>
                <a:cxn ang="0">
                  <a:pos x="12" y="374"/>
                </a:cxn>
                <a:cxn ang="0">
                  <a:pos x="8" y="368"/>
                </a:cxn>
                <a:cxn ang="0">
                  <a:pos x="0" y="364"/>
                </a:cxn>
                <a:cxn ang="0">
                  <a:pos x="2" y="362"/>
                </a:cxn>
                <a:cxn ang="0">
                  <a:pos x="10" y="360"/>
                </a:cxn>
                <a:cxn ang="0">
                  <a:pos x="20" y="354"/>
                </a:cxn>
                <a:cxn ang="0">
                  <a:pos x="36" y="348"/>
                </a:cxn>
                <a:cxn ang="0">
                  <a:pos x="54" y="340"/>
                </a:cxn>
                <a:cxn ang="0">
                  <a:pos x="76" y="330"/>
                </a:cxn>
                <a:cxn ang="0">
                  <a:pos x="102" y="318"/>
                </a:cxn>
                <a:cxn ang="0">
                  <a:pos x="132" y="306"/>
                </a:cxn>
                <a:cxn ang="0">
                  <a:pos x="162" y="292"/>
                </a:cxn>
                <a:cxn ang="0">
                  <a:pos x="194" y="278"/>
                </a:cxn>
                <a:cxn ang="0">
                  <a:pos x="265" y="248"/>
                </a:cxn>
                <a:cxn ang="0">
                  <a:pos x="341" y="214"/>
                </a:cxn>
                <a:cxn ang="0">
                  <a:pos x="419" y="182"/>
                </a:cxn>
                <a:cxn ang="0">
                  <a:pos x="499" y="148"/>
                </a:cxn>
                <a:cxn ang="0">
                  <a:pos x="575" y="116"/>
                </a:cxn>
                <a:cxn ang="0">
                  <a:pos x="647" y="84"/>
                </a:cxn>
                <a:cxn ang="0">
                  <a:pos x="681" y="72"/>
                </a:cxn>
                <a:cxn ang="0">
                  <a:pos x="711" y="58"/>
                </a:cxn>
                <a:cxn ang="0">
                  <a:pos x="741" y="46"/>
                </a:cxn>
                <a:cxn ang="0">
                  <a:pos x="767" y="34"/>
                </a:cxn>
                <a:cxn ang="0">
                  <a:pos x="789" y="26"/>
                </a:cxn>
                <a:cxn ang="0">
                  <a:pos x="807" y="18"/>
                </a:cxn>
                <a:cxn ang="0">
                  <a:pos x="823" y="10"/>
                </a:cxn>
                <a:cxn ang="0">
                  <a:pos x="835" y="4"/>
                </a:cxn>
                <a:cxn ang="0">
                  <a:pos x="841" y="4"/>
                </a:cxn>
                <a:cxn ang="0">
                  <a:pos x="844" y="2"/>
                </a:cxn>
              </a:cxnLst>
              <a:rect l="0" t="0" r="r" b="b"/>
              <a:pathLst>
                <a:path w="866" h="437">
                  <a:moveTo>
                    <a:pt x="844" y="2"/>
                  </a:moveTo>
                  <a:lnTo>
                    <a:pt x="846" y="0"/>
                  </a:lnTo>
                  <a:lnTo>
                    <a:pt x="852" y="4"/>
                  </a:lnTo>
                  <a:lnTo>
                    <a:pt x="856" y="10"/>
                  </a:lnTo>
                  <a:lnTo>
                    <a:pt x="860" y="18"/>
                  </a:lnTo>
                  <a:lnTo>
                    <a:pt x="864" y="36"/>
                  </a:lnTo>
                  <a:lnTo>
                    <a:pt x="866" y="46"/>
                  </a:lnTo>
                  <a:lnTo>
                    <a:pt x="864" y="56"/>
                  </a:lnTo>
                  <a:lnTo>
                    <a:pt x="862" y="56"/>
                  </a:lnTo>
                  <a:lnTo>
                    <a:pt x="16" y="437"/>
                  </a:lnTo>
                  <a:lnTo>
                    <a:pt x="16" y="405"/>
                  </a:lnTo>
                  <a:lnTo>
                    <a:pt x="14" y="403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85"/>
                  </a:lnTo>
                  <a:lnTo>
                    <a:pt x="14" y="379"/>
                  </a:lnTo>
                  <a:lnTo>
                    <a:pt x="12" y="374"/>
                  </a:lnTo>
                  <a:lnTo>
                    <a:pt x="8" y="368"/>
                  </a:lnTo>
                  <a:lnTo>
                    <a:pt x="0" y="364"/>
                  </a:lnTo>
                  <a:lnTo>
                    <a:pt x="2" y="362"/>
                  </a:lnTo>
                  <a:lnTo>
                    <a:pt x="10" y="360"/>
                  </a:lnTo>
                  <a:lnTo>
                    <a:pt x="20" y="354"/>
                  </a:lnTo>
                  <a:lnTo>
                    <a:pt x="36" y="348"/>
                  </a:lnTo>
                  <a:lnTo>
                    <a:pt x="54" y="340"/>
                  </a:lnTo>
                  <a:lnTo>
                    <a:pt x="76" y="330"/>
                  </a:lnTo>
                  <a:lnTo>
                    <a:pt x="102" y="318"/>
                  </a:lnTo>
                  <a:lnTo>
                    <a:pt x="132" y="306"/>
                  </a:lnTo>
                  <a:lnTo>
                    <a:pt x="162" y="292"/>
                  </a:lnTo>
                  <a:lnTo>
                    <a:pt x="194" y="278"/>
                  </a:lnTo>
                  <a:lnTo>
                    <a:pt x="265" y="248"/>
                  </a:lnTo>
                  <a:lnTo>
                    <a:pt x="341" y="214"/>
                  </a:lnTo>
                  <a:lnTo>
                    <a:pt x="419" y="182"/>
                  </a:lnTo>
                  <a:lnTo>
                    <a:pt x="499" y="148"/>
                  </a:lnTo>
                  <a:lnTo>
                    <a:pt x="575" y="116"/>
                  </a:lnTo>
                  <a:lnTo>
                    <a:pt x="647" y="84"/>
                  </a:lnTo>
                  <a:lnTo>
                    <a:pt x="681" y="72"/>
                  </a:lnTo>
                  <a:lnTo>
                    <a:pt x="711" y="58"/>
                  </a:lnTo>
                  <a:lnTo>
                    <a:pt x="741" y="46"/>
                  </a:lnTo>
                  <a:lnTo>
                    <a:pt x="767" y="34"/>
                  </a:lnTo>
                  <a:lnTo>
                    <a:pt x="789" y="26"/>
                  </a:lnTo>
                  <a:lnTo>
                    <a:pt x="807" y="18"/>
                  </a:lnTo>
                  <a:lnTo>
                    <a:pt x="823" y="10"/>
                  </a:lnTo>
                  <a:lnTo>
                    <a:pt x="835" y="4"/>
                  </a:lnTo>
                  <a:lnTo>
                    <a:pt x="841" y="4"/>
                  </a:lnTo>
                  <a:lnTo>
                    <a:pt x="844" y="2"/>
                  </a:lnTo>
                  <a:close/>
                </a:path>
              </a:pathLst>
            </a:custGeom>
            <a:solidFill>
              <a:srgbClr val="FF8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0" name="Freeform 337"/>
            <p:cNvSpPr>
              <a:spLocks/>
            </p:cNvSpPr>
            <p:nvPr/>
          </p:nvSpPr>
          <p:spPr bwMode="auto">
            <a:xfrm flipH="1">
              <a:off x="5191" y="3077"/>
              <a:ext cx="83" cy="116"/>
            </a:xfrm>
            <a:custGeom>
              <a:avLst/>
              <a:gdLst/>
              <a:ahLst/>
              <a:cxnLst>
                <a:cxn ang="0">
                  <a:pos x="6" y="135"/>
                </a:cxn>
                <a:cxn ang="0">
                  <a:pos x="14" y="157"/>
                </a:cxn>
                <a:cxn ang="0">
                  <a:pos x="24" y="179"/>
                </a:cxn>
                <a:cxn ang="0">
                  <a:pos x="34" y="195"/>
                </a:cxn>
                <a:cxn ang="0">
                  <a:pos x="50" y="209"/>
                </a:cxn>
                <a:cxn ang="0">
                  <a:pos x="64" y="221"/>
                </a:cxn>
                <a:cxn ang="0">
                  <a:pos x="80" y="227"/>
                </a:cxn>
                <a:cxn ang="0">
                  <a:pos x="94" y="231"/>
                </a:cxn>
                <a:cxn ang="0">
                  <a:pos x="110" y="229"/>
                </a:cxn>
                <a:cxn ang="0">
                  <a:pos x="126" y="221"/>
                </a:cxn>
                <a:cxn ang="0">
                  <a:pos x="140" y="213"/>
                </a:cxn>
                <a:cxn ang="0">
                  <a:pos x="150" y="199"/>
                </a:cxn>
                <a:cxn ang="0">
                  <a:pos x="160" y="181"/>
                </a:cxn>
                <a:cxn ang="0">
                  <a:pos x="164" y="163"/>
                </a:cxn>
                <a:cxn ang="0">
                  <a:pos x="168" y="141"/>
                </a:cxn>
                <a:cxn ang="0">
                  <a:pos x="166" y="117"/>
                </a:cxn>
                <a:cxn ang="0">
                  <a:pos x="162" y="95"/>
                </a:cxn>
                <a:cxn ang="0">
                  <a:pos x="154" y="73"/>
                </a:cxn>
                <a:cxn ang="0">
                  <a:pos x="144" y="54"/>
                </a:cxn>
                <a:cxn ang="0">
                  <a:pos x="134" y="36"/>
                </a:cxn>
                <a:cxn ang="0">
                  <a:pos x="118" y="22"/>
                </a:cxn>
                <a:cxn ang="0">
                  <a:pos x="104" y="10"/>
                </a:cxn>
                <a:cxn ang="0">
                  <a:pos x="88" y="4"/>
                </a:cxn>
                <a:cxn ang="0">
                  <a:pos x="74" y="0"/>
                </a:cxn>
                <a:cxn ang="0">
                  <a:pos x="58" y="2"/>
                </a:cxn>
                <a:cxn ang="0">
                  <a:pos x="42" y="8"/>
                </a:cxn>
                <a:cxn ang="0">
                  <a:pos x="28" y="18"/>
                </a:cxn>
                <a:cxn ang="0">
                  <a:pos x="16" y="32"/>
                </a:cxn>
                <a:cxn ang="0">
                  <a:pos x="8" y="50"/>
                </a:cxn>
                <a:cxn ang="0">
                  <a:pos x="4" y="68"/>
                </a:cxn>
                <a:cxn ang="0">
                  <a:pos x="0" y="89"/>
                </a:cxn>
                <a:cxn ang="0">
                  <a:pos x="0" y="111"/>
                </a:cxn>
                <a:cxn ang="0">
                  <a:pos x="6" y="135"/>
                </a:cxn>
              </a:cxnLst>
              <a:rect l="0" t="0" r="r" b="b"/>
              <a:pathLst>
                <a:path w="168" h="231">
                  <a:moveTo>
                    <a:pt x="6" y="135"/>
                  </a:moveTo>
                  <a:lnTo>
                    <a:pt x="14" y="157"/>
                  </a:lnTo>
                  <a:lnTo>
                    <a:pt x="24" y="179"/>
                  </a:lnTo>
                  <a:lnTo>
                    <a:pt x="34" y="195"/>
                  </a:lnTo>
                  <a:lnTo>
                    <a:pt x="50" y="209"/>
                  </a:lnTo>
                  <a:lnTo>
                    <a:pt x="64" y="221"/>
                  </a:lnTo>
                  <a:lnTo>
                    <a:pt x="80" y="227"/>
                  </a:lnTo>
                  <a:lnTo>
                    <a:pt x="94" y="231"/>
                  </a:lnTo>
                  <a:lnTo>
                    <a:pt x="110" y="229"/>
                  </a:lnTo>
                  <a:lnTo>
                    <a:pt x="126" y="221"/>
                  </a:lnTo>
                  <a:lnTo>
                    <a:pt x="140" y="213"/>
                  </a:lnTo>
                  <a:lnTo>
                    <a:pt x="150" y="199"/>
                  </a:lnTo>
                  <a:lnTo>
                    <a:pt x="160" y="181"/>
                  </a:lnTo>
                  <a:lnTo>
                    <a:pt x="164" y="163"/>
                  </a:lnTo>
                  <a:lnTo>
                    <a:pt x="168" y="141"/>
                  </a:lnTo>
                  <a:lnTo>
                    <a:pt x="166" y="117"/>
                  </a:lnTo>
                  <a:lnTo>
                    <a:pt x="162" y="95"/>
                  </a:lnTo>
                  <a:lnTo>
                    <a:pt x="154" y="73"/>
                  </a:lnTo>
                  <a:lnTo>
                    <a:pt x="144" y="54"/>
                  </a:lnTo>
                  <a:lnTo>
                    <a:pt x="134" y="36"/>
                  </a:lnTo>
                  <a:lnTo>
                    <a:pt x="118" y="22"/>
                  </a:lnTo>
                  <a:lnTo>
                    <a:pt x="104" y="10"/>
                  </a:lnTo>
                  <a:lnTo>
                    <a:pt x="88" y="4"/>
                  </a:lnTo>
                  <a:lnTo>
                    <a:pt x="74" y="0"/>
                  </a:lnTo>
                  <a:lnTo>
                    <a:pt x="58" y="2"/>
                  </a:lnTo>
                  <a:lnTo>
                    <a:pt x="42" y="8"/>
                  </a:lnTo>
                  <a:lnTo>
                    <a:pt x="28" y="18"/>
                  </a:lnTo>
                  <a:lnTo>
                    <a:pt x="16" y="32"/>
                  </a:lnTo>
                  <a:lnTo>
                    <a:pt x="8" y="50"/>
                  </a:lnTo>
                  <a:lnTo>
                    <a:pt x="4" y="68"/>
                  </a:lnTo>
                  <a:lnTo>
                    <a:pt x="0" y="89"/>
                  </a:lnTo>
                  <a:lnTo>
                    <a:pt x="0" y="111"/>
                  </a:lnTo>
                  <a:lnTo>
                    <a:pt x="6" y="135"/>
                  </a:lnTo>
                  <a:close/>
                </a:path>
              </a:pathLst>
            </a:custGeom>
            <a:solidFill>
              <a:srgbClr val="7C382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1" name="Freeform 338"/>
            <p:cNvSpPr>
              <a:spLocks/>
            </p:cNvSpPr>
            <p:nvPr/>
          </p:nvSpPr>
          <p:spPr bwMode="auto">
            <a:xfrm flipH="1">
              <a:off x="5192" y="3078"/>
              <a:ext cx="80" cy="112"/>
            </a:xfrm>
            <a:custGeom>
              <a:avLst/>
              <a:gdLst/>
              <a:ahLst/>
              <a:cxnLst>
                <a:cxn ang="0">
                  <a:pos x="4" y="131"/>
                </a:cxn>
                <a:cxn ang="0">
                  <a:pos x="12" y="151"/>
                </a:cxn>
                <a:cxn ang="0">
                  <a:pos x="22" y="171"/>
                </a:cxn>
                <a:cxn ang="0">
                  <a:pos x="34" y="189"/>
                </a:cxn>
                <a:cxn ang="0">
                  <a:pos x="46" y="203"/>
                </a:cxn>
                <a:cxn ang="0">
                  <a:pos x="62" y="213"/>
                </a:cxn>
                <a:cxn ang="0">
                  <a:pos x="76" y="219"/>
                </a:cxn>
                <a:cxn ang="0">
                  <a:pos x="90" y="223"/>
                </a:cxn>
                <a:cxn ang="0">
                  <a:pos x="106" y="221"/>
                </a:cxn>
                <a:cxn ang="0">
                  <a:pos x="122" y="215"/>
                </a:cxn>
                <a:cxn ang="0">
                  <a:pos x="134" y="205"/>
                </a:cxn>
                <a:cxn ang="0">
                  <a:pos x="146" y="193"/>
                </a:cxn>
                <a:cxn ang="0">
                  <a:pos x="154" y="177"/>
                </a:cxn>
                <a:cxn ang="0">
                  <a:pos x="158" y="157"/>
                </a:cxn>
                <a:cxn ang="0">
                  <a:pos x="162" y="137"/>
                </a:cxn>
                <a:cxn ang="0">
                  <a:pos x="160" y="115"/>
                </a:cxn>
                <a:cxn ang="0">
                  <a:pos x="158" y="93"/>
                </a:cxn>
                <a:cxn ang="0">
                  <a:pos x="148" y="71"/>
                </a:cxn>
                <a:cxn ang="0">
                  <a:pos x="140" y="52"/>
                </a:cxn>
                <a:cxn ang="0">
                  <a:pos x="128" y="36"/>
                </a:cxn>
                <a:cxn ang="0">
                  <a:pos x="114" y="20"/>
                </a:cxn>
                <a:cxn ang="0">
                  <a:pos x="100" y="10"/>
                </a:cxn>
                <a:cxn ang="0">
                  <a:pos x="86" y="4"/>
                </a:cxn>
                <a:cxn ang="0">
                  <a:pos x="72" y="0"/>
                </a:cxn>
                <a:cxn ang="0">
                  <a:pos x="56" y="2"/>
                </a:cxn>
                <a:cxn ang="0">
                  <a:pos x="40" y="8"/>
                </a:cxn>
                <a:cxn ang="0">
                  <a:pos x="28" y="18"/>
                </a:cxn>
                <a:cxn ang="0">
                  <a:pos x="16" y="30"/>
                </a:cxn>
                <a:cxn ang="0">
                  <a:pos x="8" y="48"/>
                </a:cxn>
                <a:cxn ang="0">
                  <a:pos x="4" y="66"/>
                </a:cxn>
                <a:cxn ang="0">
                  <a:pos x="0" y="85"/>
                </a:cxn>
                <a:cxn ang="0">
                  <a:pos x="2" y="107"/>
                </a:cxn>
                <a:cxn ang="0">
                  <a:pos x="4" y="131"/>
                </a:cxn>
              </a:cxnLst>
              <a:rect l="0" t="0" r="r" b="b"/>
              <a:pathLst>
                <a:path w="162" h="223">
                  <a:moveTo>
                    <a:pt x="4" y="131"/>
                  </a:moveTo>
                  <a:lnTo>
                    <a:pt x="12" y="151"/>
                  </a:lnTo>
                  <a:lnTo>
                    <a:pt x="22" y="171"/>
                  </a:lnTo>
                  <a:lnTo>
                    <a:pt x="34" y="189"/>
                  </a:lnTo>
                  <a:lnTo>
                    <a:pt x="46" y="203"/>
                  </a:lnTo>
                  <a:lnTo>
                    <a:pt x="62" y="213"/>
                  </a:lnTo>
                  <a:lnTo>
                    <a:pt x="76" y="219"/>
                  </a:lnTo>
                  <a:lnTo>
                    <a:pt x="90" y="223"/>
                  </a:lnTo>
                  <a:lnTo>
                    <a:pt x="106" y="221"/>
                  </a:lnTo>
                  <a:lnTo>
                    <a:pt x="122" y="215"/>
                  </a:lnTo>
                  <a:lnTo>
                    <a:pt x="134" y="205"/>
                  </a:lnTo>
                  <a:lnTo>
                    <a:pt x="146" y="193"/>
                  </a:lnTo>
                  <a:lnTo>
                    <a:pt x="154" y="177"/>
                  </a:lnTo>
                  <a:lnTo>
                    <a:pt x="158" y="157"/>
                  </a:lnTo>
                  <a:lnTo>
                    <a:pt x="162" y="137"/>
                  </a:lnTo>
                  <a:lnTo>
                    <a:pt x="160" y="115"/>
                  </a:lnTo>
                  <a:lnTo>
                    <a:pt x="158" y="93"/>
                  </a:lnTo>
                  <a:lnTo>
                    <a:pt x="148" y="71"/>
                  </a:lnTo>
                  <a:lnTo>
                    <a:pt x="140" y="52"/>
                  </a:lnTo>
                  <a:lnTo>
                    <a:pt x="128" y="36"/>
                  </a:lnTo>
                  <a:lnTo>
                    <a:pt x="114" y="20"/>
                  </a:lnTo>
                  <a:lnTo>
                    <a:pt x="100" y="10"/>
                  </a:lnTo>
                  <a:lnTo>
                    <a:pt x="86" y="4"/>
                  </a:lnTo>
                  <a:lnTo>
                    <a:pt x="72" y="0"/>
                  </a:lnTo>
                  <a:lnTo>
                    <a:pt x="56" y="2"/>
                  </a:lnTo>
                  <a:lnTo>
                    <a:pt x="40" y="8"/>
                  </a:lnTo>
                  <a:lnTo>
                    <a:pt x="28" y="18"/>
                  </a:lnTo>
                  <a:lnTo>
                    <a:pt x="16" y="30"/>
                  </a:lnTo>
                  <a:lnTo>
                    <a:pt x="8" y="48"/>
                  </a:lnTo>
                  <a:lnTo>
                    <a:pt x="4" y="66"/>
                  </a:lnTo>
                  <a:lnTo>
                    <a:pt x="0" y="85"/>
                  </a:lnTo>
                  <a:lnTo>
                    <a:pt x="2" y="107"/>
                  </a:lnTo>
                  <a:lnTo>
                    <a:pt x="4" y="131"/>
                  </a:lnTo>
                  <a:close/>
                </a:path>
              </a:pathLst>
            </a:custGeom>
            <a:solidFill>
              <a:srgbClr val="84442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2" name="Freeform 339"/>
            <p:cNvSpPr>
              <a:spLocks/>
            </p:cNvSpPr>
            <p:nvPr/>
          </p:nvSpPr>
          <p:spPr bwMode="auto">
            <a:xfrm flipH="1">
              <a:off x="5194" y="3080"/>
              <a:ext cx="76" cy="108"/>
            </a:xfrm>
            <a:custGeom>
              <a:avLst/>
              <a:gdLst/>
              <a:ahLst/>
              <a:cxnLst>
                <a:cxn ang="0">
                  <a:pos x="4" y="125"/>
                </a:cxn>
                <a:cxn ang="0">
                  <a:pos x="12" y="147"/>
                </a:cxn>
                <a:cxn ang="0">
                  <a:pos x="20" y="163"/>
                </a:cxn>
                <a:cxn ang="0">
                  <a:pos x="30" y="181"/>
                </a:cxn>
                <a:cxn ang="0">
                  <a:pos x="44" y="193"/>
                </a:cxn>
                <a:cxn ang="0">
                  <a:pos x="58" y="205"/>
                </a:cxn>
                <a:cxn ang="0">
                  <a:pos x="72" y="211"/>
                </a:cxn>
                <a:cxn ang="0">
                  <a:pos x="88" y="215"/>
                </a:cxn>
                <a:cxn ang="0">
                  <a:pos x="102" y="213"/>
                </a:cxn>
                <a:cxn ang="0">
                  <a:pos x="116" y="207"/>
                </a:cxn>
                <a:cxn ang="0">
                  <a:pos x="128" y="199"/>
                </a:cxn>
                <a:cxn ang="0">
                  <a:pos x="140" y="183"/>
                </a:cxn>
                <a:cxn ang="0">
                  <a:pos x="146" y="169"/>
                </a:cxn>
                <a:cxn ang="0">
                  <a:pos x="152" y="151"/>
                </a:cxn>
                <a:cxn ang="0">
                  <a:pos x="154" y="129"/>
                </a:cxn>
                <a:cxn ang="0">
                  <a:pos x="154" y="109"/>
                </a:cxn>
                <a:cxn ang="0">
                  <a:pos x="150" y="87"/>
                </a:cxn>
                <a:cxn ang="0">
                  <a:pos x="142" y="67"/>
                </a:cxn>
                <a:cxn ang="0">
                  <a:pos x="134" y="48"/>
                </a:cxn>
                <a:cxn ang="0">
                  <a:pos x="122" y="32"/>
                </a:cxn>
                <a:cxn ang="0">
                  <a:pos x="110" y="18"/>
                </a:cxn>
                <a:cxn ang="0">
                  <a:pos x="96" y="8"/>
                </a:cxn>
                <a:cxn ang="0">
                  <a:pos x="80" y="0"/>
                </a:cxn>
                <a:cxn ang="0">
                  <a:pos x="66" y="0"/>
                </a:cxn>
                <a:cxn ang="0">
                  <a:pos x="52" y="0"/>
                </a:cxn>
                <a:cxn ang="0">
                  <a:pos x="38" y="8"/>
                </a:cxn>
                <a:cxn ang="0">
                  <a:pos x="24" y="16"/>
                </a:cxn>
                <a:cxn ang="0">
                  <a:pos x="14" y="28"/>
                </a:cxn>
                <a:cxn ang="0">
                  <a:pos x="6" y="44"/>
                </a:cxn>
                <a:cxn ang="0">
                  <a:pos x="2" y="62"/>
                </a:cxn>
                <a:cxn ang="0">
                  <a:pos x="0" y="81"/>
                </a:cxn>
                <a:cxn ang="0">
                  <a:pos x="2" y="103"/>
                </a:cxn>
                <a:cxn ang="0">
                  <a:pos x="4" y="125"/>
                </a:cxn>
              </a:cxnLst>
              <a:rect l="0" t="0" r="r" b="b"/>
              <a:pathLst>
                <a:path w="154" h="215">
                  <a:moveTo>
                    <a:pt x="4" y="125"/>
                  </a:moveTo>
                  <a:lnTo>
                    <a:pt x="12" y="147"/>
                  </a:lnTo>
                  <a:lnTo>
                    <a:pt x="20" y="163"/>
                  </a:lnTo>
                  <a:lnTo>
                    <a:pt x="30" y="181"/>
                  </a:lnTo>
                  <a:lnTo>
                    <a:pt x="44" y="193"/>
                  </a:lnTo>
                  <a:lnTo>
                    <a:pt x="58" y="205"/>
                  </a:lnTo>
                  <a:lnTo>
                    <a:pt x="72" y="211"/>
                  </a:lnTo>
                  <a:lnTo>
                    <a:pt x="88" y="215"/>
                  </a:lnTo>
                  <a:lnTo>
                    <a:pt x="102" y="213"/>
                  </a:lnTo>
                  <a:lnTo>
                    <a:pt x="116" y="207"/>
                  </a:lnTo>
                  <a:lnTo>
                    <a:pt x="128" y="199"/>
                  </a:lnTo>
                  <a:lnTo>
                    <a:pt x="140" y="183"/>
                  </a:lnTo>
                  <a:lnTo>
                    <a:pt x="146" y="169"/>
                  </a:lnTo>
                  <a:lnTo>
                    <a:pt x="152" y="151"/>
                  </a:lnTo>
                  <a:lnTo>
                    <a:pt x="154" y="129"/>
                  </a:lnTo>
                  <a:lnTo>
                    <a:pt x="154" y="109"/>
                  </a:lnTo>
                  <a:lnTo>
                    <a:pt x="150" y="87"/>
                  </a:lnTo>
                  <a:lnTo>
                    <a:pt x="142" y="67"/>
                  </a:lnTo>
                  <a:lnTo>
                    <a:pt x="134" y="48"/>
                  </a:lnTo>
                  <a:lnTo>
                    <a:pt x="122" y="32"/>
                  </a:lnTo>
                  <a:lnTo>
                    <a:pt x="110" y="18"/>
                  </a:lnTo>
                  <a:lnTo>
                    <a:pt x="96" y="8"/>
                  </a:lnTo>
                  <a:lnTo>
                    <a:pt x="80" y="0"/>
                  </a:lnTo>
                  <a:lnTo>
                    <a:pt x="66" y="0"/>
                  </a:lnTo>
                  <a:lnTo>
                    <a:pt x="52" y="0"/>
                  </a:lnTo>
                  <a:lnTo>
                    <a:pt x="38" y="8"/>
                  </a:lnTo>
                  <a:lnTo>
                    <a:pt x="24" y="16"/>
                  </a:lnTo>
                  <a:lnTo>
                    <a:pt x="14" y="28"/>
                  </a:lnTo>
                  <a:lnTo>
                    <a:pt x="6" y="44"/>
                  </a:lnTo>
                  <a:lnTo>
                    <a:pt x="2" y="62"/>
                  </a:lnTo>
                  <a:lnTo>
                    <a:pt x="0" y="81"/>
                  </a:lnTo>
                  <a:lnTo>
                    <a:pt x="2" y="103"/>
                  </a:lnTo>
                  <a:lnTo>
                    <a:pt x="4" y="125"/>
                  </a:lnTo>
                  <a:close/>
                </a:path>
              </a:pathLst>
            </a:custGeom>
            <a:solidFill>
              <a:srgbClr val="8C512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3" name="Freeform 340"/>
            <p:cNvSpPr>
              <a:spLocks/>
            </p:cNvSpPr>
            <p:nvPr/>
          </p:nvSpPr>
          <p:spPr bwMode="auto">
            <a:xfrm flipH="1">
              <a:off x="5195" y="3081"/>
              <a:ext cx="73" cy="104"/>
            </a:xfrm>
            <a:custGeom>
              <a:avLst/>
              <a:gdLst/>
              <a:ahLst/>
              <a:cxnLst>
                <a:cxn ang="0">
                  <a:pos x="4" y="121"/>
                </a:cxn>
                <a:cxn ang="0">
                  <a:pos x="10" y="141"/>
                </a:cxn>
                <a:cxn ang="0">
                  <a:pos x="20" y="159"/>
                </a:cxn>
                <a:cxn ang="0">
                  <a:pos x="30" y="175"/>
                </a:cxn>
                <a:cxn ang="0">
                  <a:pos x="42" y="187"/>
                </a:cxn>
                <a:cxn ang="0">
                  <a:pos x="56" y="197"/>
                </a:cxn>
                <a:cxn ang="0">
                  <a:pos x="70" y="203"/>
                </a:cxn>
                <a:cxn ang="0">
                  <a:pos x="84" y="207"/>
                </a:cxn>
                <a:cxn ang="0">
                  <a:pos x="98" y="205"/>
                </a:cxn>
                <a:cxn ang="0">
                  <a:pos x="112" y="201"/>
                </a:cxn>
                <a:cxn ang="0">
                  <a:pos x="124" y="191"/>
                </a:cxn>
                <a:cxn ang="0">
                  <a:pos x="134" y="177"/>
                </a:cxn>
                <a:cxn ang="0">
                  <a:pos x="142" y="163"/>
                </a:cxn>
                <a:cxn ang="0">
                  <a:pos x="146" y="145"/>
                </a:cxn>
                <a:cxn ang="0">
                  <a:pos x="148" y="127"/>
                </a:cxn>
                <a:cxn ang="0">
                  <a:pos x="146" y="107"/>
                </a:cxn>
                <a:cxn ang="0">
                  <a:pos x="144" y="87"/>
                </a:cxn>
                <a:cxn ang="0">
                  <a:pos x="136" y="65"/>
                </a:cxn>
                <a:cxn ang="0">
                  <a:pos x="128" y="48"/>
                </a:cxn>
                <a:cxn ang="0">
                  <a:pos x="118" y="32"/>
                </a:cxn>
                <a:cxn ang="0">
                  <a:pos x="106" y="20"/>
                </a:cxn>
                <a:cxn ang="0">
                  <a:pos x="92" y="10"/>
                </a:cxn>
                <a:cxn ang="0">
                  <a:pos x="76" y="2"/>
                </a:cxn>
                <a:cxn ang="0">
                  <a:pos x="64" y="0"/>
                </a:cxn>
                <a:cxn ang="0">
                  <a:pos x="50" y="2"/>
                </a:cxn>
                <a:cxn ang="0">
                  <a:pos x="36" y="6"/>
                </a:cxn>
                <a:cxn ang="0">
                  <a:pos x="24" y="16"/>
                </a:cxn>
                <a:cxn ang="0">
                  <a:pos x="14" y="28"/>
                </a:cxn>
                <a:cxn ang="0">
                  <a:pos x="8" y="44"/>
                </a:cxn>
                <a:cxn ang="0">
                  <a:pos x="2" y="61"/>
                </a:cxn>
                <a:cxn ang="0">
                  <a:pos x="0" y="81"/>
                </a:cxn>
                <a:cxn ang="0">
                  <a:pos x="0" y="99"/>
                </a:cxn>
                <a:cxn ang="0">
                  <a:pos x="4" y="121"/>
                </a:cxn>
              </a:cxnLst>
              <a:rect l="0" t="0" r="r" b="b"/>
              <a:pathLst>
                <a:path w="148" h="207">
                  <a:moveTo>
                    <a:pt x="4" y="121"/>
                  </a:moveTo>
                  <a:lnTo>
                    <a:pt x="10" y="141"/>
                  </a:lnTo>
                  <a:lnTo>
                    <a:pt x="20" y="159"/>
                  </a:lnTo>
                  <a:lnTo>
                    <a:pt x="30" y="175"/>
                  </a:lnTo>
                  <a:lnTo>
                    <a:pt x="42" y="187"/>
                  </a:lnTo>
                  <a:lnTo>
                    <a:pt x="56" y="197"/>
                  </a:lnTo>
                  <a:lnTo>
                    <a:pt x="70" y="203"/>
                  </a:lnTo>
                  <a:lnTo>
                    <a:pt x="84" y="207"/>
                  </a:lnTo>
                  <a:lnTo>
                    <a:pt x="98" y="205"/>
                  </a:lnTo>
                  <a:lnTo>
                    <a:pt x="112" y="201"/>
                  </a:lnTo>
                  <a:lnTo>
                    <a:pt x="124" y="191"/>
                  </a:lnTo>
                  <a:lnTo>
                    <a:pt x="134" y="177"/>
                  </a:lnTo>
                  <a:lnTo>
                    <a:pt x="142" y="163"/>
                  </a:lnTo>
                  <a:lnTo>
                    <a:pt x="146" y="145"/>
                  </a:lnTo>
                  <a:lnTo>
                    <a:pt x="148" y="127"/>
                  </a:lnTo>
                  <a:lnTo>
                    <a:pt x="146" y="107"/>
                  </a:lnTo>
                  <a:lnTo>
                    <a:pt x="144" y="87"/>
                  </a:lnTo>
                  <a:lnTo>
                    <a:pt x="136" y="65"/>
                  </a:lnTo>
                  <a:lnTo>
                    <a:pt x="128" y="48"/>
                  </a:lnTo>
                  <a:lnTo>
                    <a:pt x="118" y="32"/>
                  </a:lnTo>
                  <a:lnTo>
                    <a:pt x="106" y="20"/>
                  </a:lnTo>
                  <a:lnTo>
                    <a:pt x="92" y="10"/>
                  </a:lnTo>
                  <a:lnTo>
                    <a:pt x="76" y="2"/>
                  </a:lnTo>
                  <a:lnTo>
                    <a:pt x="64" y="0"/>
                  </a:lnTo>
                  <a:lnTo>
                    <a:pt x="50" y="2"/>
                  </a:lnTo>
                  <a:lnTo>
                    <a:pt x="36" y="6"/>
                  </a:lnTo>
                  <a:lnTo>
                    <a:pt x="24" y="16"/>
                  </a:lnTo>
                  <a:lnTo>
                    <a:pt x="14" y="28"/>
                  </a:lnTo>
                  <a:lnTo>
                    <a:pt x="8" y="44"/>
                  </a:lnTo>
                  <a:lnTo>
                    <a:pt x="2" y="61"/>
                  </a:lnTo>
                  <a:lnTo>
                    <a:pt x="0" y="81"/>
                  </a:lnTo>
                  <a:lnTo>
                    <a:pt x="0" y="99"/>
                  </a:lnTo>
                  <a:lnTo>
                    <a:pt x="4" y="121"/>
                  </a:lnTo>
                  <a:close/>
                </a:path>
              </a:pathLst>
            </a:custGeom>
            <a:solidFill>
              <a:srgbClr val="955D1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4" name="Freeform 341"/>
            <p:cNvSpPr>
              <a:spLocks/>
            </p:cNvSpPr>
            <p:nvPr/>
          </p:nvSpPr>
          <p:spPr bwMode="auto">
            <a:xfrm flipH="1">
              <a:off x="5196" y="3082"/>
              <a:ext cx="70" cy="100"/>
            </a:xfrm>
            <a:custGeom>
              <a:avLst/>
              <a:gdLst/>
              <a:ahLst/>
              <a:cxnLst>
                <a:cxn ang="0">
                  <a:pos x="4" y="117"/>
                </a:cxn>
                <a:cxn ang="0">
                  <a:pos x="10" y="135"/>
                </a:cxn>
                <a:cxn ang="0">
                  <a:pos x="18" y="153"/>
                </a:cxn>
                <a:cxn ang="0">
                  <a:pos x="28" y="169"/>
                </a:cxn>
                <a:cxn ang="0">
                  <a:pos x="40" y="181"/>
                </a:cxn>
                <a:cxn ang="0">
                  <a:pos x="54" y="191"/>
                </a:cxn>
                <a:cxn ang="0">
                  <a:pos x="68" y="197"/>
                </a:cxn>
                <a:cxn ang="0">
                  <a:pos x="80" y="199"/>
                </a:cxn>
                <a:cxn ang="0">
                  <a:pos x="94" y="197"/>
                </a:cxn>
                <a:cxn ang="0">
                  <a:pos x="106" y="193"/>
                </a:cxn>
                <a:cxn ang="0">
                  <a:pos x="118" y="183"/>
                </a:cxn>
                <a:cxn ang="0">
                  <a:pos x="128" y="171"/>
                </a:cxn>
                <a:cxn ang="0">
                  <a:pos x="136" y="157"/>
                </a:cxn>
                <a:cxn ang="0">
                  <a:pos x="142" y="121"/>
                </a:cxn>
                <a:cxn ang="0">
                  <a:pos x="140" y="101"/>
                </a:cxn>
                <a:cxn ang="0">
                  <a:pos x="138" y="81"/>
                </a:cxn>
                <a:cxn ang="0">
                  <a:pos x="132" y="63"/>
                </a:cxn>
                <a:cxn ang="0">
                  <a:pos x="122" y="46"/>
                </a:cxn>
                <a:cxn ang="0">
                  <a:pos x="114" y="30"/>
                </a:cxn>
                <a:cxn ang="0">
                  <a:pos x="100" y="18"/>
                </a:cxn>
                <a:cxn ang="0">
                  <a:pos x="88" y="8"/>
                </a:cxn>
                <a:cxn ang="0">
                  <a:pos x="72" y="4"/>
                </a:cxn>
                <a:cxn ang="0">
                  <a:pos x="62" y="0"/>
                </a:cxn>
                <a:cxn ang="0">
                  <a:pos x="46" y="2"/>
                </a:cxn>
                <a:cxn ang="0">
                  <a:pos x="34" y="6"/>
                </a:cxn>
                <a:cxn ang="0">
                  <a:pos x="22" y="14"/>
                </a:cxn>
                <a:cxn ang="0">
                  <a:pos x="12" y="28"/>
                </a:cxn>
                <a:cxn ang="0">
                  <a:pos x="6" y="42"/>
                </a:cxn>
                <a:cxn ang="0">
                  <a:pos x="2" y="58"/>
                </a:cxn>
                <a:cxn ang="0">
                  <a:pos x="0" y="75"/>
                </a:cxn>
                <a:cxn ang="0">
                  <a:pos x="0" y="95"/>
                </a:cxn>
                <a:cxn ang="0">
                  <a:pos x="4" y="117"/>
                </a:cxn>
              </a:cxnLst>
              <a:rect l="0" t="0" r="r" b="b"/>
              <a:pathLst>
                <a:path w="142" h="199">
                  <a:moveTo>
                    <a:pt x="4" y="117"/>
                  </a:moveTo>
                  <a:lnTo>
                    <a:pt x="10" y="135"/>
                  </a:lnTo>
                  <a:lnTo>
                    <a:pt x="18" y="153"/>
                  </a:lnTo>
                  <a:lnTo>
                    <a:pt x="28" y="169"/>
                  </a:lnTo>
                  <a:lnTo>
                    <a:pt x="40" y="181"/>
                  </a:lnTo>
                  <a:lnTo>
                    <a:pt x="54" y="191"/>
                  </a:lnTo>
                  <a:lnTo>
                    <a:pt x="68" y="197"/>
                  </a:lnTo>
                  <a:lnTo>
                    <a:pt x="80" y="199"/>
                  </a:lnTo>
                  <a:lnTo>
                    <a:pt x="94" y="197"/>
                  </a:lnTo>
                  <a:lnTo>
                    <a:pt x="106" y="193"/>
                  </a:lnTo>
                  <a:lnTo>
                    <a:pt x="118" y="183"/>
                  </a:lnTo>
                  <a:lnTo>
                    <a:pt x="128" y="171"/>
                  </a:lnTo>
                  <a:lnTo>
                    <a:pt x="136" y="157"/>
                  </a:lnTo>
                  <a:lnTo>
                    <a:pt x="142" y="121"/>
                  </a:lnTo>
                  <a:lnTo>
                    <a:pt x="140" y="101"/>
                  </a:lnTo>
                  <a:lnTo>
                    <a:pt x="138" y="81"/>
                  </a:lnTo>
                  <a:lnTo>
                    <a:pt x="132" y="63"/>
                  </a:lnTo>
                  <a:lnTo>
                    <a:pt x="122" y="46"/>
                  </a:lnTo>
                  <a:lnTo>
                    <a:pt x="114" y="30"/>
                  </a:lnTo>
                  <a:lnTo>
                    <a:pt x="100" y="18"/>
                  </a:lnTo>
                  <a:lnTo>
                    <a:pt x="88" y="8"/>
                  </a:lnTo>
                  <a:lnTo>
                    <a:pt x="72" y="4"/>
                  </a:lnTo>
                  <a:lnTo>
                    <a:pt x="62" y="0"/>
                  </a:lnTo>
                  <a:lnTo>
                    <a:pt x="46" y="2"/>
                  </a:lnTo>
                  <a:lnTo>
                    <a:pt x="34" y="6"/>
                  </a:lnTo>
                  <a:lnTo>
                    <a:pt x="22" y="14"/>
                  </a:lnTo>
                  <a:lnTo>
                    <a:pt x="12" y="28"/>
                  </a:lnTo>
                  <a:lnTo>
                    <a:pt x="6" y="42"/>
                  </a:lnTo>
                  <a:lnTo>
                    <a:pt x="2" y="58"/>
                  </a:lnTo>
                  <a:lnTo>
                    <a:pt x="0" y="75"/>
                  </a:lnTo>
                  <a:lnTo>
                    <a:pt x="0" y="95"/>
                  </a:lnTo>
                  <a:lnTo>
                    <a:pt x="4" y="117"/>
                  </a:lnTo>
                  <a:close/>
                </a:path>
              </a:pathLst>
            </a:custGeom>
            <a:solidFill>
              <a:srgbClr val="9D6A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5" name="Freeform 342"/>
            <p:cNvSpPr>
              <a:spLocks/>
            </p:cNvSpPr>
            <p:nvPr/>
          </p:nvSpPr>
          <p:spPr bwMode="auto">
            <a:xfrm flipH="1">
              <a:off x="5197" y="3083"/>
              <a:ext cx="67" cy="97"/>
            </a:xfrm>
            <a:custGeom>
              <a:avLst/>
              <a:gdLst/>
              <a:ahLst/>
              <a:cxnLst>
                <a:cxn ang="0">
                  <a:pos x="2" y="111"/>
                </a:cxn>
                <a:cxn ang="0">
                  <a:pos x="8" y="131"/>
                </a:cxn>
                <a:cxn ang="0">
                  <a:pos x="18" y="147"/>
                </a:cxn>
                <a:cxn ang="0">
                  <a:pos x="26" y="161"/>
                </a:cxn>
                <a:cxn ang="0">
                  <a:pos x="38" y="175"/>
                </a:cxn>
                <a:cxn ang="0">
                  <a:pos x="52" y="183"/>
                </a:cxn>
                <a:cxn ang="0">
                  <a:pos x="64" y="189"/>
                </a:cxn>
                <a:cxn ang="0">
                  <a:pos x="76" y="193"/>
                </a:cxn>
                <a:cxn ang="0">
                  <a:pos x="90" y="191"/>
                </a:cxn>
                <a:cxn ang="0">
                  <a:pos x="102" y="185"/>
                </a:cxn>
                <a:cxn ang="0">
                  <a:pos x="112" y="175"/>
                </a:cxn>
                <a:cxn ang="0">
                  <a:pos x="122" y="165"/>
                </a:cxn>
                <a:cxn ang="0">
                  <a:pos x="128" y="149"/>
                </a:cxn>
                <a:cxn ang="0">
                  <a:pos x="134" y="133"/>
                </a:cxn>
                <a:cxn ang="0">
                  <a:pos x="136" y="115"/>
                </a:cxn>
                <a:cxn ang="0">
                  <a:pos x="136" y="97"/>
                </a:cxn>
                <a:cxn ang="0">
                  <a:pos x="132" y="79"/>
                </a:cxn>
                <a:cxn ang="0">
                  <a:pos x="126" y="61"/>
                </a:cxn>
                <a:cxn ang="0">
                  <a:pos x="118" y="44"/>
                </a:cxn>
                <a:cxn ang="0">
                  <a:pos x="108" y="28"/>
                </a:cxn>
                <a:cxn ang="0">
                  <a:pos x="96" y="18"/>
                </a:cxn>
                <a:cxn ang="0">
                  <a:pos x="84" y="8"/>
                </a:cxn>
                <a:cxn ang="0">
                  <a:pos x="70" y="2"/>
                </a:cxn>
                <a:cxn ang="0">
                  <a:pos x="58" y="0"/>
                </a:cxn>
                <a:cxn ang="0">
                  <a:pos x="44" y="2"/>
                </a:cxn>
                <a:cxn ang="0">
                  <a:pos x="32" y="6"/>
                </a:cxn>
                <a:cxn ang="0">
                  <a:pos x="22" y="14"/>
                </a:cxn>
                <a:cxn ang="0">
                  <a:pos x="12" y="26"/>
                </a:cxn>
                <a:cxn ang="0">
                  <a:pos x="6" y="40"/>
                </a:cxn>
                <a:cxn ang="0">
                  <a:pos x="0" y="56"/>
                </a:cxn>
                <a:cxn ang="0">
                  <a:pos x="0" y="73"/>
                </a:cxn>
                <a:cxn ang="0">
                  <a:pos x="0" y="91"/>
                </a:cxn>
                <a:cxn ang="0">
                  <a:pos x="2" y="111"/>
                </a:cxn>
              </a:cxnLst>
              <a:rect l="0" t="0" r="r" b="b"/>
              <a:pathLst>
                <a:path w="136" h="193">
                  <a:moveTo>
                    <a:pt x="2" y="111"/>
                  </a:moveTo>
                  <a:lnTo>
                    <a:pt x="8" y="131"/>
                  </a:lnTo>
                  <a:lnTo>
                    <a:pt x="18" y="147"/>
                  </a:lnTo>
                  <a:lnTo>
                    <a:pt x="26" y="161"/>
                  </a:lnTo>
                  <a:lnTo>
                    <a:pt x="38" y="175"/>
                  </a:lnTo>
                  <a:lnTo>
                    <a:pt x="52" y="183"/>
                  </a:lnTo>
                  <a:lnTo>
                    <a:pt x="64" y="189"/>
                  </a:lnTo>
                  <a:lnTo>
                    <a:pt x="76" y="193"/>
                  </a:lnTo>
                  <a:lnTo>
                    <a:pt x="90" y="191"/>
                  </a:lnTo>
                  <a:lnTo>
                    <a:pt x="102" y="185"/>
                  </a:lnTo>
                  <a:lnTo>
                    <a:pt x="112" y="175"/>
                  </a:lnTo>
                  <a:lnTo>
                    <a:pt x="122" y="165"/>
                  </a:lnTo>
                  <a:lnTo>
                    <a:pt x="128" y="149"/>
                  </a:lnTo>
                  <a:lnTo>
                    <a:pt x="134" y="133"/>
                  </a:lnTo>
                  <a:lnTo>
                    <a:pt x="136" y="115"/>
                  </a:lnTo>
                  <a:lnTo>
                    <a:pt x="136" y="97"/>
                  </a:lnTo>
                  <a:lnTo>
                    <a:pt x="132" y="79"/>
                  </a:lnTo>
                  <a:lnTo>
                    <a:pt x="126" y="61"/>
                  </a:lnTo>
                  <a:lnTo>
                    <a:pt x="118" y="44"/>
                  </a:lnTo>
                  <a:lnTo>
                    <a:pt x="108" y="28"/>
                  </a:lnTo>
                  <a:lnTo>
                    <a:pt x="96" y="18"/>
                  </a:lnTo>
                  <a:lnTo>
                    <a:pt x="84" y="8"/>
                  </a:lnTo>
                  <a:lnTo>
                    <a:pt x="70" y="2"/>
                  </a:lnTo>
                  <a:lnTo>
                    <a:pt x="58" y="0"/>
                  </a:lnTo>
                  <a:lnTo>
                    <a:pt x="44" y="2"/>
                  </a:lnTo>
                  <a:lnTo>
                    <a:pt x="32" y="6"/>
                  </a:lnTo>
                  <a:lnTo>
                    <a:pt x="22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56"/>
                  </a:lnTo>
                  <a:lnTo>
                    <a:pt x="0" y="73"/>
                  </a:lnTo>
                  <a:lnTo>
                    <a:pt x="0" y="91"/>
                  </a:lnTo>
                  <a:lnTo>
                    <a:pt x="2" y="111"/>
                  </a:lnTo>
                  <a:close/>
                </a:path>
              </a:pathLst>
            </a:custGeom>
            <a:solidFill>
              <a:srgbClr val="A576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6" name="Freeform 343"/>
            <p:cNvSpPr>
              <a:spLocks/>
            </p:cNvSpPr>
            <p:nvPr/>
          </p:nvSpPr>
          <p:spPr bwMode="auto">
            <a:xfrm flipH="1">
              <a:off x="5198" y="3085"/>
              <a:ext cx="65" cy="92"/>
            </a:xfrm>
            <a:custGeom>
              <a:avLst/>
              <a:gdLst/>
              <a:ahLst/>
              <a:cxnLst>
                <a:cxn ang="0">
                  <a:pos x="4" y="107"/>
                </a:cxn>
                <a:cxn ang="0">
                  <a:pos x="10" y="125"/>
                </a:cxn>
                <a:cxn ang="0">
                  <a:pos x="18" y="141"/>
                </a:cxn>
                <a:cxn ang="0">
                  <a:pos x="28" y="153"/>
                </a:cxn>
                <a:cxn ang="0">
                  <a:pos x="40" y="167"/>
                </a:cxn>
                <a:cxn ang="0">
                  <a:pos x="50" y="175"/>
                </a:cxn>
                <a:cxn ang="0">
                  <a:pos x="64" y="179"/>
                </a:cxn>
                <a:cxn ang="0">
                  <a:pos x="74" y="183"/>
                </a:cxn>
                <a:cxn ang="0">
                  <a:pos x="88" y="181"/>
                </a:cxn>
                <a:cxn ang="0">
                  <a:pos x="100" y="177"/>
                </a:cxn>
                <a:cxn ang="0">
                  <a:pos x="110" y="167"/>
                </a:cxn>
                <a:cxn ang="0">
                  <a:pos x="118" y="157"/>
                </a:cxn>
                <a:cxn ang="0">
                  <a:pos x="126" y="143"/>
                </a:cxn>
                <a:cxn ang="0">
                  <a:pos x="130" y="129"/>
                </a:cxn>
                <a:cxn ang="0">
                  <a:pos x="132" y="113"/>
                </a:cxn>
                <a:cxn ang="0">
                  <a:pos x="132" y="93"/>
                </a:cxn>
                <a:cxn ang="0">
                  <a:pos x="128" y="75"/>
                </a:cxn>
                <a:cxn ang="0">
                  <a:pos x="122" y="57"/>
                </a:cxn>
                <a:cxn ang="0">
                  <a:pos x="114" y="42"/>
                </a:cxn>
                <a:cxn ang="0">
                  <a:pos x="106" y="28"/>
                </a:cxn>
                <a:cxn ang="0">
                  <a:pos x="94" y="16"/>
                </a:cxn>
                <a:cxn ang="0">
                  <a:pos x="82" y="8"/>
                </a:cxn>
                <a:cxn ang="0">
                  <a:pos x="68" y="2"/>
                </a:cxn>
                <a:cxn ang="0">
                  <a:pos x="58" y="0"/>
                </a:cxn>
                <a:cxn ang="0">
                  <a:pos x="44" y="2"/>
                </a:cxn>
                <a:cxn ang="0">
                  <a:pos x="32" y="6"/>
                </a:cxn>
                <a:cxn ang="0">
                  <a:pos x="22" y="14"/>
                </a:cxn>
                <a:cxn ang="0">
                  <a:pos x="14" y="26"/>
                </a:cxn>
                <a:cxn ang="0">
                  <a:pos x="6" y="38"/>
                </a:cxn>
                <a:cxn ang="0">
                  <a:pos x="2" y="53"/>
                </a:cxn>
                <a:cxn ang="0">
                  <a:pos x="0" y="69"/>
                </a:cxn>
                <a:cxn ang="0">
                  <a:pos x="0" y="89"/>
                </a:cxn>
                <a:cxn ang="0">
                  <a:pos x="4" y="107"/>
                </a:cxn>
              </a:cxnLst>
              <a:rect l="0" t="0" r="r" b="b"/>
              <a:pathLst>
                <a:path w="132" h="183">
                  <a:moveTo>
                    <a:pt x="4" y="107"/>
                  </a:moveTo>
                  <a:lnTo>
                    <a:pt x="10" y="125"/>
                  </a:lnTo>
                  <a:lnTo>
                    <a:pt x="18" y="141"/>
                  </a:lnTo>
                  <a:lnTo>
                    <a:pt x="28" y="153"/>
                  </a:lnTo>
                  <a:lnTo>
                    <a:pt x="40" y="167"/>
                  </a:lnTo>
                  <a:lnTo>
                    <a:pt x="50" y="175"/>
                  </a:lnTo>
                  <a:lnTo>
                    <a:pt x="64" y="179"/>
                  </a:lnTo>
                  <a:lnTo>
                    <a:pt x="74" y="183"/>
                  </a:lnTo>
                  <a:lnTo>
                    <a:pt x="88" y="181"/>
                  </a:lnTo>
                  <a:lnTo>
                    <a:pt x="100" y="177"/>
                  </a:lnTo>
                  <a:lnTo>
                    <a:pt x="110" y="167"/>
                  </a:lnTo>
                  <a:lnTo>
                    <a:pt x="118" y="157"/>
                  </a:lnTo>
                  <a:lnTo>
                    <a:pt x="126" y="143"/>
                  </a:lnTo>
                  <a:lnTo>
                    <a:pt x="130" y="129"/>
                  </a:lnTo>
                  <a:lnTo>
                    <a:pt x="132" y="113"/>
                  </a:lnTo>
                  <a:lnTo>
                    <a:pt x="132" y="93"/>
                  </a:lnTo>
                  <a:lnTo>
                    <a:pt x="128" y="75"/>
                  </a:lnTo>
                  <a:lnTo>
                    <a:pt x="122" y="57"/>
                  </a:lnTo>
                  <a:lnTo>
                    <a:pt x="114" y="42"/>
                  </a:lnTo>
                  <a:lnTo>
                    <a:pt x="106" y="28"/>
                  </a:lnTo>
                  <a:lnTo>
                    <a:pt x="94" y="16"/>
                  </a:lnTo>
                  <a:lnTo>
                    <a:pt x="82" y="8"/>
                  </a:lnTo>
                  <a:lnTo>
                    <a:pt x="68" y="2"/>
                  </a:lnTo>
                  <a:lnTo>
                    <a:pt x="58" y="0"/>
                  </a:lnTo>
                  <a:lnTo>
                    <a:pt x="44" y="2"/>
                  </a:lnTo>
                  <a:lnTo>
                    <a:pt x="32" y="6"/>
                  </a:lnTo>
                  <a:lnTo>
                    <a:pt x="22" y="14"/>
                  </a:lnTo>
                  <a:lnTo>
                    <a:pt x="14" y="26"/>
                  </a:lnTo>
                  <a:lnTo>
                    <a:pt x="6" y="38"/>
                  </a:lnTo>
                  <a:lnTo>
                    <a:pt x="2" y="53"/>
                  </a:lnTo>
                  <a:lnTo>
                    <a:pt x="0" y="69"/>
                  </a:lnTo>
                  <a:lnTo>
                    <a:pt x="0" y="89"/>
                  </a:lnTo>
                  <a:lnTo>
                    <a:pt x="4" y="107"/>
                  </a:lnTo>
                  <a:close/>
                </a:path>
              </a:pathLst>
            </a:custGeom>
            <a:solidFill>
              <a:srgbClr val="AD831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7" name="Freeform 344"/>
            <p:cNvSpPr>
              <a:spLocks/>
            </p:cNvSpPr>
            <p:nvPr/>
          </p:nvSpPr>
          <p:spPr bwMode="auto">
            <a:xfrm flipH="1">
              <a:off x="5199" y="3085"/>
              <a:ext cx="63" cy="89"/>
            </a:xfrm>
            <a:custGeom>
              <a:avLst/>
              <a:gdLst/>
              <a:ahLst/>
              <a:cxnLst>
                <a:cxn ang="0">
                  <a:pos x="4" y="101"/>
                </a:cxn>
                <a:cxn ang="0">
                  <a:pos x="10" y="119"/>
                </a:cxn>
                <a:cxn ang="0">
                  <a:pos x="26" y="149"/>
                </a:cxn>
                <a:cxn ang="0">
                  <a:pos x="36" y="161"/>
                </a:cxn>
                <a:cxn ang="0">
                  <a:pos x="48" y="169"/>
                </a:cxn>
                <a:cxn ang="0">
                  <a:pos x="60" y="173"/>
                </a:cxn>
                <a:cxn ang="0">
                  <a:pos x="72" y="177"/>
                </a:cxn>
                <a:cxn ang="0">
                  <a:pos x="86" y="175"/>
                </a:cxn>
                <a:cxn ang="0">
                  <a:pos x="98" y="171"/>
                </a:cxn>
                <a:cxn ang="0">
                  <a:pos x="108" y="163"/>
                </a:cxn>
                <a:cxn ang="0">
                  <a:pos x="116" y="153"/>
                </a:cxn>
                <a:cxn ang="0">
                  <a:pos x="122" y="139"/>
                </a:cxn>
                <a:cxn ang="0">
                  <a:pos x="126" y="125"/>
                </a:cxn>
                <a:cxn ang="0">
                  <a:pos x="128" y="109"/>
                </a:cxn>
                <a:cxn ang="0">
                  <a:pos x="126" y="91"/>
                </a:cxn>
                <a:cxn ang="0">
                  <a:pos x="124" y="73"/>
                </a:cxn>
                <a:cxn ang="0">
                  <a:pos x="118" y="57"/>
                </a:cxn>
                <a:cxn ang="0">
                  <a:pos x="110" y="42"/>
                </a:cxn>
                <a:cxn ang="0">
                  <a:pos x="102" y="28"/>
                </a:cxn>
                <a:cxn ang="0">
                  <a:pos x="90" y="16"/>
                </a:cxn>
                <a:cxn ang="0">
                  <a:pos x="80" y="8"/>
                </a:cxn>
                <a:cxn ang="0">
                  <a:pos x="68" y="4"/>
                </a:cxn>
                <a:cxn ang="0">
                  <a:pos x="54" y="0"/>
                </a:cxn>
                <a:cxn ang="0">
                  <a:pos x="42" y="2"/>
                </a:cxn>
                <a:cxn ang="0">
                  <a:pos x="30" y="6"/>
                </a:cxn>
                <a:cxn ang="0">
                  <a:pos x="20" y="16"/>
                </a:cxn>
                <a:cxn ang="0">
                  <a:pos x="12" y="24"/>
                </a:cxn>
                <a:cxn ang="0">
                  <a:pos x="6" y="38"/>
                </a:cxn>
                <a:cxn ang="0">
                  <a:pos x="2" y="52"/>
                </a:cxn>
                <a:cxn ang="0">
                  <a:pos x="0" y="67"/>
                </a:cxn>
                <a:cxn ang="0">
                  <a:pos x="2" y="85"/>
                </a:cxn>
                <a:cxn ang="0">
                  <a:pos x="4" y="101"/>
                </a:cxn>
              </a:cxnLst>
              <a:rect l="0" t="0" r="r" b="b"/>
              <a:pathLst>
                <a:path w="128" h="177">
                  <a:moveTo>
                    <a:pt x="4" y="101"/>
                  </a:moveTo>
                  <a:lnTo>
                    <a:pt x="10" y="119"/>
                  </a:lnTo>
                  <a:lnTo>
                    <a:pt x="26" y="149"/>
                  </a:lnTo>
                  <a:lnTo>
                    <a:pt x="36" y="161"/>
                  </a:lnTo>
                  <a:lnTo>
                    <a:pt x="48" y="169"/>
                  </a:lnTo>
                  <a:lnTo>
                    <a:pt x="60" y="173"/>
                  </a:lnTo>
                  <a:lnTo>
                    <a:pt x="72" y="177"/>
                  </a:lnTo>
                  <a:lnTo>
                    <a:pt x="86" y="175"/>
                  </a:lnTo>
                  <a:lnTo>
                    <a:pt x="98" y="171"/>
                  </a:lnTo>
                  <a:lnTo>
                    <a:pt x="108" y="163"/>
                  </a:lnTo>
                  <a:lnTo>
                    <a:pt x="116" y="153"/>
                  </a:lnTo>
                  <a:lnTo>
                    <a:pt x="122" y="139"/>
                  </a:lnTo>
                  <a:lnTo>
                    <a:pt x="126" y="125"/>
                  </a:lnTo>
                  <a:lnTo>
                    <a:pt x="128" y="109"/>
                  </a:lnTo>
                  <a:lnTo>
                    <a:pt x="126" y="91"/>
                  </a:lnTo>
                  <a:lnTo>
                    <a:pt x="124" y="73"/>
                  </a:lnTo>
                  <a:lnTo>
                    <a:pt x="118" y="57"/>
                  </a:lnTo>
                  <a:lnTo>
                    <a:pt x="110" y="42"/>
                  </a:lnTo>
                  <a:lnTo>
                    <a:pt x="102" y="28"/>
                  </a:lnTo>
                  <a:lnTo>
                    <a:pt x="90" y="16"/>
                  </a:lnTo>
                  <a:lnTo>
                    <a:pt x="80" y="8"/>
                  </a:lnTo>
                  <a:lnTo>
                    <a:pt x="68" y="4"/>
                  </a:lnTo>
                  <a:lnTo>
                    <a:pt x="54" y="0"/>
                  </a:lnTo>
                  <a:lnTo>
                    <a:pt x="42" y="2"/>
                  </a:lnTo>
                  <a:lnTo>
                    <a:pt x="30" y="6"/>
                  </a:lnTo>
                  <a:lnTo>
                    <a:pt x="20" y="16"/>
                  </a:lnTo>
                  <a:lnTo>
                    <a:pt x="12" y="24"/>
                  </a:lnTo>
                  <a:lnTo>
                    <a:pt x="6" y="38"/>
                  </a:lnTo>
                  <a:lnTo>
                    <a:pt x="2" y="52"/>
                  </a:lnTo>
                  <a:lnTo>
                    <a:pt x="0" y="67"/>
                  </a:lnTo>
                  <a:lnTo>
                    <a:pt x="2" y="85"/>
                  </a:lnTo>
                  <a:lnTo>
                    <a:pt x="4" y="101"/>
                  </a:lnTo>
                  <a:close/>
                </a:path>
              </a:pathLst>
            </a:custGeom>
            <a:solidFill>
              <a:srgbClr val="B58F1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8" name="Freeform 345"/>
            <p:cNvSpPr>
              <a:spLocks/>
            </p:cNvSpPr>
            <p:nvPr/>
          </p:nvSpPr>
          <p:spPr bwMode="auto">
            <a:xfrm flipH="1">
              <a:off x="5200" y="3086"/>
              <a:ext cx="59" cy="85"/>
            </a:xfrm>
            <a:custGeom>
              <a:avLst/>
              <a:gdLst/>
              <a:ahLst/>
              <a:cxnLst>
                <a:cxn ang="0">
                  <a:pos x="2" y="99"/>
                </a:cxn>
                <a:cxn ang="0">
                  <a:pos x="8" y="115"/>
                </a:cxn>
                <a:cxn ang="0">
                  <a:pos x="16" y="131"/>
                </a:cxn>
                <a:cxn ang="0">
                  <a:pos x="24" y="143"/>
                </a:cxn>
                <a:cxn ang="0">
                  <a:pos x="34" y="153"/>
                </a:cxn>
                <a:cxn ang="0">
                  <a:pos x="44" y="161"/>
                </a:cxn>
                <a:cxn ang="0">
                  <a:pos x="56" y="167"/>
                </a:cxn>
                <a:cxn ang="0">
                  <a:pos x="66" y="169"/>
                </a:cxn>
                <a:cxn ang="0">
                  <a:pos x="80" y="167"/>
                </a:cxn>
                <a:cxn ang="0">
                  <a:pos x="92" y="161"/>
                </a:cxn>
                <a:cxn ang="0">
                  <a:pos x="100" y="155"/>
                </a:cxn>
                <a:cxn ang="0">
                  <a:pos x="108" y="143"/>
                </a:cxn>
                <a:cxn ang="0">
                  <a:pos x="116" y="133"/>
                </a:cxn>
                <a:cxn ang="0">
                  <a:pos x="118" y="117"/>
                </a:cxn>
                <a:cxn ang="0">
                  <a:pos x="120" y="103"/>
                </a:cxn>
                <a:cxn ang="0">
                  <a:pos x="118" y="87"/>
                </a:cxn>
                <a:cxn ang="0">
                  <a:pos x="116" y="69"/>
                </a:cxn>
                <a:cxn ang="0">
                  <a:pos x="110" y="53"/>
                </a:cxn>
                <a:cxn ang="0">
                  <a:pos x="104" y="40"/>
                </a:cxn>
                <a:cxn ang="0">
                  <a:pos x="94" y="26"/>
                </a:cxn>
                <a:cxn ang="0">
                  <a:pos x="84" y="16"/>
                </a:cxn>
                <a:cxn ang="0">
                  <a:pos x="74" y="8"/>
                </a:cxn>
                <a:cxn ang="0">
                  <a:pos x="62" y="4"/>
                </a:cxn>
                <a:cxn ang="0">
                  <a:pos x="52" y="0"/>
                </a:cxn>
                <a:cxn ang="0">
                  <a:pos x="38" y="2"/>
                </a:cxn>
                <a:cxn ang="0">
                  <a:pos x="28" y="6"/>
                </a:cxn>
                <a:cxn ang="0">
                  <a:pos x="18" y="14"/>
                </a:cxn>
                <a:cxn ang="0">
                  <a:pos x="10" y="24"/>
                </a:cxn>
                <a:cxn ang="0">
                  <a:pos x="4" y="36"/>
                </a:cxn>
                <a:cxn ang="0">
                  <a:pos x="2" y="50"/>
                </a:cxn>
                <a:cxn ang="0">
                  <a:pos x="0" y="65"/>
                </a:cxn>
                <a:cxn ang="0">
                  <a:pos x="0" y="83"/>
                </a:cxn>
                <a:cxn ang="0">
                  <a:pos x="2" y="99"/>
                </a:cxn>
              </a:cxnLst>
              <a:rect l="0" t="0" r="r" b="b"/>
              <a:pathLst>
                <a:path w="120" h="169">
                  <a:moveTo>
                    <a:pt x="2" y="99"/>
                  </a:moveTo>
                  <a:lnTo>
                    <a:pt x="8" y="115"/>
                  </a:lnTo>
                  <a:lnTo>
                    <a:pt x="16" y="131"/>
                  </a:lnTo>
                  <a:lnTo>
                    <a:pt x="24" y="143"/>
                  </a:lnTo>
                  <a:lnTo>
                    <a:pt x="34" y="153"/>
                  </a:lnTo>
                  <a:lnTo>
                    <a:pt x="44" y="161"/>
                  </a:lnTo>
                  <a:lnTo>
                    <a:pt x="56" y="167"/>
                  </a:lnTo>
                  <a:lnTo>
                    <a:pt x="66" y="169"/>
                  </a:lnTo>
                  <a:lnTo>
                    <a:pt x="80" y="167"/>
                  </a:lnTo>
                  <a:lnTo>
                    <a:pt x="92" y="161"/>
                  </a:lnTo>
                  <a:lnTo>
                    <a:pt x="100" y="155"/>
                  </a:lnTo>
                  <a:lnTo>
                    <a:pt x="108" y="143"/>
                  </a:lnTo>
                  <a:lnTo>
                    <a:pt x="116" y="133"/>
                  </a:lnTo>
                  <a:lnTo>
                    <a:pt x="118" y="117"/>
                  </a:lnTo>
                  <a:lnTo>
                    <a:pt x="120" y="103"/>
                  </a:lnTo>
                  <a:lnTo>
                    <a:pt x="118" y="87"/>
                  </a:lnTo>
                  <a:lnTo>
                    <a:pt x="116" y="69"/>
                  </a:lnTo>
                  <a:lnTo>
                    <a:pt x="110" y="53"/>
                  </a:lnTo>
                  <a:lnTo>
                    <a:pt x="104" y="40"/>
                  </a:lnTo>
                  <a:lnTo>
                    <a:pt x="94" y="26"/>
                  </a:lnTo>
                  <a:lnTo>
                    <a:pt x="84" y="16"/>
                  </a:lnTo>
                  <a:lnTo>
                    <a:pt x="74" y="8"/>
                  </a:lnTo>
                  <a:lnTo>
                    <a:pt x="62" y="4"/>
                  </a:lnTo>
                  <a:lnTo>
                    <a:pt x="52" y="0"/>
                  </a:lnTo>
                  <a:lnTo>
                    <a:pt x="38" y="2"/>
                  </a:lnTo>
                  <a:lnTo>
                    <a:pt x="28" y="6"/>
                  </a:lnTo>
                  <a:lnTo>
                    <a:pt x="18" y="14"/>
                  </a:lnTo>
                  <a:lnTo>
                    <a:pt x="10" y="24"/>
                  </a:lnTo>
                  <a:lnTo>
                    <a:pt x="4" y="36"/>
                  </a:lnTo>
                  <a:lnTo>
                    <a:pt x="2" y="50"/>
                  </a:lnTo>
                  <a:lnTo>
                    <a:pt x="0" y="65"/>
                  </a:lnTo>
                  <a:lnTo>
                    <a:pt x="0" y="83"/>
                  </a:lnTo>
                  <a:lnTo>
                    <a:pt x="2" y="99"/>
                  </a:lnTo>
                  <a:close/>
                </a:path>
              </a:pathLst>
            </a:custGeom>
            <a:solidFill>
              <a:srgbClr val="BE9C1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399" name="Freeform 346"/>
            <p:cNvSpPr>
              <a:spLocks/>
            </p:cNvSpPr>
            <p:nvPr/>
          </p:nvSpPr>
          <p:spPr bwMode="auto">
            <a:xfrm flipH="1">
              <a:off x="5201" y="3088"/>
              <a:ext cx="58" cy="80"/>
            </a:xfrm>
            <a:custGeom>
              <a:avLst/>
              <a:gdLst/>
              <a:ahLst/>
              <a:cxnLst>
                <a:cxn ang="0">
                  <a:pos x="4" y="93"/>
                </a:cxn>
                <a:cxn ang="0">
                  <a:pos x="14" y="121"/>
                </a:cxn>
                <a:cxn ang="0">
                  <a:pos x="24" y="135"/>
                </a:cxn>
                <a:cxn ang="0">
                  <a:pos x="34" y="145"/>
                </a:cxn>
                <a:cxn ang="0">
                  <a:pos x="44" y="153"/>
                </a:cxn>
                <a:cxn ang="0">
                  <a:pos x="54" y="157"/>
                </a:cxn>
                <a:cxn ang="0">
                  <a:pos x="66" y="159"/>
                </a:cxn>
                <a:cxn ang="0">
                  <a:pos x="78" y="157"/>
                </a:cxn>
                <a:cxn ang="0">
                  <a:pos x="90" y="155"/>
                </a:cxn>
                <a:cxn ang="0">
                  <a:pos x="98" y="147"/>
                </a:cxn>
                <a:cxn ang="0">
                  <a:pos x="106" y="137"/>
                </a:cxn>
                <a:cxn ang="0">
                  <a:pos x="110" y="125"/>
                </a:cxn>
                <a:cxn ang="0">
                  <a:pos x="114" y="113"/>
                </a:cxn>
                <a:cxn ang="0">
                  <a:pos x="116" y="97"/>
                </a:cxn>
                <a:cxn ang="0">
                  <a:pos x="116" y="81"/>
                </a:cxn>
                <a:cxn ang="0">
                  <a:pos x="112" y="65"/>
                </a:cxn>
                <a:cxn ang="0">
                  <a:pos x="106" y="49"/>
                </a:cxn>
                <a:cxn ang="0">
                  <a:pos x="100" y="36"/>
                </a:cxn>
                <a:cxn ang="0">
                  <a:pos x="92" y="24"/>
                </a:cxn>
                <a:cxn ang="0">
                  <a:pos x="82" y="14"/>
                </a:cxn>
                <a:cxn ang="0">
                  <a:pos x="72" y="6"/>
                </a:cxn>
                <a:cxn ang="0">
                  <a:pos x="62" y="0"/>
                </a:cxn>
                <a:cxn ang="0">
                  <a:pos x="50" y="0"/>
                </a:cxn>
                <a:cxn ang="0">
                  <a:pos x="38" y="0"/>
                </a:cxn>
                <a:cxn ang="0">
                  <a:pos x="28" y="4"/>
                </a:cxn>
                <a:cxn ang="0">
                  <a:pos x="20" y="10"/>
                </a:cxn>
                <a:cxn ang="0">
                  <a:pos x="12" y="20"/>
                </a:cxn>
                <a:cxn ang="0">
                  <a:pos x="4" y="34"/>
                </a:cxn>
                <a:cxn ang="0">
                  <a:pos x="2" y="46"/>
                </a:cxn>
                <a:cxn ang="0">
                  <a:pos x="0" y="61"/>
                </a:cxn>
                <a:cxn ang="0">
                  <a:pos x="0" y="77"/>
                </a:cxn>
                <a:cxn ang="0">
                  <a:pos x="4" y="93"/>
                </a:cxn>
              </a:cxnLst>
              <a:rect l="0" t="0" r="r" b="b"/>
              <a:pathLst>
                <a:path w="116" h="159">
                  <a:moveTo>
                    <a:pt x="4" y="93"/>
                  </a:moveTo>
                  <a:lnTo>
                    <a:pt x="14" y="121"/>
                  </a:lnTo>
                  <a:lnTo>
                    <a:pt x="24" y="135"/>
                  </a:lnTo>
                  <a:lnTo>
                    <a:pt x="34" y="145"/>
                  </a:lnTo>
                  <a:lnTo>
                    <a:pt x="44" y="153"/>
                  </a:lnTo>
                  <a:lnTo>
                    <a:pt x="54" y="157"/>
                  </a:lnTo>
                  <a:lnTo>
                    <a:pt x="66" y="159"/>
                  </a:lnTo>
                  <a:lnTo>
                    <a:pt x="78" y="157"/>
                  </a:lnTo>
                  <a:lnTo>
                    <a:pt x="90" y="155"/>
                  </a:lnTo>
                  <a:lnTo>
                    <a:pt x="98" y="147"/>
                  </a:lnTo>
                  <a:lnTo>
                    <a:pt x="106" y="137"/>
                  </a:lnTo>
                  <a:lnTo>
                    <a:pt x="110" y="125"/>
                  </a:lnTo>
                  <a:lnTo>
                    <a:pt x="114" y="113"/>
                  </a:lnTo>
                  <a:lnTo>
                    <a:pt x="116" y="97"/>
                  </a:lnTo>
                  <a:lnTo>
                    <a:pt x="116" y="81"/>
                  </a:lnTo>
                  <a:lnTo>
                    <a:pt x="112" y="65"/>
                  </a:lnTo>
                  <a:lnTo>
                    <a:pt x="106" y="49"/>
                  </a:lnTo>
                  <a:lnTo>
                    <a:pt x="100" y="36"/>
                  </a:lnTo>
                  <a:lnTo>
                    <a:pt x="92" y="24"/>
                  </a:lnTo>
                  <a:lnTo>
                    <a:pt x="82" y="14"/>
                  </a:lnTo>
                  <a:lnTo>
                    <a:pt x="72" y="6"/>
                  </a:lnTo>
                  <a:lnTo>
                    <a:pt x="62" y="0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8" y="4"/>
                  </a:lnTo>
                  <a:lnTo>
                    <a:pt x="20" y="10"/>
                  </a:lnTo>
                  <a:lnTo>
                    <a:pt x="12" y="20"/>
                  </a:lnTo>
                  <a:lnTo>
                    <a:pt x="4" y="34"/>
                  </a:lnTo>
                  <a:lnTo>
                    <a:pt x="2" y="46"/>
                  </a:lnTo>
                  <a:lnTo>
                    <a:pt x="0" y="61"/>
                  </a:lnTo>
                  <a:lnTo>
                    <a:pt x="0" y="77"/>
                  </a:lnTo>
                  <a:lnTo>
                    <a:pt x="4" y="93"/>
                  </a:lnTo>
                  <a:close/>
                </a:path>
              </a:pathLst>
            </a:custGeom>
            <a:solidFill>
              <a:srgbClr val="C6A81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0" name="Freeform 347"/>
            <p:cNvSpPr>
              <a:spLocks/>
            </p:cNvSpPr>
            <p:nvPr/>
          </p:nvSpPr>
          <p:spPr bwMode="auto">
            <a:xfrm flipH="1">
              <a:off x="5202" y="3089"/>
              <a:ext cx="55" cy="77"/>
            </a:xfrm>
            <a:custGeom>
              <a:avLst/>
              <a:gdLst/>
              <a:ahLst/>
              <a:cxnLst>
                <a:cxn ang="0">
                  <a:pos x="2" y="89"/>
                </a:cxn>
                <a:cxn ang="0">
                  <a:pos x="8" y="103"/>
                </a:cxn>
                <a:cxn ang="0">
                  <a:pos x="14" y="117"/>
                </a:cxn>
                <a:cxn ang="0">
                  <a:pos x="22" y="129"/>
                </a:cxn>
                <a:cxn ang="0">
                  <a:pos x="32" y="139"/>
                </a:cxn>
                <a:cxn ang="0">
                  <a:pos x="42" y="145"/>
                </a:cxn>
                <a:cxn ang="0">
                  <a:pos x="50" y="151"/>
                </a:cxn>
                <a:cxn ang="0">
                  <a:pos x="62" y="153"/>
                </a:cxn>
                <a:cxn ang="0">
                  <a:pos x="74" y="151"/>
                </a:cxn>
                <a:cxn ang="0">
                  <a:pos x="84" y="147"/>
                </a:cxn>
                <a:cxn ang="0">
                  <a:pos x="92" y="141"/>
                </a:cxn>
                <a:cxn ang="0">
                  <a:pos x="100" y="131"/>
                </a:cxn>
                <a:cxn ang="0">
                  <a:pos x="104" y="119"/>
                </a:cxn>
                <a:cxn ang="0">
                  <a:pos x="108" y="107"/>
                </a:cxn>
                <a:cxn ang="0">
                  <a:pos x="110" y="93"/>
                </a:cxn>
                <a:cxn ang="0">
                  <a:pos x="110" y="79"/>
                </a:cxn>
                <a:cxn ang="0">
                  <a:pos x="106" y="63"/>
                </a:cxn>
                <a:cxn ang="0">
                  <a:pos x="102" y="47"/>
                </a:cxn>
                <a:cxn ang="0">
                  <a:pos x="94" y="36"/>
                </a:cxn>
                <a:cxn ang="0">
                  <a:pos x="86" y="24"/>
                </a:cxn>
                <a:cxn ang="0">
                  <a:pos x="78" y="14"/>
                </a:cxn>
                <a:cxn ang="0">
                  <a:pos x="68" y="8"/>
                </a:cxn>
                <a:cxn ang="0">
                  <a:pos x="58" y="4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26" y="4"/>
                </a:cxn>
                <a:cxn ang="0">
                  <a:pos x="16" y="12"/>
                </a:cxn>
                <a:cxn ang="0">
                  <a:pos x="10" y="22"/>
                </a:cxn>
                <a:cxn ang="0">
                  <a:pos x="6" y="32"/>
                </a:cxn>
                <a:cxn ang="0">
                  <a:pos x="0" y="45"/>
                </a:cxn>
                <a:cxn ang="0">
                  <a:pos x="0" y="59"/>
                </a:cxn>
                <a:cxn ang="0">
                  <a:pos x="2" y="89"/>
                </a:cxn>
              </a:cxnLst>
              <a:rect l="0" t="0" r="r" b="b"/>
              <a:pathLst>
                <a:path w="110" h="153">
                  <a:moveTo>
                    <a:pt x="2" y="89"/>
                  </a:moveTo>
                  <a:lnTo>
                    <a:pt x="8" y="103"/>
                  </a:lnTo>
                  <a:lnTo>
                    <a:pt x="14" y="117"/>
                  </a:lnTo>
                  <a:lnTo>
                    <a:pt x="22" y="129"/>
                  </a:lnTo>
                  <a:lnTo>
                    <a:pt x="32" y="139"/>
                  </a:lnTo>
                  <a:lnTo>
                    <a:pt x="42" y="145"/>
                  </a:lnTo>
                  <a:lnTo>
                    <a:pt x="50" y="151"/>
                  </a:lnTo>
                  <a:lnTo>
                    <a:pt x="62" y="153"/>
                  </a:lnTo>
                  <a:lnTo>
                    <a:pt x="74" y="151"/>
                  </a:lnTo>
                  <a:lnTo>
                    <a:pt x="84" y="147"/>
                  </a:lnTo>
                  <a:lnTo>
                    <a:pt x="92" y="141"/>
                  </a:lnTo>
                  <a:lnTo>
                    <a:pt x="100" y="131"/>
                  </a:lnTo>
                  <a:lnTo>
                    <a:pt x="104" y="119"/>
                  </a:lnTo>
                  <a:lnTo>
                    <a:pt x="108" y="107"/>
                  </a:lnTo>
                  <a:lnTo>
                    <a:pt x="110" y="93"/>
                  </a:lnTo>
                  <a:lnTo>
                    <a:pt x="110" y="79"/>
                  </a:lnTo>
                  <a:lnTo>
                    <a:pt x="106" y="63"/>
                  </a:lnTo>
                  <a:lnTo>
                    <a:pt x="102" y="47"/>
                  </a:lnTo>
                  <a:lnTo>
                    <a:pt x="94" y="36"/>
                  </a:lnTo>
                  <a:lnTo>
                    <a:pt x="86" y="24"/>
                  </a:lnTo>
                  <a:lnTo>
                    <a:pt x="78" y="14"/>
                  </a:lnTo>
                  <a:lnTo>
                    <a:pt x="68" y="8"/>
                  </a:lnTo>
                  <a:lnTo>
                    <a:pt x="58" y="4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6" y="12"/>
                  </a:lnTo>
                  <a:lnTo>
                    <a:pt x="10" y="22"/>
                  </a:lnTo>
                  <a:lnTo>
                    <a:pt x="6" y="32"/>
                  </a:lnTo>
                  <a:lnTo>
                    <a:pt x="0" y="45"/>
                  </a:lnTo>
                  <a:lnTo>
                    <a:pt x="0" y="59"/>
                  </a:lnTo>
                  <a:lnTo>
                    <a:pt x="2" y="89"/>
                  </a:lnTo>
                  <a:close/>
                </a:path>
              </a:pathLst>
            </a:custGeom>
            <a:solidFill>
              <a:srgbClr val="CEB40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1" name="Freeform 348"/>
            <p:cNvSpPr>
              <a:spLocks/>
            </p:cNvSpPr>
            <p:nvPr/>
          </p:nvSpPr>
          <p:spPr bwMode="auto">
            <a:xfrm flipH="1">
              <a:off x="5203" y="3090"/>
              <a:ext cx="53" cy="73"/>
            </a:xfrm>
            <a:custGeom>
              <a:avLst/>
              <a:gdLst/>
              <a:ahLst/>
              <a:cxnLst>
                <a:cxn ang="0">
                  <a:pos x="4" y="85"/>
                </a:cxn>
                <a:cxn ang="0">
                  <a:pos x="14" y="111"/>
                </a:cxn>
                <a:cxn ang="0">
                  <a:pos x="32" y="131"/>
                </a:cxn>
                <a:cxn ang="0">
                  <a:pos x="40" y="139"/>
                </a:cxn>
                <a:cxn ang="0">
                  <a:pos x="50" y="143"/>
                </a:cxn>
                <a:cxn ang="0">
                  <a:pos x="62" y="145"/>
                </a:cxn>
                <a:cxn ang="0">
                  <a:pos x="72" y="143"/>
                </a:cxn>
                <a:cxn ang="0">
                  <a:pos x="82" y="141"/>
                </a:cxn>
                <a:cxn ang="0">
                  <a:pos x="90" y="133"/>
                </a:cxn>
                <a:cxn ang="0">
                  <a:pos x="96" y="123"/>
                </a:cxn>
                <a:cxn ang="0">
                  <a:pos x="100" y="115"/>
                </a:cxn>
                <a:cxn ang="0">
                  <a:pos x="106" y="89"/>
                </a:cxn>
                <a:cxn ang="0">
                  <a:pos x="102" y="61"/>
                </a:cxn>
                <a:cxn ang="0">
                  <a:pos x="92" y="34"/>
                </a:cxn>
                <a:cxn ang="0">
                  <a:pos x="84" y="22"/>
                </a:cxn>
                <a:cxn ang="0">
                  <a:pos x="76" y="14"/>
                </a:cxn>
                <a:cxn ang="0">
                  <a:pos x="66" y="6"/>
                </a:cxn>
                <a:cxn ang="0">
                  <a:pos x="58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26" y="6"/>
                </a:cxn>
                <a:cxn ang="0">
                  <a:pos x="18" y="12"/>
                </a:cxn>
                <a:cxn ang="0">
                  <a:pos x="12" y="20"/>
                </a:cxn>
                <a:cxn ang="0">
                  <a:pos x="6" y="32"/>
                </a:cxn>
                <a:cxn ang="0">
                  <a:pos x="0" y="55"/>
                </a:cxn>
                <a:cxn ang="0">
                  <a:pos x="4" y="85"/>
                </a:cxn>
              </a:cxnLst>
              <a:rect l="0" t="0" r="r" b="b"/>
              <a:pathLst>
                <a:path w="106" h="145">
                  <a:moveTo>
                    <a:pt x="4" y="85"/>
                  </a:moveTo>
                  <a:lnTo>
                    <a:pt x="14" y="111"/>
                  </a:lnTo>
                  <a:lnTo>
                    <a:pt x="32" y="131"/>
                  </a:lnTo>
                  <a:lnTo>
                    <a:pt x="40" y="139"/>
                  </a:lnTo>
                  <a:lnTo>
                    <a:pt x="50" y="143"/>
                  </a:lnTo>
                  <a:lnTo>
                    <a:pt x="62" y="145"/>
                  </a:lnTo>
                  <a:lnTo>
                    <a:pt x="72" y="143"/>
                  </a:lnTo>
                  <a:lnTo>
                    <a:pt x="82" y="141"/>
                  </a:lnTo>
                  <a:lnTo>
                    <a:pt x="90" y="133"/>
                  </a:lnTo>
                  <a:lnTo>
                    <a:pt x="96" y="123"/>
                  </a:lnTo>
                  <a:lnTo>
                    <a:pt x="100" y="115"/>
                  </a:lnTo>
                  <a:lnTo>
                    <a:pt x="106" y="89"/>
                  </a:lnTo>
                  <a:lnTo>
                    <a:pt x="102" y="61"/>
                  </a:lnTo>
                  <a:lnTo>
                    <a:pt x="92" y="34"/>
                  </a:lnTo>
                  <a:lnTo>
                    <a:pt x="84" y="22"/>
                  </a:lnTo>
                  <a:lnTo>
                    <a:pt x="76" y="14"/>
                  </a:lnTo>
                  <a:lnTo>
                    <a:pt x="66" y="6"/>
                  </a:lnTo>
                  <a:lnTo>
                    <a:pt x="58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26" y="6"/>
                  </a:lnTo>
                  <a:lnTo>
                    <a:pt x="18" y="12"/>
                  </a:lnTo>
                  <a:lnTo>
                    <a:pt x="12" y="20"/>
                  </a:lnTo>
                  <a:lnTo>
                    <a:pt x="6" y="32"/>
                  </a:lnTo>
                  <a:lnTo>
                    <a:pt x="0" y="55"/>
                  </a:lnTo>
                  <a:lnTo>
                    <a:pt x="4" y="85"/>
                  </a:lnTo>
                  <a:close/>
                </a:path>
              </a:pathLst>
            </a:custGeom>
            <a:solidFill>
              <a:srgbClr val="D6C10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2" name="Freeform 349"/>
            <p:cNvSpPr>
              <a:spLocks/>
            </p:cNvSpPr>
            <p:nvPr/>
          </p:nvSpPr>
          <p:spPr bwMode="auto">
            <a:xfrm flipH="1">
              <a:off x="5204" y="3091"/>
              <a:ext cx="49" cy="69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2" y="105"/>
                </a:cxn>
                <a:cxn ang="0">
                  <a:pos x="26" y="125"/>
                </a:cxn>
                <a:cxn ang="0">
                  <a:pos x="36" y="131"/>
                </a:cxn>
                <a:cxn ang="0">
                  <a:pos x="56" y="137"/>
                </a:cxn>
                <a:cxn ang="0">
                  <a:pos x="66" y="135"/>
                </a:cxn>
                <a:cxn ang="0">
                  <a:pos x="76" y="133"/>
                </a:cxn>
                <a:cxn ang="0">
                  <a:pos x="82" y="125"/>
                </a:cxn>
                <a:cxn ang="0">
                  <a:pos x="88" y="117"/>
                </a:cxn>
                <a:cxn ang="0">
                  <a:pos x="94" y="107"/>
                </a:cxn>
                <a:cxn ang="0">
                  <a:pos x="98" y="83"/>
                </a:cxn>
                <a:cxn ang="0">
                  <a:pos x="94" y="55"/>
                </a:cxn>
                <a:cxn ang="0">
                  <a:pos x="86" y="30"/>
                </a:cxn>
                <a:cxn ang="0">
                  <a:pos x="68" y="12"/>
                </a:cxn>
                <a:cxn ang="0">
                  <a:pos x="60" y="6"/>
                </a:cxn>
                <a:cxn ang="0">
                  <a:pos x="52" y="2"/>
                </a:cxn>
                <a:cxn ang="0">
                  <a:pos x="42" y="0"/>
                </a:cxn>
                <a:cxn ang="0">
                  <a:pos x="32" y="2"/>
                </a:cxn>
                <a:cxn ang="0">
                  <a:pos x="22" y="4"/>
                </a:cxn>
                <a:cxn ang="0">
                  <a:pos x="16" y="12"/>
                </a:cxn>
                <a:cxn ang="0">
                  <a:pos x="4" y="30"/>
                </a:cxn>
                <a:cxn ang="0">
                  <a:pos x="0" y="53"/>
                </a:cxn>
                <a:cxn ang="0">
                  <a:pos x="2" y="79"/>
                </a:cxn>
              </a:cxnLst>
              <a:rect l="0" t="0" r="r" b="b"/>
              <a:pathLst>
                <a:path w="98" h="137">
                  <a:moveTo>
                    <a:pt x="2" y="79"/>
                  </a:moveTo>
                  <a:lnTo>
                    <a:pt x="12" y="105"/>
                  </a:lnTo>
                  <a:lnTo>
                    <a:pt x="26" y="125"/>
                  </a:lnTo>
                  <a:lnTo>
                    <a:pt x="36" y="131"/>
                  </a:lnTo>
                  <a:lnTo>
                    <a:pt x="56" y="137"/>
                  </a:lnTo>
                  <a:lnTo>
                    <a:pt x="66" y="135"/>
                  </a:lnTo>
                  <a:lnTo>
                    <a:pt x="76" y="133"/>
                  </a:lnTo>
                  <a:lnTo>
                    <a:pt x="82" y="125"/>
                  </a:lnTo>
                  <a:lnTo>
                    <a:pt x="88" y="117"/>
                  </a:lnTo>
                  <a:lnTo>
                    <a:pt x="94" y="107"/>
                  </a:lnTo>
                  <a:lnTo>
                    <a:pt x="98" y="83"/>
                  </a:lnTo>
                  <a:lnTo>
                    <a:pt x="94" y="55"/>
                  </a:lnTo>
                  <a:lnTo>
                    <a:pt x="86" y="30"/>
                  </a:lnTo>
                  <a:lnTo>
                    <a:pt x="68" y="12"/>
                  </a:lnTo>
                  <a:lnTo>
                    <a:pt x="60" y="6"/>
                  </a:lnTo>
                  <a:lnTo>
                    <a:pt x="52" y="2"/>
                  </a:lnTo>
                  <a:lnTo>
                    <a:pt x="42" y="0"/>
                  </a:lnTo>
                  <a:lnTo>
                    <a:pt x="32" y="2"/>
                  </a:lnTo>
                  <a:lnTo>
                    <a:pt x="22" y="4"/>
                  </a:lnTo>
                  <a:lnTo>
                    <a:pt x="16" y="12"/>
                  </a:lnTo>
                  <a:lnTo>
                    <a:pt x="4" y="30"/>
                  </a:lnTo>
                  <a:lnTo>
                    <a:pt x="0" y="53"/>
                  </a:lnTo>
                  <a:lnTo>
                    <a:pt x="2" y="79"/>
                  </a:lnTo>
                  <a:close/>
                </a:path>
              </a:pathLst>
            </a:custGeom>
            <a:solidFill>
              <a:srgbClr val="DECD0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3" name="Freeform 350"/>
            <p:cNvSpPr>
              <a:spLocks/>
            </p:cNvSpPr>
            <p:nvPr/>
          </p:nvSpPr>
          <p:spPr bwMode="auto">
            <a:xfrm flipH="1">
              <a:off x="5204" y="3093"/>
              <a:ext cx="48" cy="65"/>
            </a:xfrm>
            <a:custGeom>
              <a:avLst/>
              <a:gdLst/>
              <a:ahLst/>
              <a:cxnLst>
                <a:cxn ang="0">
                  <a:pos x="4" y="73"/>
                </a:cxn>
                <a:cxn ang="0">
                  <a:pos x="14" y="97"/>
                </a:cxn>
                <a:cxn ang="0">
                  <a:pos x="28" y="115"/>
                </a:cxn>
                <a:cxn ang="0">
                  <a:pos x="46" y="127"/>
                </a:cxn>
                <a:cxn ang="0">
                  <a:pos x="54" y="129"/>
                </a:cxn>
                <a:cxn ang="0">
                  <a:pos x="64" y="127"/>
                </a:cxn>
                <a:cxn ang="0">
                  <a:pos x="72" y="123"/>
                </a:cxn>
                <a:cxn ang="0">
                  <a:pos x="80" y="117"/>
                </a:cxn>
                <a:cxn ang="0">
                  <a:pos x="90" y="99"/>
                </a:cxn>
                <a:cxn ang="0">
                  <a:pos x="96" y="77"/>
                </a:cxn>
                <a:cxn ang="0">
                  <a:pos x="92" y="51"/>
                </a:cxn>
                <a:cxn ang="0">
                  <a:pos x="82" y="28"/>
                </a:cxn>
                <a:cxn ang="0">
                  <a:pos x="68" y="10"/>
                </a:cxn>
                <a:cxn ang="0">
                  <a:pos x="50" y="0"/>
                </a:cxn>
                <a:cxn ang="0">
                  <a:pos x="32" y="0"/>
                </a:cxn>
                <a:cxn ang="0">
                  <a:pos x="24" y="2"/>
                </a:cxn>
                <a:cxn ang="0">
                  <a:pos x="14" y="8"/>
                </a:cxn>
                <a:cxn ang="0">
                  <a:pos x="6" y="26"/>
                </a:cxn>
                <a:cxn ang="0">
                  <a:pos x="0" y="49"/>
                </a:cxn>
                <a:cxn ang="0">
                  <a:pos x="4" y="73"/>
                </a:cxn>
              </a:cxnLst>
              <a:rect l="0" t="0" r="r" b="b"/>
              <a:pathLst>
                <a:path w="96" h="129">
                  <a:moveTo>
                    <a:pt x="4" y="73"/>
                  </a:moveTo>
                  <a:lnTo>
                    <a:pt x="14" y="97"/>
                  </a:lnTo>
                  <a:lnTo>
                    <a:pt x="28" y="115"/>
                  </a:lnTo>
                  <a:lnTo>
                    <a:pt x="46" y="127"/>
                  </a:lnTo>
                  <a:lnTo>
                    <a:pt x="54" y="129"/>
                  </a:lnTo>
                  <a:lnTo>
                    <a:pt x="64" y="127"/>
                  </a:lnTo>
                  <a:lnTo>
                    <a:pt x="72" y="123"/>
                  </a:lnTo>
                  <a:lnTo>
                    <a:pt x="80" y="117"/>
                  </a:lnTo>
                  <a:lnTo>
                    <a:pt x="90" y="99"/>
                  </a:lnTo>
                  <a:lnTo>
                    <a:pt x="96" y="77"/>
                  </a:lnTo>
                  <a:lnTo>
                    <a:pt x="92" y="51"/>
                  </a:lnTo>
                  <a:lnTo>
                    <a:pt x="82" y="28"/>
                  </a:lnTo>
                  <a:lnTo>
                    <a:pt x="68" y="10"/>
                  </a:lnTo>
                  <a:lnTo>
                    <a:pt x="50" y="0"/>
                  </a:lnTo>
                  <a:lnTo>
                    <a:pt x="32" y="0"/>
                  </a:lnTo>
                  <a:lnTo>
                    <a:pt x="24" y="2"/>
                  </a:lnTo>
                  <a:lnTo>
                    <a:pt x="14" y="8"/>
                  </a:lnTo>
                  <a:lnTo>
                    <a:pt x="6" y="26"/>
                  </a:lnTo>
                  <a:lnTo>
                    <a:pt x="0" y="49"/>
                  </a:lnTo>
                  <a:lnTo>
                    <a:pt x="4" y="73"/>
                  </a:lnTo>
                  <a:close/>
                </a:path>
              </a:pathLst>
            </a:custGeom>
            <a:solidFill>
              <a:srgbClr val="E6DA0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4" name="Freeform 351"/>
            <p:cNvSpPr>
              <a:spLocks/>
            </p:cNvSpPr>
            <p:nvPr/>
          </p:nvSpPr>
          <p:spPr bwMode="auto">
            <a:xfrm flipH="1">
              <a:off x="5205" y="3094"/>
              <a:ext cx="45" cy="61"/>
            </a:xfrm>
            <a:custGeom>
              <a:avLst/>
              <a:gdLst/>
              <a:ahLst/>
              <a:cxnLst>
                <a:cxn ang="0">
                  <a:pos x="4" y="71"/>
                </a:cxn>
                <a:cxn ang="0">
                  <a:pos x="12" y="93"/>
                </a:cxn>
                <a:cxn ang="0">
                  <a:pos x="26" y="109"/>
                </a:cxn>
                <a:cxn ang="0">
                  <a:pos x="42" y="119"/>
                </a:cxn>
                <a:cxn ang="0">
                  <a:pos x="50" y="121"/>
                </a:cxn>
                <a:cxn ang="0">
                  <a:pos x="60" y="119"/>
                </a:cxn>
                <a:cxn ang="0">
                  <a:pos x="68" y="115"/>
                </a:cxn>
                <a:cxn ang="0">
                  <a:pos x="76" y="111"/>
                </a:cxn>
                <a:cxn ang="0">
                  <a:pos x="86" y="95"/>
                </a:cxn>
                <a:cxn ang="0">
                  <a:pos x="90" y="73"/>
                </a:cxn>
                <a:cxn ang="0">
                  <a:pos x="86" y="49"/>
                </a:cxn>
                <a:cxn ang="0">
                  <a:pos x="76" y="28"/>
                </a:cxn>
                <a:cxn ang="0">
                  <a:pos x="64" y="12"/>
                </a:cxn>
                <a:cxn ang="0">
                  <a:pos x="48" y="2"/>
                </a:cxn>
                <a:cxn ang="0">
                  <a:pos x="38" y="0"/>
                </a:cxn>
                <a:cxn ang="0">
                  <a:pos x="30" y="2"/>
                </a:cxn>
                <a:cxn ang="0">
                  <a:pos x="22" y="4"/>
                </a:cxn>
                <a:cxn ang="0">
                  <a:pos x="16" y="10"/>
                </a:cxn>
                <a:cxn ang="0">
                  <a:pos x="6" y="26"/>
                </a:cxn>
                <a:cxn ang="0">
                  <a:pos x="0" y="45"/>
                </a:cxn>
                <a:cxn ang="0">
                  <a:pos x="4" y="71"/>
                </a:cxn>
              </a:cxnLst>
              <a:rect l="0" t="0" r="r" b="b"/>
              <a:pathLst>
                <a:path w="90" h="121">
                  <a:moveTo>
                    <a:pt x="4" y="71"/>
                  </a:moveTo>
                  <a:lnTo>
                    <a:pt x="12" y="93"/>
                  </a:lnTo>
                  <a:lnTo>
                    <a:pt x="26" y="109"/>
                  </a:lnTo>
                  <a:lnTo>
                    <a:pt x="42" y="119"/>
                  </a:lnTo>
                  <a:lnTo>
                    <a:pt x="50" y="121"/>
                  </a:lnTo>
                  <a:lnTo>
                    <a:pt x="60" y="119"/>
                  </a:lnTo>
                  <a:lnTo>
                    <a:pt x="68" y="115"/>
                  </a:lnTo>
                  <a:lnTo>
                    <a:pt x="76" y="111"/>
                  </a:lnTo>
                  <a:lnTo>
                    <a:pt x="86" y="95"/>
                  </a:lnTo>
                  <a:lnTo>
                    <a:pt x="90" y="73"/>
                  </a:lnTo>
                  <a:lnTo>
                    <a:pt x="86" y="49"/>
                  </a:lnTo>
                  <a:lnTo>
                    <a:pt x="76" y="28"/>
                  </a:lnTo>
                  <a:lnTo>
                    <a:pt x="64" y="12"/>
                  </a:lnTo>
                  <a:lnTo>
                    <a:pt x="48" y="2"/>
                  </a:lnTo>
                  <a:lnTo>
                    <a:pt x="38" y="0"/>
                  </a:lnTo>
                  <a:lnTo>
                    <a:pt x="30" y="2"/>
                  </a:lnTo>
                  <a:lnTo>
                    <a:pt x="22" y="4"/>
                  </a:lnTo>
                  <a:lnTo>
                    <a:pt x="16" y="10"/>
                  </a:lnTo>
                  <a:lnTo>
                    <a:pt x="6" y="26"/>
                  </a:lnTo>
                  <a:lnTo>
                    <a:pt x="0" y="45"/>
                  </a:lnTo>
                  <a:lnTo>
                    <a:pt x="4" y="71"/>
                  </a:lnTo>
                  <a:close/>
                </a:path>
              </a:pathLst>
            </a:custGeom>
            <a:solidFill>
              <a:srgbClr val="EFE60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5" name="Freeform 352"/>
            <p:cNvSpPr>
              <a:spLocks/>
            </p:cNvSpPr>
            <p:nvPr/>
          </p:nvSpPr>
          <p:spPr bwMode="auto">
            <a:xfrm flipH="1">
              <a:off x="5206" y="3094"/>
              <a:ext cx="42" cy="57"/>
            </a:xfrm>
            <a:custGeom>
              <a:avLst/>
              <a:gdLst/>
              <a:ahLst/>
              <a:cxnLst>
                <a:cxn ang="0">
                  <a:pos x="4" y="65"/>
                </a:cxn>
                <a:cxn ang="0">
                  <a:pos x="12" y="87"/>
                </a:cxn>
                <a:cxn ang="0">
                  <a:pos x="26" y="103"/>
                </a:cxn>
                <a:cxn ang="0">
                  <a:pos x="40" y="111"/>
                </a:cxn>
                <a:cxn ang="0">
                  <a:pos x="56" y="113"/>
                </a:cxn>
                <a:cxn ang="0">
                  <a:pos x="64" y="109"/>
                </a:cxn>
                <a:cxn ang="0">
                  <a:pos x="72" y="105"/>
                </a:cxn>
                <a:cxn ang="0">
                  <a:pos x="80" y="89"/>
                </a:cxn>
                <a:cxn ang="0">
                  <a:pos x="84" y="69"/>
                </a:cxn>
                <a:cxn ang="0">
                  <a:pos x="82" y="45"/>
                </a:cxn>
                <a:cxn ang="0">
                  <a:pos x="72" y="26"/>
                </a:cxn>
                <a:cxn ang="0">
                  <a:pos x="60" y="10"/>
                </a:cxn>
                <a:cxn ang="0">
                  <a:pos x="44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0" y="4"/>
                </a:cxn>
                <a:cxn ang="0">
                  <a:pos x="12" y="10"/>
                </a:cxn>
                <a:cxn ang="0">
                  <a:pos x="4" y="24"/>
                </a:cxn>
                <a:cxn ang="0">
                  <a:pos x="0" y="43"/>
                </a:cxn>
                <a:cxn ang="0">
                  <a:pos x="4" y="65"/>
                </a:cxn>
              </a:cxnLst>
              <a:rect l="0" t="0" r="r" b="b"/>
              <a:pathLst>
                <a:path w="84" h="113">
                  <a:moveTo>
                    <a:pt x="4" y="65"/>
                  </a:moveTo>
                  <a:lnTo>
                    <a:pt x="12" y="87"/>
                  </a:lnTo>
                  <a:lnTo>
                    <a:pt x="26" y="103"/>
                  </a:lnTo>
                  <a:lnTo>
                    <a:pt x="40" y="111"/>
                  </a:lnTo>
                  <a:lnTo>
                    <a:pt x="56" y="113"/>
                  </a:lnTo>
                  <a:lnTo>
                    <a:pt x="64" y="109"/>
                  </a:lnTo>
                  <a:lnTo>
                    <a:pt x="72" y="105"/>
                  </a:lnTo>
                  <a:lnTo>
                    <a:pt x="80" y="89"/>
                  </a:lnTo>
                  <a:lnTo>
                    <a:pt x="84" y="69"/>
                  </a:lnTo>
                  <a:lnTo>
                    <a:pt x="82" y="45"/>
                  </a:lnTo>
                  <a:lnTo>
                    <a:pt x="72" y="26"/>
                  </a:lnTo>
                  <a:lnTo>
                    <a:pt x="60" y="10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0" y="4"/>
                  </a:lnTo>
                  <a:lnTo>
                    <a:pt x="12" y="10"/>
                  </a:lnTo>
                  <a:lnTo>
                    <a:pt x="4" y="24"/>
                  </a:lnTo>
                  <a:lnTo>
                    <a:pt x="0" y="43"/>
                  </a:lnTo>
                  <a:lnTo>
                    <a:pt x="4" y="65"/>
                  </a:lnTo>
                  <a:close/>
                </a:path>
              </a:pathLst>
            </a:custGeom>
            <a:solidFill>
              <a:srgbClr val="F7F30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406" name="Freeform 353"/>
            <p:cNvSpPr>
              <a:spLocks/>
            </p:cNvSpPr>
            <p:nvPr/>
          </p:nvSpPr>
          <p:spPr bwMode="auto">
            <a:xfrm flipH="1">
              <a:off x="5208" y="3096"/>
              <a:ext cx="38" cy="52"/>
            </a:xfrm>
            <a:custGeom>
              <a:avLst/>
              <a:gdLst/>
              <a:ahLst/>
              <a:cxnLst>
                <a:cxn ang="0">
                  <a:pos x="2" y="61"/>
                </a:cxn>
                <a:cxn ang="0">
                  <a:pos x="10" y="79"/>
                </a:cxn>
                <a:cxn ang="0">
                  <a:pos x="20" y="95"/>
                </a:cxn>
                <a:cxn ang="0">
                  <a:pos x="36" y="103"/>
                </a:cxn>
                <a:cxn ang="0">
                  <a:pos x="50" y="103"/>
                </a:cxn>
                <a:cxn ang="0">
                  <a:pos x="58" y="101"/>
                </a:cxn>
                <a:cxn ang="0">
                  <a:pos x="64" y="97"/>
                </a:cxn>
                <a:cxn ang="0">
                  <a:pos x="72" y="81"/>
                </a:cxn>
                <a:cxn ang="0">
                  <a:pos x="76" y="63"/>
                </a:cxn>
                <a:cxn ang="0">
                  <a:pos x="74" y="43"/>
                </a:cxn>
                <a:cxn ang="0">
                  <a:pos x="66" y="24"/>
                </a:cxn>
                <a:cxn ang="0">
                  <a:pos x="54" y="10"/>
                </a:cxn>
                <a:cxn ang="0">
                  <a:pos x="40" y="0"/>
                </a:cxn>
                <a:cxn ang="0">
                  <a:pos x="24" y="0"/>
                </a:cxn>
                <a:cxn ang="0">
                  <a:pos x="12" y="8"/>
                </a:cxn>
                <a:cxn ang="0">
                  <a:pos x="2" y="22"/>
                </a:cxn>
                <a:cxn ang="0">
                  <a:pos x="0" y="39"/>
                </a:cxn>
                <a:cxn ang="0">
                  <a:pos x="2" y="61"/>
                </a:cxn>
              </a:cxnLst>
              <a:rect l="0" t="0" r="r" b="b"/>
              <a:pathLst>
                <a:path w="76" h="103">
                  <a:moveTo>
                    <a:pt x="2" y="61"/>
                  </a:moveTo>
                  <a:lnTo>
                    <a:pt x="10" y="79"/>
                  </a:lnTo>
                  <a:lnTo>
                    <a:pt x="20" y="95"/>
                  </a:lnTo>
                  <a:lnTo>
                    <a:pt x="36" y="103"/>
                  </a:lnTo>
                  <a:lnTo>
                    <a:pt x="50" y="103"/>
                  </a:lnTo>
                  <a:lnTo>
                    <a:pt x="58" y="101"/>
                  </a:lnTo>
                  <a:lnTo>
                    <a:pt x="64" y="97"/>
                  </a:lnTo>
                  <a:lnTo>
                    <a:pt x="72" y="81"/>
                  </a:lnTo>
                  <a:lnTo>
                    <a:pt x="76" y="63"/>
                  </a:lnTo>
                  <a:lnTo>
                    <a:pt x="74" y="43"/>
                  </a:lnTo>
                  <a:lnTo>
                    <a:pt x="66" y="24"/>
                  </a:lnTo>
                  <a:lnTo>
                    <a:pt x="54" y="10"/>
                  </a:lnTo>
                  <a:lnTo>
                    <a:pt x="40" y="0"/>
                  </a:lnTo>
                  <a:lnTo>
                    <a:pt x="24" y="0"/>
                  </a:lnTo>
                  <a:lnTo>
                    <a:pt x="12" y="8"/>
                  </a:lnTo>
                  <a:lnTo>
                    <a:pt x="2" y="22"/>
                  </a:lnTo>
                  <a:lnTo>
                    <a:pt x="0" y="39"/>
                  </a:lnTo>
                  <a:lnTo>
                    <a:pt x="2" y="61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pic>
        <p:nvPicPr>
          <p:cNvPr id="407" name="Picture 35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0416" y="5800562"/>
            <a:ext cx="1476059" cy="1476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411" name="Group 503"/>
          <p:cNvGrpSpPr>
            <a:grpSpLocks/>
          </p:cNvGrpSpPr>
          <p:nvPr/>
        </p:nvGrpSpPr>
        <p:grpSpPr bwMode="auto">
          <a:xfrm>
            <a:off x="8221552" y="1759113"/>
            <a:ext cx="803475" cy="866108"/>
            <a:chOff x="2736" y="1680"/>
            <a:chExt cx="301" cy="336"/>
          </a:xfrm>
        </p:grpSpPr>
        <p:sp>
          <p:nvSpPr>
            <p:cNvPr id="689" name="AutoShape 504"/>
            <p:cNvSpPr>
              <a:spLocks noChangeArrowheads="1"/>
            </p:cNvSpPr>
            <p:nvPr/>
          </p:nvSpPr>
          <p:spPr bwMode="auto">
            <a:xfrm flipV="1">
              <a:off x="2736" y="1990"/>
              <a:ext cx="28" cy="26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0" name="AutoShape 505"/>
            <p:cNvSpPr>
              <a:spLocks noChangeArrowheads="1"/>
            </p:cNvSpPr>
            <p:nvPr/>
          </p:nvSpPr>
          <p:spPr bwMode="auto">
            <a:xfrm flipV="1">
              <a:off x="2736" y="1957"/>
              <a:ext cx="28" cy="26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1" name="AutoShape 506"/>
            <p:cNvSpPr>
              <a:spLocks noChangeArrowheads="1"/>
            </p:cNvSpPr>
            <p:nvPr/>
          </p:nvSpPr>
          <p:spPr bwMode="auto">
            <a:xfrm flipV="1">
              <a:off x="2737" y="1922"/>
              <a:ext cx="27" cy="27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2" name="AutoShape 507"/>
            <p:cNvSpPr>
              <a:spLocks noChangeArrowheads="1"/>
            </p:cNvSpPr>
            <p:nvPr/>
          </p:nvSpPr>
          <p:spPr bwMode="auto">
            <a:xfrm flipV="1">
              <a:off x="2737" y="1889"/>
              <a:ext cx="28" cy="26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3" name="AutoShape 508"/>
            <p:cNvSpPr>
              <a:spLocks noChangeArrowheads="1"/>
            </p:cNvSpPr>
            <p:nvPr/>
          </p:nvSpPr>
          <p:spPr bwMode="auto">
            <a:xfrm flipV="1">
              <a:off x="2737" y="1855"/>
              <a:ext cx="28" cy="26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4" name="AutoShape 509"/>
            <p:cNvSpPr>
              <a:spLocks noChangeArrowheads="1"/>
            </p:cNvSpPr>
            <p:nvPr/>
          </p:nvSpPr>
          <p:spPr bwMode="auto">
            <a:xfrm flipV="1">
              <a:off x="2737" y="1823"/>
              <a:ext cx="28" cy="26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5" name="AutoShape 510"/>
            <p:cNvSpPr>
              <a:spLocks noChangeArrowheads="1"/>
            </p:cNvSpPr>
            <p:nvPr/>
          </p:nvSpPr>
          <p:spPr bwMode="auto">
            <a:xfrm flipV="1">
              <a:off x="2737" y="1790"/>
              <a:ext cx="27" cy="27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6" name="AutoShape 511"/>
            <p:cNvSpPr>
              <a:spLocks noChangeArrowheads="1"/>
            </p:cNvSpPr>
            <p:nvPr/>
          </p:nvSpPr>
          <p:spPr bwMode="auto">
            <a:xfrm flipV="1">
              <a:off x="2737" y="1757"/>
              <a:ext cx="28" cy="27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7" name="AutoShape 512"/>
            <p:cNvSpPr>
              <a:spLocks noChangeArrowheads="1"/>
            </p:cNvSpPr>
            <p:nvPr/>
          </p:nvSpPr>
          <p:spPr bwMode="auto">
            <a:xfrm flipV="1">
              <a:off x="2737" y="1723"/>
              <a:ext cx="27" cy="27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8" name="AutoShape 513"/>
            <p:cNvSpPr>
              <a:spLocks noChangeArrowheads="1"/>
            </p:cNvSpPr>
            <p:nvPr/>
          </p:nvSpPr>
          <p:spPr bwMode="auto">
            <a:xfrm flipV="1">
              <a:off x="2737" y="1692"/>
              <a:ext cx="27" cy="27"/>
            </a:xfrm>
            <a:custGeom>
              <a:avLst/>
              <a:gdLst>
                <a:gd name="G0" fmla="+- 5721 0 0"/>
                <a:gd name="G1" fmla="+- 10594760 0 0"/>
                <a:gd name="G2" fmla="+- 0 0 10594760"/>
                <a:gd name="T0" fmla="*/ 0 256 1"/>
                <a:gd name="T1" fmla="*/ 180 256 1"/>
                <a:gd name="G3" fmla="+- 10594760 T0 T1"/>
                <a:gd name="T2" fmla="*/ 0 256 1"/>
                <a:gd name="T3" fmla="*/ 90 256 1"/>
                <a:gd name="G4" fmla="+- 10594760 T2 T3"/>
                <a:gd name="G5" fmla="*/ G4 2 1"/>
                <a:gd name="T4" fmla="*/ 90 256 1"/>
                <a:gd name="T5" fmla="*/ 0 256 1"/>
                <a:gd name="G6" fmla="+- 10594760 T4 T5"/>
                <a:gd name="G7" fmla="*/ G6 2 1"/>
                <a:gd name="G8" fmla="abs 1059476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721"/>
                <a:gd name="G18" fmla="*/ 5721 1 2"/>
                <a:gd name="G19" fmla="+- G18 5400 0"/>
                <a:gd name="G20" fmla="cos G19 10594760"/>
                <a:gd name="G21" fmla="sin G19 10594760"/>
                <a:gd name="G22" fmla="+- G20 10800 0"/>
                <a:gd name="G23" fmla="+- G21 10800 0"/>
                <a:gd name="G24" fmla="+- 10800 0 G20"/>
                <a:gd name="G25" fmla="+- 5721 10800 0"/>
                <a:gd name="G26" fmla="?: G9 G17 G25"/>
                <a:gd name="G27" fmla="?: G9 0 21600"/>
                <a:gd name="G28" fmla="cos 10800 10594760"/>
                <a:gd name="G29" fmla="sin 10800 10594760"/>
                <a:gd name="G30" fmla="sin 5721 10594760"/>
                <a:gd name="G31" fmla="+- G28 10800 0"/>
                <a:gd name="G32" fmla="+- G29 10800 0"/>
                <a:gd name="G33" fmla="+- G30 10800 0"/>
                <a:gd name="G34" fmla="?: G4 0 G31"/>
                <a:gd name="G35" fmla="?: 10594760 G34 0"/>
                <a:gd name="G36" fmla="?: G6 G35 G31"/>
                <a:gd name="G37" fmla="+- 21600 0 G36"/>
                <a:gd name="G38" fmla="?: G4 0 G33"/>
                <a:gd name="G39" fmla="?: 1059476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958 w 21600"/>
                <a:gd name="T15" fmla="*/ 13398 h 21600"/>
                <a:gd name="T16" fmla="*/ 10800 w 21600"/>
                <a:gd name="T17" fmla="*/ 5079 h 21600"/>
                <a:gd name="T18" fmla="*/ 18642 w 21600"/>
                <a:gd name="T19" fmla="*/ 13398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699" name="Rectangle 514"/>
            <p:cNvSpPr>
              <a:spLocks noChangeArrowheads="1"/>
            </p:cNvSpPr>
            <p:nvPr/>
          </p:nvSpPr>
          <p:spPr bwMode="auto">
            <a:xfrm>
              <a:off x="2748" y="1680"/>
              <a:ext cx="289" cy="33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0" name="Oval 515"/>
            <p:cNvSpPr>
              <a:spLocks noChangeArrowheads="1"/>
            </p:cNvSpPr>
            <p:nvPr/>
          </p:nvSpPr>
          <p:spPr bwMode="auto">
            <a:xfrm>
              <a:off x="2755" y="1687"/>
              <a:ext cx="16" cy="1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1" name="Oval 516"/>
            <p:cNvSpPr>
              <a:spLocks noChangeArrowheads="1"/>
            </p:cNvSpPr>
            <p:nvPr/>
          </p:nvSpPr>
          <p:spPr bwMode="auto">
            <a:xfrm>
              <a:off x="2755" y="1720"/>
              <a:ext cx="16" cy="19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2" name="Oval 517"/>
            <p:cNvSpPr>
              <a:spLocks noChangeArrowheads="1"/>
            </p:cNvSpPr>
            <p:nvPr/>
          </p:nvSpPr>
          <p:spPr bwMode="auto">
            <a:xfrm>
              <a:off x="2755" y="1754"/>
              <a:ext cx="16" cy="1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3" name="Oval 518"/>
            <p:cNvSpPr>
              <a:spLocks noChangeArrowheads="1"/>
            </p:cNvSpPr>
            <p:nvPr/>
          </p:nvSpPr>
          <p:spPr bwMode="auto">
            <a:xfrm>
              <a:off x="2755" y="1788"/>
              <a:ext cx="16" cy="1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4" name="Oval 519"/>
            <p:cNvSpPr>
              <a:spLocks noChangeArrowheads="1"/>
            </p:cNvSpPr>
            <p:nvPr/>
          </p:nvSpPr>
          <p:spPr bwMode="auto">
            <a:xfrm>
              <a:off x="2755" y="1821"/>
              <a:ext cx="16" cy="1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5" name="Oval 520"/>
            <p:cNvSpPr>
              <a:spLocks noChangeArrowheads="1"/>
            </p:cNvSpPr>
            <p:nvPr/>
          </p:nvSpPr>
          <p:spPr bwMode="auto">
            <a:xfrm>
              <a:off x="2755" y="1855"/>
              <a:ext cx="16" cy="1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6" name="Oval 521"/>
            <p:cNvSpPr>
              <a:spLocks noChangeArrowheads="1"/>
            </p:cNvSpPr>
            <p:nvPr/>
          </p:nvSpPr>
          <p:spPr bwMode="auto">
            <a:xfrm>
              <a:off x="2755" y="1888"/>
              <a:ext cx="16" cy="1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7" name="Oval 522"/>
            <p:cNvSpPr>
              <a:spLocks noChangeArrowheads="1"/>
            </p:cNvSpPr>
            <p:nvPr/>
          </p:nvSpPr>
          <p:spPr bwMode="auto">
            <a:xfrm>
              <a:off x="2755" y="1922"/>
              <a:ext cx="16" cy="1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8" name="Oval 523"/>
            <p:cNvSpPr>
              <a:spLocks noChangeArrowheads="1"/>
            </p:cNvSpPr>
            <p:nvPr/>
          </p:nvSpPr>
          <p:spPr bwMode="auto">
            <a:xfrm>
              <a:off x="2755" y="1955"/>
              <a:ext cx="16" cy="17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09" name="Oval 524"/>
            <p:cNvSpPr>
              <a:spLocks noChangeArrowheads="1"/>
            </p:cNvSpPr>
            <p:nvPr/>
          </p:nvSpPr>
          <p:spPr bwMode="auto">
            <a:xfrm>
              <a:off x="2755" y="1988"/>
              <a:ext cx="16" cy="18"/>
            </a:xfrm>
            <a:prstGeom prst="ellipse">
              <a:avLst/>
            </a:prstGeom>
            <a:solidFill>
              <a:schemeClr val="tx1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0" name="AutoShape 525"/>
            <p:cNvSpPr>
              <a:spLocks noChangeArrowheads="1"/>
            </p:cNvSpPr>
            <p:nvPr/>
          </p:nvSpPr>
          <p:spPr bwMode="auto">
            <a:xfrm>
              <a:off x="2737" y="1691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1" name="AutoShape 526"/>
            <p:cNvSpPr>
              <a:spLocks noChangeArrowheads="1"/>
            </p:cNvSpPr>
            <p:nvPr/>
          </p:nvSpPr>
          <p:spPr bwMode="auto">
            <a:xfrm>
              <a:off x="2737" y="1724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2" name="AutoShape 527"/>
            <p:cNvSpPr>
              <a:spLocks noChangeArrowheads="1"/>
            </p:cNvSpPr>
            <p:nvPr/>
          </p:nvSpPr>
          <p:spPr bwMode="auto">
            <a:xfrm>
              <a:off x="2737" y="1757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3" name="AutoShape 528"/>
            <p:cNvSpPr>
              <a:spLocks noChangeArrowheads="1"/>
            </p:cNvSpPr>
            <p:nvPr/>
          </p:nvSpPr>
          <p:spPr bwMode="auto">
            <a:xfrm>
              <a:off x="2737" y="1790"/>
              <a:ext cx="28" cy="27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4" name="AutoShape 529"/>
            <p:cNvSpPr>
              <a:spLocks noChangeArrowheads="1"/>
            </p:cNvSpPr>
            <p:nvPr/>
          </p:nvSpPr>
          <p:spPr bwMode="auto">
            <a:xfrm>
              <a:off x="2737" y="1824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5" name="AutoShape 530"/>
            <p:cNvSpPr>
              <a:spLocks noChangeArrowheads="1"/>
            </p:cNvSpPr>
            <p:nvPr/>
          </p:nvSpPr>
          <p:spPr bwMode="auto">
            <a:xfrm>
              <a:off x="2737" y="1856"/>
              <a:ext cx="28" cy="27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6" name="AutoShape 531"/>
            <p:cNvSpPr>
              <a:spLocks noChangeArrowheads="1"/>
            </p:cNvSpPr>
            <p:nvPr/>
          </p:nvSpPr>
          <p:spPr bwMode="auto">
            <a:xfrm>
              <a:off x="2737" y="1889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7" name="AutoShape 532"/>
            <p:cNvSpPr>
              <a:spLocks noChangeArrowheads="1"/>
            </p:cNvSpPr>
            <p:nvPr/>
          </p:nvSpPr>
          <p:spPr bwMode="auto">
            <a:xfrm>
              <a:off x="2737" y="1922"/>
              <a:ext cx="28" cy="27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8" name="AutoShape 533"/>
            <p:cNvSpPr>
              <a:spLocks noChangeArrowheads="1"/>
            </p:cNvSpPr>
            <p:nvPr/>
          </p:nvSpPr>
          <p:spPr bwMode="auto">
            <a:xfrm>
              <a:off x="2737" y="1956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19" name="AutoShape 534"/>
            <p:cNvSpPr>
              <a:spLocks noChangeArrowheads="1"/>
            </p:cNvSpPr>
            <p:nvPr/>
          </p:nvSpPr>
          <p:spPr bwMode="auto">
            <a:xfrm>
              <a:off x="2737" y="1989"/>
              <a:ext cx="28" cy="26"/>
            </a:xfrm>
            <a:custGeom>
              <a:avLst/>
              <a:gdLst>
                <a:gd name="G0" fmla="+- 5400 0 0"/>
                <a:gd name="G1" fmla="+- 11796480 0 0"/>
                <a:gd name="G2" fmla="+- 0 0 11796480"/>
                <a:gd name="T0" fmla="*/ 0 256 1"/>
                <a:gd name="T1" fmla="*/ 180 256 1"/>
                <a:gd name="G3" fmla="+- 11796480 T0 T1"/>
                <a:gd name="T2" fmla="*/ 0 256 1"/>
                <a:gd name="T3" fmla="*/ 90 256 1"/>
                <a:gd name="G4" fmla="+- 11796480 T2 T3"/>
                <a:gd name="G5" fmla="*/ G4 2 1"/>
                <a:gd name="T4" fmla="*/ 90 256 1"/>
                <a:gd name="T5" fmla="*/ 0 256 1"/>
                <a:gd name="G6" fmla="+- 11796480 T4 T5"/>
                <a:gd name="G7" fmla="*/ G6 2 1"/>
                <a:gd name="G8" fmla="abs 11796480"/>
                <a:gd name="T6" fmla="*/ 0 256 1"/>
                <a:gd name="T7" fmla="*/ 90 256 1"/>
                <a:gd name="G9" fmla="+- G8 T6 T7"/>
                <a:gd name="G10" fmla="?: G9 G7 G5"/>
                <a:gd name="T8" fmla="*/ 0 256 1"/>
                <a:gd name="T9" fmla="*/ 360 256 1"/>
                <a:gd name="G11" fmla="+- G10 T8 T9"/>
                <a:gd name="G12" fmla="?: G10 G11 G10"/>
                <a:gd name="T10" fmla="*/ 0 256 1"/>
                <a:gd name="T11" fmla="*/ 360 256 1"/>
                <a:gd name="G13" fmla="+- G12 T10 T11"/>
                <a:gd name="G14" fmla="?: G12 G13 G12"/>
                <a:gd name="G15" fmla="+- 0 0 G14"/>
                <a:gd name="G16" fmla="+- 10800 0 0"/>
                <a:gd name="G17" fmla="+- 10800 0 5400"/>
                <a:gd name="G18" fmla="*/ 5400 1 2"/>
                <a:gd name="G19" fmla="+- G18 5400 0"/>
                <a:gd name="G20" fmla="cos G19 11796480"/>
                <a:gd name="G21" fmla="sin G19 11796480"/>
                <a:gd name="G22" fmla="+- G20 10800 0"/>
                <a:gd name="G23" fmla="+- G21 10800 0"/>
                <a:gd name="G24" fmla="+- 10800 0 G20"/>
                <a:gd name="G25" fmla="+- 5400 10800 0"/>
                <a:gd name="G26" fmla="?: G9 G17 G25"/>
                <a:gd name="G27" fmla="?: G9 0 21600"/>
                <a:gd name="G28" fmla="cos 10800 11796480"/>
                <a:gd name="G29" fmla="sin 10800 11796480"/>
                <a:gd name="G30" fmla="sin 5400 11796480"/>
                <a:gd name="G31" fmla="+- G28 10800 0"/>
                <a:gd name="G32" fmla="+- G29 10800 0"/>
                <a:gd name="G33" fmla="+- G30 10800 0"/>
                <a:gd name="G34" fmla="?: G4 0 G31"/>
                <a:gd name="G35" fmla="?: 11796480 G34 0"/>
                <a:gd name="G36" fmla="?: G6 G35 G31"/>
                <a:gd name="G37" fmla="+- 21600 0 G36"/>
                <a:gd name="G38" fmla="?: G4 0 G33"/>
                <a:gd name="G39" fmla="?: 11796480 G38 G32"/>
                <a:gd name="G40" fmla="?: G6 G39 0"/>
                <a:gd name="G41" fmla="?: G4 G32 21600"/>
                <a:gd name="G42" fmla="?: G6 G41 G33"/>
                <a:gd name="T12" fmla="*/ 10800 w 21600"/>
                <a:gd name="T13" fmla="*/ 0 h 21600"/>
                <a:gd name="T14" fmla="*/ 2700 w 21600"/>
                <a:gd name="T15" fmla="*/ 10800 h 21600"/>
                <a:gd name="T16" fmla="*/ 10800 w 21600"/>
                <a:gd name="T17" fmla="*/ 5400 h 21600"/>
                <a:gd name="T18" fmla="*/ 18900 w 21600"/>
                <a:gd name="T19" fmla="*/ 10800 h 21600"/>
                <a:gd name="T20" fmla="*/ G36 w 21600"/>
                <a:gd name="T21" fmla="*/ G40 h 21600"/>
                <a:gd name="T22" fmla="*/ G37 w 21600"/>
                <a:gd name="T23" fmla="*/ G42 h 21600"/>
              </a:gdLst>
              <a:ahLst/>
              <a:cxnLst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T20" t="T21" r="T22" b="T23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s-ES" sz="648"/>
            </a:p>
          </p:txBody>
        </p:sp>
        <p:sp>
          <p:nvSpPr>
            <p:cNvPr id="720" name="Rectangle 535"/>
            <p:cNvSpPr>
              <a:spLocks noChangeArrowheads="1"/>
            </p:cNvSpPr>
            <p:nvPr/>
          </p:nvSpPr>
          <p:spPr bwMode="auto">
            <a:xfrm>
              <a:off x="2801" y="1820"/>
              <a:ext cx="91" cy="12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r>
                <a:rPr lang="es-ES" sz="648"/>
                <a:t>xxx</a:t>
              </a:r>
              <a:endParaRPr lang="es-ES" sz="648" dirty="0"/>
            </a:p>
          </p:txBody>
        </p:sp>
        <p:sp>
          <p:nvSpPr>
            <p:cNvPr id="721" name="Line 536"/>
            <p:cNvSpPr>
              <a:spLocks noChangeShapeType="1"/>
            </p:cNvSpPr>
            <p:nvPr/>
          </p:nvSpPr>
          <p:spPr bwMode="auto">
            <a:xfrm>
              <a:off x="2801" y="1715"/>
              <a:ext cx="194" cy="0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endParaRPr lang="es-ES" sz="648"/>
            </a:p>
          </p:txBody>
        </p:sp>
        <p:sp>
          <p:nvSpPr>
            <p:cNvPr id="722" name="Line 537"/>
            <p:cNvSpPr>
              <a:spLocks noChangeShapeType="1"/>
            </p:cNvSpPr>
            <p:nvPr/>
          </p:nvSpPr>
          <p:spPr bwMode="auto">
            <a:xfrm>
              <a:off x="2801" y="1733"/>
              <a:ext cx="194" cy="0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endParaRPr lang="es-ES" sz="648"/>
            </a:p>
          </p:txBody>
        </p:sp>
        <p:sp>
          <p:nvSpPr>
            <p:cNvPr id="723" name="Rectangle 538"/>
            <p:cNvSpPr>
              <a:spLocks noChangeArrowheads="1"/>
            </p:cNvSpPr>
            <p:nvPr/>
          </p:nvSpPr>
          <p:spPr bwMode="auto">
            <a:xfrm>
              <a:off x="2905" y="1820"/>
              <a:ext cx="90" cy="12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r>
                <a:rPr lang="es-ES" sz="648"/>
                <a:t>xxx</a:t>
              </a:r>
              <a:endParaRPr lang="es-ES" sz="648" dirty="0"/>
            </a:p>
          </p:txBody>
        </p:sp>
        <p:sp>
          <p:nvSpPr>
            <p:cNvPr id="724" name="Rectangle 539"/>
            <p:cNvSpPr>
              <a:spLocks noChangeArrowheads="1"/>
            </p:cNvSpPr>
            <p:nvPr/>
          </p:nvSpPr>
          <p:spPr bwMode="auto">
            <a:xfrm>
              <a:off x="2801" y="1768"/>
              <a:ext cx="91" cy="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r>
                <a:rPr lang="es-ES" sz="648"/>
                <a:t>xxx</a:t>
              </a:r>
              <a:endParaRPr lang="es-ES" sz="648" dirty="0"/>
            </a:p>
          </p:txBody>
        </p:sp>
        <p:sp>
          <p:nvSpPr>
            <p:cNvPr id="725" name="Rectangle 540"/>
            <p:cNvSpPr>
              <a:spLocks noChangeArrowheads="1"/>
            </p:cNvSpPr>
            <p:nvPr/>
          </p:nvSpPr>
          <p:spPr bwMode="auto">
            <a:xfrm>
              <a:off x="2905" y="1768"/>
              <a:ext cx="90" cy="3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r>
                <a:rPr lang="es-ES" sz="648"/>
                <a:t>xxx</a:t>
              </a:r>
              <a:endParaRPr lang="es-ES" sz="648" dirty="0"/>
            </a:p>
          </p:txBody>
        </p:sp>
        <p:sp>
          <p:nvSpPr>
            <p:cNvPr id="726" name="Line 541"/>
            <p:cNvSpPr>
              <a:spLocks noChangeShapeType="1"/>
            </p:cNvSpPr>
            <p:nvPr/>
          </p:nvSpPr>
          <p:spPr bwMode="auto">
            <a:xfrm>
              <a:off x="2801" y="1978"/>
              <a:ext cx="194" cy="0"/>
            </a:xfrm>
            <a:prstGeom prst="line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</p:spPr>
          <p:txBody>
            <a:bodyPr wrap="none" lIns="0" tIns="43053" rIns="0" bIns="43053" anchor="ctr"/>
            <a:lstStyle/>
            <a:p>
              <a:pPr algn="ctr"/>
              <a:endParaRPr lang="es-ES" sz="648"/>
            </a:p>
          </p:txBody>
        </p:sp>
      </p:grpSp>
      <p:grpSp>
        <p:nvGrpSpPr>
          <p:cNvPr id="773" name="Group 9"/>
          <p:cNvGrpSpPr>
            <a:grpSpLocks/>
          </p:cNvGrpSpPr>
          <p:nvPr/>
        </p:nvGrpSpPr>
        <p:grpSpPr bwMode="auto">
          <a:xfrm>
            <a:off x="-8595" y="2909301"/>
            <a:ext cx="1971769" cy="1642627"/>
            <a:chOff x="1509" y="1131"/>
            <a:chExt cx="2898" cy="2403"/>
          </a:xfrm>
        </p:grpSpPr>
        <p:sp>
          <p:nvSpPr>
            <p:cNvPr id="774" name="Gear"/>
            <p:cNvSpPr>
              <a:spLocks noEditPoints="1" noChangeArrowheads="1"/>
            </p:cNvSpPr>
            <p:nvPr/>
          </p:nvSpPr>
          <p:spPr bwMode="auto">
            <a:xfrm>
              <a:off x="3151" y="1131"/>
              <a:ext cx="1256" cy="1102"/>
            </a:xfrm>
            <a:custGeom>
              <a:avLst/>
              <a:gdLst>
                <a:gd name="T0" fmla="*/ 10800 w 21600"/>
                <a:gd name="T1" fmla="*/ 0 h 21600"/>
                <a:gd name="T2" fmla="*/ 21600 w 21600"/>
                <a:gd name="T3" fmla="*/ 10800 h 21600"/>
                <a:gd name="T4" fmla="*/ 10800 w 21600"/>
                <a:gd name="T5" fmla="*/ 21600 h 21600"/>
                <a:gd name="T6" fmla="*/ 0 w 21600"/>
                <a:gd name="T7" fmla="*/ 10800 h 21600"/>
                <a:gd name="T8" fmla="*/ 4374 w 21600"/>
                <a:gd name="T9" fmla="*/ 3964 h 21600"/>
                <a:gd name="T10" fmla="*/ 17841 w 21600"/>
                <a:gd name="T11" fmla="*/ 17635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9689" y="1725"/>
                  </a:moveTo>
                  <a:lnTo>
                    <a:pt x="10304" y="85"/>
                  </a:lnTo>
                  <a:lnTo>
                    <a:pt x="11637" y="85"/>
                  </a:lnTo>
                  <a:lnTo>
                    <a:pt x="12303" y="1777"/>
                  </a:lnTo>
                  <a:lnTo>
                    <a:pt x="13072" y="1931"/>
                  </a:lnTo>
                  <a:lnTo>
                    <a:pt x="14303" y="598"/>
                  </a:lnTo>
                  <a:lnTo>
                    <a:pt x="15533" y="1110"/>
                  </a:lnTo>
                  <a:lnTo>
                    <a:pt x="15584" y="2905"/>
                  </a:lnTo>
                  <a:lnTo>
                    <a:pt x="16405" y="3520"/>
                  </a:lnTo>
                  <a:lnTo>
                    <a:pt x="17891" y="2751"/>
                  </a:lnTo>
                  <a:lnTo>
                    <a:pt x="18917" y="3674"/>
                  </a:lnTo>
                  <a:lnTo>
                    <a:pt x="18199" y="5314"/>
                  </a:lnTo>
                  <a:lnTo>
                    <a:pt x="18763" y="6083"/>
                  </a:lnTo>
                  <a:lnTo>
                    <a:pt x="20403" y="6032"/>
                  </a:lnTo>
                  <a:lnTo>
                    <a:pt x="20865" y="7211"/>
                  </a:lnTo>
                  <a:lnTo>
                    <a:pt x="19737" y="8185"/>
                  </a:lnTo>
                  <a:lnTo>
                    <a:pt x="20096" y="9723"/>
                  </a:lnTo>
                  <a:lnTo>
                    <a:pt x="21634" y="10287"/>
                  </a:lnTo>
                  <a:lnTo>
                    <a:pt x="21582" y="11620"/>
                  </a:lnTo>
                  <a:lnTo>
                    <a:pt x="20147" y="12184"/>
                  </a:lnTo>
                  <a:lnTo>
                    <a:pt x="19942" y="13158"/>
                  </a:lnTo>
                  <a:lnTo>
                    <a:pt x="21070" y="14234"/>
                  </a:lnTo>
                  <a:lnTo>
                    <a:pt x="20608" y="15362"/>
                  </a:lnTo>
                  <a:lnTo>
                    <a:pt x="19019" y="15465"/>
                  </a:lnTo>
                  <a:lnTo>
                    <a:pt x="18404" y="16439"/>
                  </a:lnTo>
                  <a:lnTo>
                    <a:pt x="19122" y="17925"/>
                  </a:lnTo>
                  <a:lnTo>
                    <a:pt x="18096" y="18797"/>
                  </a:lnTo>
                  <a:lnTo>
                    <a:pt x="16763" y="18284"/>
                  </a:lnTo>
                  <a:lnTo>
                    <a:pt x="15431" y="19002"/>
                  </a:lnTo>
                  <a:lnTo>
                    <a:pt x="15277" y="20848"/>
                  </a:lnTo>
                  <a:lnTo>
                    <a:pt x="14149" y="21155"/>
                  </a:lnTo>
                  <a:lnTo>
                    <a:pt x="13021" y="19925"/>
                  </a:lnTo>
                  <a:lnTo>
                    <a:pt x="12252" y="20181"/>
                  </a:lnTo>
                  <a:lnTo>
                    <a:pt x="11739" y="21668"/>
                  </a:lnTo>
                  <a:lnTo>
                    <a:pt x="10201" y="21668"/>
                  </a:lnTo>
                  <a:lnTo>
                    <a:pt x="9740" y="20130"/>
                  </a:lnTo>
                  <a:lnTo>
                    <a:pt x="8253" y="19771"/>
                  </a:lnTo>
                  <a:lnTo>
                    <a:pt x="7125" y="21001"/>
                  </a:lnTo>
                  <a:lnTo>
                    <a:pt x="5895" y="20489"/>
                  </a:lnTo>
                  <a:lnTo>
                    <a:pt x="5946" y="18592"/>
                  </a:lnTo>
                  <a:lnTo>
                    <a:pt x="5177" y="18131"/>
                  </a:lnTo>
                  <a:lnTo>
                    <a:pt x="3383" y="18848"/>
                  </a:lnTo>
                  <a:lnTo>
                    <a:pt x="2614" y="17874"/>
                  </a:lnTo>
                  <a:lnTo>
                    <a:pt x="3383" y="16182"/>
                  </a:lnTo>
                  <a:lnTo>
                    <a:pt x="2922" y="15465"/>
                  </a:lnTo>
                  <a:lnTo>
                    <a:pt x="922" y="15516"/>
                  </a:lnTo>
                  <a:lnTo>
                    <a:pt x="512" y="14234"/>
                  </a:lnTo>
                  <a:lnTo>
                    <a:pt x="1948" y="12901"/>
                  </a:lnTo>
                  <a:lnTo>
                    <a:pt x="1896" y="12184"/>
                  </a:lnTo>
                  <a:lnTo>
                    <a:pt x="0" y="11415"/>
                  </a:lnTo>
                  <a:lnTo>
                    <a:pt x="51" y="10031"/>
                  </a:lnTo>
                  <a:lnTo>
                    <a:pt x="1948" y="9313"/>
                  </a:lnTo>
                  <a:lnTo>
                    <a:pt x="2101" y="8595"/>
                  </a:lnTo>
                  <a:lnTo>
                    <a:pt x="615" y="7160"/>
                  </a:lnTo>
                  <a:lnTo>
                    <a:pt x="1127" y="5878"/>
                  </a:lnTo>
                  <a:lnTo>
                    <a:pt x="3178" y="5981"/>
                  </a:lnTo>
                  <a:lnTo>
                    <a:pt x="3588" y="5417"/>
                  </a:lnTo>
                  <a:lnTo>
                    <a:pt x="2819" y="3520"/>
                  </a:lnTo>
                  <a:lnTo>
                    <a:pt x="3742" y="2597"/>
                  </a:lnTo>
                  <a:lnTo>
                    <a:pt x="5536" y="3417"/>
                  </a:lnTo>
                  <a:lnTo>
                    <a:pt x="6049" y="3058"/>
                  </a:lnTo>
                  <a:lnTo>
                    <a:pt x="6100" y="1264"/>
                  </a:lnTo>
                  <a:lnTo>
                    <a:pt x="7228" y="700"/>
                  </a:lnTo>
                  <a:lnTo>
                    <a:pt x="8510" y="2033"/>
                  </a:lnTo>
                  <a:lnTo>
                    <a:pt x="9689" y="1725"/>
                  </a:lnTo>
                  <a:close/>
                  <a:moveTo>
                    <a:pt x="10817" y="14422"/>
                  </a:moveTo>
                  <a:lnTo>
                    <a:pt x="11175" y="14388"/>
                  </a:lnTo>
                  <a:lnTo>
                    <a:pt x="11534" y="14354"/>
                  </a:lnTo>
                  <a:lnTo>
                    <a:pt x="11893" y="14268"/>
                  </a:lnTo>
                  <a:lnTo>
                    <a:pt x="12218" y="14166"/>
                  </a:lnTo>
                  <a:lnTo>
                    <a:pt x="12508" y="13995"/>
                  </a:lnTo>
                  <a:lnTo>
                    <a:pt x="12816" y="13807"/>
                  </a:lnTo>
                  <a:lnTo>
                    <a:pt x="13106" y="13602"/>
                  </a:lnTo>
                  <a:lnTo>
                    <a:pt x="13329" y="13380"/>
                  </a:lnTo>
                  <a:lnTo>
                    <a:pt x="13568" y="13106"/>
                  </a:lnTo>
                  <a:lnTo>
                    <a:pt x="13790" y="12850"/>
                  </a:lnTo>
                  <a:lnTo>
                    <a:pt x="13961" y="12560"/>
                  </a:lnTo>
                  <a:lnTo>
                    <a:pt x="14115" y="12269"/>
                  </a:lnTo>
                  <a:lnTo>
                    <a:pt x="14217" y="11927"/>
                  </a:lnTo>
                  <a:lnTo>
                    <a:pt x="14320" y="11568"/>
                  </a:lnTo>
                  <a:lnTo>
                    <a:pt x="14388" y="11210"/>
                  </a:lnTo>
                  <a:lnTo>
                    <a:pt x="14388" y="10851"/>
                  </a:lnTo>
                  <a:lnTo>
                    <a:pt x="14388" y="10492"/>
                  </a:lnTo>
                  <a:lnTo>
                    <a:pt x="14320" y="10133"/>
                  </a:lnTo>
                  <a:lnTo>
                    <a:pt x="14217" y="9808"/>
                  </a:lnTo>
                  <a:lnTo>
                    <a:pt x="14115" y="9467"/>
                  </a:lnTo>
                  <a:lnTo>
                    <a:pt x="13961" y="9142"/>
                  </a:lnTo>
                  <a:lnTo>
                    <a:pt x="13790" y="8851"/>
                  </a:lnTo>
                  <a:lnTo>
                    <a:pt x="13568" y="8595"/>
                  </a:lnTo>
                  <a:lnTo>
                    <a:pt x="13329" y="8322"/>
                  </a:lnTo>
                  <a:lnTo>
                    <a:pt x="13106" y="8100"/>
                  </a:lnTo>
                  <a:lnTo>
                    <a:pt x="12816" y="7894"/>
                  </a:lnTo>
                  <a:lnTo>
                    <a:pt x="12508" y="7741"/>
                  </a:lnTo>
                  <a:lnTo>
                    <a:pt x="12218" y="7570"/>
                  </a:lnTo>
                  <a:lnTo>
                    <a:pt x="11893" y="7433"/>
                  </a:lnTo>
                  <a:lnTo>
                    <a:pt x="11534" y="7382"/>
                  </a:lnTo>
                  <a:lnTo>
                    <a:pt x="11175" y="7313"/>
                  </a:lnTo>
                  <a:lnTo>
                    <a:pt x="10817" y="7313"/>
                  </a:lnTo>
                  <a:lnTo>
                    <a:pt x="10441" y="7313"/>
                  </a:lnTo>
                  <a:lnTo>
                    <a:pt x="10082" y="7382"/>
                  </a:lnTo>
                  <a:lnTo>
                    <a:pt x="9757" y="7433"/>
                  </a:lnTo>
                  <a:lnTo>
                    <a:pt x="9432" y="7570"/>
                  </a:lnTo>
                  <a:lnTo>
                    <a:pt x="9142" y="7741"/>
                  </a:lnTo>
                  <a:lnTo>
                    <a:pt x="8834" y="7894"/>
                  </a:lnTo>
                  <a:lnTo>
                    <a:pt x="8544" y="8100"/>
                  </a:lnTo>
                  <a:lnTo>
                    <a:pt x="8287" y="8322"/>
                  </a:lnTo>
                  <a:lnTo>
                    <a:pt x="8048" y="8595"/>
                  </a:lnTo>
                  <a:lnTo>
                    <a:pt x="7860" y="8851"/>
                  </a:lnTo>
                  <a:lnTo>
                    <a:pt x="7689" y="9142"/>
                  </a:lnTo>
                  <a:lnTo>
                    <a:pt x="7536" y="9467"/>
                  </a:lnTo>
                  <a:lnTo>
                    <a:pt x="7399" y="9808"/>
                  </a:lnTo>
                  <a:lnTo>
                    <a:pt x="7331" y="10133"/>
                  </a:lnTo>
                  <a:lnTo>
                    <a:pt x="7262" y="10492"/>
                  </a:lnTo>
                  <a:lnTo>
                    <a:pt x="7262" y="10851"/>
                  </a:lnTo>
                  <a:lnTo>
                    <a:pt x="7262" y="11210"/>
                  </a:lnTo>
                  <a:lnTo>
                    <a:pt x="7331" y="11568"/>
                  </a:lnTo>
                  <a:lnTo>
                    <a:pt x="7399" y="11927"/>
                  </a:lnTo>
                  <a:lnTo>
                    <a:pt x="7536" y="12269"/>
                  </a:lnTo>
                  <a:lnTo>
                    <a:pt x="7689" y="12560"/>
                  </a:lnTo>
                  <a:lnTo>
                    <a:pt x="7860" y="12850"/>
                  </a:lnTo>
                  <a:lnTo>
                    <a:pt x="8048" y="13106"/>
                  </a:lnTo>
                  <a:lnTo>
                    <a:pt x="8287" y="13380"/>
                  </a:lnTo>
                  <a:lnTo>
                    <a:pt x="8544" y="13602"/>
                  </a:lnTo>
                  <a:lnTo>
                    <a:pt x="8834" y="13807"/>
                  </a:lnTo>
                  <a:lnTo>
                    <a:pt x="9142" y="13995"/>
                  </a:lnTo>
                  <a:lnTo>
                    <a:pt x="9432" y="14166"/>
                  </a:lnTo>
                  <a:lnTo>
                    <a:pt x="9757" y="14268"/>
                  </a:lnTo>
                  <a:lnTo>
                    <a:pt x="10082" y="14354"/>
                  </a:lnTo>
                  <a:lnTo>
                    <a:pt x="10441" y="14388"/>
                  </a:lnTo>
                  <a:lnTo>
                    <a:pt x="10817" y="14422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775" name="AutoShape 11"/>
            <p:cNvSpPr>
              <a:spLocks noEditPoints="1" noChangeArrowheads="1"/>
            </p:cNvSpPr>
            <p:nvPr/>
          </p:nvSpPr>
          <p:spPr bwMode="auto">
            <a:xfrm>
              <a:off x="1509" y="1395"/>
              <a:ext cx="1429" cy="1253"/>
            </a:xfrm>
            <a:custGeom>
              <a:avLst/>
              <a:gdLst>
                <a:gd name="T0" fmla="*/ 10800 w 21600"/>
                <a:gd name="T1" fmla="*/ 0 h 21600"/>
                <a:gd name="T2" fmla="*/ 21600 w 21600"/>
                <a:gd name="T3" fmla="*/ 10800 h 21600"/>
                <a:gd name="T4" fmla="*/ 10800 w 21600"/>
                <a:gd name="T5" fmla="*/ 21600 h 21600"/>
                <a:gd name="T6" fmla="*/ 0 w 21600"/>
                <a:gd name="T7" fmla="*/ 10800 h 21600"/>
                <a:gd name="T8" fmla="*/ 4374 w 21600"/>
                <a:gd name="T9" fmla="*/ 3964 h 21600"/>
                <a:gd name="T10" fmla="*/ 17841 w 21600"/>
                <a:gd name="T11" fmla="*/ 17635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9689" y="1725"/>
                  </a:moveTo>
                  <a:lnTo>
                    <a:pt x="10304" y="85"/>
                  </a:lnTo>
                  <a:lnTo>
                    <a:pt x="11637" y="85"/>
                  </a:lnTo>
                  <a:lnTo>
                    <a:pt x="12303" y="1777"/>
                  </a:lnTo>
                  <a:lnTo>
                    <a:pt x="13072" y="1931"/>
                  </a:lnTo>
                  <a:lnTo>
                    <a:pt x="14303" y="598"/>
                  </a:lnTo>
                  <a:lnTo>
                    <a:pt x="15533" y="1110"/>
                  </a:lnTo>
                  <a:lnTo>
                    <a:pt x="15584" y="2905"/>
                  </a:lnTo>
                  <a:lnTo>
                    <a:pt x="16405" y="3520"/>
                  </a:lnTo>
                  <a:lnTo>
                    <a:pt x="17891" y="2751"/>
                  </a:lnTo>
                  <a:lnTo>
                    <a:pt x="18917" y="3674"/>
                  </a:lnTo>
                  <a:lnTo>
                    <a:pt x="18199" y="5314"/>
                  </a:lnTo>
                  <a:lnTo>
                    <a:pt x="18763" y="6083"/>
                  </a:lnTo>
                  <a:lnTo>
                    <a:pt x="20403" y="6032"/>
                  </a:lnTo>
                  <a:lnTo>
                    <a:pt x="20865" y="7211"/>
                  </a:lnTo>
                  <a:lnTo>
                    <a:pt x="19737" y="8185"/>
                  </a:lnTo>
                  <a:lnTo>
                    <a:pt x="20096" y="9723"/>
                  </a:lnTo>
                  <a:lnTo>
                    <a:pt x="21634" y="10287"/>
                  </a:lnTo>
                  <a:lnTo>
                    <a:pt x="21582" y="11620"/>
                  </a:lnTo>
                  <a:lnTo>
                    <a:pt x="20147" y="12184"/>
                  </a:lnTo>
                  <a:lnTo>
                    <a:pt x="19942" y="13158"/>
                  </a:lnTo>
                  <a:lnTo>
                    <a:pt x="21070" y="14234"/>
                  </a:lnTo>
                  <a:lnTo>
                    <a:pt x="20608" y="15362"/>
                  </a:lnTo>
                  <a:lnTo>
                    <a:pt x="19019" y="15465"/>
                  </a:lnTo>
                  <a:lnTo>
                    <a:pt x="18404" y="16439"/>
                  </a:lnTo>
                  <a:lnTo>
                    <a:pt x="19122" y="17925"/>
                  </a:lnTo>
                  <a:lnTo>
                    <a:pt x="18096" y="18797"/>
                  </a:lnTo>
                  <a:lnTo>
                    <a:pt x="16763" y="18284"/>
                  </a:lnTo>
                  <a:lnTo>
                    <a:pt x="15431" y="19002"/>
                  </a:lnTo>
                  <a:lnTo>
                    <a:pt x="15277" y="20848"/>
                  </a:lnTo>
                  <a:lnTo>
                    <a:pt x="14149" y="21155"/>
                  </a:lnTo>
                  <a:lnTo>
                    <a:pt x="13021" y="19925"/>
                  </a:lnTo>
                  <a:lnTo>
                    <a:pt x="12252" y="20181"/>
                  </a:lnTo>
                  <a:lnTo>
                    <a:pt x="11739" y="21668"/>
                  </a:lnTo>
                  <a:lnTo>
                    <a:pt x="10201" y="21668"/>
                  </a:lnTo>
                  <a:lnTo>
                    <a:pt x="9740" y="20130"/>
                  </a:lnTo>
                  <a:lnTo>
                    <a:pt x="8253" y="19771"/>
                  </a:lnTo>
                  <a:lnTo>
                    <a:pt x="7125" y="21001"/>
                  </a:lnTo>
                  <a:lnTo>
                    <a:pt x="5895" y="20489"/>
                  </a:lnTo>
                  <a:lnTo>
                    <a:pt x="5946" y="18592"/>
                  </a:lnTo>
                  <a:lnTo>
                    <a:pt x="5177" y="18131"/>
                  </a:lnTo>
                  <a:lnTo>
                    <a:pt x="3383" y="18848"/>
                  </a:lnTo>
                  <a:lnTo>
                    <a:pt x="2614" y="17874"/>
                  </a:lnTo>
                  <a:lnTo>
                    <a:pt x="3383" y="16182"/>
                  </a:lnTo>
                  <a:lnTo>
                    <a:pt x="2922" y="15465"/>
                  </a:lnTo>
                  <a:lnTo>
                    <a:pt x="922" y="15516"/>
                  </a:lnTo>
                  <a:lnTo>
                    <a:pt x="512" y="14234"/>
                  </a:lnTo>
                  <a:lnTo>
                    <a:pt x="1948" y="12901"/>
                  </a:lnTo>
                  <a:lnTo>
                    <a:pt x="1896" y="12184"/>
                  </a:lnTo>
                  <a:lnTo>
                    <a:pt x="0" y="11415"/>
                  </a:lnTo>
                  <a:lnTo>
                    <a:pt x="51" y="10031"/>
                  </a:lnTo>
                  <a:lnTo>
                    <a:pt x="1948" y="9313"/>
                  </a:lnTo>
                  <a:lnTo>
                    <a:pt x="2101" y="8595"/>
                  </a:lnTo>
                  <a:lnTo>
                    <a:pt x="615" y="7160"/>
                  </a:lnTo>
                  <a:lnTo>
                    <a:pt x="1127" y="5878"/>
                  </a:lnTo>
                  <a:lnTo>
                    <a:pt x="3178" y="5981"/>
                  </a:lnTo>
                  <a:lnTo>
                    <a:pt x="3588" y="5417"/>
                  </a:lnTo>
                  <a:lnTo>
                    <a:pt x="2819" y="3520"/>
                  </a:lnTo>
                  <a:lnTo>
                    <a:pt x="3742" y="2597"/>
                  </a:lnTo>
                  <a:lnTo>
                    <a:pt x="5536" y="3417"/>
                  </a:lnTo>
                  <a:lnTo>
                    <a:pt x="6049" y="3058"/>
                  </a:lnTo>
                  <a:lnTo>
                    <a:pt x="6100" y="1264"/>
                  </a:lnTo>
                  <a:lnTo>
                    <a:pt x="7228" y="700"/>
                  </a:lnTo>
                  <a:lnTo>
                    <a:pt x="8510" y="2033"/>
                  </a:lnTo>
                  <a:lnTo>
                    <a:pt x="9689" y="1725"/>
                  </a:lnTo>
                  <a:close/>
                  <a:moveTo>
                    <a:pt x="10817" y="14422"/>
                  </a:moveTo>
                  <a:lnTo>
                    <a:pt x="11175" y="14388"/>
                  </a:lnTo>
                  <a:lnTo>
                    <a:pt x="11534" y="14354"/>
                  </a:lnTo>
                  <a:lnTo>
                    <a:pt x="11893" y="14268"/>
                  </a:lnTo>
                  <a:lnTo>
                    <a:pt x="12218" y="14166"/>
                  </a:lnTo>
                  <a:lnTo>
                    <a:pt x="12508" y="13995"/>
                  </a:lnTo>
                  <a:lnTo>
                    <a:pt x="12816" y="13807"/>
                  </a:lnTo>
                  <a:lnTo>
                    <a:pt x="13106" y="13602"/>
                  </a:lnTo>
                  <a:lnTo>
                    <a:pt x="13329" y="13380"/>
                  </a:lnTo>
                  <a:lnTo>
                    <a:pt x="13568" y="13106"/>
                  </a:lnTo>
                  <a:lnTo>
                    <a:pt x="13790" y="12850"/>
                  </a:lnTo>
                  <a:lnTo>
                    <a:pt x="13961" y="12560"/>
                  </a:lnTo>
                  <a:lnTo>
                    <a:pt x="14115" y="12269"/>
                  </a:lnTo>
                  <a:lnTo>
                    <a:pt x="14217" y="11927"/>
                  </a:lnTo>
                  <a:lnTo>
                    <a:pt x="14320" y="11568"/>
                  </a:lnTo>
                  <a:lnTo>
                    <a:pt x="14388" y="11210"/>
                  </a:lnTo>
                  <a:lnTo>
                    <a:pt x="14388" y="10851"/>
                  </a:lnTo>
                  <a:lnTo>
                    <a:pt x="14388" y="10492"/>
                  </a:lnTo>
                  <a:lnTo>
                    <a:pt x="14320" y="10133"/>
                  </a:lnTo>
                  <a:lnTo>
                    <a:pt x="14217" y="9808"/>
                  </a:lnTo>
                  <a:lnTo>
                    <a:pt x="14115" y="9467"/>
                  </a:lnTo>
                  <a:lnTo>
                    <a:pt x="13961" y="9142"/>
                  </a:lnTo>
                  <a:lnTo>
                    <a:pt x="13790" y="8851"/>
                  </a:lnTo>
                  <a:lnTo>
                    <a:pt x="13568" y="8595"/>
                  </a:lnTo>
                  <a:lnTo>
                    <a:pt x="13329" y="8322"/>
                  </a:lnTo>
                  <a:lnTo>
                    <a:pt x="13106" y="8100"/>
                  </a:lnTo>
                  <a:lnTo>
                    <a:pt x="12816" y="7894"/>
                  </a:lnTo>
                  <a:lnTo>
                    <a:pt x="12508" y="7741"/>
                  </a:lnTo>
                  <a:lnTo>
                    <a:pt x="12218" y="7570"/>
                  </a:lnTo>
                  <a:lnTo>
                    <a:pt x="11893" y="7433"/>
                  </a:lnTo>
                  <a:lnTo>
                    <a:pt x="11534" y="7382"/>
                  </a:lnTo>
                  <a:lnTo>
                    <a:pt x="11175" y="7313"/>
                  </a:lnTo>
                  <a:lnTo>
                    <a:pt x="10817" y="7313"/>
                  </a:lnTo>
                  <a:lnTo>
                    <a:pt x="10441" y="7313"/>
                  </a:lnTo>
                  <a:lnTo>
                    <a:pt x="10082" y="7382"/>
                  </a:lnTo>
                  <a:lnTo>
                    <a:pt x="9757" y="7433"/>
                  </a:lnTo>
                  <a:lnTo>
                    <a:pt x="9432" y="7570"/>
                  </a:lnTo>
                  <a:lnTo>
                    <a:pt x="9142" y="7741"/>
                  </a:lnTo>
                  <a:lnTo>
                    <a:pt x="8834" y="7894"/>
                  </a:lnTo>
                  <a:lnTo>
                    <a:pt x="8544" y="8100"/>
                  </a:lnTo>
                  <a:lnTo>
                    <a:pt x="8287" y="8322"/>
                  </a:lnTo>
                  <a:lnTo>
                    <a:pt x="8048" y="8595"/>
                  </a:lnTo>
                  <a:lnTo>
                    <a:pt x="7860" y="8851"/>
                  </a:lnTo>
                  <a:lnTo>
                    <a:pt x="7689" y="9142"/>
                  </a:lnTo>
                  <a:lnTo>
                    <a:pt x="7536" y="9467"/>
                  </a:lnTo>
                  <a:lnTo>
                    <a:pt x="7399" y="9808"/>
                  </a:lnTo>
                  <a:lnTo>
                    <a:pt x="7331" y="10133"/>
                  </a:lnTo>
                  <a:lnTo>
                    <a:pt x="7262" y="10492"/>
                  </a:lnTo>
                  <a:lnTo>
                    <a:pt x="7262" y="10851"/>
                  </a:lnTo>
                  <a:lnTo>
                    <a:pt x="7262" y="11210"/>
                  </a:lnTo>
                  <a:lnTo>
                    <a:pt x="7331" y="11568"/>
                  </a:lnTo>
                  <a:lnTo>
                    <a:pt x="7399" y="11927"/>
                  </a:lnTo>
                  <a:lnTo>
                    <a:pt x="7536" y="12269"/>
                  </a:lnTo>
                  <a:lnTo>
                    <a:pt x="7689" y="12560"/>
                  </a:lnTo>
                  <a:lnTo>
                    <a:pt x="7860" y="12850"/>
                  </a:lnTo>
                  <a:lnTo>
                    <a:pt x="8048" y="13106"/>
                  </a:lnTo>
                  <a:lnTo>
                    <a:pt x="8287" y="13380"/>
                  </a:lnTo>
                  <a:lnTo>
                    <a:pt x="8544" y="13602"/>
                  </a:lnTo>
                  <a:lnTo>
                    <a:pt x="8834" y="13807"/>
                  </a:lnTo>
                  <a:lnTo>
                    <a:pt x="9142" y="13995"/>
                  </a:lnTo>
                  <a:lnTo>
                    <a:pt x="9432" y="14166"/>
                  </a:lnTo>
                  <a:lnTo>
                    <a:pt x="9757" y="14268"/>
                  </a:lnTo>
                  <a:lnTo>
                    <a:pt x="10082" y="14354"/>
                  </a:lnTo>
                  <a:lnTo>
                    <a:pt x="10441" y="14388"/>
                  </a:lnTo>
                  <a:lnTo>
                    <a:pt x="10817" y="14422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  <p:sp>
          <p:nvSpPr>
            <p:cNvPr id="776" name="AutoShape 12"/>
            <p:cNvSpPr>
              <a:spLocks noEditPoints="1" noChangeArrowheads="1"/>
            </p:cNvSpPr>
            <p:nvPr/>
          </p:nvSpPr>
          <p:spPr bwMode="auto">
            <a:xfrm>
              <a:off x="2559" y="2142"/>
              <a:ext cx="1588" cy="1392"/>
            </a:xfrm>
            <a:custGeom>
              <a:avLst/>
              <a:gdLst>
                <a:gd name="T0" fmla="*/ 10800 w 21600"/>
                <a:gd name="T1" fmla="*/ 0 h 21600"/>
                <a:gd name="T2" fmla="*/ 21600 w 21600"/>
                <a:gd name="T3" fmla="*/ 10800 h 21600"/>
                <a:gd name="T4" fmla="*/ 10800 w 21600"/>
                <a:gd name="T5" fmla="*/ 21600 h 21600"/>
                <a:gd name="T6" fmla="*/ 0 w 21600"/>
                <a:gd name="T7" fmla="*/ 10800 h 21600"/>
                <a:gd name="T8" fmla="*/ 4374 w 21600"/>
                <a:gd name="T9" fmla="*/ 3964 h 21600"/>
                <a:gd name="T10" fmla="*/ 17841 w 21600"/>
                <a:gd name="T11" fmla="*/ 17635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9689" y="1725"/>
                  </a:moveTo>
                  <a:lnTo>
                    <a:pt x="10304" y="85"/>
                  </a:lnTo>
                  <a:lnTo>
                    <a:pt x="11637" y="85"/>
                  </a:lnTo>
                  <a:lnTo>
                    <a:pt x="12303" y="1777"/>
                  </a:lnTo>
                  <a:lnTo>
                    <a:pt x="13072" y="1931"/>
                  </a:lnTo>
                  <a:lnTo>
                    <a:pt x="14303" y="598"/>
                  </a:lnTo>
                  <a:lnTo>
                    <a:pt x="15533" y="1110"/>
                  </a:lnTo>
                  <a:lnTo>
                    <a:pt x="15584" y="2905"/>
                  </a:lnTo>
                  <a:lnTo>
                    <a:pt x="16405" y="3520"/>
                  </a:lnTo>
                  <a:lnTo>
                    <a:pt x="17891" y="2751"/>
                  </a:lnTo>
                  <a:lnTo>
                    <a:pt x="18917" y="3674"/>
                  </a:lnTo>
                  <a:lnTo>
                    <a:pt x="18199" y="5314"/>
                  </a:lnTo>
                  <a:lnTo>
                    <a:pt x="18763" y="6083"/>
                  </a:lnTo>
                  <a:lnTo>
                    <a:pt x="20403" y="6032"/>
                  </a:lnTo>
                  <a:lnTo>
                    <a:pt x="20865" y="7211"/>
                  </a:lnTo>
                  <a:lnTo>
                    <a:pt x="19737" y="8185"/>
                  </a:lnTo>
                  <a:lnTo>
                    <a:pt x="20096" y="9723"/>
                  </a:lnTo>
                  <a:lnTo>
                    <a:pt x="21634" y="10287"/>
                  </a:lnTo>
                  <a:lnTo>
                    <a:pt x="21582" y="11620"/>
                  </a:lnTo>
                  <a:lnTo>
                    <a:pt x="20147" y="12184"/>
                  </a:lnTo>
                  <a:lnTo>
                    <a:pt x="19942" y="13158"/>
                  </a:lnTo>
                  <a:lnTo>
                    <a:pt x="21070" y="14234"/>
                  </a:lnTo>
                  <a:lnTo>
                    <a:pt x="20608" y="15362"/>
                  </a:lnTo>
                  <a:lnTo>
                    <a:pt x="19019" y="15465"/>
                  </a:lnTo>
                  <a:lnTo>
                    <a:pt x="18404" y="16439"/>
                  </a:lnTo>
                  <a:lnTo>
                    <a:pt x="19122" y="17925"/>
                  </a:lnTo>
                  <a:lnTo>
                    <a:pt x="18096" y="18797"/>
                  </a:lnTo>
                  <a:lnTo>
                    <a:pt x="16763" y="18284"/>
                  </a:lnTo>
                  <a:lnTo>
                    <a:pt x="15431" y="19002"/>
                  </a:lnTo>
                  <a:lnTo>
                    <a:pt x="15277" y="20848"/>
                  </a:lnTo>
                  <a:lnTo>
                    <a:pt x="14149" y="21155"/>
                  </a:lnTo>
                  <a:lnTo>
                    <a:pt x="13021" y="19925"/>
                  </a:lnTo>
                  <a:lnTo>
                    <a:pt x="12252" y="20181"/>
                  </a:lnTo>
                  <a:lnTo>
                    <a:pt x="11739" y="21668"/>
                  </a:lnTo>
                  <a:lnTo>
                    <a:pt x="10201" y="21668"/>
                  </a:lnTo>
                  <a:lnTo>
                    <a:pt x="9740" y="20130"/>
                  </a:lnTo>
                  <a:lnTo>
                    <a:pt x="8253" y="19771"/>
                  </a:lnTo>
                  <a:lnTo>
                    <a:pt x="7125" y="21001"/>
                  </a:lnTo>
                  <a:lnTo>
                    <a:pt x="5895" y="20489"/>
                  </a:lnTo>
                  <a:lnTo>
                    <a:pt x="5946" y="18592"/>
                  </a:lnTo>
                  <a:lnTo>
                    <a:pt x="5177" y="18131"/>
                  </a:lnTo>
                  <a:lnTo>
                    <a:pt x="3383" y="18848"/>
                  </a:lnTo>
                  <a:lnTo>
                    <a:pt x="2614" y="17874"/>
                  </a:lnTo>
                  <a:lnTo>
                    <a:pt x="3383" y="16182"/>
                  </a:lnTo>
                  <a:lnTo>
                    <a:pt x="2922" y="15465"/>
                  </a:lnTo>
                  <a:lnTo>
                    <a:pt x="922" y="15516"/>
                  </a:lnTo>
                  <a:lnTo>
                    <a:pt x="512" y="14234"/>
                  </a:lnTo>
                  <a:lnTo>
                    <a:pt x="1948" y="12901"/>
                  </a:lnTo>
                  <a:lnTo>
                    <a:pt x="1896" y="12184"/>
                  </a:lnTo>
                  <a:lnTo>
                    <a:pt x="0" y="11415"/>
                  </a:lnTo>
                  <a:lnTo>
                    <a:pt x="51" y="10031"/>
                  </a:lnTo>
                  <a:lnTo>
                    <a:pt x="1948" y="9313"/>
                  </a:lnTo>
                  <a:lnTo>
                    <a:pt x="2101" y="8595"/>
                  </a:lnTo>
                  <a:lnTo>
                    <a:pt x="615" y="7160"/>
                  </a:lnTo>
                  <a:lnTo>
                    <a:pt x="1127" y="5878"/>
                  </a:lnTo>
                  <a:lnTo>
                    <a:pt x="3178" y="5981"/>
                  </a:lnTo>
                  <a:lnTo>
                    <a:pt x="3588" y="5417"/>
                  </a:lnTo>
                  <a:lnTo>
                    <a:pt x="2819" y="3520"/>
                  </a:lnTo>
                  <a:lnTo>
                    <a:pt x="3742" y="2597"/>
                  </a:lnTo>
                  <a:lnTo>
                    <a:pt x="5536" y="3417"/>
                  </a:lnTo>
                  <a:lnTo>
                    <a:pt x="6049" y="3058"/>
                  </a:lnTo>
                  <a:lnTo>
                    <a:pt x="6100" y="1264"/>
                  </a:lnTo>
                  <a:lnTo>
                    <a:pt x="7228" y="700"/>
                  </a:lnTo>
                  <a:lnTo>
                    <a:pt x="8510" y="2033"/>
                  </a:lnTo>
                  <a:lnTo>
                    <a:pt x="9689" y="1725"/>
                  </a:lnTo>
                  <a:close/>
                  <a:moveTo>
                    <a:pt x="10817" y="14422"/>
                  </a:moveTo>
                  <a:lnTo>
                    <a:pt x="11175" y="14388"/>
                  </a:lnTo>
                  <a:lnTo>
                    <a:pt x="11534" y="14354"/>
                  </a:lnTo>
                  <a:lnTo>
                    <a:pt x="11893" y="14268"/>
                  </a:lnTo>
                  <a:lnTo>
                    <a:pt x="12218" y="14166"/>
                  </a:lnTo>
                  <a:lnTo>
                    <a:pt x="12508" y="13995"/>
                  </a:lnTo>
                  <a:lnTo>
                    <a:pt x="12816" y="13807"/>
                  </a:lnTo>
                  <a:lnTo>
                    <a:pt x="13106" y="13602"/>
                  </a:lnTo>
                  <a:lnTo>
                    <a:pt x="13329" y="13380"/>
                  </a:lnTo>
                  <a:lnTo>
                    <a:pt x="13568" y="13106"/>
                  </a:lnTo>
                  <a:lnTo>
                    <a:pt x="13790" y="12850"/>
                  </a:lnTo>
                  <a:lnTo>
                    <a:pt x="13961" y="12560"/>
                  </a:lnTo>
                  <a:lnTo>
                    <a:pt x="14115" y="12269"/>
                  </a:lnTo>
                  <a:lnTo>
                    <a:pt x="14217" y="11927"/>
                  </a:lnTo>
                  <a:lnTo>
                    <a:pt x="14320" y="11568"/>
                  </a:lnTo>
                  <a:lnTo>
                    <a:pt x="14388" y="11210"/>
                  </a:lnTo>
                  <a:lnTo>
                    <a:pt x="14388" y="10851"/>
                  </a:lnTo>
                  <a:lnTo>
                    <a:pt x="14388" y="10492"/>
                  </a:lnTo>
                  <a:lnTo>
                    <a:pt x="14320" y="10133"/>
                  </a:lnTo>
                  <a:lnTo>
                    <a:pt x="14217" y="9808"/>
                  </a:lnTo>
                  <a:lnTo>
                    <a:pt x="14115" y="9467"/>
                  </a:lnTo>
                  <a:lnTo>
                    <a:pt x="13961" y="9142"/>
                  </a:lnTo>
                  <a:lnTo>
                    <a:pt x="13790" y="8851"/>
                  </a:lnTo>
                  <a:lnTo>
                    <a:pt x="13568" y="8595"/>
                  </a:lnTo>
                  <a:lnTo>
                    <a:pt x="13329" y="8322"/>
                  </a:lnTo>
                  <a:lnTo>
                    <a:pt x="13106" y="8100"/>
                  </a:lnTo>
                  <a:lnTo>
                    <a:pt x="12816" y="7894"/>
                  </a:lnTo>
                  <a:lnTo>
                    <a:pt x="12508" y="7741"/>
                  </a:lnTo>
                  <a:lnTo>
                    <a:pt x="12218" y="7570"/>
                  </a:lnTo>
                  <a:lnTo>
                    <a:pt x="11893" y="7433"/>
                  </a:lnTo>
                  <a:lnTo>
                    <a:pt x="11534" y="7382"/>
                  </a:lnTo>
                  <a:lnTo>
                    <a:pt x="11175" y="7313"/>
                  </a:lnTo>
                  <a:lnTo>
                    <a:pt x="10817" y="7313"/>
                  </a:lnTo>
                  <a:lnTo>
                    <a:pt x="10441" y="7313"/>
                  </a:lnTo>
                  <a:lnTo>
                    <a:pt x="10082" y="7382"/>
                  </a:lnTo>
                  <a:lnTo>
                    <a:pt x="9757" y="7433"/>
                  </a:lnTo>
                  <a:lnTo>
                    <a:pt x="9432" y="7570"/>
                  </a:lnTo>
                  <a:lnTo>
                    <a:pt x="9142" y="7741"/>
                  </a:lnTo>
                  <a:lnTo>
                    <a:pt x="8834" y="7894"/>
                  </a:lnTo>
                  <a:lnTo>
                    <a:pt x="8544" y="8100"/>
                  </a:lnTo>
                  <a:lnTo>
                    <a:pt x="8287" y="8322"/>
                  </a:lnTo>
                  <a:lnTo>
                    <a:pt x="8048" y="8595"/>
                  </a:lnTo>
                  <a:lnTo>
                    <a:pt x="7860" y="8851"/>
                  </a:lnTo>
                  <a:lnTo>
                    <a:pt x="7689" y="9142"/>
                  </a:lnTo>
                  <a:lnTo>
                    <a:pt x="7536" y="9467"/>
                  </a:lnTo>
                  <a:lnTo>
                    <a:pt x="7399" y="9808"/>
                  </a:lnTo>
                  <a:lnTo>
                    <a:pt x="7331" y="10133"/>
                  </a:lnTo>
                  <a:lnTo>
                    <a:pt x="7262" y="10492"/>
                  </a:lnTo>
                  <a:lnTo>
                    <a:pt x="7262" y="10851"/>
                  </a:lnTo>
                  <a:lnTo>
                    <a:pt x="7262" y="11210"/>
                  </a:lnTo>
                  <a:lnTo>
                    <a:pt x="7331" y="11568"/>
                  </a:lnTo>
                  <a:lnTo>
                    <a:pt x="7399" y="11927"/>
                  </a:lnTo>
                  <a:lnTo>
                    <a:pt x="7536" y="12269"/>
                  </a:lnTo>
                  <a:lnTo>
                    <a:pt x="7689" y="12560"/>
                  </a:lnTo>
                  <a:lnTo>
                    <a:pt x="7860" y="12850"/>
                  </a:lnTo>
                  <a:lnTo>
                    <a:pt x="8048" y="13106"/>
                  </a:lnTo>
                  <a:lnTo>
                    <a:pt x="8287" y="13380"/>
                  </a:lnTo>
                  <a:lnTo>
                    <a:pt x="8544" y="13602"/>
                  </a:lnTo>
                  <a:lnTo>
                    <a:pt x="8834" y="13807"/>
                  </a:lnTo>
                  <a:lnTo>
                    <a:pt x="9142" y="13995"/>
                  </a:lnTo>
                  <a:lnTo>
                    <a:pt x="9432" y="14166"/>
                  </a:lnTo>
                  <a:lnTo>
                    <a:pt x="9757" y="14268"/>
                  </a:lnTo>
                  <a:lnTo>
                    <a:pt x="10082" y="14354"/>
                  </a:lnTo>
                  <a:lnTo>
                    <a:pt x="10441" y="14388"/>
                  </a:lnTo>
                  <a:lnTo>
                    <a:pt x="10817" y="14422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s-ES" sz="2159"/>
            </a:p>
          </p:txBody>
        </p:sp>
      </p:grpSp>
      <p:pic>
        <p:nvPicPr>
          <p:cNvPr id="777" name="Picture 37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60347" y="2097944"/>
            <a:ext cx="363247" cy="87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8" name="Picture 37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04252" y="2039688"/>
            <a:ext cx="613408" cy="962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79" name="778 Grupo"/>
          <p:cNvGrpSpPr/>
          <p:nvPr/>
        </p:nvGrpSpPr>
        <p:grpSpPr>
          <a:xfrm>
            <a:off x="4446328" y="2091097"/>
            <a:ext cx="363247" cy="873850"/>
            <a:chOff x="8024813" y="4476763"/>
            <a:chExt cx="336550" cy="809625"/>
          </a:xfrm>
        </p:grpSpPr>
        <p:sp>
          <p:nvSpPr>
            <p:cNvPr id="780" name="AutoShape 45"/>
            <p:cNvSpPr>
              <a:spLocks noChangeAspect="1" noChangeArrowheads="1" noTextEdit="1"/>
            </p:cNvSpPr>
            <p:nvPr/>
          </p:nvSpPr>
          <p:spPr bwMode="auto">
            <a:xfrm>
              <a:off x="8024813" y="4476763"/>
              <a:ext cx="336550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grpSp>
          <p:nvGrpSpPr>
            <p:cNvPr id="781" name="Group 49"/>
            <p:cNvGrpSpPr>
              <a:grpSpLocks/>
            </p:cNvGrpSpPr>
            <p:nvPr/>
          </p:nvGrpSpPr>
          <p:grpSpPr bwMode="auto">
            <a:xfrm>
              <a:off x="8027988" y="4481526"/>
              <a:ext cx="317500" cy="788988"/>
              <a:chOff x="5057" y="2838"/>
              <a:chExt cx="200" cy="497"/>
            </a:xfrm>
          </p:grpSpPr>
          <p:sp>
            <p:nvSpPr>
              <p:cNvPr id="812" name="Freeform 47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813" name="Freeform 48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5" cap="rnd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</p:grpSp>
        <p:sp>
          <p:nvSpPr>
            <p:cNvPr id="782" name="Freeform 50"/>
            <p:cNvSpPr>
              <a:spLocks/>
            </p:cNvSpPr>
            <p:nvPr/>
          </p:nvSpPr>
          <p:spPr bwMode="auto">
            <a:xfrm>
              <a:off x="8094663" y="4532326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1E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3" name="Freeform 51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4" name="Freeform 52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5" name="Freeform 53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6" name="Freeform 54"/>
            <p:cNvSpPr>
              <a:spLocks/>
            </p:cNvSpPr>
            <p:nvPr/>
          </p:nvSpPr>
          <p:spPr bwMode="auto">
            <a:xfrm>
              <a:off x="8081963" y="4518038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7" name="Freeform 55"/>
            <p:cNvSpPr>
              <a:spLocks/>
            </p:cNvSpPr>
            <p:nvPr/>
          </p:nvSpPr>
          <p:spPr bwMode="auto">
            <a:xfrm>
              <a:off x="8094663" y="4778388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FFBA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8" name="Freeform 56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89" name="Freeform 57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0" name="Freeform 58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1" name="Freeform 59"/>
            <p:cNvSpPr>
              <a:spLocks/>
            </p:cNvSpPr>
            <p:nvPr/>
          </p:nvSpPr>
          <p:spPr bwMode="auto">
            <a:xfrm>
              <a:off x="8081963" y="4764101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2" name="Freeform 60"/>
            <p:cNvSpPr>
              <a:spLocks/>
            </p:cNvSpPr>
            <p:nvPr/>
          </p:nvSpPr>
          <p:spPr bwMode="auto">
            <a:xfrm>
              <a:off x="8094663" y="5033976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399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3" name="Freeform 61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4" name="Freeform 62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5" name="Freeform 63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6" name="Freeform 64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7" name="Freeform 68"/>
            <p:cNvSpPr>
              <a:spLocks/>
            </p:cNvSpPr>
            <p:nvPr/>
          </p:nvSpPr>
          <p:spPr bwMode="auto">
            <a:xfrm>
              <a:off x="8094663" y="4532326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1E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8" name="Freeform 69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99" name="Freeform 70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0" name="Freeform 71"/>
            <p:cNvSpPr>
              <a:spLocks/>
            </p:cNvSpPr>
            <p:nvPr/>
          </p:nvSpPr>
          <p:spPr bwMode="auto">
            <a:xfrm>
              <a:off x="8081963" y="4518038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1" name="Freeform 72"/>
            <p:cNvSpPr>
              <a:spLocks/>
            </p:cNvSpPr>
            <p:nvPr/>
          </p:nvSpPr>
          <p:spPr bwMode="auto">
            <a:xfrm>
              <a:off x="8081963" y="4518038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2" name="Freeform 73"/>
            <p:cNvSpPr>
              <a:spLocks/>
            </p:cNvSpPr>
            <p:nvPr/>
          </p:nvSpPr>
          <p:spPr bwMode="auto">
            <a:xfrm>
              <a:off x="8094663" y="4778388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3" name="Freeform 74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4" name="Freeform 75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5" name="Freeform 76"/>
            <p:cNvSpPr>
              <a:spLocks/>
            </p:cNvSpPr>
            <p:nvPr/>
          </p:nvSpPr>
          <p:spPr bwMode="auto">
            <a:xfrm>
              <a:off x="8081963" y="4764101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6" name="Freeform 77"/>
            <p:cNvSpPr>
              <a:spLocks/>
            </p:cNvSpPr>
            <p:nvPr/>
          </p:nvSpPr>
          <p:spPr bwMode="auto">
            <a:xfrm>
              <a:off x="8081963" y="4764101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7" name="Freeform 78"/>
            <p:cNvSpPr>
              <a:spLocks/>
            </p:cNvSpPr>
            <p:nvPr/>
          </p:nvSpPr>
          <p:spPr bwMode="auto">
            <a:xfrm>
              <a:off x="8094663" y="5033976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8" name="Freeform 79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09" name="Freeform 80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10" name="Freeform 81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11" name="Freeform 82"/>
            <p:cNvSpPr>
              <a:spLocks/>
            </p:cNvSpPr>
            <p:nvPr/>
          </p:nvSpPr>
          <p:spPr bwMode="auto">
            <a:xfrm>
              <a:off x="8081963" y="5019688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grpSp>
        <p:nvGrpSpPr>
          <p:cNvPr id="814" name="813 Grupo"/>
          <p:cNvGrpSpPr/>
          <p:nvPr/>
        </p:nvGrpSpPr>
        <p:grpSpPr>
          <a:xfrm>
            <a:off x="4982659" y="2111651"/>
            <a:ext cx="363247" cy="873850"/>
            <a:chOff x="8521725" y="4495807"/>
            <a:chExt cx="336550" cy="809625"/>
          </a:xfrm>
        </p:grpSpPr>
        <p:sp>
          <p:nvSpPr>
            <p:cNvPr id="815" name="AutoShape 45"/>
            <p:cNvSpPr>
              <a:spLocks noChangeAspect="1" noChangeArrowheads="1" noTextEdit="1"/>
            </p:cNvSpPr>
            <p:nvPr/>
          </p:nvSpPr>
          <p:spPr bwMode="auto">
            <a:xfrm>
              <a:off x="8521725" y="4495807"/>
              <a:ext cx="336550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grpSp>
          <p:nvGrpSpPr>
            <p:cNvPr id="816" name="Group 49"/>
            <p:cNvGrpSpPr>
              <a:grpSpLocks/>
            </p:cNvGrpSpPr>
            <p:nvPr/>
          </p:nvGrpSpPr>
          <p:grpSpPr bwMode="auto">
            <a:xfrm>
              <a:off x="8524900" y="4500570"/>
              <a:ext cx="317500" cy="788988"/>
              <a:chOff x="5057" y="2838"/>
              <a:chExt cx="200" cy="497"/>
            </a:xfrm>
          </p:grpSpPr>
          <p:sp>
            <p:nvSpPr>
              <p:cNvPr id="847" name="Freeform 47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848" name="Freeform 48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5" cap="rnd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</p:grpSp>
        <p:sp>
          <p:nvSpPr>
            <p:cNvPr id="817" name="Freeform 50"/>
            <p:cNvSpPr>
              <a:spLocks/>
            </p:cNvSpPr>
            <p:nvPr/>
          </p:nvSpPr>
          <p:spPr bwMode="auto">
            <a:xfrm>
              <a:off x="8591575" y="4551370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1E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18" name="Freeform 51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19" name="Freeform 52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0" name="Freeform 53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1" name="Freeform 54"/>
            <p:cNvSpPr>
              <a:spLocks/>
            </p:cNvSpPr>
            <p:nvPr/>
          </p:nvSpPr>
          <p:spPr bwMode="auto">
            <a:xfrm>
              <a:off x="8578875" y="4537082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2" name="Freeform 55"/>
            <p:cNvSpPr>
              <a:spLocks/>
            </p:cNvSpPr>
            <p:nvPr/>
          </p:nvSpPr>
          <p:spPr bwMode="auto">
            <a:xfrm>
              <a:off x="8591575" y="4797432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FFBA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3" name="Freeform 56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4" name="Freeform 57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5" name="Freeform 58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6" name="Freeform 59"/>
            <p:cNvSpPr>
              <a:spLocks/>
            </p:cNvSpPr>
            <p:nvPr/>
          </p:nvSpPr>
          <p:spPr bwMode="auto">
            <a:xfrm>
              <a:off x="8578875" y="4783145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7" name="Freeform 60"/>
            <p:cNvSpPr>
              <a:spLocks/>
            </p:cNvSpPr>
            <p:nvPr/>
          </p:nvSpPr>
          <p:spPr bwMode="auto">
            <a:xfrm>
              <a:off x="8591575" y="5053020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399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8" name="Freeform 61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29" name="Freeform 62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0" name="Freeform 63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1" name="Freeform 64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2" name="Freeform 68"/>
            <p:cNvSpPr>
              <a:spLocks/>
            </p:cNvSpPr>
            <p:nvPr/>
          </p:nvSpPr>
          <p:spPr bwMode="auto">
            <a:xfrm>
              <a:off x="8591575" y="4551370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3" name="Freeform 69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4" name="Freeform 70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5" name="Freeform 71"/>
            <p:cNvSpPr>
              <a:spLocks/>
            </p:cNvSpPr>
            <p:nvPr/>
          </p:nvSpPr>
          <p:spPr bwMode="auto">
            <a:xfrm>
              <a:off x="8578875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6" name="Freeform 72"/>
            <p:cNvSpPr>
              <a:spLocks/>
            </p:cNvSpPr>
            <p:nvPr/>
          </p:nvSpPr>
          <p:spPr bwMode="auto">
            <a:xfrm>
              <a:off x="8578875" y="4537082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7" name="Freeform 73"/>
            <p:cNvSpPr>
              <a:spLocks/>
            </p:cNvSpPr>
            <p:nvPr/>
          </p:nvSpPr>
          <p:spPr bwMode="auto">
            <a:xfrm>
              <a:off x="8591575" y="4797432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FFBA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8" name="Freeform 74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39" name="Freeform 75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0" name="Freeform 76"/>
            <p:cNvSpPr>
              <a:spLocks/>
            </p:cNvSpPr>
            <p:nvPr/>
          </p:nvSpPr>
          <p:spPr bwMode="auto">
            <a:xfrm>
              <a:off x="8578875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1" name="Freeform 77"/>
            <p:cNvSpPr>
              <a:spLocks/>
            </p:cNvSpPr>
            <p:nvPr/>
          </p:nvSpPr>
          <p:spPr bwMode="auto">
            <a:xfrm>
              <a:off x="8578875" y="4783145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2" name="Freeform 78"/>
            <p:cNvSpPr>
              <a:spLocks/>
            </p:cNvSpPr>
            <p:nvPr/>
          </p:nvSpPr>
          <p:spPr bwMode="auto">
            <a:xfrm>
              <a:off x="8591575" y="5053020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3" name="Freeform 79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4" name="Freeform 80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5" name="Freeform 81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46" name="Freeform 82"/>
            <p:cNvSpPr>
              <a:spLocks/>
            </p:cNvSpPr>
            <p:nvPr/>
          </p:nvSpPr>
          <p:spPr bwMode="auto">
            <a:xfrm>
              <a:off x="8578875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grpSp>
        <p:nvGrpSpPr>
          <p:cNvPr id="849" name="848 Grupo"/>
          <p:cNvGrpSpPr/>
          <p:nvPr/>
        </p:nvGrpSpPr>
        <p:grpSpPr>
          <a:xfrm>
            <a:off x="5599498" y="2111651"/>
            <a:ext cx="363247" cy="873850"/>
            <a:chOff x="9093229" y="4495807"/>
            <a:chExt cx="336550" cy="809625"/>
          </a:xfrm>
        </p:grpSpPr>
        <p:sp>
          <p:nvSpPr>
            <p:cNvPr id="850" name="AutoShape 45"/>
            <p:cNvSpPr>
              <a:spLocks noChangeAspect="1" noChangeArrowheads="1" noTextEdit="1"/>
            </p:cNvSpPr>
            <p:nvPr/>
          </p:nvSpPr>
          <p:spPr bwMode="auto">
            <a:xfrm>
              <a:off x="9093229" y="4495807"/>
              <a:ext cx="336550" cy="809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grpSp>
          <p:nvGrpSpPr>
            <p:cNvPr id="851" name="Group 49"/>
            <p:cNvGrpSpPr>
              <a:grpSpLocks/>
            </p:cNvGrpSpPr>
            <p:nvPr/>
          </p:nvGrpSpPr>
          <p:grpSpPr bwMode="auto">
            <a:xfrm>
              <a:off x="9096404" y="4500570"/>
              <a:ext cx="317500" cy="788988"/>
              <a:chOff x="5057" y="2838"/>
              <a:chExt cx="200" cy="497"/>
            </a:xfrm>
          </p:grpSpPr>
          <p:sp>
            <p:nvSpPr>
              <p:cNvPr id="882" name="Freeform 47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883" name="Freeform 48"/>
              <p:cNvSpPr>
                <a:spLocks/>
              </p:cNvSpPr>
              <p:nvPr/>
            </p:nvSpPr>
            <p:spPr bwMode="auto">
              <a:xfrm>
                <a:off x="5057" y="2838"/>
                <a:ext cx="200" cy="497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175" y="0"/>
                  </a:cxn>
                  <a:cxn ang="0">
                    <a:pos x="180" y="0"/>
                  </a:cxn>
                  <a:cxn ang="0">
                    <a:pos x="184" y="2"/>
                  </a:cxn>
                  <a:cxn ang="0">
                    <a:pos x="189" y="4"/>
                  </a:cxn>
                  <a:cxn ang="0">
                    <a:pos x="193" y="7"/>
                  </a:cxn>
                  <a:cxn ang="0">
                    <a:pos x="196" y="11"/>
                  </a:cxn>
                  <a:cxn ang="0">
                    <a:pos x="197" y="15"/>
                  </a:cxn>
                  <a:cxn ang="0">
                    <a:pos x="199" y="19"/>
                  </a:cxn>
                  <a:cxn ang="0">
                    <a:pos x="200" y="24"/>
                  </a:cxn>
                  <a:cxn ang="0">
                    <a:pos x="200" y="472"/>
                  </a:cxn>
                  <a:cxn ang="0">
                    <a:pos x="199" y="477"/>
                  </a:cxn>
                  <a:cxn ang="0">
                    <a:pos x="197" y="482"/>
                  </a:cxn>
                  <a:cxn ang="0">
                    <a:pos x="196" y="486"/>
                  </a:cxn>
                  <a:cxn ang="0">
                    <a:pos x="193" y="490"/>
                  </a:cxn>
                  <a:cxn ang="0">
                    <a:pos x="189" y="493"/>
                  </a:cxn>
                  <a:cxn ang="0">
                    <a:pos x="184" y="495"/>
                  </a:cxn>
                  <a:cxn ang="0">
                    <a:pos x="180" y="497"/>
                  </a:cxn>
                  <a:cxn ang="0">
                    <a:pos x="175" y="497"/>
                  </a:cxn>
                  <a:cxn ang="0">
                    <a:pos x="25" y="497"/>
                  </a:cxn>
                  <a:cxn ang="0">
                    <a:pos x="20" y="497"/>
                  </a:cxn>
                  <a:cxn ang="0">
                    <a:pos x="15" y="495"/>
                  </a:cxn>
                  <a:cxn ang="0">
                    <a:pos x="11" y="493"/>
                  </a:cxn>
                  <a:cxn ang="0">
                    <a:pos x="7" y="490"/>
                  </a:cxn>
                  <a:cxn ang="0">
                    <a:pos x="4" y="486"/>
                  </a:cxn>
                  <a:cxn ang="0">
                    <a:pos x="2" y="482"/>
                  </a:cxn>
                  <a:cxn ang="0">
                    <a:pos x="1" y="477"/>
                  </a:cxn>
                  <a:cxn ang="0">
                    <a:pos x="0" y="472"/>
                  </a:cxn>
                  <a:cxn ang="0">
                    <a:pos x="0" y="24"/>
                  </a:cxn>
                  <a:cxn ang="0">
                    <a:pos x="1" y="19"/>
                  </a:cxn>
                  <a:cxn ang="0">
                    <a:pos x="2" y="15"/>
                  </a:cxn>
                  <a:cxn ang="0">
                    <a:pos x="4" y="11"/>
                  </a:cxn>
                  <a:cxn ang="0">
                    <a:pos x="7" y="7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20" y="0"/>
                  </a:cxn>
                  <a:cxn ang="0">
                    <a:pos x="25" y="0"/>
                  </a:cxn>
                </a:cxnLst>
                <a:rect l="0" t="0" r="r" b="b"/>
                <a:pathLst>
                  <a:path w="200" h="497">
                    <a:moveTo>
                      <a:pt x="25" y="0"/>
                    </a:moveTo>
                    <a:lnTo>
                      <a:pt x="175" y="0"/>
                    </a:lnTo>
                    <a:lnTo>
                      <a:pt x="180" y="0"/>
                    </a:lnTo>
                    <a:lnTo>
                      <a:pt x="184" y="2"/>
                    </a:lnTo>
                    <a:lnTo>
                      <a:pt x="189" y="4"/>
                    </a:lnTo>
                    <a:lnTo>
                      <a:pt x="193" y="7"/>
                    </a:lnTo>
                    <a:lnTo>
                      <a:pt x="196" y="11"/>
                    </a:lnTo>
                    <a:lnTo>
                      <a:pt x="197" y="15"/>
                    </a:lnTo>
                    <a:lnTo>
                      <a:pt x="199" y="19"/>
                    </a:lnTo>
                    <a:lnTo>
                      <a:pt x="200" y="24"/>
                    </a:lnTo>
                    <a:lnTo>
                      <a:pt x="200" y="472"/>
                    </a:lnTo>
                    <a:lnTo>
                      <a:pt x="199" y="477"/>
                    </a:lnTo>
                    <a:lnTo>
                      <a:pt x="197" y="482"/>
                    </a:lnTo>
                    <a:lnTo>
                      <a:pt x="196" y="486"/>
                    </a:lnTo>
                    <a:lnTo>
                      <a:pt x="193" y="490"/>
                    </a:lnTo>
                    <a:lnTo>
                      <a:pt x="189" y="493"/>
                    </a:lnTo>
                    <a:lnTo>
                      <a:pt x="184" y="495"/>
                    </a:lnTo>
                    <a:lnTo>
                      <a:pt x="180" y="497"/>
                    </a:lnTo>
                    <a:lnTo>
                      <a:pt x="175" y="497"/>
                    </a:lnTo>
                    <a:lnTo>
                      <a:pt x="25" y="497"/>
                    </a:lnTo>
                    <a:lnTo>
                      <a:pt x="20" y="497"/>
                    </a:lnTo>
                    <a:lnTo>
                      <a:pt x="15" y="495"/>
                    </a:lnTo>
                    <a:lnTo>
                      <a:pt x="11" y="493"/>
                    </a:lnTo>
                    <a:lnTo>
                      <a:pt x="7" y="490"/>
                    </a:lnTo>
                    <a:lnTo>
                      <a:pt x="4" y="486"/>
                    </a:lnTo>
                    <a:lnTo>
                      <a:pt x="2" y="482"/>
                    </a:lnTo>
                    <a:lnTo>
                      <a:pt x="1" y="477"/>
                    </a:lnTo>
                    <a:lnTo>
                      <a:pt x="0" y="472"/>
                    </a:lnTo>
                    <a:lnTo>
                      <a:pt x="0" y="24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1"/>
                    </a:lnTo>
                    <a:lnTo>
                      <a:pt x="7" y="7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20" y="0"/>
                    </a:lnTo>
                    <a:lnTo>
                      <a:pt x="25" y="0"/>
                    </a:lnTo>
                    <a:close/>
                  </a:path>
                </a:pathLst>
              </a:custGeom>
              <a:noFill/>
              <a:ln w="5" cap="rnd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8694" tIns="49347" rIns="98694" bIns="49347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</p:grpSp>
        <p:sp>
          <p:nvSpPr>
            <p:cNvPr id="852" name="Freeform 50"/>
            <p:cNvSpPr>
              <a:spLocks/>
            </p:cNvSpPr>
            <p:nvPr/>
          </p:nvSpPr>
          <p:spPr bwMode="auto">
            <a:xfrm>
              <a:off x="9163079" y="4551370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1E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3" name="Freeform 51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4" name="Freeform 52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5" name="Freeform 53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6" name="Freeform 54"/>
            <p:cNvSpPr>
              <a:spLocks/>
            </p:cNvSpPr>
            <p:nvPr/>
          </p:nvSpPr>
          <p:spPr bwMode="auto">
            <a:xfrm>
              <a:off x="9150379" y="4537082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7" name="Freeform 55"/>
            <p:cNvSpPr>
              <a:spLocks/>
            </p:cNvSpPr>
            <p:nvPr/>
          </p:nvSpPr>
          <p:spPr bwMode="auto">
            <a:xfrm>
              <a:off x="9163079" y="4797432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FFBA3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8" name="Freeform 56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59" name="Freeform 57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0" name="Freeform 58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1" name="Freeform 59"/>
            <p:cNvSpPr>
              <a:spLocks/>
            </p:cNvSpPr>
            <p:nvPr/>
          </p:nvSpPr>
          <p:spPr bwMode="auto">
            <a:xfrm>
              <a:off x="9150379" y="4783145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2" name="Freeform 60"/>
            <p:cNvSpPr>
              <a:spLocks/>
            </p:cNvSpPr>
            <p:nvPr/>
          </p:nvSpPr>
          <p:spPr bwMode="auto">
            <a:xfrm>
              <a:off x="9163079" y="5053020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399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3" name="Freeform 61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4" name="Freeform 62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5" name="Freeform 63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6" name="Freeform 64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7" name="Freeform 68"/>
            <p:cNvSpPr>
              <a:spLocks/>
            </p:cNvSpPr>
            <p:nvPr/>
          </p:nvSpPr>
          <p:spPr bwMode="auto">
            <a:xfrm>
              <a:off x="9163079" y="4551370"/>
              <a:ext cx="184150" cy="185738"/>
            </a:xfrm>
            <a:custGeom>
              <a:avLst/>
              <a:gdLst/>
              <a:ahLst/>
              <a:cxnLst>
                <a:cxn ang="0">
                  <a:pos x="0" y="58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1"/>
                </a:cxn>
                <a:cxn ang="0">
                  <a:pos x="58" y="0"/>
                </a:cxn>
                <a:cxn ang="0">
                  <a:pos x="69" y="1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8"/>
                </a:cxn>
                <a:cxn ang="0">
                  <a:pos x="115" y="71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1"/>
                </a:cxn>
                <a:cxn ang="0">
                  <a:pos x="0" y="58"/>
                </a:cxn>
              </a:cxnLst>
              <a:rect l="0" t="0" r="r" b="b"/>
              <a:pathLst>
                <a:path w="116" h="117">
                  <a:moveTo>
                    <a:pt x="0" y="58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8"/>
                  </a:lnTo>
                  <a:lnTo>
                    <a:pt x="115" y="71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1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8" name="Freeform 69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3" y="22"/>
                </a:cxn>
                <a:cxn ang="0">
                  <a:pos x="50" y="19"/>
                </a:cxn>
                <a:cxn ang="0">
                  <a:pos x="58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8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3" y="22"/>
                  </a:lnTo>
                  <a:lnTo>
                    <a:pt x="50" y="19"/>
                  </a:lnTo>
                  <a:lnTo>
                    <a:pt x="58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8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69" name="Freeform 70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0" name="Freeform 71"/>
            <p:cNvSpPr>
              <a:spLocks/>
            </p:cNvSpPr>
            <p:nvPr/>
          </p:nvSpPr>
          <p:spPr bwMode="auto">
            <a:xfrm>
              <a:off x="9150379" y="4537082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1" name="Freeform 72"/>
            <p:cNvSpPr>
              <a:spLocks/>
            </p:cNvSpPr>
            <p:nvPr/>
          </p:nvSpPr>
          <p:spPr bwMode="auto">
            <a:xfrm>
              <a:off x="9150379" y="4537082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2"/>
                </a:cxn>
                <a:cxn ang="0">
                  <a:pos x="50" y="19"/>
                </a:cxn>
                <a:cxn ang="0">
                  <a:pos x="57" y="17"/>
                </a:cxn>
                <a:cxn ang="0">
                  <a:pos x="66" y="17"/>
                </a:cxn>
                <a:cxn ang="0">
                  <a:pos x="74" y="17"/>
                </a:cxn>
                <a:cxn ang="0">
                  <a:pos x="82" y="19"/>
                </a:cxn>
                <a:cxn ang="0">
                  <a:pos x="89" y="22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6" y="51"/>
                </a:cxn>
                <a:cxn ang="0">
                  <a:pos x="118" y="53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3"/>
                </a:cxn>
                <a:cxn ang="0">
                  <a:pos x="130" y="53"/>
                </a:cxn>
                <a:cxn ang="0">
                  <a:pos x="131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4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3"/>
                </a:cxn>
                <a:cxn ang="0">
                  <a:pos x="4" y="54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4"/>
                </a:cxn>
                <a:cxn ang="0">
                  <a:pos x="16" y="53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2"/>
                  </a:lnTo>
                  <a:lnTo>
                    <a:pt x="50" y="19"/>
                  </a:lnTo>
                  <a:lnTo>
                    <a:pt x="57" y="17"/>
                  </a:lnTo>
                  <a:lnTo>
                    <a:pt x="66" y="17"/>
                  </a:lnTo>
                  <a:lnTo>
                    <a:pt x="74" y="17"/>
                  </a:lnTo>
                  <a:lnTo>
                    <a:pt x="82" y="19"/>
                  </a:lnTo>
                  <a:lnTo>
                    <a:pt x="89" y="22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8" y="53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3"/>
                  </a:lnTo>
                  <a:lnTo>
                    <a:pt x="130" y="53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4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3"/>
                  </a:lnTo>
                  <a:lnTo>
                    <a:pt x="4" y="54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6" y="53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2" name="Freeform 73"/>
            <p:cNvSpPr>
              <a:spLocks/>
            </p:cNvSpPr>
            <p:nvPr/>
          </p:nvSpPr>
          <p:spPr bwMode="auto">
            <a:xfrm>
              <a:off x="9163079" y="4797432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0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0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1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3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3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1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0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1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3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3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1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3" name="Freeform 74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8" y="51"/>
                </a:cxn>
                <a:cxn ang="0">
                  <a:pos x="21" y="44"/>
                </a:cxn>
                <a:cxn ang="0">
                  <a:pos x="26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3" y="23"/>
                </a:cxn>
                <a:cxn ang="0">
                  <a:pos x="50" y="20"/>
                </a:cxn>
                <a:cxn ang="0">
                  <a:pos x="58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7" y="37"/>
                </a:cxn>
                <a:cxn ang="0">
                  <a:pos x="112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9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8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5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5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1"/>
                </a:cxn>
              </a:cxnLst>
              <a:rect l="0" t="0" r="r" b="b"/>
              <a:pathLst>
                <a:path w="131" h="53">
                  <a:moveTo>
                    <a:pt x="18" y="51"/>
                  </a:moveTo>
                  <a:lnTo>
                    <a:pt x="21" y="44"/>
                  </a:lnTo>
                  <a:lnTo>
                    <a:pt x="26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3" y="23"/>
                  </a:lnTo>
                  <a:lnTo>
                    <a:pt x="50" y="20"/>
                  </a:lnTo>
                  <a:lnTo>
                    <a:pt x="58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7" y="37"/>
                  </a:lnTo>
                  <a:lnTo>
                    <a:pt x="112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9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8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5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5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4" name="Freeform 75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2" y="47"/>
                </a:cxn>
                <a:cxn ang="0">
                  <a:pos x="0" y="51"/>
                </a:cxn>
                <a:cxn ang="0">
                  <a:pos x="1" y="51"/>
                </a:cxn>
                <a:cxn ang="0">
                  <a:pos x="3" y="52"/>
                </a:cxn>
                <a:cxn ang="0">
                  <a:pos x="4" y="52"/>
                </a:cxn>
                <a:cxn ang="0">
                  <a:pos x="8" y="53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2" y="47"/>
                  </a:lnTo>
                  <a:lnTo>
                    <a:pt x="0" y="51"/>
                  </a:lnTo>
                  <a:lnTo>
                    <a:pt x="1" y="51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8" y="53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5" name="Freeform 76"/>
            <p:cNvSpPr>
              <a:spLocks/>
            </p:cNvSpPr>
            <p:nvPr/>
          </p:nvSpPr>
          <p:spPr bwMode="auto">
            <a:xfrm>
              <a:off x="9150379" y="4783145"/>
              <a:ext cx="207963" cy="84138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4"/>
                </a:cxn>
                <a:cxn ang="0">
                  <a:pos x="25" y="37"/>
                </a:cxn>
                <a:cxn ang="0">
                  <a:pos x="30" y="32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2"/>
                </a:cxn>
                <a:cxn ang="0">
                  <a:pos x="106" y="37"/>
                </a:cxn>
                <a:cxn ang="0">
                  <a:pos x="111" y="44"/>
                </a:cxn>
                <a:cxn ang="0">
                  <a:pos x="114" y="51"/>
                </a:cxn>
                <a:cxn ang="0">
                  <a:pos x="118" y="51"/>
                </a:cxn>
                <a:cxn ang="0">
                  <a:pos x="121" y="51"/>
                </a:cxn>
                <a:cxn ang="0">
                  <a:pos x="124" y="51"/>
                </a:cxn>
                <a:cxn ang="0">
                  <a:pos x="126" y="51"/>
                </a:cxn>
                <a:cxn ang="0">
                  <a:pos x="128" y="51"/>
                </a:cxn>
                <a:cxn ang="0">
                  <a:pos x="130" y="51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0" y="47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6"/>
                </a:cxn>
                <a:cxn ang="0">
                  <a:pos x="120" y="28"/>
                </a:cxn>
                <a:cxn ang="0">
                  <a:pos x="115" y="22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8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3"/>
                </a:cxn>
                <a:cxn ang="0">
                  <a:pos x="1" y="47"/>
                </a:cxn>
                <a:cxn ang="0">
                  <a:pos x="0" y="51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2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3">
                  <a:moveTo>
                    <a:pt x="17" y="51"/>
                  </a:moveTo>
                  <a:lnTo>
                    <a:pt x="20" y="44"/>
                  </a:lnTo>
                  <a:lnTo>
                    <a:pt x="25" y="37"/>
                  </a:lnTo>
                  <a:lnTo>
                    <a:pt x="30" y="32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2"/>
                  </a:lnTo>
                  <a:lnTo>
                    <a:pt x="106" y="37"/>
                  </a:lnTo>
                  <a:lnTo>
                    <a:pt x="111" y="44"/>
                  </a:lnTo>
                  <a:lnTo>
                    <a:pt x="114" y="51"/>
                  </a:lnTo>
                  <a:lnTo>
                    <a:pt x="118" y="51"/>
                  </a:lnTo>
                  <a:lnTo>
                    <a:pt x="121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0" y="47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6"/>
                  </a:lnTo>
                  <a:lnTo>
                    <a:pt x="120" y="28"/>
                  </a:lnTo>
                  <a:lnTo>
                    <a:pt x="115" y="22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8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6" name="Freeform 77"/>
            <p:cNvSpPr>
              <a:spLocks/>
            </p:cNvSpPr>
            <p:nvPr/>
          </p:nvSpPr>
          <p:spPr bwMode="auto">
            <a:xfrm>
              <a:off x="9150379" y="4783145"/>
              <a:ext cx="207963" cy="85725"/>
            </a:xfrm>
            <a:custGeom>
              <a:avLst/>
              <a:gdLst/>
              <a:ahLst/>
              <a:cxnLst>
                <a:cxn ang="0">
                  <a:pos x="17" y="51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6"/>
                </a:cxn>
                <a:cxn ang="0">
                  <a:pos x="42" y="23"/>
                </a:cxn>
                <a:cxn ang="0">
                  <a:pos x="50" y="20"/>
                </a:cxn>
                <a:cxn ang="0">
                  <a:pos x="57" y="18"/>
                </a:cxn>
                <a:cxn ang="0">
                  <a:pos x="66" y="17"/>
                </a:cxn>
                <a:cxn ang="0">
                  <a:pos x="74" y="18"/>
                </a:cxn>
                <a:cxn ang="0">
                  <a:pos x="82" y="20"/>
                </a:cxn>
                <a:cxn ang="0">
                  <a:pos x="89" y="23"/>
                </a:cxn>
                <a:cxn ang="0">
                  <a:pos x="96" y="26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1"/>
                </a:cxn>
                <a:cxn ang="0">
                  <a:pos x="116" y="52"/>
                </a:cxn>
                <a:cxn ang="0">
                  <a:pos x="118" y="52"/>
                </a:cxn>
                <a:cxn ang="0">
                  <a:pos x="121" y="53"/>
                </a:cxn>
                <a:cxn ang="0">
                  <a:pos x="124" y="53"/>
                </a:cxn>
                <a:cxn ang="0">
                  <a:pos x="127" y="52"/>
                </a:cxn>
                <a:cxn ang="0">
                  <a:pos x="130" y="52"/>
                </a:cxn>
                <a:cxn ang="0">
                  <a:pos x="131" y="52"/>
                </a:cxn>
                <a:cxn ang="0">
                  <a:pos x="131" y="51"/>
                </a:cxn>
                <a:cxn ang="0">
                  <a:pos x="130" y="46"/>
                </a:cxn>
                <a:cxn ang="0">
                  <a:pos x="129" y="43"/>
                </a:cxn>
                <a:cxn ang="0">
                  <a:pos x="127" y="39"/>
                </a:cxn>
                <a:cxn ang="0">
                  <a:pos x="125" y="35"/>
                </a:cxn>
                <a:cxn ang="0">
                  <a:pos x="120" y="28"/>
                </a:cxn>
                <a:cxn ang="0">
                  <a:pos x="115" y="21"/>
                </a:cxn>
                <a:cxn ang="0">
                  <a:pos x="108" y="15"/>
                </a:cxn>
                <a:cxn ang="0">
                  <a:pos x="101" y="10"/>
                </a:cxn>
                <a:cxn ang="0">
                  <a:pos x="93" y="6"/>
                </a:cxn>
                <a:cxn ang="0">
                  <a:pos x="84" y="3"/>
                </a:cxn>
                <a:cxn ang="0">
                  <a:pos x="75" y="1"/>
                </a:cxn>
                <a:cxn ang="0">
                  <a:pos x="66" y="0"/>
                </a:cxn>
                <a:cxn ang="0">
                  <a:pos x="57" y="1"/>
                </a:cxn>
                <a:cxn ang="0">
                  <a:pos x="47" y="3"/>
                </a:cxn>
                <a:cxn ang="0">
                  <a:pos x="39" y="6"/>
                </a:cxn>
                <a:cxn ang="0">
                  <a:pos x="31" y="10"/>
                </a:cxn>
                <a:cxn ang="0">
                  <a:pos x="24" y="15"/>
                </a:cxn>
                <a:cxn ang="0">
                  <a:pos x="17" y="21"/>
                </a:cxn>
                <a:cxn ang="0">
                  <a:pos x="12" y="27"/>
                </a:cxn>
                <a:cxn ang="0">
                  <a:pos x="7" y="35"/>
                </a:cxn>
                <a:cxn ang="0">
                  <a:pos x="4" y="39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1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4"/>
                </a:cxn>
                <a:cxn ang="0">
                  <a:pos x="10" y="54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1"/>
                </a:cxn>
              </a:cxnLst>
              <a:rect l="0" t="0" r="r" b="b"/>
              <a:pathLst>
                <a:path w="131" h="54">
                  <a:moveTo>
                    <a:pt x="17" y="51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6"/>
                  </a:lnTo>
                  <a:lnTo>
                    <a:pt x="42" y="23"/>
                  </a:lnTo>
                  <a:lnTo>
                    <a:pt x="50" y="20"/>
                  </a:lnTo>
                  <a:lnTo>
                    <a:pt x="57" y="18"/>
                  </a:lnTo>
                  <a:lnTo>
                    <a:pt x="66" y="17"/>
                  </a:lnTo>
                  <a:lnTo>
                    <a:pt x="74" y="18"/>
                  </a:lnTo>
                  <a:lnTo>
                    <a:pt x="82" y="20"/>
                  </a:lnTo>
                  <a:lnTo>
                    <a:pt x="89" y="23"/>
                  </a:lnTo>
                  <a:lnTo>
                    <a:pt x="96" y="26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1"/>
                  </a:lnTo>
                  <a:lnTo>
                    <a:pt x="116" y="52"/>
                  </a:lnTo>
                  <a:lnTo>
                    <a:pt x="118" y="52"/>
                  </a:lnTo>
                  <a:lnTo>
                    <a:pt x="121" y="53"/>
                  </a:lnTo>
                  <a:lnTo>
                    <a:pt x="124" y="53"/>
                  </a:lnTo>
                  <a:lnTo>
                    <a:pt x="127" y="52"/>
                  </a:lnTo>
                  <a:lnTo>
                    <a:pt x="130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46"/>
                  </a:lnTo>
                  <a:lnTo>
                    <a:pt x="129" y="43"/>
                  </a:lnTo>
                  <a:lnTo>
                    <a:pt x="127" y="39"/>
                  </a:lnTo>
                  <a:lnTo>
                    <a:pt x="125" y="35"/>
                  </a:lnTo>
                  <a:lnTo>
                    <a:pt x="120" y="28"/>
                  </a:lnTo>
                  <a:lnTo>
                    <a:pt x="115" y="21"/>
                  </a:lnTo>
                  <a:lnTo>
                    <a:pt x="108" y="15"/>
                  </a:lnTo>
                  <a:lnTo>
                    <a:pt x="101" y="10"/>
                  </a:lnTo>
                  <a:lnTo>
                    <a:pt x="93" y="6"/>
                  </a:lnTo>
                  <a:lnTo>
                    <a:pt x="84" y="3"/>
                  </a:lnTo>
                  <a:lnTo>
                    <a:pt x="75" y="1"/>
                  </a:lnTo>
                  <a:lnTo>
                    <a:pt x="66" y="0"/>
                  </a:lnTo>
                  <a:lnTo>
                    <a:pt x="57" y="1"/>
                  </a:lnTo>
                  <a:lnTo>
                    <a:pt x="47" y="3"/>
                  </a:lnTo>
                  <a:lnTo>
                    <a:pt x="39" y="6"/>
                  </a:lnTo>
                  <a:lnTo>
                    <a:pt x="31" y="10"/>
                  </a:lnTo>
                  <a:lnTo>
                    <a:pt x="24" y="15"/>
                  </a:lnTo>
                  <a:lnTo>
                    <a:pt x="17" y="21"/>
                  </a:lnTo>
                  <a:lnTo>
                    <a:pt x="12" y="27"/>
                  </a:lnTo>
                  <a:lnTo>
                    <a:pt x="7" y="35"/>
                  </a:lnTo>
                  <a:lnTo>
                    <a:pt x="4" y="39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1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4"/>
                  </a:lnTo>
                  <a:lnTo>
                    <a:pt x="10" y="54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1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7" name="Freeform 78"/>
            <p:cNvSpPr>
              <a:spLocks/>
            </p:cNvSpPr>
            <p:nvPr/>
          </p:nvSpPr>
          <p:spPr bwMode="auto">
            <a:xfrm>
              <a:off x="9163079" y="5053020"/>
              <a:ext cx="184150" cy="18573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1" y="47"/>
                </a:cxn>
                <a:cxn ang="0">
                  <a:pos x="4" y="36"/>
                </a:cxn>
                <a:cxn ang="0">
                  <a:pos x="10" y="26"/>
                </a:cxn>
                <a:cxn ang="0">
                  <a:pos x="17" y="17"/>
                </a:cxn>
                <a:cxn ang="0">
                  <a:pos x="25" y="11"/>
                </a:cxn>
                <a:cxn ang="0">
                  <a:pos x="35" y="5"/>
                </a:cxn>
                <a:cxn ang="0">
                  <a:pos x="46" y="2"/>
                </a:cxn>
                <a:cxn ang="0">
                  <a:pos x="58" y="0"/>
                </a:cxn>
                <a:cxn ang="0">
                  <a:pos x="69" y="2"/>
                </a:cxn>
                <a:cxn ang="0">
                  <a:pos x="81" y="5"/>
                </a:cxn>
                <a:cxn ang="0">
                  <a:pos x="91" y="11"/>
                </a:cxn>
                <a:cxn ang="0">
                  <a:pos x="99" y="17"/>
                </a:cxn>
                <a:cxn ang="0">
                  <a:pos x="106" y="26"/>
                </a:cxn>
                <a:cxn ang="0">
                  <a:pos x="111" y="36"/>
                </a:cxn>
                <a:cxn ang="0">
                  <a:pos x="115" y="47"/>
                </a:cxn>
                <a:cxn ang="0">
                  <a:pos x="116" y="59"/>
                </a:cxn>
                <a:cxn ang="0">
                  <a:pos x="115" y="70"/>
                </a:cxn>
                <a:cxn ang="0">
                  <a:pos x="111" y="82"/>
                </a:cxn>
                <a:cxn ang="0">
                  <a:pos x="106" y="92"/>
                </a:cxn>
                <a:cxn ang="0">
                  <a:pos x="99" y="100"/>
                </a:cxn>
                <a:cxn ang="0">
                  <a:pos x="91" y="107"/>
                </a:cxn>
                <a:cxn ang="0">
                  <a:pos x="81" y="112"/>
                </a:cxn>
                <a:cxn ang="0">
                  <a:pos x="69" y="116"/>
                </a:cxn>
                <a:cxn ang="0">
                  <a:pos x="58" y="117"/>
                </a:cxn>
                <a:cxn ang="0">
                  <a:pos x="46" y="116"/>
                </a:cxn>
                <a:cxn ang="0">
                  <a:pos x="35" y="112"/>
                </a:cxn>
                <a:cxn ang="0">
                  <a:pos x="25" y="107"/>
                </a:cxn>
                <a:cxn ang="0">
                  <a:pos x="17" y="100"/>
                </a:cxn>
                <a:cxn ang="0">
                  <a:pos x="10" y="92"/>
                </a:cxn>
                <a:cxn ang="0">
                  <a:pos x="4" y="82"/>
                </a:cxn>
                <a:cxn ang="0">
                  <a:pos x="1" y="70"/>
                </a:cxn>
                <a:cxn ang="0">
                  <a:pos x="0" y="59"/>
                </a:cxn>
              </a:cxnLst>
              <a:rect l="0" t="0" r="r" b="b"/>
              <a:pathLst>
                <a:path w="116" h="117">
                  <a:moveTo>
                    <a:pt x="0" y="59"/>
                  </a:moveTo>
                  <a:lnTo>
                    <a:pt x="1" y="47"/>
                  </a:lnTo>
                  <a:lnTo>
                    <a:pt x="4" y="36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25" y="11"/>
                  </a:lnTo>
                  <a:lnTo>
                    <a:pt x="35" y="5"/>
                  </a:lnTo>
                  <a:lnTo>
                    <a:pt x="46" y="2"/>
                  </a:lnTo>
                  <a:lnTo>
                    <a:pt x="58" y="0"/>
                  </a:lnTo>
                  <a:lnTo>
                    <a:pt x="69" y="2"/>
                  </a:lnTo>
                  <a:lnTo>
                    <a:pt x="81" y="5"/>
                  </a:lnTo>
                  <a:lnTo>
                    <a:pt x="91" y="11"/>
                  </a:lnTo>
                  <a:lnTo>
                    <a:pt x="99" y="17"/>
                  </a:lnTo>
                  <a:lnTo>
                    <a:pt x="106" y="26"/>
                  </a:lnTo>
                  <a:lnTo>
                    <a:pt x="111" y="36"/>
                  </a:lnTo>
                  <a:lnTo>
                    <a:pt x="115" y="47"/>
                  </a:lnTo>
                  <a:lnTo>
                    <a:pt x="116" y="59"/>
                  </a:lnTo>
                  <a:lnTo>
                    <a:pt x="115" y="70"/>
                  </a:lnTo>
                  <a:lnTo>
                    <a:pt x="111" y="82"/>
                  </a:lnTo>
                  <a:lnTo>
                    <a:pt x="106" y="92"/>
                  </a:lnTo>
                  <a:lnTo>
                    <a:pt x="99" y="100"/>
                  </a:lnTo>
                  <a:lnTo>
                    <a:pt x="91" y="107"/>
                  </a:lnTo>
                  <a:lnTo>
                    <a:pt x="81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0" y="92"/>
                  </a:lnTo>
                  <a:lnTo>
                    <a:pt x="4" y="82"/>
                  </a:lnTo>
                  <a:lnTo>
                    <a:pt x="1" y="70"/>
                  </a:lnTo>
                  <a:lnTo>
                    <a:pt x="0" y="59"/>
                  </a:lnTo>
                  <a:close/>
                </a:path>
              </a:pathLst>
            </a:custGeom>
            <a:solidFill>
              <a:srgbClr val="33993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8" name="Freeform 79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8" y="50"/>
                </a:cxn>
                <a:cxn ang="0">
                  <a:pos x="21" y="43"/>
                </a:cxn>
                <a:cxn ang="0">
                  <a:pos x="26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3" y="21"/>
                </a:cxn>
                <a:cxn ang="0">
                  <a:pos x="50" y="18"/>
                </a:cxn>
                <a:cxn ang="0">
                  <a:pos x="58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7" y="37"/>
                </a:cxn>
                <a:cxn ang="0">
                  <a:pos x="112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9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8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5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5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4" y="53"/>
                </a:cxn>
                <a:cxn ang="0">
                  <a:pos x="16" y="52"/>
                </a:cxn>
                <a:cxn ang="0">
                  <a:pos x="18" y="50"/>
                </a:cxn>
              </a:cxnLst>
              <a:rect l="0" t="0" r="r" b="b"/>
              <a:pathLst>
                <a:path w="131" h="53">
                  <a:moveTo>
                    <a:pt x="18" y="50"/>
                  </a:moveTo>
                  <a:lnTo>
                    <a:pt x="21" y="43"/>
                  </a:lnTo>
                  <a:lnTo>
                    <a:pt x="26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3" y="21"/>
                  </a:lnTo>
                  <a:lnTo>
                    <a:pt x="50" y="18"/>
                  </a:lnTo>
                  <a:lnTo>
                    <a:pt x="58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7" y="37"/>
                  </a:lnTo>
                  <a:lnTo>
                    <a:pt x="112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8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5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4" y="53"/>
                  </a:lnTo>
                  <a:lnTo>
                    <a:pt x="16" y="52"/>
                  </a:lnTo>
                  <a:lnTo>
                    <a:pt x="18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79" name="Freeform 80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2" y="46"/>
                </a:cxn>
                <a:cxn ang="0">
                  <a:pos x="0" y="50"/>
                </a:cxn>
                <a:cxn ang="0">
                  <a:pos x="1" y="50"/>
                </a:cxn>
                <a:cxn ang="0">
                  <a:pos x="3" y="51"/>
                </a:cxn>
                <a:cxn ang="0">
                  <a:pos x="4" y="52"/>
                </a:cxn>
                <a:cxn ang="0">
                  <a:pos x="8" y="52"/>
                </a:cxn>
                <a:cxn ang="0">
                  <a:pos x="11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2" y="46"/>
                  </a:lnTo>
                  <a:lnTo>
                    <a:pt x="0" y="50"/>
                  </a:lnTo>
                  <a:lnTo>
                    <a:pt x="1" y="50"/>
                  </a:lnTo>
                  <a:lnTo>
                    <a:pt x="3" y="51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1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80" name="Freeform 81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7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7"/>
                </a:cxn>
                <a:cxn ang="0">
                  <a:pos x="66" y="16"/>
                </a:cxn>
                <a:cxn ang="0">
                  <a:pos x="74" y="17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7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8" y="50"/>
                </a:cxn>
                <a:cxn ang="0">
                  <a:pos x="121" y="50"/>
                </a:cxn>
                <a:cxn ang="0">
                  <a:pos x="124" y="50"/>
                </a:cxn>
                <a:cxn ang="0">
                  <a:pos x="126" y="50"/>
                </a:cxn>
                <a:cxn ang="0">
                  <a:pos x="128" y="50"/>
                </a:cxn>
                <a:cxn ang="0">
                  <a:pos x="130" y="50"/>
                </a:cxn>
                <a:cxn ang="0">
                  <a:pos x="130" y="50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1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51"/>
                </a:cxn>
                <a:cxn ang="0">
                  <a:pos x="4" y="52"/>
                </a:cxn>
                <a:cxn ang="0">
                  <a:pos x="7" y="52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7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7"/>
                  </a:lnTo>
                  <a:lnTo>
                    <a:pt x="66" y="16"/>
                  </a:lnTo>
                  <a:lnTo>
                    <a:pt x="74" y="17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7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8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1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1"/>
                  </a:lnTo>
                  <a:lnTo>
                    <a:pt x="4" y="52"/>
                  </a:lnTo>
                  <a:lnTo>
                    <a:pt x="7" y="52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49B7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881" name="Freeform 82"/>
            <p:cNvSpPr>
              <a:spLocks/>
            </p:cNvSpPr>
            <p:nvPr/>
          </p:nvSpPr>
          <p:spPr bwMode="auto">
            <a:xfrm>
              <a:off x="9150379" y="5038732"/>
              <a:ext cx="207963" cy="84138"/>
            </a:xfrm>
            <a:custGeom>
              <a:avLst/>
              <a:gdLst/>
              <a:ahLst/>
              <a:cxnLst>
                <a:cxn ang="0">
                  <a:pos x="17" y="50"/>
                </a:cxn>
                <a:cxn ang="0">
                  <a:pos x="20" y="43"/>
                </a:cxn>
                <a:cxn ang="0">
                  <a:pos x="25" y="36"/>
                </a:cxn>
                <a:cxn ang="0">
                  <a:pos x="30" y="31"/>
                </a:cxn>
                <a:cxn ang="0">
                  <a:pos x="36" y="25"/>
                </a:cxn>
                <a:cxn ang="0">
                  <a:pos x="42" y="21"/>
                </a:cxn>
                <a:cxn ang="0">
                  <a:pos x="50" y="18"/>
                </a:cxn>
                <a:cxn ang="0">
                  <a:pos x="57" y="16"/>
                </a:cxn>
                <a:cxn ang="0">
                  <a:pos x="66" y="16"/>
                </a:cxn>
                <a:cxn ang="0">
                  <a:pos x="74" y="16"/>
                </a:cxn>
                <a:cxn ang="0">
                  <a:pos x="82" y="18"/>
                </a:cxn>
                <a:cxn ang="0">
                  <a:pos x="89" y="21"/>
                </a:cxn>
                <a:cxn ang="0">
                  <a:pos x="96" y="25"/>
                </a:cxn>
                <a:cxn ang="0">
                  <a:pos x="102" y="31"/>
                </a:cxn>
                <a:cxn ang="0">
                  <a:pos x="106" y="36"/>
                </a:cxn>
                <a:cxn ang="0">
                  <a:pos x="111" y="43"/>
                </a:cxn>
                <a:cxn ang="0">
                  <a:pos x="114" y="50"/>
                </a:cxn>
                <a:cxn ang="0">
                  <a:pos x="116" y="51"/>
                </a:cxn>
                <a:cxn ang="0">
                  <a:pos x="118" y="52"/>
                </a:cxn>
                <a:cxn ang="0">
                  <a:pos x="121" y="52"/>
                </a:cxn>
                <a:cxn ang="0">
                  <a:pos x="124" y="52"/>
                </a:cxn>
                <a:cxn ang="0">
                  <a:pos x="127" y="52"/>
                </a:cxn>
                <a:cxn ang="0">
                  <a:pos x="130" y="51"/>
                </a:cxn>
                <a:cxn ang="0">
                  <a:pos x="131" y="51"/>
                </a:cxn>
                <a:cxn ang="0">
                  <a:pos x="131" y="50"/>
                </a:cxn>
                <a:cxn ang="0">
                  <a:pos x="130" y="46"/>
                </a:cxn>
                <a:cxn ang="0">
                  <a:pos x="129" y="42"/>
                </a:cxn>
                <a:cxn ang="0">
                  <a:pos x="127" y="38"/>
                </a:cxn>
                <a:cxn ang="0">
                  <a:pos x="125" y="35"/>
                </a:cxn>
                <a:cxn ang="0">
                  <a:pos x="120" y="27"/>
                </a:cxn>
                <a:cxn ang="0">
                  <a:pos x="115" y="20"/>
                </a:cxn>
                <a:cxn ang="0">
                  <a:pos x="108" y="14"/>
                </a:cxn>
                <a:cxn ang="0">
                  <a:pos x="101" y="9"/>
                </a:cxn>
                <a:cxn ang="0">
                  <a:pos x="93" y="5"/>
                </a:cxn>
                <a:cxn ang="0">
                  <a:pos x="84" y="2"/>
                </a:cxn>
                <a:cxn ang="0">
                  <a:pos x="75" y="0"/>
                </a:cxn>
                <a:cxn ang="0">
                  <a:pos x="66" y="0"/>
                </a:cxn>
                <a:cxn ang="0">
                  <a:pos x="57" y="0"/>
                </a:cxn>
                <a:cxn ang="0">
                  <a:pos x="47" y="2"/>
                </a:cxn>
                <a:cxn ang="0">
                  <a:pos x="39" y="5"/>
                </a:cxn>
                <a:cxn ang="0">
                  <a:pos x="31" y="9"/>
                </a:cxn>
                <a:cxn ang="0">
                  <a:pos x="24" y="14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7" y="34"/>
                </a:cxn>
                <a:cxn ang="0">
                  <a:pos x="4" y="38"/>
                </a:cxn>
                <a:cxn ang="0">
                  <a:pos x="3" y="42"/>
                </a:cxn>
                <a:cxn ang="0">
                  <a:pos x="1" y="46"/>
                </a:cxn>
                <a:cxn ang="0">
                  <a:pos x="0" y="50"/>
                </a:cxn>
                <a:cxn ang="0">
                  <a:pos x="0" y="51"/>
                </a:cxn>
                <a:cxn ang="0">
                  <a:pos x="2" y="52"/>
                </a:cxn>
                <a:cxn ang="0">
                  <a:pos x="4" y="53"/>
                </a:cxn>
                <a:cxn ang="0">
                  <a:pos x="7" y="53"/>
                </a:cxn>
                <a:cxn ang="0">
                  <a:pos x="10" y="53"/>
                </a:cxn>
                <a:cxn ang="0">
                  <a:pos x="13" y="53"/>
                </a:cxn>
                <a:cxn ang="0">
                  <a:pos x="16" y="52"/>
                </a:cxn>
                <a:cxn ang="0">
                  <a:pos x="17" y="50"/>
                </a:cxn>
              </a:cxnLst>
              <a:rect l="0" t="0" r="r" b="b"/>
              <a:pathLst>
                <a:path w="131" h="53">
                  <a:moveTo>
                    <a:pt x="17" y="50"/>
                  </a:moveTo>
                  <a:lnTo>
                    <a:pt x="20" y="43"/>
                  </a:lnTo>
                  <a:lnTo>
                    <a:pt x="25" y="36"/>
                  </a:lnTo>
                  <a:lnTo>
                    <a:pt x="30" y="31"/>
                  </a:lnTo>
                  <a:lnTo>
                    <a:pt x="36" y="25"/>
                  </a:lnTo>
                  <a:lnTo>
                    <a:pt x="42" y="21"/>
                  </a:lnTo>
                  <a:lnTo>
                    <a:pt x="50" y="18"/>
                  </a:lnTo>
                  <a:lnTo>
                    <a:pt x="57" y="16"/>
                  </a:lnTo>
                  <a:lnTo>
                    <a:pt x="66" y="16"/>
                  </a:lnTo>
                  <a:lnTo>
                    <a:pt x="74" y="16"/>
                  </a:lnTo>
                  <a:lnTo>
                    <a:pt x="82" y="18"/>
                  </a:lnTo>
                  <a:lnTo>
                    <a:pt x="89" y="21"/>
                  </a:lnTo>
                  <a:lnTo>
                    <a:pt x="96" y="25"/>
                  </a:lnTo>
                  <a:lnTo>
                    <a:pt x="102" y="31"/>
                  </a:lnTo>
                  <a:lnTo>
                    <a:pt x="106" y="36"/>
                  </a:lnTo>
                  <a:lnTo>
                    <a:pt x="111" y="43"/>
                  </a:lnTo>
                  <a:lnTo>
                    <a:pt x="114" y="50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7" y="52"/>
                  </a:lnTo>
                  <a:lnTo>
                    <a:pt x="130" y="51"/>
                  </a:lnTo>
                  <a:lnTo>
                    <a:pt x="131" y="51"/>
                  </a:lnTo>
                  <a:lnTo>
                    <a:pt x="131" y="50"/>
                  </a:lnTo>
                  <a:lnTo>
                    <a:pt x="130" y="46"/>
                  </a:lnTo>
                  <a:lnTo>
                    <a:pt x="129" y="42"/>
                  </a:lnTo>
                  <a:lnTo>
                    <a:pt x="127" y="38"/>
                  </a:lnTo>
                  <a:lnTo>
                    <a:pt x="125" y="35"/>
                  </a:lnTo>
                  <a:lnTo>
                    <a:pt x="120" y="27"/>
                  </a:lnTo>
                  <a:lnTo>
                    <a:pt x="115" y="20"/>
                  </a:lnTo>
                  <a:lnTo>
                    <a:pt x="108" y="14"/>
                  </a:lnTo>
                  <a:lnTo>
                    <a:pt x="101" y="9"/>
                  </a:lnTo>
                  <a:lnTo>
                    <a:pt x="93" y="5"/>
                  </a:lnTo>
                  <a:lnTo>
                    <a:pt x="84" y="2"/>
                  </a:lnTo>
                  <a:lnTo>
                    <a:pt x="75" y="0"/>
                  </a:lnTo>
                  <a:lnTo>
                    <a:pt x="66" y="0"/>
                  </a:lnTo>
                  <a:lnTo>
                    <a:pt x="57" y="0"/>
                  </a:lnTo>
                  <a:lnTo>
                    <a:pt x="47" y="2"/>
                  </a:lnTo>
                  <a:lnTo>
                    <a:pt x="39" y="5"/>
                  </a:lnTo>
                  <a:lnTo>
                    <a:pt x="31" y="9"/>
                  </a:lnTo>
                  <a:lnTo>
                    <a:pt x="24" y="14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7" y="34"/>
                  </a:lnTo>
                  <a:lnTo>
                    <a:pt x="4" y="38"/>
                  </a:lnTo>
                  <a:lnTo>
                    <a:pt x="3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2" y="52"/>
                  </a:lnTo>
                  <a:lnTo>
                    <a:pt x="4" y="53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3" y="53"/>
                  </a:lnTo>
                  <a:lnTo>
                    <a:pt x="16" y="52"/>
                  </a:lnTo>
                  <a:lnTo>
                    <a:pt x="17" y="50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grpSp>
        <p:nvGrpSpPr>
          <p:cNvPr id="1139" name="1138 Grupo"/>
          <p:cNvGrpSpPr/>
          <p:nvPr/>
        </p:nvGrpSpPr>
        <p:grpSpPr>
          <a:xfrm>
            <a:off x="316986" y="435809"/>
            <a:ext cx="5883843" cy="1388096"/>
            <a:chOff x="293689" y="330747"/>
            <a:chExt cx="5451400" cy="1286076"/>
          </a:xfrm>
        </p:grpSpPr>
        <p:grpSp>
          <p:nvGrpSpPr>
            <p:cNvPr id="1138" name="1137 Grupo"/>
            <p:cNvGrpSpPr/>
            <p:nvPr/>
          </p:nvGrpSpPr>
          <p:grpSpPr>
            <a:xfrm>
              <a:off x="1396483" y="330747"/>
              <a:ext cx="3443776" cy="1017862"/>
              <a:chOff x="1396483" y="330747"/>
              <a:chExt cx="3443776" cy="1017862"/>
            </a:xfrm>
          </p:grpSpPr>
          <p:sp>
            <p:nvSpPr>
              <p:cNvPr id="897" name="Freeform 6"/>
              <p:cNvSpPr>
                <a:spLocks/>
              </p:cNvSpPr>
              <p:nvPr/>
            </p:nvSpPr>
            <p:spPr bwMode="auto">
              <a:xfrm>
                <a:off x="1701014" y="977872"/>
                <a:ext cx="697840" cy="325943"/>
              </a:xfrm>
              <a:custGeom>
                <a:avLst/>
                <a:gdLst/>
                <a:ahLst/>
                <a:cxnLst>
                  <a:cxn ang="0">
                    <a:pos x="471" y="0"/>
                  </a:cxn>
                  <a:cxn ang="0">
                    <a:pos x="741" y="135"/>
                  </a:cxn>
                  <a:cxn ang="0">
                    <a:pos x="741" y="273"/>
                  </a:cxn>
                  <a:cxn ang="0">
                    <a:pos x="606" y="345"/>
                  </a:cxn>
                  <a:cxn ang="0">
                    <a:pos x="0" y="351"/>
                  </a:cxn>
                  <a:cxn ang="0">
                    <a:pos x="474" y="138"/>
                  </a:cxn>
                  <a:cxn ang="0">
                    <a:pos x="471" y="0"/>
                  </a:cxn>
                </a:cxnLst>
                <a:rect l="0" t="0" r="r" b="b"/>
                <a:pathLst>
                  <a:path w="741" h="351">
                    <a:moveTo>
                      <a:pt x="471" y="0"/>
                    </a:moveTo>
                    <a:lnTo>
                      <a:pt x="741" y="135"/>
                    </a:lnTo>
                    <a:lnTo>
                      <a:pt x="741" y="273"/>
                    </a:lnTo>
                    <a:lnTo>
                      <a:pt x="606" y="345"/>
                    </a:lnTo>
                    <a:lnTo>
                      <a:pt x="0" y="351"/>
                    </a:lnTo>
                    <a:lnTo>
                      <a:pt x="474" y="138"/>
                    </a:lnTo>
                    <a:lnTo>
                      <a:pt x="47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grpSp>
            <p:nvGrpSpPr>
              <p:cNvPr id="1134" name="1133 Grupo"/>
              <p:cNvGrpSpPr/>
              <p:nvPr/>
            </p:nvGrpSpPr>
            <p:grpSpPr>
              <a:xfrm>
                <a:off x="1706175" y="330747"/>
                <a:ext cx="438731" cy="971162"/>
                <a:chOff x="1706175" y="330747"/>
                <a:chExt cx="438731" cy="971162"/>
              </a:xfrm>
            </p:grpSpPr>
            <p:grpSp>
              <p:nvGrpSpPr>
                <p:cNvPr id="898" name="Group 7"/>
                <p:cNvGrpSpPr>
                  <a:grpSpLocks/>
                </p:cNvGrpSpPr>
                <p:nvPr/>
              </p:nvGrpSpPr>
              <p:grpSpPr bwMode="auto">
                <a:xfrm>
                  <a:off x="1706175" y="330747"/>
                  <a:ext cx="436666" cy="968297"/>
                  <a:chOff x="1851" y="2409"/>
                  <a:chExt cx="464" cy="1046"/>
                </a:xfrm>
              </p:grpSpPr>
              <p:sp>
                <p:nvSpPr>
                  <p:cNvPr id="1109" name="Line 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0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0" name="Line 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46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1" name="Line 1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4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2" name="Line 1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7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3" name="Line 1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1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4" name="Line 1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4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5" name="Line 1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8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6" name="Line 1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1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7" name="Line 1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5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8" name="Line 1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8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19" name="Line 1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2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0" name="Line 1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5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1" name="Line 2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9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2" name="Line 2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2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3" name="Line 2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6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4" name="Line 2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9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5" name="Line 2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3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6" name="Line 2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6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7" name="Line 2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0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8" name="Line 2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3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29" name="Line 2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7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30" name="Line 2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4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31" name="Line 3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0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32" name="Line 3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7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33" name="Line 3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1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</p:grpSp>
            <p:sp>
              <p:nvSpPr>
                <p:cNvPr id="899" name="Line 33"/>
                <p:cNvSpPr>
                  <a:spLocks noChangeShapeType="1"/>
                </p:cNvSpPr>
                <p:nvPr/>
              </p:nvSpPr>
              <p:spPr bwMode="auto">
                <a:xfrm>
                  <a:off x="1706175" y="526126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0" name="Line 34"/>
                <p:cNvSpPr>
                  <a:spLocks noChangeShapeType="1"/>
                </p:cNvSpPr>
                <p:nvPr/>
              </p:nvSpPr>
              <p:spPr bwMode="auto">
                <a:xfrm>
                  <a:off x="1755726" y="503253"/>
                  <a:ext cx="0" cy="776736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1" name="Line 35"/>
                <p:cNvSpPr>
                  <a:spLocks noChangeShapeType="1"/>
                </p:cNvSpPr>
                <p:nvPr/>
              </p:nvSpPr>
              <p:spPr bwMode="auto">
                <a:xfrm>
                  <a:off x="1778437" y="492770"/>
                  <a:ext cx="0" cy="776736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2" name="Line 36"/>
                <p:cNvSpPr>
                  <a:spLocks noChangeShapeType="1"/>
                </p:cNvSpPr>
                <p:nvPr/>
              </p:nvSpPr>
              <p:spPr bwMode="auto">
                <a:xfrm>
                  <a:off x="1804244" y="482286"/>
                  <a:ext cx="0" cy="774830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3" name="Line 37"/>
                <p:cNvSpPr>
                  <a:spLocks noChangeShapeType="1"/>
                </p:cNvSpPr>
                <p:nvPr/>
              </p:nvSpPr>
              <p:spPr bwMode="auto">
                <a:xfrm>
                  <a:off x="1826955" y="473709"/>
                  <a:ext cx="0" cy="776736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4" name="Line 38"/>
                <p:cNvSpPr>
                  <a:spLocks noChangeShapeType="1"/>
                </p:cNvSpPr>
                <p:nvPr/>
              </p:nvSpPr>
              <p:spPr bwMode="auto">
                <a:xfrm>
                  <a:off x="1876506" y="451788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5" name="Line 39"/>
                <p:cNvSpPr>
                  <a:spLocks noChangeShapeType="1"/>
                </p:cNvSpPr>
                <p:nvPr/>
              </p:nvSpPr>
              <p:spPr bwMode="auto">
                <a:xfrm>
                  <a:off x="1852763" y="460366"/>
                  <a:ext cx="0" cy="774830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6" name="Line 40"/>
                <p:cNvSpPr>
                  <a:spLocks noChangeShapeType="1"/>
                </p:cNvSpPr>
                <p:nvPr/>
              </p:nvSpPr>
              <p:spPr bwMode="auto">
                <a:xfrm>
                  <a:off x="1925024" y="427962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7" name="Line 41"/>
                <p:cNvSpPr>
                  <a:spLocks noChangeShapeType="1"/>
                </p:cNvSpPr>
                <p:nvPr/>
              </p:nvSpPr>
              <p:spPr bwMode="auto">
                <a:xfrm>
                  <a:off x="1901281" y="439399"/>
                  <a:ext cx="0" cy="774830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8" name="Line 42"/>
                <p:cNvSpPr>
                  <a:spLocks noChangeShapeType="1"/>
                </p:cNvSpPr>
                <p:nvPr/>
              </p:nvSpPr>
              <p:spPr bwMode="auto">
                <a:xfrm>
                  <a:off x="1949800" y="417479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09" name="Line 43"/>
                <p:cNvSpPr>
                  <a:spLocks noChangeShapeType="1"/>
                </p:cNvSpPr>
                <p:nvPr/>
              </p:nvSpPr>
              <p:spPr bwMode="auto">
                <a:xfrm>
                  <a:off x="1998318" y="394605"/>
                  <a:ext cx="0" cy="776736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0" name="Line 44"/>
                <p:cNvSpPr>
                  <a:spLocks noChangeShapeType="1"/>
                </p:cNvSpPr>
                <p:nvPr/>
              </p:nvSpPr>
              <p:spPr bwMode="auto">
                <a:xfrm>
                  <a:off x="2096387" y="353624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1" name="Line 45"/>
                <p:cNvSpPr>
                  <a:spLocks noChangeShapeType="1"/>
                </p:cNvSpPr>
                <p:nvPr/>
              </p:nvSpPr>
              <p:spPr bwMode="auto">
                <a:xfrm>
                  <a:off x="2022061" y="389840"/>
                  <a:ext cx="0" cy="77387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2" name="Line 46"/>
                <p:cNvSpPr>
                  <a:spLocks noChangeShapeType="1"/>
                </p:cNvSpPr>
                <p:nvPr/>
              </p:nvSpPr>
              <p:spPr bwMode="auto">
                <a:xfrm>
                  <a:off x="2144906" y="332657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3" name="Line 47"/>
                <p:cNvSpPr>
                  <a:spLocks noChangeShapeType="1"/>
                </p:cNvSpPr>
                <p:nvPr/>
              </p:nvSpPr>
              <p:spPr bwMode="auto">
                <a:xfrm>
                  <a:off x="1973543" y="405089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4" name="Line 48"/>
                <p:cNvSpPr>
                  <a:spLocks noChangeShapeType="1"/>
                </p:cNvSpPr>
                <p:nvPr/>
              </p:nvSpPr>
              <p:spPr bwMode="auto">
                <a:xfrm>
                  <a:off x="2047869" y="377450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5" name="Line 49"/>
                <p:cNvSpPr>
                  <a:spLocks noChangeShapeType="1"/>
                </p:cNvSpPr>
                <p:nvPr/>
              </p:nvSpPr>
              <p:spPr bwMode="auto">
                <a:xfrm>
                  <a:off x="1729918" y="515643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6" name="Line 50"/>
                <p:cNvSpPr>
                  <a:spLocks noChangeShapeType="1"/>
                </p:cNvSpPr>
                <p:nvPr/>
              </p:nvSpPr>
              <p:spPr bwMode="auto">
                <a:xfrm>
                  <a:off x="2119098" y="343141"/>
                  <a:ext cx="0" cy="775783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17" name="Line 51"/>
                <p:cNvSpPr>
                  <a:spLocks noChangeShapeType="1"/>
                </p:cNvSpPr>
                <p:nvPr/>
              </p:nvSpPr>
              <p:spPr bwMode="auto">
                <a:xfrm>
                  <a:off x="2070579" y="364108"/>
                  <a:ext cx="0" cy="77387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</p:grpSp>
          <p:sp>
            <p:nvSpPr>
              <p:cNvPr id="918" name="Line 52"/>
              <p:cNvSpPr>
                <a:spLocks noChangeShapeType="1"/>
              </p:cNvSpPr>
              <p:nvPr/>
            </p:nvSpPr>
            <p:spPr bwMode="auto">
              <a:xfrm>
                <a:off x="1396483" y="56043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19" name="Line 53"/>
              <p:cNvSpPr>
                <a:spLocks noChangeShapeType="1"/>
              </p:cNvSpPr>
              <p:nvPr/>
            </p:nvSpPr>
            <p:spPr bwMode="auto">
              <a:xfrm>
                <a:off x="1396483" y="65383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0" name="Line 54"/>
              <p:cNvSpPr>
                <a:spLocks noChangeShapeType="1"/>
              </p:cNvSpPr>
              <p:nvPr/>
            </p:nvSpPr>
            <p:spPr bwMode="auto">
              <a:xfrm>
                <a:off x="1396483" y="699582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1" name="Line 55"/>
              <p:cNvSpPr>
                <a:spLocks noChangeShapeType="1"/>
              </p:cNvSpPr>
              <p:nvPr/>
            </p:nvSpPr>
            <p:spPr bwMode="auto">
              <a:xfrm>
                <a:off x="1396483" y="60713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2" name="Line 56"/>
              <p:cNvSpPr>
                <a:spLocks noChangeShapeType="1"/>
              </p:cNvSpPr>
              <p:nvPr/>
            </p:nvSpPr>
            <p:spPr bwMode="auto">
              <a:xfrm>
                <a:off x="1396483" y="7929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3" name="Line 57"/>
              <p:cNvSpPr>
                <a:spLocks noChangeShapeType="1"/>
              </p:cNvSpPr>
              <p:nvPr/>
            </p:nvSpPr>
            <p:spPr bwMode="auto">
              <a:xfrm>
                <a:off x="1396483" y="886379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4" name="Line 58"/>
              <p:cNvSpPr>
                <a:spLocks noChangeShapeType="1"/>
              </p:cNvSpPr>
              <p:nvPr/>
            </p:nvSpPr>
            <p:spPr bwMode="auto">
              <a:xfrm>
                <a:off x="1396483" y="7462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5" name="Line 59"/>
              <p:cNvSpPr>
                <a:spLocks noChangeShapeType="1"/>
              </p:cNvSpPr>
              <p:nvPr/>
            </p:nvSpPr>
            <p:spPr bwMode="auto">
              <a:xfrm>
                <a:off x="1396483" y="9816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6" name="Line 60"/>
              <p:cNvSpPr>
                <a:spLocks noChangeShapeType="1"/>
              </p:cNvSpPr>
              <p:nvPr/>
            </p:nvSpPr>
            <p:spPr bwMode="auto">
              <a:xfrm>
                <a:off x="1396483" y="1120830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7" name="Line 61"/>
              <p:cNvSpPr>
                <a:spLocks noChangeShapeType="1"/>
              </p:cNvSpPr>
              <p:nvPr/>
            </p:nvSpPr>
            <p:spPr bwMode="auto">
              <a:xfrm>
                <a:off x="1396483" y="9349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8" name="Line 62"/>
              <p:cNvSpPr>
                <a:spLocks noChangeShapeType="1"/>
              </p:cNvSpPr>
              <p:nvPr/>
            </p:nvSpPr>
            <p:spPr bwMode="auto">
              <a:xfrm>
                <a:off x="1396483" y="121613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29" name="Line 63"/>
              <p:cNvSpPr>
                <a:spLocks noChangeShapeType="1"/>
              </p:cNvSpPr>
              <p:nvPr/>
            </p:nvSpPr>
            <p:spPr bwMode="auto">
              <a:xfrm>
                <a:off x="1396483" y="8415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0" name="Line 64"/>
              <p:cNvSpPr>
                <a:spLocks noChangeShapeType="1"/>
              </p:cNvSpPr>
              <p:nvPr/>
            </p:nvSpPr>
            <p:spPr bwMode="auto">
              <a:xfrm>
                <a:off x="1396483" y="1074130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1" name="Line 65"/>
              <p:cNvSpPr>
                <a:spLocks noChangeShapeType="1"/>
              </p:cNvSpPr>
              <p:nvPr/>
            </p:nvSpPr>
            <p:spPr bwMode="auto">
              <a:xfrm>
                <a:off x="1396483" y="1167529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2" name="Line 66"/>
              <p:cNvSpPr>
                <a:spLocks noChangeShapeType="1"/>
              </p:cNvSpPr>
              <p:nvPr/>
            </p:nvSpPr>
            <p:spPr bwMode="auto">
              <a:xfrm>
                <a:off x="1396483" y="102743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3" name="Line 67"/>
              <p:cNvSpPr>
                <a:spLocks noChangeShapeType="1"/>
              </p:cNvSpPr>
              <p:nvPr/>
            </p:nvSpPr>
            <p:spPr bwMode="auto">
              <a:xfrm>
                <a:off x="1396483" y="1262834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4" name="Line 68"/>
              <p:cNvSpPr>
                <a:spLocks noChangeShapeType="1"/>
              </p:cNvSpPr>
              <p:nvPr/>
            </p:nvSpPr>
            <p:spPr bwMode="auto">
              <a:xfrm rot="1155111" flipH="1">
                <a:off x="1396483" y="470849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5" name="Line 69"/>
              <p:cNvSpPr>
                <a:spLocks noChangeShapeType="1"/>
              </p:cNvSpPr>
              <p:nvPr/>
            </p:nvSpPr>
            <p:spPr bwMode="auto">
              <a:xfrm rot="20444889" flipH="1" flipV="1">
                <a:off x="1396483" y="1346703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6" name="Freeform 70"/>
              <p:cNvSpPr>
                <a:spLocks/>
              </p:cNvSpPr>
              <p:nvPr/>
            </p:nvSpPr>
            <p:spPr bwMode="auto">
              <a:xfrm>
                <a:off x="2490728" y="977872"/>
                <a:ext cx="699904" cy="325943"/>
              </a:xfrm>
              <a:custGeom>
                <a:avLst/>
                <a:gdLst/>
                <a:ahLst/>
                <a:cxnLst>
                  <a:cxn ang="0">
                    <a:pos x="471" y="0"/>
                  </a:cxn>
                  <a:cxn ang="0">
                    <a:pos x="741" y="135"/>
                  </a:cxn>
                  <a:cxn ang="0">
                    <a:pos x="741" y="273"/>
                  </a:cxn>
                  <a:cxn ang="0">
                    <a:pos x="606" y="345"/>
                  </a:cxn>
                  <a:cxn ang="0">
                    <a:pos x="0" y="351"/>
                  </a:cxn>
                  <a:cxn ang="0">
                    <a:pos x="474" y="138"/>
                  </a:cxn>
                  <a:cxn ang="0">
                    <a:pos x="471" y="0"/>
                  </a:cxn>
                </a:cxnLst>
                <a:rect l="0" t="0" r="r" b="b"/>
                <a:pathLst>
                  <a:path w="741" h="351">
                    <a:moveTo>
                      <a:pt x="471" y="0"/>
                    </a:moveTo>
                    <a:lnTo>
                      <a:pt x="741" y="135"/>
                    </a:lnTo>
                    <a:lnTo>
                      <a:pt x="741" y="273"/>
                    </a:lnTo>
                    <a:lnTo>
                      <a:pt x="606" y="345"/>
                    </a:lnTo>
                    <a:lnTo>
                      <a:pt x="0" y="351"/>
                    </a:lnTo>
                    <a:lnTo>
                      <a:pt x="474" y="138"/>
                    </a:lnTo>
                    <a:lnTo>
                      <a:pt x="47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grpSp>
            <p:nvGrpSpPr>
              <p:cNvPr id="1135" name="1134 Grupo"/>
              <p:cNvGrpSpPr/>
              <p:nvPr/>
            </p:nvGrpSpPr>
            <p:grpSpPr>
              <a:xfrm>
                <a:off x="2495890" y="332657"/>
                <a:ext cx="440795" cy="969255"/>
                <a:chOff x="2495890" y="332657"/>
                <a:chExt cx="440795" cy="969255"/>
              </a:xfrm>
            </p:grpSpPr>
            <p:grpSp>
              <p:nvGrpSpPr>
                <p:cNvPr id="1064" name="Group 72"/>
                <p:cNvGrpSpPr>
                  <a:grpSpLocks/>
                </p:cNvGrpSpPr>
                <p:nvPr/>
              </p:nvGrpSpPr>
              <p:grpSpPr bwMode="auto">
                <a:xfrm>
                  <a:off x="2495890" y="332659"/>
                  <a:ext cx="439847" cy="969253"/>
                  <a:chOff x="1851" y="2409"/>
                  <a:chExt cx="464" cy="1046"/>
                </a:xfrm>
              </p:grpSpPr>
              <p:sp>
                <p:nvSpPr>
                  <p:cNvPr id="1084" name="Line 7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0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85" name="Line 7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46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86" name="Line 7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4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87" name="Line 7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7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88" name="Line 7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1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89" name="Line 7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4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0" name="Line 7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8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1" name="Line 8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1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2" name="Line 8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5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3" name="Line 8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8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4" name="Line 8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2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5" name="Line 8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5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6" name="Line 8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9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7" name="Line 8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2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8" name="Line 8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6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99" name="Line 8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9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0" name="Line 8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3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1" name="Line 9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6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2" name="Line 9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0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3" name="Line 9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3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4" name="Line 9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7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5" name="Line 9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4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6" name="Line 9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0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7" name="Line 9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7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108" name="Line 9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1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</p:grpSp>
            <p:sp>
              <p:nvSpPr>
                <p:cNvPr id="1065" name="Line 98"/>
                <p:cNvSpPr>
                  <a:spLocks noChangeShapeType="1"/>
                </p:cNvSpPr>
                <p:nvPr/>
              </p:nvSpPr>
              <p:spPr bwMode="auto">
                <a:xfrm>
                  <a:off x="2495890" y="52632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66" name="Line 99"/>
                <p:cNvSpPr>
                  <a:spLocks noChangeShapeType="1"/>
                </p:cNvSpPr>
                <p:nvPr/>
              </p:nvSpPr>
              <p:spPr bwMode="auto">
                <a:xfrm>
                  <a:off x="2544235" y="50408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67" name="Line 100"/>
                <p:cNvSpPr>
                  <a:spLocks noChangeShapeType="1"/>
                </p:cNvSpPr>
                <p:nvPr/>
              </p:nvSpPr>
              <p:spPr bwMode="auto">
                <a:xfrm>
                  <a:off x="2568882" y="49296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68" name="Line 101"/>
                <p:cNvSpPr>
                  <a:spLocks noChangeShapeType="1"/>
                </p:cNvSpPr>
                <p:nvPr/>
              </p:nvSpPr>
              <p:spPr bwMode="auto">
                <a:xfrm>
                  <a:off x="2593528" y="481844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69" name="Line 102"/>
                <p:cNvSpPr>
                  <a:spLocks noChangeShapeType="1"/>
                </p:cNvSpPr>
                <p:nvPr/>
              </p:nvSpPr>
              <p:spPr bwMode="auto">
                <a:xfrm>
                  <a:off x="2618175" y="47443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0" name="Line 103"/>
                <p:cNvSpPr>
                  <a:spLocks noChangeShapeType="1"/>
                </p:cNvSpPr>
                <p:nvPr/>
              </p:nvSpPr>
              <p:spPr bwMode="auto">
                <a:xfrm>
                  <a:off x="2666520" y="45219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1" name="Line 104"/>
                <p:cNvSpPr>
                  <a:spLocks noChangeShapeType="1"/>
                </p:cNvSpPr>
                <p:nvPr/>
              </p:nvSpPr>
              <p:spPr bwMode="auto">
                <a:xfrm>
                  <a:off x="2642822" y="459605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2" name="Line 105"/>
                <p:cNvSpPr>
                  <a:spLocks noChangeShapeType="1"/>
                </p:cNvSpPr>
                <p:nvPr/>
              </p:nvSpPr>
              <p:spPr bwMode="auto">
                <a:xfrm>
                  <a:off x="2715814" y="42810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3" name="Line 106"/>
                <p:cNvSpPr>
                  <a:spLocks noChangeShapeType="1"/>
                </p:cNvSpPr>
                <p:nvPr/>
              </p:nvSpPr>
              <p:spPr bwMode="auto">
                <a:xfrm>
                  <a:off x="2691167" y="43921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4" name="Line 107"/>
                <p:cNvSpPr>
                  <a:spLocks noChangeShapeType="1"/>
                </p:cNvSpPr>
                <p:nvPr/>
              </p:nvSpPr>
              <p:spPr bwMode="auto">
                <a:xfrm>
                  <a:off x="2740460" y="41698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5" name="Line 108"/>
                <p:cNvSpPr>
                  <a:spLocks noChangeShapeType="1"/>
                </p:cNvSpPr>
                <p:nvPr/>
              </p:nvSpPr>
              <p:spPr bwMode="auto">
                <a:xfrm>
                  <a:off x="2789753" y="39474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6" name="Line 109"/>
                <p:cNvSpPr>
                  <a:spLocks noChangeShapeType="1"/>
                </p:cNvSpPr>
                <p:nvPr/>
              </p:nvSpPr>
              <p:spPr bwMode="auto">
                <a:xfrm>
                  <a:off x="2887392" y="35396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7" name="Line 110"/>
                <p:cNvSpPr>
                  <a:spLocks noChangeShapeType="1"/>
                </p:cNvSpPr>
                <p:nvPr/>
              </p:nvSpPr>
              <p:spPr bwMode="auto">
                <a:xfrm>
                  <a:off x="2813452" y="38918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8" name="Line 111"/>
                <p:cNvSpPr>
                  <a:spLocks noChangeShapeType="1"/>
                </p:cNvSpPr>
                <p:nvPr/>
              </p:nvSpPr>
              <p:spPr bwMode="auto">
                <a:xfrm>
                  <a:off x="2936685" y="332657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79" name="Line 112"/>
                <p:cNvSpPr>
                  <a:spLocks noChangeShapeType="1"/>
                </p:cNvSpPr>
                <p:nvPr/>
              </p:nvSpPr>
              <p:spPr bwMode="auto">
                <a:xfrm>
                  <a:off x="2765107" y="40586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80" name="Line 113"/>
                <p:cNvSpPr>
                  <a:spLocks noChangeShapeType="1"/>
                </p:cNvSpPr>
                <p:nvPr/>
              </p:nvSpPr>
              <p:spPr bwMode="auto">
                <a:xfrm>
                  <a:off x="2838099" y="37806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81" name="Line 114"/>
                <p:cNvSpPr>
                  <a:spLocks noChangeShapeType="1"/>
                </p:cNvSpPr>
                <p:nvPr/>
              </p:nvSpPr>
              <p:spPr bwMode="auto">
                <a:xfrm>
                  <a:off x="2519589" y="51520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82" name="Line 115"/>
                <p:cNvSpPr>
                  <a:spLocks noChangeShapeType="1"/>
                </p:cNvSpPr>
                <p:nvPr/>
              </p:nvSpPr>
              <p:spPr bwMode="auto">
                <a:xfrm>
                  <a:off x="2912038" y="34285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83" name="Line 116"/>
                <p:cNvSpPr>
                  <a:spLocks noChangeShapeType="1"/>
                </p:cNvSpPr>
                <p:nvPr/>
              </p:nvSpPr>
              <p:spPr bwMode="auto">
                <a:xfrm>
                  <a:off x="2862745" y="363236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</p:grpSp>
          <p:sp>
            <p:nvSpPr>
              <p:cNvPr id="938" name="Line 117"/>
              <p:cNvSpPr>
                <a:spLocks noChangeShapeType="1"/>
              </p:cNvSpPr>
              <p:nvPr/>
            </p:nvSpPr>
            <p:spPr bwMode="auto">
              <a:xfrm>
                <a:off x="2186198" y="65383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39" name="Line 118"/>
              <p:cNvSpPr>
                <a:spLocks noChangeShapeType="1"/>
              </p:cNvSpPr>
              <p:nvPr/>
            </p:nvSpPr>
            <p:spPr bwMode="auto">
              <a:xfrm>
                <a:off x="2186198" y="699582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0" name="Line 119"/>
              <p:cNvSpPr>
                <a:spLocks noChangeShapeType="1"/>
              </p:cNvSpPr>
              <p:nvPr/>
            </p:nvSpPr>
            <p:spPr bwMode="auto">
              <a:xfrm>
                <a:off x="2186198" y="7929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1" name="Line 120"/>
              <p:cNvSpPr>
                <a:spLocks noChangeShapeType="1"/>
              </p:cNvSpPr>
              <p:nvPr/>
            </p:nvSpPr>
            <p:spPr bwMode="auto">
              <a:xfrm>
                <a:off x="2186198" y="8882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2" name="Line 121"/>
              <p:cNvSpPr>
                <a:spLocks noChangeShapeType="1"/>
              </p:cNvSpPr>
              <p:nvPr/>
            </p:nvSpPr>
            <p:spPr bwMode="auto">
              <a:xfrm>
                <a:off x="2186198" y="7462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3" name="Line 122"/>
              <p:cNvSpPr>
                <a:spLocks noChangeShapeType="1"/>
              </p:cNvSpPr>
              <p:nvPr/>
            </p:nvSpPr>
            <p:spPr bwMode="auto">
              <a:xfrm>
                <a:off x="2186198" y="9816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4" name="Line 123"/>
              <p:cNvSpPr>
                <a:spLocks noChangeShapeType="1"/>
              </p:cNvSpPr>
              <p:nvPr/>
            </p:nvSpPr>
            <p:spPr bwMode="auto">
              <a:xfrm>
                <a:off x="2186198" y="112273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5" name="Line 124"/>
              <p:cNvSpPr>
                <a:spLocks noChangeShapeType="1"/>
              </p:cNvSpPr>
              <p:nvPr/>
            </p:nvSpPr>
            <p:spPr bwMode="auto">
              <a:xfrm>
                <a:off x="2186198" y="9349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6" name="Line 125"/>
              <p:cNvSpPr>
                <a:spLocks noChangeShapeType="1"/>
              </p:cNvSpPr>
              <p:nvPr/>
            </p:nvSpPr>
            <p:spPr bwMode="auto">
              <a:xfrm>
                <a:off x="2186198" y="8415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7" name="Line 126"/>
              <p:cNvSpPr>
                <a:spLocks noChangeShapeType="1"/>
              </p:cNvSpPr>
              <p:nvPr/>
            </p:nvSpPr>
            <p:spPr bwMode="auto">
              <a:xfrm>
                <a:off x="2186198" y="1074130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8" name="Line 127"/>
              <p:cNvSpPr>
                <a:spLocks noChangeShapeType="1"/>
              </p:cNvSpPr>
              <p:nvPr/>
            </p:nvSpPr>
            <p:spPr bwMode="auto">
              <a:xfrm>
                <a:off x="2186198" y="1167529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49" name="Line 128"/>
              <p:cNvSpPr>
                <a:spLocks noChangeShapeType="1"/>
              </p:cNvSpPr>
              <p:nvPr/>
            </p:nvSpPr>
            <p:spPr bwMode="auto">
              <a:xfrm>
                <a:off x="2186198" y="102743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0" name="Line 129"/>
              <p:cNvSpPr>
                <a:spLocks noChangeShapeType="1"/>
              </p:cNvSpPr>
              <p:nvPr/>
            </p:nvSpPr>
            <p:spPr bwMode="auto">
              <a:xfrm rot="1155111" flipH="1">
                <a:off x="2186198" y="562342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1" name="Line 130"/>
              <p:cNvSpPr>
                <a:spLocks noChangeShapeType="1"/>
              </p:cNvSpPr>
              <p:nvPr/>
            </p:nvSpPr>
            <p:spPr bwMode="auto">
              <a:xfrm rot="20444889" flipH="1" flipV="1">
                <a:off x="2186198" y="1274271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2" name="Freeform 131"/>
              <p:cNvSpPr>
                <a:spLocks/>
              </p:cNvSpPr>
              <p:nvPr/>
            </p:nvSpPr>
            <p:spPr bwMode="auto">
              <a:xfrm>
                <a:off x="3282508" y="977872"/>
                <a:ext cx="699904" cy="325943"/>
              </a:xfrm>
              <a:custGeom>
                <a:avLst/>
                <a:gdLst/>
                <a:ahLst/>
                <a:cxnLst>
                  <a:cxn ang="0">
                    <a:pos x="471" y="0"/>
                  </a:cxn>
                  <a:cxn ang="0">
                    <a:pos x="741" y="135"/>
                  </a:cxn>
                  <a:cxn ang="0">
                    <a:pos x="741" y="273"/>
                  </a:cxn>
                  <a:cxn ang="0">
                    <a:pos x="606" y="345"/>
                  </a:cxn>
                  <a:cxn ang="0">
                    <a:pos x="0" y="351"/>
                  </a:cxn>
                  <a:cxn ang="0">
                    <a:pos x="474" y="138"/>
                  </a:cxn>
                  <a:cxn ang="0">
                    <a:pos x="471" y="0"/>
                  </a:cxn>
                </a:cxnLst>
                <a:rect l="0" t="0" r="r" b="b"/>
                <a:pathLst>
                  <a:path w="741" h="351">
                    <a:moveTo>
                      <a:pt x="471" y="0"/>
                    </a:moveTo>
                    <a:lnTo>
                      <a:pt x="741" y="135"/>
                    </a:lnTo>
                    <a:lnTo>
                      <a:pt x="741" y="273"/>
                    </a:lnTo>
                    <a:lnTo>
                      <a:pt x="606" y="345"/>
                    </a:lnTo>
                    <a:lnTo>
                      <a:pt x="0" y="351"/>
                    </a:lnTo>
                    <a:lnTo>
                      <a:pt x="474" y="138"/>
                    </a:lnTo>
                    <a:lnTo>
                      <a:pt x="47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grpSp>
            <p:nvGrpSpPr>
              <p:cNvPr id="1136" name="1135 Grupo"/>
              <p:cNvGrpSpPr/>
              <p:nvPr/>
            </p:nvGrpSpPr>
            <p:grpSpPr>
              <a:xfrm>
                <a:off x="3287669" y="332657"/>
                <a:ext cx="439763" cy="969255"/>
                <a:chOff x="3287669" y="332657"/>
                <a:chExt cx="439763" cy="969255"/>
              </a:xfrm>
            </p:grpSpPr>
            <p:grpSp>
              <p:nvGrpSpPr>
                <p:cNvPr id="1019" name="Group 133"/>
                <p:cNvGrpSpPr>
                  <a:grpSpLocks/>
                </p:cNvGrpSpPr>
                <p:nvPr/>
              </p:nvGrpSpPr>
              <p:grpSpPr bwMode="auto">
                <a:xfrm>
                  <a:off x="3287669" y="332659"/>
                  <a:ext cx="438817" cy="969253"/>
                  <a:chOff x="1851" y="2409"/>
                  <a:chExt cx="464" cy="1046"/>
                </a:xfrm>
              </p:grpSpPr>
              <p:sp>
                <p:nvSpPr>
                  <p:cNvPr id="1039" name="Line 13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0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0" name="Line 13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46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1" name="Line 13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4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2" name="Line 13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7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3" name="Line 13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1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4" name="Line 13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4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5" name="Line 14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8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6" name="Line 14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1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7" name="Line 14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5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8" name="Line 14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8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49" name="Line 14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2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0" name="Line 14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5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1" name="Line 14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9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2" name="Line 14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2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3" name="Line 14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6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4" name="Line 1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9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5" name="Line 15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3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6" name="Line 15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6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7" name="Line 15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0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8" name="Line 15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3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59" name="Line 1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7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60" name="Line 15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4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61" name="Line 15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0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62" name="Line 15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7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63" name="Line 15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1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</p:grpSp>
            <p:sp>
              <p:nvSpPr>
                <p:cNvPr id="1020" name="Line 159"/>
                <p:cNvSpPr>
                  <a:spLocks noChangeShapeType="1"/>
                </p:cNvSpPr>
                <p:nvPr/>
              </p:nvSpPr>
              <p:spPr bwMode="auto">
                <a:xfrm>
                  <a:off x="3287669" y="52632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1" name="Line 160"/>
                <p:cNvSpPr>
                  <a:spLocks noChangeShapeType="1"/>
                </p:cNvSpPr>
                <p:nvPr/>
              </p:nvSpPr>
              <p:spPr bwMode="auto">
                <a:xfrm>
                  <a:off x="3335901" y="50408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2" name="Line 161"/>
                <p:cNvSpPr>
                  <a:spLocks noChangeShapeType="1"/>
                </p:cNvSpPr>
                <p:nvPr/>
              </p:nvSpPr>
              <p:spPr bwMode="auto">
                <a:xfrm>
                  <a:off x="3360490" y="49296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3" name="Line 162"/>
                <p:cNvSpPr>
                  <a:spLocks noChangeShapeType="1"/>
                </p:cNvSpPr>
                <p:nvPr/>
              </p:nvSpPr>
              <p:spPr bwMode="auto">
                <a:xfrm>
                  <a:off x="3385079" y="481844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4" name="Line 163"/>
                <p:cNvSpPr>
                  <a:spLocks noChangeShapeType="1"/>
                </p:cNvSpPr>
                <p:nvPr/>
              </p:nvSpPr>
              <p:spPr bwMode="auto">
                <a:xfrm>
                  <a:off x="3409668" y="47443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5" name="Line 164"/>
                <p:cNvSpPr>
                  <a:spLocks noChangeShapeType="1"/>
                </p:cNvSpPr>
                <p:nvPr/>
              </p:nvSpPr>
              <p:spPr bwMode="auto">
                <a:xfrm>
                  <a:off x="3457900" y="45219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6" name="Line 165"/>
                <p:cNvSpPr>
                  <a:spLocks noChangeShapeType="1"/>
                </p:cNvSpPr>
                <p:nvPr/>
              </p:nvSpPr>
              <p:spPr bwMode="auto">
                <a:xfrm>
                  <a:off x="3434257" y="459605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7" name="Line 166"/>
                <p:cNvSpPr>
                  <a:spLocks noChangeShapeType="1"/>
                </p:cNvSpPr>
                <p:nvPr/>
              </p:nvSpPr>
              <p:spPr bwMode="auto">
                <a:xfrm>
                  <a:off x="3507078" y="42810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8" name="Line 167"/>
                <p:cNvSpPr>
                  <a:spLocks noChangeShapeType="1"/>
                </p:cNvSpPr>
                <p:nvPr/>
              </p:nvSpPr>
              <p:spPr bwMode="auto">
                <a:xfrm>
                  <a:off x="3482489" y="43921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29" name="Line 168"/>
                <p:cNvSpPr>
                  <a:spLocks noChangeShapeType="1"/>
                </p:cNvSpPr>
                <p:nvPr/>
              </p:nvSpPr>
              <p:spPr bwMode="auto">
                <a:xfrm>
                  <a:off x="3531667" y="41698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0" name="Line 169"/>
                <p:cNvSpPr>
                  <a:spLocks noChangeShapeType="1"/>
                </p:cNvSpPr>
                <p:nvPr/>
              </p:nvSpPr>
              <p:spPr bwMode="auto">
                <a:xfrm>
                  <a:off x="3580844" y="39474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1" name="Line 170"/>
                <p:cNvSpPr>
                  <a:spLocks noChangeShapeType="1"/>
                </p:cNvSpPr>
                <p:nvPr/>
              </p:nvSpPr>
              <p:spPr bwMode="auto">
                <a:xfrm>
                  <a:off x="3678254" y="35396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2" name="Line 171"/>
                <p:cNvSpPr>
                  <a:spLocks noChangeShapeType="1"/>
                </p:cNvSpPr>
                <p:nvPr/>
              </p:nvSpPr>
              <p:spPr bwMode="auto">
                <a:xfrm>
                  <a:off x="3604488" y="38918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3" name="Line 172"/>
                <p:cNvSpPr>
                  <a:spLocks noChangeShapeType="1"/>
                </p:cNvSpPr>
                <p:nvPr/>
              </p:nvSpPr>
              <p:spPr bwMode="auto">
                <a:xfrm>
                  <a:off x="3727432" y="332657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4" name="Line 173"/>
                <p:cNvSpPr>
                  <a:spLocks noChangeShapeType="1"/>
                </p:cNvSpPr>
                <p:nvPr/>
              </p:nvSpPr>
              <p:spPr bwMode="auto">
                <a:xfrm>
                  <a:off x="3556255" y="40586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5" name="Line 174"/>
                <p:cNvSpPr>
                  <a:spLocks noChangeShapeType="1"/>
                </p:cNvSpPr>
                <p:nvPr/>
              </p:nvSpPr>
              <p:spPr bwMode="auto">
                <a:xfrm>
                  <a:off x="3629076" y="37806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6" name="Line 175"/>
                <p:cNvSpPr>
                  <a:spLocks noChangeShapeType="1"/>
                </p:cNvSpPr>
                <p:nvPr/>
              </p:nvSpPr>
              <p:spPr bwMode="auto">
                <a:xfrm>
                  <a:off x="3311312" y="51520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7" name="Line 176"/>
                <p:cNvSpPr>
                  <a:spLocks noChangeShapeType="1"/>
                </p:cNvSpPr>
                <p:nvPr/>
              </p:nvSpPr>
              <p:spPr bwMode="auto">
                <a:xfrm>
                  <a:off x="3702843" y="34285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1038" name="Line 177"/>
                <p:cNvSpPr>
                  <a:spLocks noChangeShapeType="1"/>
                </p:cNvSpPr>
                <p:nvPr/>
              </p:nvSpPr>
              <p:spPr bwMode="auto">
                <a:xfrm>
                  <a:off x="3653665" y="363236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</p:grpSp>
          <p:sp>
            <p:nvSpPr>
              <p:cNvPr id="954" name="Line 178"/>
              <p:cNvSpPr>
                <a:spLocks noChangeShapeType="1"/>
              </p:cNvSpPr>
              <p:nvPr/>
            </p:nvSpPr>
            <p:spPr bwMode="auto">
              <a:xfrm>
                <a:off x="2977977" y="7929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5" name="Line 179"/>
              <p:cNvSpPr>
                <a:spLocks noChangeShapeType="1"/>
              </p:cNvSpPr>
              <p:nvPr/>
            </p:nvSpPr>
            <p:spPr bwMode="auto">
              <a:xfrm>
                <a:off x="2977977" y="8882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6" name="Line 180"/>
              <p:cNvSpPr>
                <a:spLocks noChangeShapeType="1"/>
              </p:cNvSpPr>
              <p:nvPr/>
            </p:nvSpPr>
            <p:spPr bwMode="auto">
              <a:xfrm>
                <a:off x="2977977" y="74628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7" name="Line 181"/>
              <p:cNvSpPr>
                <a:spLocks noChangeShapeType="1"/>
              </p:cNvSpPr>
              <p:nvPr/>
            </p:nvSpPr>
            <p:spPr bwMode="auto">
              <a:xfrm>
                <a:off x="2977977" y="9816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8" name="Line 182"/>
              <p:cNvSpPr>
                <a:spLocks noChangeShapeType="1"/>
              </p:cNvSpPr>
              <p:nvPr/>
            </p:nvSpPr>
            <p:spPr bwMode="auto">
              <a:xfrm>
                <a:off x="2977977" y="9349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59" name="Line 183"/>
              <p:cNvSpPr>
                <a:spLocks noChangeShapeType="1"/>
              </p:cNvSpPr>
              <p:nvPr/>
            </p:nvSpPr>
            <p:spPr bwMode="auto">
              <a:xfrm>
                <a:off x="2977977" y="8415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0" name="Line 184"/>
              <p:cNvSpPr>
                <a:spLocks noChangeShapeType="1"/>
              </p:cNvSpPr>
              <p:nvPr/>
            </p:nvSpPr>
            <p:spPr bwMode="auto">
              <a:xfrm>
                <a:off x="2977977" y="1074130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1" name="Line 185"/>
              <p:cNvSpPr>
                <a:spLocks noChangeShapeType="1"/>
              </p:cNvSpPr>
              <p:nvPr/>
            </p:nvSpPr>
            <p:spPr bwMode="auto">
              <a:xfrm>
                <a:off x="2977977" y="1027431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2" name="Line 186"/>
              <p:cNvSpPr>
                <a:spLocks noChangeShapeType="1"/>
              </p:cNvSpPr>
              <p:nvPr/>
            </p:nvSpPr>
            <p:spPr bwMode="auto">
              <a:xfrm rot="1155111" flipH="1">
                <a:off x="2977977" y="650023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3" name="Line 187"/>
              <p:cNvSpPr>
                <a:spLocks noChangeShapeType="1"/>
              </p:cNvSpPr>
              <p:nvPr/>
            </p:nvSpPr>
            <p:spPr bwMode="auto">
              <a:xfrm rot="20444889" flipH="1" flipV="1">
                <a:off x="2977977" y="1186590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4" name="Freeform 188"/>
              <p:cNvSpPr>
                <a:spLocks/>
              </p:cNvSpPr>
              <p:nvPr/>
            </p:nvSpPr>
            <p:spPr bwMode="auto">
              <a:xfrm>
                <a:off x="4072223" y="977872"/>
                <a:ext cx="699904" cy="325943"/>
              </a:xfrm>
              <a:custGeom>
                <a:avLst/>
                <a:gdLst/>
                <a:ahLst/>
                <a:cxnLst>
                  <a:cxn ang="0">
                    <a:pos x="471" y="0"/>
                  </a:cxn>
                  <a:cxn ang="0">
                    <a:pos x="741" y="135"/>
                  </a:cxn>
                  <a:cxn ang="0">
                    <a:pos x="741" y="273"/>
                  </a:cxn>
                  <a:cxn ang="0">
                    <a:pos x="606" y="345"/>
                  </a:cxn>
                  <a:cxn ang="0">
                    <a:pos x="0" y="351"/>
                  </a:cxn>
                  <a:cxn ang="0">
                    <a:pos x="474" y="138"/>
                  </a:cxn>
                  <a:cxn ang="0">
                    <a:pos x="471" y="0"/>
                  </a:cxn>
                </a:cxnLst>
                <a:rect l="0" t="0" r="r" b="b"/>
                <a:pathLst>
                  <a:path w="741" h="351">
                    <a:moveTo>
                      <a:pt x="471" y="0"/>
                    </a:moveTo>
                    <a:lnTo>
                      <a:pt x="741" y="135"/>
                    </a:lnTo>
                    <a:lnTo>
                      <a:pt x="741" y="273"/>
                    </a:lnTo>
                    <a:lnTo>
                      <a:pt x="606" y="345"/>
                    </a:lnTo>
                    <a:lnTo>
                      <a:pt x="0" y="351"/>
                    </a:lnTo>
                    <a:lnTo>
                      <a:pt x="474" y="138"/>
                    </a:lnTo>
                    <a:lnTo>
                      <a:pt x="47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grpSp>
            <p:nvGrpSpPr>
              <p:cNvPr id="1137" name="1136 Grupo"/>
              <p:cNvGrpSpPr/>
              <p:nvPr/>
            </p:nvGrpSpPr>
            <p:grpSpPr>
              <a:xfrm>
                <a:off x="4077384" y="332657"/>
                <a:ext cx="440795" cy="969255"/>
                <a:chOff x="4077384" y="332657"/>
                <a:chExt cx="440795" cy="969255"/>
              </a:xfrm>
            </p:grpSpPr>
            <p:grpSp>
              <p:nvGrpSpPr>
                <p:cNvPr id="974" name="Group 190"/>
                <p:cNvGrpSpPr>
                  <a:grpSpLocks/>
                </p:cNvGrpSpPr>
                <p:nvPr/>
              </p:nvGrpSpPr>
              <p:grpSpPr bwMode="auto">
                <a:xfrm>
                  <a:off x="4077384" y="332659"/>
                  <a:ext cx="439847" cy="969253"/>
                  <a:chOff x="1851" y="2409"/>
                  <a:chExt cx="464" cy="1046"/>
                </a:xfrm>
              </p:grpSpPr>
              <p:sp>
                <p:nvSpPr>
                  <p:cNvPr id="994" name="Line 19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0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995" name="Line 19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46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996" name="Line 19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4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997" name="Line 19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47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998" name="Line 19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1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999" name="Line 19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4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0" name="Line 19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58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1" name="Line 19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19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2" name="Line 19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54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3" name="Line 20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68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4" name="Line 20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2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5" name="Line 20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5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6" name="Line 20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79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7" name="Line 20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2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8" name="Line 20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6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09" name="Line 20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898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0" name="Line 20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33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1" name="Line 20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296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2" name="Line 20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0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3" name="Line 210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3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4" name="Line 211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07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5" name="Line 212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4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6" name="Line 213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0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7" name="Line 21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177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  <p:sp>
                <p:nvSpPr>
                  <p:cNvPr id="1018" name="Line 21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1851" y="3212"/>
                    <a:ext cx="464" cy="209"/>
                  </a:xfrm>
                  <a:prstGeom prst="line">
                    <a:avLst/>
                  </a:prstGeom>
                  <a:noFill/>
                  <a:ln w="9525">
                    <a:solidFill>
                      <a:schemeClr val="accent5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es-ES" sz="971"/>
                  </a:p>
                </p:txBody>
              </p:sp>
            </p:grpSp>
            <p:sp>
              <p:nvSpPr>
                <p:cNvPr id="975" name="Line 216"/>
                <p:cNvSpPr>
                  <a:spLocks noChangeShapeType="1"/>
                </p:cNvSpPr>
                <p:nvPr/>
              </p:nvSpPr>
              <p:spPr bwMode="auto">
                <a:xfrm>
                  <a:off x="4077384" y="52632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76" name="Line 217"/>
                <p:cNvSpPr>
                  <a:spLocks noChangeShapeType="1"/>
                </p:cNvSpPr>
                <p:nvPr/>
              </p:nvSpPr>
              <p:spPr bwMode="auto">
                <a:xfrm>
                  <a:off x="4125729" y="50408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77" name="Line 218"/>
                <p:cNvSpPr>
                  <a:spLocks noChangeShapeType="1"/>
                </p:cNvSpPr>
                <p:nvPr/>
              </p:nvSpPr>
              <p:spPr bwMode="auto">
                <a:xfrm>
                  <a:off x="4150376" y="49296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78" name="Line 219"/>
                <p:cNvSpPr>
                  <a:spLocks noChangeShapeType="1"/>
                </p:cNvSpPr>
                <p:nvPr/>
              </p:nvSpPr>
              <p:spPr bwMode="auto">
                <a:xfrm>
                  <a:off x="4175022" y="481844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79" name="Line 220"/>
                <p:cNvSpPr>
                  <a:spLocks noChangeShapeType="1"/>
                </p:cNvSpPr>
                <p:nvPr/>
              </p:nvSpPr>
              <p:spPr bwMode="auto">
                <a:xfrm>
                  <a:off x="4199669" y="47443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0" name="Line 221"/>
                <p:cNvSpPr>
                  <a:spLocks noChangeShapeType="1"/>
                </p:cNvSpPr>
                <p:nvPr/>
              </p:nvSpPr>
              <p:spPr bwMode="auto">
                <a:xfrm>
                  <a:off x="4248014" y="45219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1" name="Line 222"/>
                <p:cNvSpPr>
                  <a:spLocks noChangeShapeType="1"/>
                </p:cNvSpPr>
                <p:nvPr/>
              </p:nvSpPr>
              <p:spPr bwMode="auto">
                <a:xfrm>
                  <a:off x="4224316" y="459605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2" name="Line 223"/>
                <p:cNvSpPr>
                  <a:spLocks noChangeShapeType="1"/>
                </p:cNvSpPr>
                <p:nvPr/>
              </p:nvSpPr>
              <p:spPr bwMode="auto">
                <a:xfrm>
                  <a:off x="4297308" y="42810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3" name="Line 224"/>
                <p:cNvSpPr>
                  <a:spLocks noChangeShapeType="1"/>
                </p:cNvSpPr>
                <p:nvPr/>
              </p:nvSpPr>
              <p:spPr bwMode="auto">
                <a:xfrm>
                  <a:off x="4272661" y="43921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4" name="Line 225"/>
                <p:cNvSpPr>
                  <a:spLocks noChangeShapeType="1"/>
                </p:cNvSpPr>
                <p:nvPr/>
              </p:nvSpPr>
              <p:spPr bwMode="auto">
                <a:xfrm>
                  <a:off x="4321954" y="41698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5" name="Line 226"/>
                <p:cNvSpPr>
                  <a:spLocks noChangeShapeType="1"/>
                </p:cNvSpPr>
                <p:nvPr/>
              </p:nvSpPr>
              <p:spPr bwMode="auto">
                <a:xfrm>
                  <a:off x="4371247" y="39474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6" name="Line 227"/>
                <p:cNvSpPr>
                  <a:spLocks noChangeShapeType="1"/>
                </p:cNvSpPr>
                <p:nvPr/>
              </p:nvSpPr>
              <p:spPr bwMode="auto">
                <a:xfrm>
                  <a:off x="4468886" y="353969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7" name="Line 228"/>
                <p:cNvSpPr>
                  <a:spLocks noChangeShapeType="1"/>
                </p:cNvSpPr>
                <p:nvPr/>
              </p:nvSpPr>
              <p:spPr bwMode="auto">
                <a:xfrm>
                  <a:off x="4394946" y="38918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8" name="Line 229"/>
                <p:cNvSpPr>
                  <a:spLocks noChangeShapeType="1"/>
                </p:cNvSpPr>
                <p:nvPr/>
              </p:nvSpPr>
              <p:spPr bwMode="auto">
                <a:xfrm>
                  <a:off x="4518179" y="332657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89" name="Line 230"/>
                <p:cNvSpPr>
                  <a:spLocks noChangeShapeType="1"/>
                </p:cNvSpPr>
                <p:nvPr/>
              </p:nvSpPr>
              <p:spPr bwMode="auto">
                <a:xfrm>
                  <a:off x="4346601" y="405861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90" name="Line 231"/>
                <p:cNvSpPr>
                  <a:spLocks noChangeShapeType="1"/>
                </p:cNvSpPr>
                <p:nvPr/>
              </p:nvSpPr>
              <p:spPr bwMode="auto">
                <a:xfrm>
                  <a:off x="4419593" y="378062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91" name="Line 232"/>
                <p:cNvSpPr>
                  <a:spLocks noChangeShapeType="1"/>
                </p:cNvSpPr>
                <p:nvPr/>
              </p:nvSpPr>
              <p:spPr bwMode="auto">
                <a:xfrm>
                  <a:off x="4101083" y="515203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92" name="Line 233"/>
                <p:cNvSpPr>
                  <a:spLocks noChangeShapeType="1"/>
                </p:cNvSpPr>
                <p:nvPr/>
              </p:nvSpPr>
              <p:spPr bwMode="auto">
                <a:xfrm>
                  <a:off x="4493532" y="342850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  <p:sp>
              <p:nvSpPr>
                <p:cNvPr id="993" name="Line 234"/>
                <p:cNvSpPr>
                  <a:spLocks noChangeShapeType="1"/>
                </p:cNvSpPr>
                <p:nvPr/>
              </p:nvSpPr>
              <p:spPr bwMode="auto">
                <a:xfrm>
                  <a:off x="4444239" y="363236"/>
                  <a:ext cx="0" cy="775587"/>
                </a:xfrm>
                <a:prstGeom prst="line">
                  <a:avLst/>
                </a:prstGeom>
                <a:noFill/>
                <a:ln w="9525">
                  <a:solidFill>
                    <a:schemeClr val="accent5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es-ES" sz="971"/>
                </a:p>
              </p:txBody>
            </p:sp>
          </p:grpSp>
          <p:sp>
            <p:nvSpPr>
              <p:cNvPr id="966" name="Line 235"/>
              <p:cNvSpPr>
                <a:spLocks noChangeShapeType="1"/>
              </p:cNvSpPr>
              <p:nvPr/>
            </p:nvSpPr>
            <p:spPr bwMode="auto">
              <a:xfrm>
                <a:off x="3767692" y="8882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7" name="Line 236"/>
              <p:cNvSpPr>
                <a:spLocks noChangeShapeType="1"/>
              </p:cNvSpPr>
              <p:nvPr/>
            </p:nvSpPr>
            <p:spPr bwMode="auto">
              <a:xfrm>
                <a:off x="3767692" y="9816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8" name="Line 237"/>
              <p:cNvSpPr>
                <a:spLocks noChangeShapeType="1"/>
              </p:cNvSpPr>
              <p:nvPr/>
            </p:nvSpPr>
            <p:spPr bwMode="auto">
              <a:xfrm>
                <a:off x="3767692" y="934985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69" name="Line 238"/>
              <p:cNvSpPr>
                <a:spLocks noChangeShapeType="1"/>
              </p:cNvSpPr>
              <p:nvPr/>
            </p:nvSpPr>
            <p:spPr bwMode="auto">
              <a:xfrm>
                <a:off x="3767692" y="841586"/>
                <a:ext cx="277691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70" name="Line 239"/>
              <p:cNvSpPr>
                <a:spLocks noChangeShapeType="1"/>
              </p:cNvSpPr>
              <p:nvPr/>
            </p:nvSpPr>
            <p:spPr bwMode="auto">
              <a:xfrm rot="1155111" flipH="1">
                <a:off x="3767692" y="739610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71" name="Line 240"/>
              <p:cNvSpPr>
                <a:spLocks noChangeShapeType="1"/>
              </p:cNvSpPr>
              <p:nvPr/>
            </p:nvSpPr>
            <p:spPr bwMode="auto">
              <a:xfrm rot="20444889" flipH="1" flipV="1">
                <a:off x="3767692" y="1097004"/>
                <a:ext cx="277691" cy="1906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72" name="Line 241"/>
              <p:cNvSpPr>
                <a:spLocks noChangeShapeType="1"/>
              </p:cNvSpPr>
              <p:nvPr/>
            </p:nvSpPr>
            <p:spPr bwMode="auto">
              <a:xfrm>
                <a:off x="4560504" y="886379"/>
                <a:ext cx="279755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  <p:sp>
            <p:nvSpPr>
              <p:cNvPr id="973" name="Line 242"/>
              <p:cNvSpPr>
                <a:spLocks noChangeShapeType="1"/>
              </p:cNvSpPr>
              <p:nvPr/>
            </p:nvSpPr>
            <p:spPr bwMode="auto">
              <a:xfrm>
                <a:off x="4560504" y="934985"/>
                <a:ext cx="279755" cy="0"/>
              </a:xfrm>
              <a:prstGeom prst="line">
                <a:avLst/>
              </a:prstGeom>
              <a:noFill/>
              <a:ln w="12700">
                <a:solidFill>
                  <a:schemeClr val="accent2"/>
                </a:solidFill>
                <a:round/>
                <a:headEnd/>
                <a:tailEnd type="triangle" w="sm" len="sm"/>
              </a:ln>
              <a:effectLst/>
            </p:spPr>
            <p:txBody>
              <a:bodyPr wrap="none" anchor="ctr"/>
              <a:lstStyle/>
              <a:p>
                <a:endParaRPr lang="es-ES" sz="971"/>
              </a:p>
            </p:txBody>
          </p:sp>
        </p:grpSp>
        <p:sp>
          <p:nvSpPr>
            <p:cNvPr id="888" name="Freeform 24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93689" y="426034"/>
              <a:ext cx="1081316" cy="856275"/>
            </a:xfrm>
            <a:custGeom>
              <a:avLst/>
              <a:gdLst/>
              <a:ahLst/>
              <a:cxnLst>
                <a:cxn ang="0">
                  <a:pos x="864" y="291"/>
                </a:cxn>
                <a:cxn ang="0">
                  <a:pos x="1047" y="12"/>
                </a:cxn>
                <a:cxn ang="0">
                  <a:pos x="978" y="366"/>
                </a:cxn>
                <a:cxn ang="0">
                  <a:pos x="1173" y="195"/>
                </a:cxn>
                <a:cxn ang="0">
                  <a:pos x="1062" y="414"/>
                </a:cxn>
                <a:cxn ang="0">
                  <a:pos x="1392" y="234"/>
                </a:cxn>
                <a:cxn ang="0">
                  <a:pos x="1185" y="459"/>
                </a:cxn>
                <a:cxn ang="0">
                  <a:pos x="1389" y="405"/>
                </a:cxn>
                <a:cxn ang="0">
                  <a:pos x="1233" y="528"/>
                </a:cxn>
                <a:cxn ang="0">
                  <a:pos x="1500" y="495"/>
                </a:cxn>
                <a:cxn ang="0">
                  <a:pos x="1287" y="666"/>
                </a:cxn>
                <a:cxn ang="0">
                  <a:pos x="1491" y="666"/>
                </a:cxn>
                <a:cxn ang="0">
                  <a:pos x="1284" y="747"/>
                </a:cxn>
                <a:cxn ang="0">
                  <a:pos x="1404" y="783"/>
                </a:cxn>
                <a:cxn ang="0">
                  <a:pos x="1236" y="801"/>
                </a:cxn>
                <a:cxn ang="0">
                  <a:pos x="1518" y="939"/>
                </a:cxn>
                <a:cxn ang="0">
                  <a:pos x="1215" y="900"/>
                </a:cxn>
                <a:cxn ang="0">
                  <a:pos x="1368" y="1038"/>
                </a:cxn>
                <a:cxn ang="0">
                  <a:pos x="1161" y="1002"/>
                </a:cxn>
                <a:cxn ang="0">
                  <a:pos x="1293" y="1137"/>
                </a:cxn>
                <a:cxn ang="0">
                  <a:pos x="1113" y="1092"/>
                </a:cxn>
                <a:cxn ang="0">
                  <a:pos x="1281" y="1356"/>
                </a:cxn>
                <a:cxn ang="0">
                  <a:pos x="1068" y="1170"/>
                </a:cxn>
                <a:cxn ang="0">
                  <a:pos x="1122" y="1416"/>
                </a:cxn>
                <a:cxn ang="0">
                  <a:pos x="942" y="1242"/>
                </a:cxn>
                <a:cxn ang="0">
                  <a:pos x="921" y="1503"/>
                </a:cxn>
                <a:cxn ang="0">
                  <a:pos x="810" y="1200"/>
                </a:cxn>
                <a:cxn ang="0">
                  <a:pos x="753" y="1326"/>
                </a:cxn>
                <a:cxn ang="0">
                  <a:pos x="714" y="1233"/>
                </a:cxn>
                <a:cxn ang="0">
                  <a:pos x="579" y="1470"/>
                </a:cxn>
                <a:cxn ang="0">
                  <a:pos x="621" y="1239"/>
                </a:cxn>
                <a:cxn ang="0">
                  <a:pos x="444" y="1458"/>
                </a:cxn>
                <a:cxn ang="0">
                  <a:pos x="588" y="1170"/>
                </a:cxn>
                <a:cxn ang="0">
                  <a:pos x="423" y="1341"/>
                </a:cxn>
                <a:cxn ang="0">
                  <a:pos x="480" y="1128"/>
                </a:cxn>
                <a:cxn ang="0">
                  <a:pos x="291" y="1275"/>
                </a:cxn>
                <a:cxn ang="0">
                  <a:pos x="408" y="1050"/>
                </a:cxn>
                <a:cxn ang="0">
                  <a:pos x="279" y="1107"/>
                </a:cxn>
                <a:cxn ang="0">
                  <a:pos x="357" y="948"/>
                </a:cxn>
                <a:cxn ang="0">
                  <a:pos x="99" y="993"/>
                </a:cxn>
                <a:cxn ang="0">
                  <a:pos x="294" y="846"/>
                </a:cxn>
                <a:cxn ang="0">
                  <a:pos x="186" y="810"/>
                </a:cxn>
                <a:cxn ang="0">
                  <a:pos x="360" y="741"/>
                </a:cxn>
                <a:cxn ang="0">
                  <a:pos x="0" y="711"/>
                </a:cxn>
                <a:cxn ang="0">
                  <a:pos x="306" y="666"/>
                </a:cxn>
                <a:cxn ang="0">
                  <a:pos x="183" y="570"/>
                </a:cxn>
                <a:cxn ang="0">
                  <a:pos x="414" y="573"/>
                </a:cxn>
                <a:cxn ang="0">
                  <a:pos x="186" y="408"/>
                </a:cxn>
                <a:cxn ang="0">
                  <a:pos x="447" y="465"/>
                </a:cxn>
                <a:cxn ang="0">
                  <a:pos x="267" y="174"/>
                </a:cxn>
                <a:cxn ang="0">
                  <a:pos x="507" y="372"/>
                </a:cxn>
                <a:cxn ang="0">
                  <a:pos x="423" y="51"/>
                </a:cxn>
                <a:cxn ang="0">
                  <a:pos x="594" y="315"/>
                </a:cxn>
                <a:cxn ang="0">
                  <a:pos x="546" y="0"/>
                </a:cxn>
                <a:cxn ang="0">
                  <a:pos x="675" y="288"/>
                </a:cxn>
                <a:cxn ang="0">
                  <a:pos x="759" y="114"/>
                </a:cxn>
                <a:cxn ang="0">
                  <a:pos x="816" y="309"/>
                </a:cxn>
                <a:cxn ang="0">
                  <a:pos x="837" y="186"/>
                </a:cxn>
                <a:cxn ang="0">
                  <a:pos x="864" y="291"/>
                </a:cxn>
              </a:cxnLst>
              <a:rect l="0" t="0" r="r" b="b"/>
              <a:pathLst>
                <a:path w="1518" h="1503">
                  <a:moveTo>
                    <a:pt x="864" y="291"/>
                  </a:moveTo>
                  <a:lnTo>
                    <a:pt x="1047" y="12"/>
                  </a:lnTo>
                  <a:lnTo>
                    <a:pt x="978" y="366"/>
                  </a:lnTo>
                  <a:lnTo>
                    <a:pt x="1173" y="195"/>
                  </a:lnTo>
                  <a:lnTo>
                    <a:pt x="1062" y="414"/>
                  </a:lnTo>
                  <a:lnTo>
                    <a:pt x="1392" y="234"/>
                  </a:lnTo>
                  <a:lnTo>
                    <a:pt x="1185" y="459"/>
                  </a:lnTo>
                  <a:lnTo>
                    <a:pt x="1389" y="405"/>
                  </a:lnTo>
                  <a:lnTo>
                    <a:pt x="1233" y="528"/>
                  </a:lnTo>
                  <a:lnTo>
                    <a:pt x="1500" y="495"/>
                  </a:lnTo>
                  <a:lnTo>
                    <a:pt x="1287" y="666"/>
                  </a:lnTo>
                  <a:lnTo>
                    <a:pt x="1491" y="666"/>
                  </a:lnTo>
                  <a:lnTo>
                    <a:pt x="1284" y="747"/>
                  </a:lnTo>
                  <a:lnTo>
                    <a:pt x="1404" y="783"/>
                  </a:lnTo>
                  <a:lnTo>
                    <a:pt x="1236" y="801"/>
                  </a:lnTo>
                  <a:lnTo>
                    <a:pt x="1518" y="939"/>
                  </a:lnTo>
                  <a:lnTo>
                    <a:pt x="1215" y="900"/>
                  </a:lnTo>
                  <a:lnTo>
                    <a:pt x="1368" y="1038"/>
                  </a:lnTo>
                  <a:lnTo>
                    <a:pt x="1161" y="1002"/>
                  </a:lnTo>
                  <a:lnTo>
                    <a:pt x="1293" y="1137"/>
                  </a:lnTo>
                  <a:lnTo>
                    <a:pt x="1113" y="1092"/>
                  </a:lnTo>
                  <a:lnTo>
                    <a:pt x="1281" y="1356"/>
                  </a:lnTo>
                  <a:lnTo>
                    <a:pt x="1068" y="1170"/>
                  </a:lnTo>
                  <a:lnTo>
                    <a:pt x="1122" y="1416"/>
                  </a:lnTo>
                  <a:lnTo>
                    <a:pt x="942" y="1242"/>
                  </a:lnTo>
                  <a:lnTo>
                    <a:pt x="921" y="1503"/>
                  </a:lnTo>
                  <a:lnTo>
                    <a:pt x="810" y="1200"/>
                  </a:lnTo>
                  <a:lnTo>
                    <a:pt x="753" y="1326"/>
                  </a:lnTo>
                  <a:lnTo>
                    <a:pt x="714" y="1233"/>
                  </a:lnTo>
                  <a:lnTo>
                    <a:pt x="579" y="1470"/>
                  </a:lnTo>
                  <a:lnTo>
                    <a:pt x="621" y="1239"/>
                  </a:lnTo>
                  <a:lnTo>
                    <a:pt x="444" y="1458"/>
                  </a:lnTo>
                  <a:lnTo>
                    <a:pt x="588" y="1170"/>
                  </a:lnTo>
                  <a:lnTo>
                    <a:pt x="423" y="1341"/>
                  </a:lnTo>
                  <a:lnTo>
                    <a:pt x="480" y="1128"/>
                  </a:lnTo>
                  <a:lnTo>
                    <a:pt x="291" y="1275"/>
                  </a:lnTo>
                  <a:lnTo>
                    <a:pt x="408" y="1050"/>
                  </a:lnTo>
                  <a:lnTo>
                    <a:pt x="279" y="1107"/>
                  </a:lnTo>
                  <a:lnTo>
                    <a:pt x="357" y="948"/>
                  </a:lnTo>
                  <a:lnTo>
                    <a:pt x="99" y="993"/>
                  </a:lnTo>
                  <a:lnTo>
                    <a:pt x="294" y="846"/>
                  </a:lnTo>
                  <a:lnTo>
                    <a:pt x="186" y="810"/>
                  </a:lnTo>
                  <a:lnTo>
                    <a:pt x="360" y="741"/>
                  </a:lnTo>
                  <a:lnTo>
                    <a:pt x="0" y="711"/>
                  </a:lnTo>
                  <a:lnTo>
                    <a:pt x="306" y="666"/>
                  </a:lnTo>
                  <a:lnTo>
                    <a:pt x="183" y="570"/>
                  </a:lnTo>
                  <a:lnTo>
                    <a:pt x="414" y="573"/>
                  </a:lnTo>
                  <a:lnTo>
                    <a:pt x="186" y="408"/>
                  </a:lnTo>
                  <a:lnTo>
                    <a:pt x="447" y="465"/>
                  </a:lnTo>
                  <a:lnTo>
                    <a:pt x="267" y="174"/>
                  </a:lnTo>
                  <a:lnTo>
                    <a:pt x="507" y="372"/>
                  </a:lnTo>
                  <a:lnTo>
                    <a:pt x="423" y="51"/>
                  </a:lnTo>
                  <a:lnTo>
                    <a:pt x="594" y="315"/>
                  </a:lnTo>
                  <a:lnTo>
                    <a:pt x="546" y="0"/>
                  </a:lnTo>
                  <a:lnTo>
                    <a:pt x="675" y="288"/>
                  </a:lnTo>
                  <a:lnTo>
                    <a:pt x="759" y="114"/>
                  </a:lnTo>
                  <a:lnTo>
                    <a:pt x="816" y="309"/>
                  </a:lnTo>
                  <a:lnTo>
                    <a:pt x="837" y="186"/>
                  </a:lnTo>
                  <a:lnTo>
                    <a:pt x="864" y="291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7487" tIns="183747" rIns="367487" bIns="183747" anchor="ctr"/>
            <a:lstStyle/>
            <a:p>
              <a:endParaRPr lang="es-ES" sz="971"/>
            </a:p>
          </p:txBody>
        </p:sp>
        <p:sp>
          <p:nvSpPr>
            <p:cNvPr id="889" name="Oval 244"/>
            <p:cNvSpPr>
              <a:spLocks noChangeArrowheads="1"/>
            </p:cNvSpPr>
            <p:nvPr/>
          </p:nvSpPr>
          <p:spPr bwMode="auto">
            <a:xfrm>
              <a:off x="4881344" y="494200"/>
              <a:ext cx="863745" cy="660181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s-ES" sz="971">
                  <a:solidFill>
                    <a:schemeClr val="bg1"/>
                  </a:solidFill>
                </a:rPr>
                <a:t>Texto</a:t>
              </a:r>
              <a:endParaRPr lang="es-ES" sz="971" dirty="0">
                <a:solidFill>
                  <a:schemeClr val="bg1"/>
                </a:solidFill>
              </a:endParaRPr>
            </a:p>
          </p:txBody>
        </p:sp>
        <p:sp>
          <p:nvSpPr>
            <p:cNvPr id="890" name="Rectangle 245"/>
            <p:cNvSpPr>
              <a:spLocks noChangeArrowheads="1"/>
            </p:cNvSpPr>
            <p:nvPr/>
          </p:nvSpPr>
          <p:spPr bwMode="auto">
            <a:xfrm>
              <a:off x="415080" y="1478403"/>
              <a:ext cx="889891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1" name="Rectangle 246"/>
            <p:cNvSpPr>
              <a:spLocks noChangeArrowheads="1"/>
            </p:cNvSpPr>
            <p:nvPr/>
          </p:nvSpPr>
          <p:spPr bwMode="auto">
            <a:xfrm>
              <a:off x="1701827" y="1478403"/>
              <a:ext cx="733017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2" name="Rectangle 247"/>
            <p:cNvSpPr>
              <a:spLocks noChangeArrowheads="1"/>
            </p:cNvSpPr>
            <p:nvPr/>
          </p:nvSpPr>
          <p:spPr bwMode="auto">
            <a:xfrm>
              <a:off x="2503009" y="1478403"/>
              <a:ext cx="733017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3" name="Rectangle 248"/>
            <p:cNvSpPr>
              <a:spLocks noChangeArrowheads="1"/>
            </p:cNvSpPr>
            <p:nvPr/>
          </p:nvSpPr>
          <p:spPr bwMode="auto">
            <a:xfrm>
              <a:off x="3283648" y="1478403"/>
              <a:ext cx="733017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4" name="Rectangle 249"/>
            <p:cNvSpPr>
              <a:spLocks noChangeArrowheads="1"/>
            </p:cNvSpPr>
            <p:nvPr/>
          </p:nvSpPr>
          <p:spPr bwMode="auto">
            <a:xfrm>
              <a:off x="4079228" y="1478403"/>
              <a:ext cx="733017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5" name="Rectangle 250"/>
            <p:cNvSpPr>
              <a:spLocks noChangeArrowheads="1"/>
            </p:cNvSpPr>
            <p:nvPr/>
          </p:nvSpPr>
          <p:spPr bwMode="auto">
            <a:xfrm>
              <a:off x="4947642" y="1478403"/>
              <a:ext cx="733017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95950" indent="-95950" defTabSz="738471">
                <a:buClr>
                  <a:schemeClr val="tx1"/>
                </a:buClr>
                <a:buSzPct val="90000"/>
                <a:buFont typeface="Arial" pitchFamily="34" charset="0"/>
                <a:buChar char="•"/>
              </a:pPr>
              <a:r>
                <a:rPr lang="es-ES" altLang="ko-KR" sz="971">
                  <a:ea typeface="Gulim" pitchFamily="34" charset="-127"/>
                </a:rPr>
                <a:t>Texto</a:t>
              </a:r>
              <a:endParaRPr lang="es-ES" altLang="ko-KR" sz="971" dirty="0">
                <a:ea typeface="Gulim" pitchFamily="34" charset="-127"/>
              </a:endParaRPr>
            </a:p>
          </p:txBody>
        </p:sp>
        <p:sp>
          <p:nvSpPr>
            <p:cNvPr id="896" name="Rectangle 251"/>
            <p:cNvSpPr>
              <a:spLocks noChangeArrowheads="1"/>
            </p:cNvSpPr>
            <p:nvPr/>
          </p:nvSpPr>
          <p:spPr bwMode="auto">
            <a:xfrm>
              <a:off x="508458" y="797678"/>
              <a:ext cx="683526" cy="1384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738471">
                <a:buClr>
                  <a:schemeClr val="tx1"/>
                </a:buClr>
                <a:buSzPct val="90000"/>
              </a:pPr>
              <a:r>
                <a:rPr lang="es-ES" altLang="ko-KR" sz="971">
                  <a:solidFill>
                    <a:schemeClr val="bg1"/>
                  </a:solidFill>
                  <a:ea typeface="Gulim" pitchFamily="34" charset="-127"/>
                </a:rPr>
                <a:t>Texto</a:t>
              </a:r>
              <a:endParaRPr lang="es-ES" altLang="ko-KR" sz="971" dirty="0">
                <a:solidFill>
                  <a:schemeClr val="bg1"/>
                </a:solidFill>
                <a:ea typeface="Gulim" pitchFamily="34" charset="-127"/>
              </a:endParaRPr>
            </a:p>
          </p:txBody>
        </p:sp>
      </p:grpSp>
      <p:grpSp>
        <p:nvGrpSpPr>
          <p:cNvPr id="1140" name="Group 2"/>
          <p:cNvGrpSpPr>
            <a:grpSpLocks/>
          </p:cNvGrpSpPr>
          <p:nvPr/>
        </p:nvGrpSpPr>
        <p:grpSpPr bwMode="auto">
          <a:xfrm>
            <a:off x="9231915" y="1525953"/>
            <a:ext cx="1207952" cy="1120612"/>
            <a:chOff x="1194" y="3152"/>
            <a:chExt cx="816" cy="757"/>
          </a:xfrm>
        </p:grpSpPr>
        <p:sp>
          <p:nvSpPr>
            <p:cNvPr id="1141" name="Rectangle 3"/>
            <p:cNvSpPr>
              <a:spLocks noChangeArrowheads="1"/>
            </p:cNvSpPr>
            <p:nvPr/>
          </p:nvSpPr>
          <p:spPr bwMode="auto">
            <a:xfrm>
              <a:off x="1293" y="3152"/>
              <a:ext cx="717" cy="6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lIns="0" tIns="0" rIns="155423" bIns="0"/>
            <a:lstStyle/>
            <a:p>
              <a:pPr algn="ctr" defTabSz="822427">
                <a:defRPr/>
              </a:pPr>
              <a:endParaRPr lang="ca-ES" sz="756" i="1" u="sng"/>
            </a:p>
          </p:txBody>
        </p:sp>
        <p:sp>
          <p:nvSpPr>
            <p:cNvPr id="1142" name="Rectangle 4"/>
            <p:cNvSpPr>
              <a:spLocks noChangeArrowheads="1"/>
            </p:cNvSpPr>
            <p:nvPr/>
          </p:nvSpPr>
          <p:spPr bwMode="auto">
            <a:xfrm>
              <a:off x="1267" y="3181"/>
              <a:ext cx="718" cy="646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lIns="0" tIns="0" rIns="155423" bIns="0"/>
            <a:lstStyle/>
            <a:p>
              <a:pPr algn="ctr" defTabSz="822427">
                <a:defRPr/>
              </a:pPr>
              <a:endParaRPr lang="ca-ES" sz="756" i="1"/>
            </a:p>
          </p:txBody>
        </p:sp>
        <p:sp>
          <p:nvSpPr>
            <p:cNvPr id="1143" name="Rectangle 5"/>
            <p:cNvSpPr>
              <a:spLocks noChangeArrowheads="1"/>
            </p:cNvSpPr>
            <p:nvPr/>
          </p:nvSpPr>
          <p:spPr bwMode="auto">
            <a:xfrm>
              <a:off x="1251" y="3192"/>
              <a:ext cx="718" cy="64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lIns="0" tIns="0" rIns="155423" bIns="0"/>
            <a:lstStyle/>
            <a:p>
              <a:pPr algn="ctr" defTabSz="822427">
                <a:defRPr/>
              </a:pPr>
              <a:endParaRPr lang="ca-ES" sz="756" i="1"/>
            </a:p>
          </p:txBody>
        </p:sp>
        <p:sp>
          <p:nvSpPr>
            <p:cNvPr id="1144" name="Rectangle 6"/>
            <p:cNvSpPr>
              <a:spLocks noChangeArrowheads="1"/>
            </p:cNvSpPr>
            <p:nvPr/>
          </p:nvSpPr>
          <p:spPr bwMode="auto">
            <a:xfrm>
              <a:off x="1235" y="3221"/>
              <a:ext cx="718" cy="64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lIns="0" tIns="0" rIns="155423" bIns="0"/>
            <a:lstStyle/>
            <a:p>
              <a:pPr algn="ctr" defTabSz="822427">
                <a:defRPr/>
              </a:pPr>
              <a:endParaRPr lang="ca-ES" sz="756" i="1"/>
            </a:p>
          </p:txBody>
        </p:sp>
        <p:sp>
          <p:nvSpPr>
            <p:cNvPr id="1145" name="Rectangle 7"/>
            <p:cNvSpPr>
              <a:spLocks noChangeArrowheads="1"/>
            </p:cNvSpPr>
            <p:nvPr/>
          </p:nvSpPr>
          <p:spPr bwMode="auto">
            <a:xfrm>
              <a:off x="1218" y="3263"/>
              <a:ext cx="717" cy="646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lIns="0" tIns="0" rIns="155423" bIns="0"/>
            <a:lstStyle/>
            <a:p>
              <a:pPr algn="ctr" defTabSz="822427">
                <a:defRPr/>
              </a:pPr>
              <a:endParaRPr lang="ca-ES" sz="756" i="1" u="sng"/>
            </a:p>
          </p:txBody>
        </p:sp>
        <p:sp>
          <p:nvSpPr>
            <p:cNvPr id="1146" name="Oval 8"/>
            <p:cNvSpPr>
              <a:spLocks noChangeArrowheads="1"/>
            </p:cNvSpPr>
            <p:nvPr/>
          </p:nvSpPr>
          <p:spPr bwMode="auto">
            <a:xfrm>
              <a:off x="1254" y="3273"/>
              <a:ext cx="33" cy="27"/>
            </a:xfrm>
            <a:prstGeom prst="ellipse">
              <a:avLst/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47" name="AutoShape 9"/>
            <p:cNvSpPr>
              <a:spLocks noChangeArrowheads="1"/>
            </p:cNvSpPr>
            <p:nvPr/>
          </p:nvSpPr>
          <p:spPr bwMode="auto">
            <a:xfrm>
              <a:off x="1323" y="3392"/>
              <a:ext cx="555" cy="349"/>
            </a:xfrm>
            <a:prstGeom prst="roundRect">
              <a:avLst>
                <a:gd name="adj" fmla="val 35222"/>
              </a:avLst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 defTabSz="822427"/>
              <a:r>
                <a:rPr lang="es-ES_tradnl" sz="756" i="1"/>
                <a:t>Planes de formación contínua</a:t>
              </a:r>
              <a:endParaRPr lang="ca-ES" sz="756" i="1"/>
            </a:p>
          </p:txBody>
        </p:sp>
        <p:sp>
          <p:nvSpPr>
            <p:cNvPr id="1148" name="AutoShape 10"/>
            <p:cNvSpPr>
              <a:spLocks noChangeArrowheads="1"/>
            </p:cNvSpPr>
            <p:nvPr/>
          </p:nvSpPr>
          <p:spPr bwMode="auto">
            <a:xfrm flipV="1">
              <a:off x="1194" y="3652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49" name="AutoShape 11"/>
            <p:cNvSpPr>
              <a:spLocks noChangeArrowheads="1"/>
            </p:cNvSpPr>
            <p:nvPr/>
          </p:nvSpPr>
          <p:spPr bwMode="auto">
            <a:xfrm flipV="1">
              <a:off x="1194" y="3610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0" name="AutoShape 12"/>
            <p:cNvSpPr>
              <a:spLocks noChangeArrowheads="1"/>
            </p:cNvSpPr>
            <p:nvPr/>
          </p:nvSpPr>
          <p:spPr bwMode="auto">
            <a:xfrm flipV="1">
              <a:off x="1194" y="3565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1" name="AutoShape 13"/>
            <p:cNvSpPr>
              <a:spLocks noChangeArrowheads="1"/>
            </p:cNvSpPr>
            <p:nvPr/>
          </p:nvSpPr>
          <p:spPr bwMode="auto">
            <a:xfrm flipV="1">
              <a:off x="1194" y="3520"/>
              <a:ext cx="80" cy="162"/>
            </a:xfrm>
            <a:prstGeom prst="curvedRightArrow">
              <a:avLst>
                <a:gd name="adj1" fmla="val 19059"/>
                <a:gd name="adj2" fmla="val 19059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2" name="AutoShape 14"/>
            <p:cNvSpPr>
              <a:spLocks noChangeArrowheads="1"/>
            </p:cNvSpPr>
            <p:nvPr/>
          </p:nvSpPr>
          <p:spPr bwMode="auto">
            <a:xfrm flipV="1">
              <a:off x="1194" y="3475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3" name="AutoShape 15"/>
            <p:cNvSpPr>
              <a:spLocks noChangeArrowheads="1"/>
            </p:cNvSpPr>
            <p:nvPr/>
          </p:nvSpPr>
          <p:spPr bwMode="auto">
            <a:xfrm flipV="1">
              <a:off x="1194" y="3430"/>
              <a:ext cx="80" cy="162"/>
            </a:xfrm>
            <a:prstGeom prst="curvedRightArrow">
              <a:avLst>
                <a:gd name="adj1" fmla="val 19059"/>
                <a:gd name="adj2" fmla="val 19059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4" name="AutoShape 16"/>
            <p:cNvSpPr>
              <a:spLocks noChangeArrowheads="1"/>
            </p:cNvSpPr>
            <p:nvPr/>
          </p:nvSpPr>
          <p:spPr bwMode="auto">
            <a:xfrm flipV="1">
              <a:off x="1194" y="3384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5" name="AutoShape 17"/>
            <p:cNvSpPr>
              <a:spLocks noChangeArrowheads="1"/>
            </p:cNvSpPr>
            <p:nvPr/>
          </p:nvSpPr>
          <p:spPr bwMode="auto">
            <a:xfrm flipV="1">
              <a:off x="1194" y="3339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6" name="AutoShape 18"/>
            <p:cNvSpPr>
              <a:spLocks noChangeArrowheads="1"/>
            </p:cNvSpPr>
            <p:nvPr/>
          </p:nvSpPr>
          <p:spPr bwMode="auto">
            <a:xfrm flipV="1">
              <a:off x="1194" y="3294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7" name="AutoShape 19"/>
            <p:cNvSpPr>
              <a:spLocks noChangeArrowheads="1"/>
            </p:cNvSpPr>
            <p:nvPr/>
          </p:nvSpPr>
          <p:spPr bwMode="auto">
            <a:xfrm flipV="1">
              <a:off x="1194" y="3249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8" name="AutoShape 20"/>
            <p:cNvSpPr>
              <a:spLocks noChangeArrowheads="1"/>
            </p:cNvSpPr>
            <p:nvPr/>
          </p:nvSpPr>
          <p:spPr bwMode="auto">
            <a:xfrm flipV="1">
              <a:off x="1194" y="3203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59" name="AutoShape 21"/>
            <p:cNvSpPr>
              <a:spLocks noChangeArrowheads="1"/>
            </p:cNvSpPr>
            <p:nvPr/>
          </p:nvSpPr>
          <p:spPr bwMode="auto">
            <a:xfrm flipV="1">
              <a:off x="1194" y="3158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60" name="AutoShape 22"/>
            <p:cNvSpPr>
              <a:spLocks noChangeArrowheads="1"/>
            </p:cNvSpPr>
            <p:nvPr/>
          </p:nvSpPr>
          <p:spPr bwMode="auto">
            <a:xfrm flipV="1">
              <a:off x="1194" y="3690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  <p:sp>
          <p:nvSpPr>
            <p:cNvPr id="1161" name="AutoShape 23"/>
            <p:cNvSpPr>
              <a:spLocks noChangeArrowheads="1"/>
            </p:cNvSpPr>
            <p:nvPr/>
          </p:nvSpPr>
          <p:spPr bwMode="auto">
            <a:xfrm flipV="1">
              <a:off x="1194" y="3731"/>
              <a:ext cx="80" cy="163"/>
            </a:xfrm>
            <a:prstGeom prst="curvedRightArrow">
              <a:avLst>
                <a:gd name="adj1" fmla="val 19177"/>
                <a:gd name="adj2" fmla="val 19177"/>
                <a:gd name="adj3" fmla="val 97764"/>
              </a:avLst>
            </a:prstGeom>
            <a:gradFill rotWithShape="0">
              <a:gsLst>
                <a:gs pos="0">
                  <a:srgbClr val="FFFFFF"/>
                </a:gs>
                <a:gs pos="50000">
                  <a:srgbClr val="333399"/>
                </a:gs>
                <a:gs pos="100000">
                  <a:srgbClr val="FFFFFF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s-ES" sz="756"/>
            </a:p>
          </p:txBody>
        </p:sp>
      </p:grpSp>
      <p:grpSp>
        <p:nvGrpSpPr>
          <p:cNvPr id="1162" name="Group 1864"/>
          <p:cNvGrpSpPr>
            <a:grpSpLocks/>
          </p:cNvGrpSpPr>
          <p:nvPr/>
        </p:nvGrpSpPr>
        <p:grpSpPr bwMode="auto">
          <a:xfrm>
            <a:off x="8921035" y="360150"/>
            <a:ext cx="1543801" cy="1029772"/>
            <a:chOff x="671" y="1570"/>
            <a:chExt cx="608" cy="406"/>
          </a:xfrm>
        </p:grpSpPr>
        <p:grpSp>
          <p:nvGrpSpPr>
            <p:cNvPr id="1163" name="Group 1865"/>
            <p:cNvGrpSpPr>
              <a:grpSpLocks/>
            </p:cNvGrpSpPr>
            <p:nvPr/>
          </p:nvGrpSpPr>
          <p:grpSpPr bwMode="auto">
            <a:xfrm>
              <a:off x="691" y="1570"/>
              <a:ext cx="588" cy="406"/>
              <a:chOff x="691" y="1570"/>
              <a:chExt cx="588" cy="406"/>
            </a:xfrm>
          </p:grpSpPr>
          <p:sp>
            <p:nvSpPr>
              <p:cNvPr id="1235" name="Rectangle 1866"/>
              <p:cNvSpPr>
                <a:spLocks noChangeArrowheads="1"/>
              </p:cNvSpPr>
              <p:nvPr/>
            </p:nvSpPr>
            <p:spPr bwMode="auto">
              <a:xfrm>
                <a:off x="704" y="1578"/>
                <a:ext cx="575" cy="398"/>
              </a:xfrm>
              <a:prstGeom prst="rect">
                <a:avLst/>
              </a:prstGeom>
              <a:solidFill>
                <a:schemeClr val="accent2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lIns="87646" tIns="43053" rIns="87646" bIns="43053" anchor="ctr"/>
              <a:lstStyle/>
              <a:p>
                <a:pPr defTabSz="738471"/>
                <a:endParaRPr lang="fr-FR" sz="756"/>
              </a:p>
            </p:txBody>
          </p:sp>
          <p:sp>
            <p:nvSpPr>
              <p:cNvPr id="1236" name="AutoShape 1867"/>
              <p:cNvSpPr>
                <a:spLocks noChangeArrowheads="1"/>
              </p:cNvSpPr>
              <p:nvPr/>
            </p:nvSpPr>
            <p:spPr bwMode="auto">
              <a:xfrm>
                <a:off x="691" y="1570"/>
                <a:ext cx="575" cy="398"/>
              </a:xfrm>
              <a:prstGeom prst="foldedCorner">
                <a:avLst>
                  <a:gd name="adj" fmla="val 12500"/>
                </a:avLst>
              </a:prstGeom>
              <a:solidFill>
                <a:schemeClr val="accent3"/>
              </a:solidFill>
              <a:ln w="12700">
                <a:noFill/>
                <a:round/>
                <a:headEnd/>
                <a:tailEnd/>
              </a:ln>
            </p:spPr>
            <p:txBody>
              <a:bodyPr lIns="87646" tIns="43053" rIns="87646" bIns="43053" anchor="ctr"/>
              <a:lstStyle/>
              <a:p>
                <a:pPr defTabSz="738471"/>
                <a:endParaRPr lang="fr-FR" sz="756"/>
              </a:p>
            </p:txBody>
          </p:sp>
        </p:grpSp>
        <p:grpSp>
          <p:nvGrpSpPr>
            <p:cNvPr id="1164" name="Group 1868"/>
            <p:cNvGrpSpPr>
              <a:grpSpLocks/>
            </p:cNvGrpSpPr>
            <p:nvPr/>
          </p:nvGrpSpPr>
          <p:grpSpPr bwMode="auto">
            <a:xfrm>
              <a:off x="671" y="1579"/>
              <a:ext cx="40" cy="386"/>
              <a:chOff x="671" y="1579"/>
              <a:chExt cx="40" cy="386"/>
            </a:xfrm>
          </p:grpSpPr>
          <p:grpSp>
            <p:nvGrpSpPr>
              <p:cNvPr id="1166" name="Group 1869"/>
              <p:cNvGrpSpPr>
                <a:grpSpLocks/>
              </p:cNvGrpSpPr>
              <p:nvPr/>
            </p:nvGrpSpPr>
            <p:grpSpPr bwMode="auto">
              <a:xfrm>
                <a:off x="671" y="1579"/>
                <a:ext cx="40" cy="16"/>
                <a:chOff x="671" y="1579"/>
                <a:chExt cx="40" cy="16"/>
              </a:xfrm>
            </p:grpSpPr>
            <p:sp>
              <p:nvSpPr>
                <p:cNvPr id="1233" name="Oval 1870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579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34" name="Arc 1871"/>
                <p:cNvSpPr>
                  <a:spLocks/>
                </p:cNvSpPr>
                <p:nvPr/>
              </p:nvSpPr>
              <p:spPr bwMode="auto">
                <a:xfrm>
                  <a:off x="671" y="1581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67" name="Group 1872"/>
              <p:cNvGrpSpPr>
                <a:grpSpLocks/>
              </p:cNvGrpSpPr>
              <p:nvPr/>
            </p:nvGrpSpPr>
            <p:grpSpPr bwMode="auto">
              <a:xfrm>
                <a:off x="671" y="1596"/>
                <a:ext cx="40" cy="16"/>
                <a:chOff x="671" y="1596"/>
                <a:chExt cx="40" cy="16"/>
              </a:xfrm>
            </p:grpSpPr>
            <p:sp>
              <p:nvSpPr>
                <p:cNvPr id="1231" name="Oval 1873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596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32" name="Arc 1874"/>
                <p:cNvSpPr>
                  <a:spLocks/>
                </p:cNvSpPr>
                <p:nvPr/>
              </p:nvSpPr>
              <p:spPr bwMode="auto">
                <a:xfrm>
                  <a:off x="671" y="1598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68" name="Group 1875"/>
              <p:cNvGrpSpPr>
                <a:grpSpLocks/>
              </p:cNvGrpSpPr>
              <p:nvPr/>
            </p:nvGrpSpPr>
            <p:grpSpPr bwMode="auto">
              <a:xfrm>
                <a:off x="671" y="1613"/>
                <a:ext cx="40" cy="16"/>
                <a:chOff x="671" y="1613"/>
                <a:chExt cx="40" cy="16"/>
              </a:xfrm>
            </p:grpSpPr>
            <p:sp>
              <p:nvSpPr>
                <p:cNvPr id="1229" name="Oval 1876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13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30" name="Arc 1877"/>
                <p:cNvSpPr>
                  <a:spLocks/>
                </p:cNvSpPr>
                <p:nvPr/>
              </p:nvSpPr>
              <p:spPr bwMode="auto">
                <a:xfrm>
                  <a:off x="671" y="1615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69" name="Group 1878"/>
              <p:cNvGrpSpPr>
                <a:grpSpLocks/>
              </p:cNvGrpSpPr>
              <p:nvPr/>
            </p:nvGrpSpPr>
            <p:grpSpPr bwMode="auto">
              <a:xfrm>
                <a:off x="671" y="1629"/>
                <a:ext cx="40" cy="16"/>
                <a:chOff x="671" y="1629"/>
                <a:chExt cx="40" cy="16"/>
              </a:xfrm>
            </p:grpSpPr>
            <p:sp>
              <p:nvSpPr>
                <p:cNvPr id="1227" name="Oval 1879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29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28" name="Arc 1880"/>
                <p:cNvSpPr>
                  <a:spLocks/>
                </p:cNvSpPr>
                <p:nvPr/>
              </p:nvSpPr>
              <p:spPr bwMode="auto">
                <a:xfrm>
                  <a:off x="671" y="1631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0" name="Group 1881"/>
              <p:cNvGrpSpPr>
                <a:grpSpLocks/>
              </p:cNvGrpSpPr>
              <p:nvPr/>
            </p:nvGrpSpPr>
            <p:grpSpPr bwMode="auto">
              <a:xfrm>
                <a:off x="671" y="1646"/>
                <a:ext cx="40" cy="16"/>
                <a:chOff x="671" y="1646"/>
                <a:chExt cx="40" cy="16"/>
              </a:xfrm>
            </p:grpSpPr>
            <p:sp>
              <p:nvSpPr>
                <p:cNvPr id="1225" name="Oval 1882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46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26" name="Arc 1883"/>
                <p:cNvSpPr>
                  <a:spLocks/>
                </p:cNvSpPr>
                <p:nvPr/>
              </p:nvSpPr>
              <p:spPr bwMode="auto">
                <a:xfrm>
                  <a:off x="671" y="1648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1" name="Group 1884"/>
              <p:cNvGrpSpPr>
                <a:grpSpLocks/>
              </p:cNvGrpSpPr>
              <p:nvPr/>
            </p:nvGrpSpPr>
            <p:grpSpPr bwMode="auto">
              <a:xfrm>
                <a:off x="671" y="1663"/>
                <a:ext cx="40" cy="16"/>
                <a:chOff x="671" y="1663"/>
                <a:chExt cx="40" cy="16"/>
              </a:xfrm>
            </p:grpSpPr>
            <p:sp>
              <p:nvSpPr>
                <p:cNvPr id="1223" name="Oval 1885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63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24" name="Arc 1886"/>
                <p:cNvSpPr>
                  <a:spLocks/>
                </p:cNvSpPr>
                <p:nvPr/>
              </p:nvSpPr>
              <p:spPr bwMode="auto">
                <a:xfrm>
                  <a:off x="671" y="1665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2" name="Group 1887"/>
              <p:cNvGrpSpPr>
                <a:grpSpLocks/>
              </p:cNvGrpSpPr>
              <p:nvPr/>
            </p:nvGrpSpPr>
            <p:grpSpPr bwMode="auto">
              <a:xfrm>
                <a:off x="671" y="1680"/>
                <a:ext cx="40" cy="16"/>
                <a:chOff x="671" y="1680"/>
                <a:chExt cx="40" cy="16"/>
              </a:xfrm>
            </p:grpSpPr>
            <p:sp>
              <p:nvSpPr>
                <p:cNvPr id="1221" name="Oval 1888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80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22" name="Arc 1889"/>
                <p:cNvSpPr>
                  <a:spLocks/>
                </p:cNvSpPr>
                <p:nvPr/>
              </p:nvSpPr>
              <p:spPr bwMode="auto">
                <a:xfrm>
                  <a:off x="671" y="1682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3" name="Group 1890"/>
              <p:cNvGrpSpPr>
                <a:grpSpLocks/>
              </p:cNvGrpSpPr>
              <p:nvPr/>
            </p:nvGrpSpPr>
            <p:grpSpPr bwMode="auto">
              <a:xfrm>
                <a:off x="671" y="1696"/>
                <a:ext cx="40" cy="16"/>
                <a:chOff x="671" y="1696"/>
                <a:chExt cx="40" cy="16"/>
              </a:xfrm>
            </p:grpSpPr>
            <p:sp>
              <p:nvSpPr>
                <p:cNvPr id="1219" name="Oval 1891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696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20" name="Arc 1892"/>
                <p:cNvSpPr>
                  <a:spLocks/>
                </p:cNvSpPr>
                <p:nvPr/>
              </p:nvSpPr>
              <p:spPr bwMode="auto">
                <a:xfrm>
                  <a:off x="671" y="1698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4" name="Group 1893"/>
              <p:cNvGrpSpPr>
                <a:grpSpLocks/>
              </p:cNvGrpSpPr>
              <p:nvPr/>
            </p:nvGrpSpPr>
            <p:grpSpPr bwMode="auto">
              <a:xfrm>
                <a:off x="671" y="1713"/>
                <a:ext cx="40" cy="16"/>
                <a:chOff x="671" y="1713"/>
                <a:chExt cx="40" cy="16"/>
              </a:xfrm>
            </p:grpSpPr>
            <p:sp>
              <p:nvSpPr>
                <p:cNvPr id="1217" name="Oval 1894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13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18" name="Arc 1895"/>
                <p:cNvSpPr>
                  <a:spLocks/>
                </p:cNvSpPr>
                <p:nvPr/>
              </p:nvSpPr>
              <p:spPr bwMode="auto">
                <a:xfrm>
                  <a:off x="671" y="1715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5" name="Group 1896"/>
              <p:cNvGrpSpPr>
                <a:grpSpLocks/>
              </p:cNvGrpSpPr>
              <p:nvPr/>
            </p:nvGrpSpPr>
            <p:grpSpPr bwMode="auto">
              <a:xfrm>
                <a:off x="671" y="1730"/>
                <a:ext cx="40" cy="16"/>
                <a:chOff x="671" y="1730"/>
                <a:chExt cx="40" cy="16"/>
              </a:xfrm>
            </p:grpSpPr>
            <p:sp>
              <p:nvSpPr>
                <p:cNvPr id="1215" name="Oval 1897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30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16" name="Arc 1898"/>
                <p:cNvSpPr>
                  <a:spLocks/>
                </p:cNvSpPr>
                <p:nvPr/>
              </p:nvSpPr>
              <p:spPr bwMode="auto">
                <a:xfrm>
                  <a:off x="671" y="1732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6" name="Group 1899"/>
              <p:cNvGrpSpPr>
                <a:grpSpLocks/>
              </p:cNvGrpSpPr>
              <p:nvPr/>
            </p:nvGrpSpPr>
            <p:grpSpPr bwMode="auto">
              <a:xfrm>
                <a:off x="671" y="1747"/>
                <a:ext cx="40" cy="16"/>
                <a:chOff x="671" y="1747"/>
                <a:chExt cx="40" cy="16"/>
              </a:xfrm>
            </p:grpSpPr>
            <p:sp>
              <p:nvSpPr>
                <p:cNvPr id="1213" name="Oval 1900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47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14" name="Arc 1901"/>
                <p:cNvSpPr>
                  <a:spLocks/>
                </p:cNvSpPr>
                <p:nvPr/>
              </p:nvSpPr>
              <p:spPr bwMode="auto">
                <a:xfrm>
                  <a:off x="671" y="1749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7" name="Group 1902"/>
              <p:cNvGrpSpPr>
                <a:grpSpLocks/>
              </p:cNvGrpSpPr>
              <p:nvPr/>
            </p:nvGrpSpPr>
            <p:grpSpPr bwMode="auto">
              <a:xfrm>
                <a:off x="671" y="1764"/>
                <a:ext cx="40" cy="16"/>
                <a:chOff x="671" y="1764"/>
                <a:chExt cx="40" cy="16"/>
              </a:xfrm>
            </p:grpSpPr>
            <p:sp>
              <p:nvSpPr>
                <p:cNvPr id="1211" name="Oval 1903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64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12" name="Arc 1904"/>
                <p:cNvSpPr>
                  <a:spLocks/>
                </p:cNvSpPr>
                <p:nvPr/>
              </p:nvSpPr>
              <p:spPr bwMode="auto">
                <a:xfrm>
                  <a:off x="671" y="1766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8" name="Group 1905"/>
              <p:cNvGrpSpPr>
                <a:grpSpLocks/>
              </p:cNvGrpSpPr>
              <p:nvPr/>
            </p:nvGrpSpPr>
            <p:grpSpPr bwMode="auto">
              <a:xfrm>
                <a:off x="671" y="1781"/>
                <a:ext cx="40" cy="16"/>
                <a:chOff x="671" y="1781"/>
                <a:chExt cx="40" cy="16"/>
              </a:xfrm>
            </p:grpSpPr>
            <p:sp>
              <p:nvSpPr>
                <p:cNvPr id="1209" name="Oval 1906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81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10" name="Arc 1907"/>
                <p:cNvSpPr>
                  <a:spLocks/>
                </p:cNvSpPr>
                <p:nvPr/>
              </p:nvSpPr>
              <p:spPr bwMode="auto">
                <a:xfrm>
                  <a:off x="671" y="1783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79" name="Group 1908"/>
              <p:cNvGrpSpPr>
                <a:grpSpLocks/>
              </p:cNvGrpSpPr>
              <p:nvPr/>
            </p:nvGrpSpPr>
            <p:grpSpPr bwMode="auto">
              <a:xfrm>
                <a:off x="671" y="1798"/>
                <a:ext cx="40" cy="16"/>
                <a:chOff x="671" y="1798"/>
                <a:chExt cx="40" cy="16"/>
              </a:xfrm>
            </p:grpSpPr>
            <p:sp>
              <p:nvSpPr>
                <p:cNvPr id="1207" name="Oval 1909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798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08" name="Arc 1910"/>
                <p:cNvSpPr>
                  <a:spLocks/>
                </p:cNvSpPr>
                <p:nvPr/>
              </p:nvSpPr>
              <p:spPr bwMode="auto">
                <a:xfrm>
                  <a:off x="671" y="1800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0" name="Group 1911"/>
              <p:cNvGrpSpPr>
                <a:grpSpLocks/>
              </p:cNvGrpSpPr>
              <p:nvPr/>
            </p:nvGrpSpPr>
            <p:grpSpPr bwMode="auto">
              <a:xfrm>
                <a:off x="671" y="1814"/>
                <a:ext cx="40" cy="16"/>
                <a:chOff x="671" y="1814"/>
                <a:chExt cx="40" cy="16"/>
              </a:xfrm>
            </p:grpSpPr>
            <p:sp>
              <p:nvSpPr>
                <p:cNvPr id="1205" name="Oval 1912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14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06" name="Arc 1913"/>
                <p:cNvSpPr>
                  <a:spLocks/>
                </p:cNvSpPr>
                <p:nvPr/>
              </p:nvSpPr>
              <p:spPr bwMode="auto">
                <a:xfrm>
                  <a:off x="671" y="1816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1" name="Group 1914"/>
              <p:cNvGrpSpPr>
                <a:grpSpLocks/>
              </p:cNvGrpSpPr>
              <p:nvPr/>
            </p:nvGrpSpPr>
            <p:grpSpPr bwMode="auto">
              <a:xfrm>
                <a:off x="671" y="1831"/>
                <a:ext cx="40" cy="16"/>
                <a:chOff x="671" y="1831"/>
                <a:chExt cx="40" cy="16"/>
              </a:xfrm>
            </p:grpSpPr>
            <p:sp>
              <p:nvSpPr>
                <p:cNvPr id="1203" name="Oval 1915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31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04" name="Arc 1916"/>
                <p:cNvSpPr>
                  <a:spLocks/>
                </p:cNvSpPr>
                <p:nvPr/>
              </p:nvSpPr>
              <p:spPr bwMode="auto">
                <a:xfrm>
                  <a:off x="671" y="1833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2" name="Group 1917"/>
              <p:cNvGrpSpPr>
                <a:grpSpLocks/>
              </p:cNvGrpSpPr>
              <p:nvPr/>
            </p:nvGrpSpPr>
            <p:grpSpPr bwMode="auto">
              <a:xfrm>
                <a:off x="671" y="1848"/>
                <a:ext cx="40" cy="16"/>
                <a:chOff x="671" y="1848"/>
                <a:chExt cx="40" cy="16"/>
              </a:xfrm>
            </p:grpSpPr>
            <p:sp>
              <p:nvSpPr>
                <p:cNvPr id="1201" name="Oval 1918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48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02" name="Arc 1919"/>
                <p:cNvSpPr>
                  <a:spLocks/>
                </p:cNvSpPr>
                <p:nvPr/>
              </p:nvSpPr>
              <p:spPr bwMode="auto">
                <a:xfrm>
                  <a:off x="671" y="1850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3" name="Group 1920"/>
              <p:cNvGrpSpPr>
                <a:grpSpLocks/>
              </p:cNvGrpSpPr>
              <p:nvPr/>
            </p:nvGrpSpPr>
            <p:grpSpPr bwMode="auto">
              <a:xfrm>
                <a:off x="671" y="1865"/>
                <a:ext cx="40" cy="16"/>
                <a:chOff x="671" y="1865"/>
                <a:chExt cx="40" cy="16"/>
              </a:xfrm>
            </p:grpSpPr>
            <p:sp>
              <p:nvSpPr>
                <p:cNvPr id="1199" name="Oval 1921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65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200" name="Arc 1922"/>
                <p:cNvSpPr>
                  <a:spLocks/>
                </p:cNvSpPr>
                <p:nvPr/>
              </p:nvSpPr>
              <p:spPr bwMode="auto">
                <a:xfrm>
                  <a:off x="671" y="1867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4" name="Group 1923"/>
              <p:cNvGrpSpPr>
                <a:grpSpLocks/>
              </p:cNvGrpSpPr>
              <p:nvPr/>
            </p:nvGrpSpPr>
            <p:grpSpPr bwMode="auto">
              <a:xfrm>
                <a:off x="671" y="1881"/>
                <a:ext cx="40" cy="16"/>
                <a:chOff x="671" y="1881"/>
                <a:chExt cx="40" cy="16"/>
              </a:xfrm>
            </p:grpSpPr>
            <p:sp>
              <p:nvSpPr>
                <p:cNvPr id="1197" name="Oval 1924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81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198" name="Arc 1925"/>
                <p:cNvSpPr>
                  <a:spLocks/>
                </p:cNvSpPr>
                <p:nvPr/>
              </p:nvSpPr>
              <p:spPr bwMode="auto">
                <a:xfrm>
                  <a:off x="671" y="1883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5" name="Group 1926"/>
              <p:cNvGrpSpPr>
                <a:grpSpLocks/>
              </p:cNvGrpSpPr>
              <p:nvPr/>
            </p:nvGrpSpPr>
            <p:grpSpPr bwMode="auto">
              <a:xfrm>
                <a:off x="671" y="1898"/>
                <a:ext cx="40" cy="16"/>
                <a:chOff x="671" y="1898"/>
                <a:chExt cx="40" cy="16"/>
              </a:xfrm>
            </p:grpSpPr>
            <p:sp>
              <p:nvSpPr>
                <p:cNvPr id="1195" name="Oval 1927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898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196" name="Arc 1928"/>
                <p:cNvSpPr>
                  <a:spLocks/>
                </p:cNvSpPr>
                <p:nvPr/>
              </p:nvSpPr>
              <p:spPr bwMode="auto">
                <a:xfrm>
                  <a:off x="671" y="1900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6" name="Group 1929"/>
              <p:cNvGrpSpPr>
                <a:grpSpLocks/>
              </p:cNvGrpSpPr>
              <p:nvPr/>
            </p:nvGrpSpPr>
            <p:grpSpPr bwMode="auto">
              <a:xfrm>
                <a:off x="671" y="1915"/>
                <a:ext cx="40" cy="16"/>
                <a:chOff x="671" y="1915"/>
                <a:chExt cx="40" cy="16"/>
              </a:xfrm>
            </p:grpSpPr>
            <p:sp>
              <p:nvSpPr>
                <p:cNvPr id="1193" name="Oval 1930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915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194" name="Arc 1931"/>
                <p:cNvSpPr>
                  <a:spLocks/>
                </p:cNvSpPr>
                <p:nvPr/>
              </p:nvSpPr>
              <p:spPr bwMode="auto">
                <a:xfrm>
                  <a:off x="671" y="1917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7" name="Group 1932"/>
              <p:cNvGrpSpPr>
                <a:grpSpLocks/>
              </p:cNvGrpSpPr>
              <p:nvPr/>
            </p:nvGrpSpPr>
            <p:grpSpPr bwMode="auto">
              <a:xfrm>
                <a:off x="671" y="1932"/>
                <a:ext cx="40" cy="16"/>
                <a:chOff x="671" y="1932"/>
                <a:chExt cx="40" cy="16"/>
              </a:xfrm>
            </p:grpSpPr>
            <p:sp>
              <p:nvSpPr>
                <p:cNvPr id="1191" name="Oval 1933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932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192" name="Arc 1934"/>
                <p:cNvSpPr>
                  <a:spLocks/>
                </p:cNvSpPr>
                <p:nvPr/>
              </p:nvSpPr>
              <p:spPr bwMode="auto">
                <a:xfrm>
                  <a:off x="671" y="1934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  <p:grpSp>
            <p:nvGrpSpPr>
              <p:cNvPr id="1188" name="Group 1935"/>
              <p:cNvGrpSpPr>
                <a:grpSpLocks/>
              </p:cNvGrpSpPr>
              <p:nvPr/>
            </p:nvGrpSpPr>
            <p:grpSpPr bwMode="auto">
              <a:xfrm>
                <a:off x="671" y="1949"/>
                <a:ext cx="40" cy="16"/>
                <a:chOff x="671" y="1949"/>
                <a:chExt cx="40" cy="16"/>
              </a:xfrm>
            </p:grpSpPr>
            <p:sp>
              <p:nvSpPr>
                <p:cNvPr id="1189" name="Oval 1936"/>
                <p:cNvSpPr>
                  <a:spLocks noChangeAspect="1" noChangeArrowheads="1"/>
                </p:cNvSpPr>
                <p:nvPr/>
              </p:nvSpPr>
              <p:spPr bwMode="auto">
                <a:xfrm>
                  <a:off x="701" y="1949"/>
                  <a:ext cx="10" cy="10"/>
                </a:xfrm>
                <a:prstGeom prst="ellipse">
                  <a:avLst/>
                </a:prstGeom>
                <a:solidFill>
                  <a:srgbClr val="006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es-ES" sz="756"/>
                </a:p>
              </p:txBody>
            </p:sp>
            <p:sp>
              <p:nvSpPr>
                <p:cNvPr id="1190" name="Arc 1937"/>
                <p:cNvSpPr>
                  <a:spLocks/>
                </p:cNvSpPr>
                <p:nvPr/>
              </p:nvSpPr>
              <p:spPr bwMode="auto">
                <a:xfrm>
                  <a:off x="671" y="1951"/>
                  <a:ext cx="39" cy="14"/>
                </a:xfrm>
                <a:custGeom>
                  <a:avLst/>
                  <a:gdLst>
                    <a:gd name="T0" fmla="*/ 36 w 43200"/>
                    <a:gd name="T1" fmla="*/ 3 h 43087"/>
                    <a:gd name="T2" fmla="*/ 18 w 43200"/>
                    <a:gd name="T3" fmla="*/ 0 h 43087"/>
                    <a:gd name="T4" fmla="*/ 20 w 43200"/>
                    <a:gd name="T5" fmla="*/ 7 h 43087"/>
                    <a:gd name="T6" fmla="*/ 0 60000 65536"/>
                    <a:gd name="T7" fmla="*/ 0 60000 65536"/>
                    <a:gd name="T8" fmla="*/ 0 60000 65536"/>
                    <a:gd name="T9" fmla="*/ 0 w 43200"/>
                    <a:gd name="T10" fmla="*/ 0 h 43087"/>
                    <a:gd name="T11" fmla="*/ 43200 w 43200"/>
                    <a:gd name="T12" fmla="*/ 43087 h 430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43200" h="43087" fill="none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</a:path>
                    <a:path w="43200" h="43087" stroke="0" extrusionOk="0">
                      <a:moveTo>
                        <a:pt x="39572" y="9505"/>
                      </a:moveTo>
                      <a:cubicBezTo>
                        <a:pt x="41937" y="13053"/>
                        <a:pt x="43200" y="17222"/>
                        <a:pt x="43200" y="21487"/>
                      </a:cubicBezTo>
                      <a:cubicBezTo>
                        <a:pt x="43200" y="33416"/>
                        <a:pt x="33529" y="43087"/>
                        <a:pt x="21600" y="43087"/>
                      </a:cubicBezTo>
                      <a:cubicBezTo>
                        <a:pt x="9670" y="43087"/>
                        <a:pt x="0" y="33416"/>
                        <a:pt x="0" y="21487"/>
                      </a:cubicBezTo>
                      <a:cubicBezTo>
                        <a:pt x="-1" y="10413"/>
                        <a:pt x="8374" y="1133"/>
                        <a:pt x="19390" y="0"/>
                      </a:cubicBezTo>
                      <a:lnTo>
                        <a:pt x="21600" y="21487"/>
                      </a:lnTo>
                      <a:close/>
                    </a:path>
                  </a:pathLst>
                </a:cu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endParaRPr lang="ca-ES" sz="756"/>
                </a:p>
              </p:txBody>
            </p:sp>
          </p:grpSp>
        </p:grpSp>
        <p:sp>
          <p:nvSpPr>
            <p:cNvPr id="1165" name="AutoShape 1938"/>
            <p:cNvSpPr>
              <a:spLocks noChangeArrowheads="1"/>
            </p:cNvSpPr>
            <p:nvPr/>
          </p:nvSpPr>
          <p:spPr bwMode="auto">
            <a:xfrm>
              <a:off x="785" y="1667"/>
              <a:ext cx="389" cy="22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2700">
              <a:noFill/>
              <a:round/>
              <a:headEnd/>
              <a:tailEnd/>
            </a:ln>
          </p:spPr>
          <p:txBody>
            <a:bodyPr lIns="11657" tIns="43053" rIns="11657" bIns="43053" anchor="ctr"/>
            <a:lstStyle/>
            <a:p>
              <a:pPr algn="ctr" defTabSz="738471"/>
              <a:r>
                <a:rPr lang="fr-FR" sz="756"/>
                <a:t>xxxx</a:t>
              </a:r>
              <a:endParaRPr lang="fr-FR" sz="756" dirty="0"/>
            </a:p>
          </p:txBody>
        </p:sp>
      </p:grpSp>
      <p:grpSp>
        <p:nvGrpSpPr>
          <p:cNvPr id="1237" name="2154 Grupo"/>
          <p:cNvGrpSpPr>
            <a:grpSpLocks/>
          </p:cNvGrpSpPr>
          <p:nvPr/>
        </p:nvGrpSpPr>
        <p:grpSpPr bwMode="auto">
          <a:xfrm>
            <a:off x="7592137" y="360149"/>
            <a:ext cx="1251177" cy="1088084"/>
            <a:chOff x="5129582" y="4264025"/>
            <a:chExt cx="1668465" cy="1450976"/>
          </a:xfrm>
        </p:grpSpPr>
        <p:grpSp>
          <p:nvGrpSpPr>
            <p:cNvPr id="1238" name="3536 Grupo"/>
            <p:cNvGrpSpPr>
              <a:grpSpLocks/>
            </p:cNvGrpSpPr>
            <p:nvPr/>
          </p:nvGrpSpPr>
          <p:grpSpPr bwMode="auto">
            <a:xfrm>
              <a:off x="5129582" y="4264025"/>
              <a:ext cx="1668465" cy="1450976"/>
              <a:chOff x="7451515" y="1479550"/>
              <a:chExt cx="1668465" cy="1244600"/>
            </a:xfrm>
          </p:grpSpPr>
          <p:sp>
            <p:nvSpPr>
              <p:cNvPr id="1240" name="Rectangle 981"/>
              <p:cNvSpPr>
                <a:spLocks noChangeArrowheads="1"/>
              </p:cNvSpPr>
              <p:nvPr/>
            </p:nvSpPr>
            <p:spPr bwMode="auto">
              <a:xfrm rot="16200000">
                <a:off x="7690435" y="1294605"/>
                <a:ext cx="1244600" cy="1614490"/>
              </a:xfrm>
              <a:prstGeom prst="rect">
                <a:avLst/>
              </a:prstGeom>
              <a:solidFill>
                <a:srgbClr val="BFC9C9"/>
              </a:solidFill>
              <a:ln w="9525">
                <a:solidFill>
                  <a:srgbClr val="9FAAAF"/>
                </a:solidFill>
                <a:miter lim="800000"/>
                <a:headEnd/>
                <a:tailEnd/>
              </a:ln>
              <a:effectLst/>
            </p:spPr>
            <p:txBody>
              <a:bodyPr wrap="none"/>
              <a:lstStyle/>
              <a:p>
                <a:pPr algn="ctr">
                  <a:defRPr/>
                </a:pPr>
                <a:endParaRPr lang="en-GB" sz="863" kern="0">
                  <a:solidFill>
                    <a:sysClr val="windowText" lastClr="000000"/>
                  </a:solidFill>
                </a:endParaRPr>
              </a:p>
            </p:txBody>
          </p:sp>
          <p:grpSp>
            <p:nvGrpSpPr>
              <p:cNvPr id="1241" name="Group 982"/>
              <p:cNvGrpSpPr>
                <a:grpSpLocks/>
              </p:cNvGrpSpPr>
              <p:nvPr/>
            </p:nvGrpSpPr>
            <p:grpSpPr bwMode="auto">
              <a:xfrm>
                <a:off x="7451515" y="1500579"/>
                <a:ext cx="168587" cy="1220054"/>
                <a:chOff x="2182" y="1200"/>
                <a:chExt cx="139" cy="2544"/>
              </a:xfrm>
            </p:grpSpPr>
            <p:grpSp>
              <p:nvGrpSpPr>
                <p:cNvPr id="1242" name="Group 983"/>
                <p:cNvGrpSpPr>
                  <a:grpSpLocks/>
                </p:cNvGrpSpPr>
                <p:nvPr/>
              </p:nvGrpSpPr>
              <p:grpSpPr bwMode="auto">
                <a:xfrm>
                  <a:off x="2182" y="1200"/>
                  <a:ext cx="139" cy="1344"/>
                  <a:chOff x="3539" y="3276"/>
                  <a:chExt cx="104" cy="695"/>
                </a:xfrm>
              </p:grpSpPr>
              <p:sp>
                <p:nvSpPr>
                  <p:cNvPr id="1437" name="Freeform 984"/>
                  <p:cNvSpPr>
                    <a:spLocks/>
                  </p:cNvSpPr>
                  <p:nvPr/>
                </p:nvSpPr>
                <p:spPr bwMode="auto">
                  <a:xfrm rot="-5400000">
                    <a:off x="3265" y="3583"/>
                    <a:ext cx="615" cy="9"/>
                  </a:xfrm>
                  <a:custGeom>
                    <a:avLst/>
                    <a:gdLst/>
                    <a:ahLst/>
                    <a:cxnLst>
                      <a:cxn ang="0">
                        <a:pos x="1893" y="19"/>
                      </a:cxn>
                      <a:cxn ang="0">
                        <a:pos x="1893" y="11"/>
                      </a:cxn>
                      <a:cxn ang="0">
                        <a:pos x="0" y="0"/>
                      </a:cxn>
                      <a:cxn ang="0">
                        <a:pos x="0" y="16"/>
                      </a:cxn>
                      <a:cxn ang="0">
                        <a:pos x="1893" y="27"/>
                      </a:cxn>
                      <a:cxn ang="0">
                        <a:pos x="1893" y="19"/>
                      </a:cxn>
                    </a:cxnLst>
                    <a:rect l="0" t="0" r="r" b="b"/>
                    <a:pathLst>
                      <a:path w="1893" h="27">
                        <a:moveTo>
                          <a:pt x="1893" y="19"/>
                        </a:moveTo>
                        <a:lnTo>
                          <a:pt x="1893" y="11"/>
                        </a:lnTo>
                        <a:lnTo>
                          <a:pt x="0" y="0"/>
                        </a:lnTo>
                        <a:lnTo>
                          <a:pt x="0" y="16"/>
                        </a:lnTo>
                        <a:lnTo>
                          <a:pt x="1893" y="27"/>
                        </a:lnTo>
                        <a:lnTo>
                          <a:pt x="1893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8" name="Freeform 985"/>
                  <p:cNvSpPr>
                    <a:spLocks/>
                  </p:cNvSpPr>
                  <p:nvPr/>
                </p:nvSpPr>
                <p:spPr bwMode="auto">
                  <a:xfrm rot="-5400000">
                    <a:off x="3220" y="3620"/>
                    <a:ext cx="693" cy="3"/>
                  </a:xfrm>
                  <a:custGeom>
                    <a:avLst/>
                    <a:gdLst/>
                    <a:ahLst/>
                    <a:cxnLst>
                      <a:cxn ang="0">
                        <a:pos x="11" y="6"/>
                      </a:cxn>
                      <a:cxn ang="0">
                        <a:pos x="5" y="12"/>
                      </a:cxn>
                      <a:cxn ang="0">
                        <a:pos x="1974" y="12"/>
                      </a:cxn>
                      <a:cxn ang="0">
                        <a:pos x="1974" y="0"/>
                      </a:cxn>
                      <a:cxn ang="0">
                        <a:pos x="5" y="0"/>
                      </a:cxn>
                      <a:cxn ang="0">
                        <a:pos x="0" y="6"/>
                      </a:cxn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2" y="9"/>
                      </a:cxn>
                      <a:cxn ang="0">
                        <a:pos x="5" y="12"/>
                      </a:cxn>
                      <a:cxn ang="0">
                        <a:pos x="11" y="6"/>
                      </a:cxn>
                    </a:cxnLst>
                    <a:rect l="0" t="0" r="r" b="b"/>
                    <a:pathLst>
                      <a:path w="1974" h="12">
                        <a:moveTo>
                          <a:pt x="11" y="6"/>
                        </a:moveTo>
                        <a:lnTo>
                          <a:pt x="5" y="12"/>
                        </a:lnTo>
                        <a:lnTo>
                          <a:pt x="1974" y="12"/>
                        </a:lnTo>
                        <a:lnTo>
                          <a:pt x="1974" y="0"/>
                        </a:lnTo>
                        <a:lnTo>
                          <a:pt x="5" y="0"/>
                        </a:lnTo>
                        <a:lnTo>
                          <a:pt x="0" y="6"/>
                        </a:lnTo>
                        <a:lnTo>
                          <a:pt x="5" y="0"/>
                        </a:lnTo>
                        <a:lnTo>
                          <a:pt x="2" y="2"/>
                        </a:lnTo>
                        <a:lnTo>
                          <a:pt x="1" y="6"/>
                        </a:lnTo>
                        <a:lnTo>
                          <a:pt x="2" y="9"/>
                        </a:lnTo>
                        <a:lnTo>
                          <a:pt x="5" y="12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9" name="Freeform 986"/>
                  <p:cNvSpPr>
                    <a:spLocks/>
                  </p:cNvSpPr>
                  <p:nvPr/>
                </p:nvSpPr>
                <p:spPr bwMode="auto">
                  <a:xfrm rot="-5400000">
                    <a:off x="3233" y="3626"/>
                    <a:ext cx="684" cy="4"/>
                  </a:xfrm>
                  <a:custGeom>
                    <a:avLst/>
                    <a:gdLst/>
                    <a:ahLst/>
                    <a:cxnLst>
                      <a:cxn ang="0">
                        <a:pos x="11" y="6"/>
                      </a:cxn>
                      <a:cxn ang="0">
                        <a:pos x="6" y="12"/>
                      </a:cxn>
                      <a:cxn ang="0">
                        <a:pos x="1967" y="12"/>
                      </a:cxn>
                      <a:cxn ang="0">
                        <a:pos x="1967" y="0"/>
                      </a:cxn>
                      <a:cxn ang="0">
                        <a:pos x="6" y="0"/>
                      </a:cxn>
                      <a:cxn ang="0">
                        <a:pos x="0" y="6"/>
                      </a:cxn>
                      <a:cxn ang="0">
                        <a:pos x="6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2" y="9"/>
                      </a:cxn>
                      <a:cxn ang="0">
                        <a:pos x="6" y="12"/>
                      </a:cxn>
                      <a:cxn ang="0">
                        <a:pos x="11" y="6"/>
                      </a:cxn>
                    </a:cxnLst>
                    <a:rect l="0" t="0" r="r" b="b"/>
                    <a:pathLst>
                      <a:path w="1967" h="12">
                        <a:moveTo>
                          <a:pt x="11" y="6"/>
                        </a:moveTo>
                        <a:lnTo>
                          <a:pt x="6" y="12"/>
                        </a:lnTo>
                        <a:lnTo>
                          <a:pt x="1967" y="12"/>
                        </a:lnTo>
                        <a:lnTo>
                          <a:pt x="1967" y="0"/>
                        </a:lnTo>
                        <a:lnTo>
                          <a:pt x="6" y="0"/>
                        </a:lnTo>
                        <a:lnTo>
                          <a:pt x="0" y="6"/>
                        </a:lnTo>
                        <a:lnTo>
                          <a:pt x="6" y="0"/>
                        </a:lnTo>
                        <a:lnTo>
                          <a:pt x="2" y="2"/>
                        </a:lnTo>
                        <a:lnTo>
                          <a:pt x="1" y="6"/>
                        </a:lnTo>
                        <a:lnTo>
                          <a:pt x="2" y="9"/>
                        </a:lnTo>
                        <a:lnTo>
                          <a:pt x="6" y="12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0" name="Freeform 987"/>
                  <p:cNvSpPr>
                    <a:spLocks/>
                  </p:cNvSpPr>
                  <p:nvPr/>
                </p:nvSpPr>
                <p:spPr bwMode="auto">
                  <a:xfrm rot="-5400000">
                    <a:off x="3611" y="3304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7"/>
                      </a:cxn>
                      <a:cxn ang="0">
                        <a:pos x="57" y="76"/>
                      </a:cxn>
                      <a:cxn ang="0">
                        <a:pos x="67" y="74"/>
                      </a:cxn>
                      <a:cxn ang="0">
                        <a:pos x="75" y="70"/>
                      </a:cxn>
                      <a:cxn ang="0">
                        <a:pos x="83" y="65"/>
                      </a:cxn>
                      <a:cxn ang="0">
                        <a:pos x="88" y="60"/>
                      </a:cxn>
                      <a:cxn ang="0">
                        <a:pos x="93" y="53"/>
                      </a:cxn>
                      <a:cxn ang="0">
                        <a:pos x="95" y="46"/>
                      </a:cxn>
                      <a:cxn ang="0">
                        <a:pos x="97" y="38"/>
                      </a:cxn>
                      <a:cxn ang="0">
                        <a:pos x="95" y="30"/>
                      </a:cxn>
                      <a:cxn ang="0">
                        <a:pos x="93" y="23"/>
                      </a:cxn>
                      <a:cxn ang="0">
                        <a:pos x="88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3"/>
                      </a:cxn>
                      <a:cxn ang="0">
                        <a:pos x="1" y="30"/>
                      </a:cxn>
                      <a:cxn ang="0">
                        <a:pos x="0" y="38"/>
                      </a:cxn>
                      <a:cxn ang="0">
                        <a:pos x="1" y="46"/>
                      </a:cxn>
                      <a:cxn ang="0">
                        <a:pos x="3" y="53"/>
                      </a:cxn>
                      <a:cxn ang="0">
                        <a:pos x="8" y="60"/>
                      </a:cxn>
                      <a:cxn ang="0">
                        <a:pos x="14" y="65"/>
                      </a:cxn>
                      <a:cxn ang="0">
                        <a:pos x="22" y="70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8" y="77"/>
                      </a:cxn>
                    </a:cxnLst>
                    <a:rect l="0" t="0" r="r" b="b"/>
                    <a:pathLst>
                      <a:path w="97" h="77">
                        <a:moveTo>
                          <a:pt x="48" y="77"/>
                        </a:moveTo>
                        <a:lnTo>
                          <a:pt x="57" y="76"/>
                        </a:lnTo>
                        <a:lnTo>
                          <a:pt x="67" y="74"/>
                        </a:lnTo>
                        <a:lnTo>
                          <a:pt x="75" y="70"/>
                        </a:lnTo>
                        <a:lnTo>
                          <a:pt x="83" y="65"/>
                        </a:lnTo>
                        <a:lnTo>
                          <a:pt x="88" y="60"/>
                        </a:lnTo>
                        <a:lnTo>
                          <a:pt x="93" y="53"/>
                        </a:lnTo>
                        <a:lnTo>
                          <a:pt x="95" y="46"/>
                        </a:lnTo>
                        <a:lnTo>
                          <a:pt x="97" y="38"/>
                        </a:lnTo>
                        <a:lnTo>
                          <a:pt x="95" y="30"/>
                        </a:lnTo>
                        <a:lnTo>
                          <a:pt x="93" y="23"/>
                        </a:lnTo>
                        <a:lnTo>
                          <a:pt x="88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3"/>
                        </a:lnTo>
                        <a:lnTo>
                          <a:pt x="1" y="30"/>
                        </a:lnTo>
                        <a:lnTo>
                          <a:pt x="0" y="38"/>
                        </a:lnTo>
                        <a:lnTo>
                          <a:pt x="1" y="46"/>
                        </a:lnTo>
                        <a:lnTo>
                          <a:pt x="3" y="53"/>
                        </a:lnTo>
                        <a:lnTo>
                          <a:pt x="8" y="60"/>
                        </a:lnTo>
                        <a:lnTo>
                          <a:pt x="14" y="65"/>
                        </a:lnTo>
                        <a:lnTo>
                          <a:pt x="22" y="70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8" y="77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1" name="Freeform 988"/>
                  <p:cNvSpPr>
                    <a:spLocks/>
                  </p:cNvSpPr>
                  <p:nvPr/>
                </p:nvSpPr>
                <p:spPr bwMode="auto">
                  <a:xfrm rot="-5400000">
                    <a:off x="3625" y="3301"/>
                    <a:ext cx="19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0" y="13"/>
                      </a:cxn>
                      <a:cxn ang="0">
                        <a:pos x="36" y="18"/>
                      </a:cxn>
                      <a:cxn ang="0">
                        <a:pos x="31" y="23"/>
                      </a:cxn>
                      <a:cxn ang="0">
                        <a:pos x="24" y="27"/>
                      </a:cxn>
                      <a:cxn ang="0">
                        <a:pos x="17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1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0" y="13"/>
                        </a:lnTo>
                        <a:lnTo>
                          <a:pt x="36" y="18"/>
                        </a:lnTo>
                        <a:lnTo>
                          <a:pt x="31" y="23"/>
                        </a:lnTo>
                        <a:lnTo>
                          <a:pt x="24" y="27"/>
                        </a:lnTo>
                        <a:lnTo>
                          <a:pt x="17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1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2" name="Freeform 989"/>
                  <p:cNvSpPr>
                    <a:spLocks/>
                  </p:cNvSpPr>
                  <p:nvPr/>
                </p:nvSpPr>
                <p:spPr bwMode="auto">
                  <a:xfrm rot="-5400000">
                    <a:off x="3610" y="3301"/>
                    <a:ext cx="19" cy="15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1"/>
                      </a:cxn>
                      <a:cxn ang="0">
                        <a:pos x="42" y="37"/>
                      </a:cxn>
                      <a:cxn ang="0">
                        <a:pos x="43" y="44"/>
                      </a:cxn>
                      <a:cxn ang="0">
                        <a:pos x="54" y="44"/>
                      </a:cxn>
                      <a:cxn ang="0">
                        <a:pos x="53" y="35"/>
                      </a:cxn>
                      <a:cxn ang="0">
                        <a:pos x="50" y="27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4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1"/>
                        </a:lnTo>
                        <a:lnTo>
                          <a:pt x="42" y="37"/>
                        </a:lnTo>
                        <a:lnTo>
                          <a:pt x="43" y="44"/>
                        </a:lnTo>
                        <a:lnTo>
                          <a:pt x="54" y="44"/>
                        </a:lnTo>
                        <a:lnTo>
                          <a:pt x="53" y="35"/>
                        </a:lnTo>
                        <a:lnTo>
                          <a:pt x="50" y="27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3" name="Freeform 990"/>
                  <p:cNvSpPr>
                    <a:spLocks/>
                  </p:cNvSpPr>
                  <p:nvPr/>
                </p:nvSpPr>
                <p:spPr bwMode="auto">
                  <a:xfrm rot="-5400000">
                    <a:off x="3612" y="3319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11" y="44"/>
                      </a:cxn>
                      <a:cxn ang="0">
                        <a:pos x="11" y="44"/>
                      </a:cxn>
                      <a:cxn ang="0">
                        <a:pos x="13" y="37"/>
                      </a:cxn>
                      <a:cxn ang="0">
                        <a:pos x="14" y="31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7"/>
                      </a:cxn>
                      <a:cxn ang="0">
                        <a:pos x="1" y="35"/>
                      </a:cxn>
                      <a:cxn ang="0">
                        <a:pos x="0" y="44"/>
                      </a:cxn>
                      <a:cxn ang="0">
                        <a:pos x="0" y="44"/>
                      </a:cxn>
                      <a:cxn ang="0">
                        <a:pos x="11" y="44"/>
                      </a:cxn>
                    </a:cxnLst>
                    <a:rect l="0" t="0" r="r" b="b"/>
                    <a:pathLst>
                      <a:path w="54" h="44">
                        <a:moveTo>
                          <a:pt x="11" y="44"/>
                        </a:moveTo>
                        <a:lnTo>
                          <a:pt x="11" y="44"/>
                        </a:lnTo>
                        <a:lnTo>
                          <a:pt x="13" y="37"/>
                        </a:lnTo>
                        <a:lnTo>
                          <a:pt x="14" y="31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7"/>
                        </a:lnTo>
                        <a:lnTo>
                          <a:pt x="1" y="35"/>
                        </a:lnTo>
                        <a:lnTo>
                          <a:pt x="0" y="44"/>
                        </a:lnTo>
                        <a:lnTo>
                          <a:pt x="0" y="44"/>
                        </a:lnTo>
                        <a:lnTo>
                          <a:pt x="1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4" name="Freeform 991"/>
                  <p:cNvSpPr>
                    <a:spLocks/>
                  </p:cNvSpPr>
                  <p:nvPr/>
                </p:nvSpPr>
                <p:spPr bwMode="auto">
                  <a:xfrm rot="-5400000">
                    <a:off x="3626" y="3319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7"/>
                      </a:cxn>
                      <a:cxn ang="0">
                        <a:pos x="23" y="23"/>
                      </a:cxn>
                      <a:cxn ang="0">
                        <a:pos x="18" y="18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5" y="37"/>
                      </a:cxn>
                      <a:cxn ang="0">
                        <a:pos x="35" y="41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7"/>
                        </a:lnTo>
                        <a:lnTo>
                          <a:pt x="23" y="23"/>
                        </a:lnTo>
                        <a:lnTo>
                          <a:pt x="18" y="18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5" y="37"/>
                        </a:lnTo>
                        <a:lnTo>
                          <a:pt x="35" y="41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5" name="Freeform 992"/>
                  <p:cNvSpPr>
                    <a:spLocks/>
                  </p:cNvSpPr>
                  <p:nvPr/>
                </p:nvSpPr>
                <p:spPr bwMode="auto">
                  <a:xfrm rot="-5400000">
                    <a:off x="3566" y="3282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8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2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2" y="271"/>
                      </a:cxn>
                      <a:cxn ang="0">
                        <a:pos x="92" y="267"/>
                      </a:cxn>
                      <a:cxn ang="0">
                        <a:pos x="74" y="262"/>
                      </a:cxn>
                      <a:cxn ang="0">
                        <a:pos x="63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0" y="65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6" y="1"/>
                      </a:cxn>
                      <a:cxn ang="0">
                        <a:pos x="127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7" y="52"/>
                      </a:cxn>
                      <a:cxn ang="0">
                        <a:pos x="119" y="51"/>
                      </a:cxn>
                      <a:cxn ang="0">
                        <a:pos x="106" y="44"/>
                      </a:cxn>
                      <a:cxn ang="0">
                        <a:pos x="86" y="40"/>
                      </a:cxn>
                      <a:cxn ang="0">
                        <a:pos x="73" y="46"/>
                      </a:cxn>
                      <a:cxn ang="0">
                        <a:pos x="66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3" y="156"/>
                      </a:cxn>
                      <a:cxn ang="0">
                        <a:pos x="50" y="182"/>
                      </a:cxn>
                      <a:cxn ang="0">
                        <a:pos x="61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2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19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2" y="236"/>
                        </a:lnTo>
                        <a:lnTo>
                          <a:pt x="142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8"/>
                        </a:lnTo>
                        <a:lnTo>
                          <a:pt x="112" y="271"/>
                        </a:lnTo>
                        <a:lnTo>
                          <a:pt x="102" y="270"/>
                        </a:lnTo>
                        <a:lnTo>
                          <a:pt x="92" y="267"/>
                        </a:lnTo>
                        <a:lnTo>
                          <a:pt x="83" y="265"/>
                        </a:lnTo>
                        <a:lnTo>
                          <a:pt x="74" y="262"/>
                        </a:lnTo>
                        <a:lnTo>
                          <a:pt x="68" y="258"/>
                        </a:lnTo>
                        <a:lnTo>
                          <a:pt x="63" y="256"/>
                        </a:lnTo>
                        <a:lnTo>
                          <a:pt x="59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5"/>
                        </a:lnTo>
                        <a:lnTo>
                          <a:pt x="20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0" y="0"/>
                        </a:lnTo>
                        <a:lnTo>
                          <a:pt x="96" y="1"/>
                        </a:lnTo>
                        <a:lnTo>
                          <a:pt x="112" y="8"/>
                        </a:lnTo>
                        <a:lnTo>
                          <a:pt x="127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7" y="52"/>
                        </a:lnTo>
                        <a:lnTo>
                          <a:pt x="122" y="52"/>
                        </a:lnTo>
                        <a:lnTo>
                          <a:pt x="119" y="51"/>
                        </a:lnTo>
                        <a:lnTo>
                          <a:pt x="118" y="51"/>
                        </a:lnTo>
                        <a:lnTo>
                          <a:pt x="106" y="44"/>
                        </a:lnTo>
                        <a:lnTo>
                          <a:pt x="95" y="40"/>
                        </a:lnTo>
                        <a:lnTo>
                          <a:pt x="86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6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3" y="156"/>
                        </a:lnTo>
                        <a:lnTo>
                          <a:pt x="47" y="168"/>
                        </a:lnTo>
                        <a:lnTo>
                          <a:pt x="50" y="182"/>
                        </a:lnTo>
                        <a:lnTo>
                          <a:pt x="57" y="197"/>
                        </a:lnTo>
                        <a:lnTo>
                          <a:pt x="61" y="204"/>
                        </a:lnTo>
                        <a:lnTo>
                          <a:pt x="66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6" name="Freeform 993"/>
                  <p:cNvSpPr>
                    <a:spLocks/>
                  </p:cNvSpPr>
                  <p:nvPr/>
                </p:nvSpPr>
                <p:spPr bwMode="auto">
                  <a:xfrm rot="-5400000">
                    <a:off x="3611" y="3313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4" y="15"/>
                      </a:cxn>
                      <a:cxn ang="0">
                        <a:pos x="31" y="18"/>
                      </a:cxn>
                      <a:cxn ang="0">
                        <a:pos x="26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3" y="29"/>
                      </a:cxn>
                      <a:cxn ang="0">
                        <a:pos x="41" y="25"/>
                      </a:cxn>
                      <a:cxn ang="0">
                        <a:pos x="46" y="18"/>
                      </a:cxn>
                      <a:cxn ang="0">
                        <a:pos x="48" y="12"/>
                      </a:cxn>
                      <a:cxn ang="0">
                        <a:pos x="49" y="6"/>
                      </a:cxn>
                      <a:cxn ang="0">
                        <a:pos x="50" y="0"/>
                      </a:cxn>
                      <a:cxn ang="0">
                        <a:pos x="50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4" y="15"/>
                        </a:lnTo>
                        <a:lnTo>
                          <a:pt x="31" y="18"/>
                        </a:lnTo>
                        <a:lnTo>
                          <a:pt x="26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3" y="29"/>
                        </a:lnTo>
                        <a:lnTo>
                          <a:pt x="41" y="25"/>
                        </a:lnTo>
                        <a:lnTo>
                          <a:pt x="46" y="18"/>
                        </a:lnTo>
                        <a:lnTo>
                          <a:pt x="48" y="12"/>
                        </a:lnTo>
                        <a:lnTo>
                          <a:pt x="49" y="6"/>
                        </a:lnTo>
                        <a:lnTo>
                          <a:pt x="50" y="0"/>
                        </a:lnTo>
                        <a:lnTo>
                          <a:pt x="50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7" name="Freeform 994"/>
                  <p:cNvSpPr>
                    <a:spLocks/>
                  </p:cNvSpPr>
                  <p:nvPr/>
                </p:nvSpPr>
                <p:spPr bwMode="auto">
                  <a:xfrm rot="-5400000">
                    <a:off x="3612" y="3303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6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18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30" h="23">
                        <a:moveTo>
                          <a:pt x="29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6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18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8" name="Freeform 995"/>
                  <p:cNvSpPr>
                    <a:spLocks/>
                  </p:cNvSpPr>
                  <p:nvPr/>
                </p:nvSpPr>
                <p:spPr bwMode="auto">
                  <a:xfrm rot="-5400000">
                    <a:off x="3620" y="3302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6"/>
                      </a:cxn>
                      <a:cxn ang="0">
                        <a:pos x="47" y="16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6" y="16"/>
                      </a:cxn>
                      <a:cxn ang="0">
                        <a:pos x="35" y="22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6"/>
                        </a:lnTo>
                        <a:lnTo>
                          <a:pt x="47" y="16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6" y="16"/>
                        </a:lnTo>
                        <a:lnTo>
                          <a:pt x="35" y="22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49" name="Freeform 996"/>
                  <p:cNvSpPr>
                    <a:spLocks/>
                  </p:cNvSpPr>
                  <p:nvPr/>
                </p:nvSpPr>
                <p:spPr bwMode="auto">
                  <a:xfrm rot="-5400000">
                    <a:off x="3624" y="3320"/>
                    <a:ext cx="15" cy="10"/>
                  </a:xfrm>
                  <a:custGeom>
                    <a:avLst/>
                    <a:gdLst/>
                    <a:ahLst/>
                    <a:cxnLst>
                      <a:cxn ang="0">
                        <a:pos x="1" y="8"/>
                      </a:cxn>
                      <a:cxn ang="0">
                        <a:pos x="1" y="8"/>
                      </a:cxn>
                      <a:cxn ang="0">
                        <a:pos x="2" y="9"/>
                      </a:cxn>
                      <a:cxn ang="0">
                        <a:pos x="3" y="11"/>
                      </a:cxn>
                      <a:cxn ang="0">
                        <a:pos x="8" y="13"/>
                      </a:cxn>
                      <a:cxn ang="0">
                        <a:pos x="12" y="16"/>
                      </a:cxn>
                      <a:cxn ang="0">
                        <a:pos x="19" y="19"/>
                      </a:cxn>
                      <a:cxn ang="0">
                        <a:pos x="28" y="24"/>
                      </a:cxn>
                      <a:cxn ang="0">
                        <a:pos x="38" y="26"/>
                      </a:cxn>
                      <a:cxn ang="0">
                        <a:pos x="49" y="28"/>
                      </a:cxn>
                      <a:cxn ang="0">
                        <a:pos x="49" y="17"/>
                      </a:cxn>
                      <a:cxn ang="0">
                        <a:pos x="40" y="15"/>
                      </a:cxn>
                      <a:cxn ang="0">
                        <a:pos x="31" y="12"/>
                      </a:cxn>
                      <a:cxn ang="0">
                        <a:pos x="24" y="10"/>
                      </a:cxn>
                      <a:cxn ang="0">
                        <a:pos x="17" y="6"/>
                      </a:cxn>
                      <a:cxn ang="0">
                        <a:pos x="12" y="4"/>
                      </a:cxn>
                      <a:cxn ang="0">
                        <a:pos x="10" y="2"/>
                      </a:cxn>
                      <a:cxn ang="0">
                        <a:pos x="9" y="2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4" y="0"/>
                      </a:cxn>
                      <a:cxn ang="0">
                        <a:pos x="1" y="1"/>
                      </a:cxn>
                      <a:cxn ang="0">
                        <a:pos x="0" y="4"/>
                      </a:cxn>
                      <a:cxn ang="0">
                        <a:pos x="1" y="8"/>
                      </a:cxn>
                    </a:cxnLst>
                    <a:rect l="0" t="0" r="r" b="b"/>
                    <a:pathLst>
                      <a:path w="49" h="28">
                        <a:moveTo>
                          <a:pt x="1" y="8"/>
                        </a:moveTo>
                        <a:lnTo>
                          <a:pt x="1" y="8"/>
                        </a:lnTo>
                        <a:lnTo>
                          <a:pt x="2" y="9"/>
                        </a:lnTo>
                        <a:lnTo>
                          <a:pt x="3" y="11"/>
                        </a:lnTo>
                        <a:lnTo>
                          <a:pt x="8" y="13"/>
                        </a:lnTo>
                        <a:lnTo>
                          <a:pt x="12" y="16"/>
                        </a:lnTo>
                        <a:lnTo>
                          <a:pt x="19" y="19"/>
                        </a:lnTo>
                        <a:lnTo>
                          <a:pt x="28" y="24"/>
                        </a:lnTo>
                        <a:lnTo>
                          <a:pt x="38" y="26"/>
                        </a:lnTo>
                        <a:lnTo>
                          <a:pt x="49" y="28"/>
                        </a:lnTo>
                        <a:lnTo>
                          <a:pt x="49" y="17"/>
                        </a:lnTo>
                        <a:lnTo>
                          <a:pt x="40" y="15"/>
                        </a:lnTo>
                        <a:lnTo>
                          <a:pt x="31" y="12"/>
                        </a:lnTo>
                        <a:lnTo>
                          <a:pt x="24" y="10"/>
                        </a:lnTo>
                        <a:lnTo>
                          <a:pt x="17" y="6"/>
                        </a:lnTo>
                        <a:lnTo>
                          <a:pt x="12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4" y="0"/>
                        </a:lnTo>
                        <a:lnTo>
                          <a:pt x="1" y="1"/>
                        </a:lnTo>
                        <a:lnTo>
                          <a:pt x="0" y="4"/>
                        </a:lnTo>
                        <a:lnTo>
                          <a:pt x="1" y="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0" name="Freeform 997"/>
                  <p:cNvSpPr>
                    <a:spLocks/>
                  </p:cNvSpPr>
                  <p:nvPr/>
                </p:nvSpPr>
                <p:spPr bwMode="auto">
                  <a:xfrm rot="-5400000">
                    <a:off x="3561" y="3284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6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4" y="30"/>
                      </a:cxn>
                      <a:cxn ang="0">
                        <a:pos x="22" y="49"/>
                      </a:cxn>
                      <a:cxn ang="0">
                        <a:pos x="10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6" y="200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7" y="24"/>
                      </a:cxn>
                      <a:cxn ang="0">
                        <a:pos x="72" y="16"/>
                      </a:cxn>
                      <a:cxn ang="0">
                        <a:pos x="86" y="12"/>
                      </a:cxn>
                      <a:cxn ang="0">
                        <a:pos x="101" y="13"/>
                      </a:cxn>
                      <a:cxn ang="0">
                        <a:pos x="116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61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6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4" y="30"/>
                        </a:lnTo>
                        <a:lnTo>
                          <a:pt x="22" y="49"/>
                        </a:lnTo>
                        <a:lnTo>
                          <a:pt x="10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6" y="200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7" y="24"/>
                        </a:lnTo>
                        <a:lnTo>
                          <a:pt x="72" y="16"/>
                        </a:lnTo>
                        <a:lnTo>
                          <a:pt x="86" y="12"/>
                        </a:lnTo>
                        <a:lnTo>
                          <a:pt x="101" y="13"/>
                        </a:lnTo>
                        <a:lnTo>
                          <a:pt x="116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1" name="Freeform 998"/>
                  <p:cNvSpPr>
                    <a:spLocks/>
                  </p:cNvSpPr>
                  <p:nvPr/>
                </p:nvSpPr>
                <p:spPr bwMode="auto">
                  <a:xfrm rot="-5400000">
                    <a:off x="3557" y="3302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5"/>
                      </a:cxn>
                      <a:cxn ang="0">
                        <a:pos x="10" y="14"/>
                      </a:cxn>
                      <a:cxn ang="0">
                        <a:pos x="13" y="9"/>
                      </a:cxn>
                      <a:cxn ang="0">
                        <a:pos x="14" y="6"/>
                      </a:cxn>
                      <a:cxn ang="0">
                        <a:pos x="13" y="0"/>
                      </a:cxn>
                      <a:cxn ang="0">
                        <a:pos x="4" y="5"/>
                      </a:cxn>
                      <a:cxn ang="0">
                        <a:pos x="2" y="4"/>
                      </a:cxn>
                      <a:cxn ang="0">
                        <a:pos x="1" y="7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4" y="17"/>
                      </a:cxn>
                      <a:cxn ang="0">
                        <a:pos x="7" y="17"/>
                      </a:cxn>
                      <a:cxn ang="0">
                        <a:pos x="9" y="15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4" h="18">
                        <a:moveTo>
                          <a:pt x="6" y="18"/>
                        </a:moveTo>
                        <a:lnTo>
                          <a:pt x="9" y="15"/>
                        </a:lnTo>
                        <a:lnTo>
                          <a:pt x="10" y="14"/>
                        </a:lnTo>
                        <a:lnTo>
                          <a:pt x="13" y="9"/>
                        </a:lnTo>
                        <a:lnTo>
                          <a:pt x="14" y="6"/>
                        </a:lnTo>
                        <a:lnTo>
                          <a:pt x="13" y="0"/>
                        </a:lnTo>
                        <a:lnTo>
                          <a:pt x="4" y="5"/>
                        </a:lnTo>
                        <a:lnTo>
                          <a:pt x="2" y="4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4" y="17"/>
                        </a:lnTo>
                        <a:lnTo>
                          <a:pt x="7" y="17"/>
                        </a:lnTo>
                        <a:lnTo>
                          <a:pt x="9" y="15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2" name="Freeform 999"/>
                  <p:cNvSpPr>
                    <a:spLocks/>
                  </p:cNvSpPr>
                  <p:nvPr/>
                </p:nvSpPr>
                <p:spPr bwMode="auto">
                  <a:xfrm rot="-5400000">
                    <a:off x="3557" y="330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8" y="13"/>
                      </a:cxn>
                      <a:cxn ang="0">
                        <a:pos x="13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4" y="1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4" h="13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8" y="13"/>
                        </a:lnTo>
                        <a:lnTo>
                          <a:pt x="13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4" y="1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3" name="Freeform 1000"/>
                  <p:cNvSpPr>
                    <a:spLocks/>
                  </p:cNvSpPr>
                  <p:nvPr/>
                </p:nvSpPr>
                <p:spPr bwMode="auto">
                  <a:xfrm rot="-5400000">
                    <a:off x="3549" y="3316"/>
                    <a:ext cx="19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5" y="11"/>
                      </a:cxn>
                      <a:cxn ang="0">
                        <a:pos x="34" y="11"/>
                      </a:cxn>
                      <a:cxn ang="0">
                        <a:pos x="42" y="15"/>
                      </a:cxn>
                      <a:cxn ang="0">
                        <a:pos x="54" y="20"/>
                      </a:cxn>
                      <a:cxn ang="0">
                        <a:pos x="61" y="11"/>
                      </a:cxn>
                      <a:cxn ang="0">
                        <a:pos x="47" y="3"/>
                      </a:cxn>
                      <a:cxn ang="0">
                        <a:pos x="34" y="0"/>
                      </a:cxn>
                      <a:cxn ang="0">
                        <a:pos x="25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1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5" y="11"/>
                        </a:lnTo>
                        <a:lnTo>
                          <a:pt x="34" y="11"/>
                        </a:lnTo>
                        <a:lnTo>
                          <a:pt x="42" y="15"/>
                        </a:lnTo>
                        <a:lnTo>
                          <a:pt x="54" y="20"/>
                        </a:lnTo>
                        <a:lnTo>
                          <a:pt x="61" y="11"/>
                        </a:lnTo>
                        <a:lnTo>
                          <a:pt x="47" y="3"/>
                        </a:lnTo>
                        <a:lnTo>
                          <a:pt x="34" y="0"/>
                        </a:lnTo>
                        <a:lnTo>
                          <a:pt x="25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4" name="Freeform 1001"/>
                  <p:cNvSpPr>
                    <a:spLocks/>
                  </p:cNvSpPr>
                  <p:nvPr/>
                </p:nvSpPr>
                <p:spPr bwMode="auto">
                  <a:xfrm rot="-5400000">
                    <a:off x="3570" y="3319"/>
                    <a:ext cx="12" cy="30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1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2">
                        <a:moveTo>
                          <a:pt x="13" y="91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1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5" name="Freeform 1002"/>
                  <p:cNvSpPr>
                    <a:spLocks/>
                  </p:cNvSpPr>
                  <p:nvPr/>
                </p:nvSpPr>
                <p:spPr bwMode="auto">
                  <a:xfrm rot="-5400000">
                    <a:off x="3596" y="3324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3"/>
                      </a:cxn>
                      <a:cxn ang="0">
                        <a:pos x="27" y="53"/>
                      </a:cxn>
                      <a:cxn ang="0">
                        <a:pos x="21" y="39"/>
                      </a:cxn>
                      <a:cxn ang="0">
                        <a:pos x="18" y="25"/>
                      </a:cxn>
                      <a:cxn ang="0">
                        <a:pos x="14" y="12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3" y="15"/>
                      </a:cxn>
                      <a:cxn ang="0">
                        <a:pos x="6" y="27"/>
                      </a:cxn>
                      <a:cxn ang="0">
                        <a:pos x="10" y="41"/>
                      </a:cxn>
                      <a:cxn ang="0">
                        <a:pos x="18" y="57"/>
                      </a:cxn>
                      <a:cxn ang="0">
                        <a:pos x="16" y="57"/>
                      </a:cxn>
                      <a:cxn ang="0">
                        <a:pos x="28" y="53"/>
                      </a:cxn>
                    </a:cxnLst>
                    <a:rect l="0" t="0" r="r" b="b"/>
                    <a:pathLst>
                      <a:path w="28" h="57">
                        <a:moveTo>
                          <a:pt x="28" y="53"/>
                        </a:moveTo>
                        <a:lnTo>
                          <a:pt x="27" y="53"/>
                        </a:lnTo>
                        <a:lnTo>
                          <a:pt x="21" y="39"/>
                        </a:lnTo>
                        <a:lnTo>
                          <a:pt x="18" y="25"/>
                        </a:lnTo>
                        <a:lnTo>
                          <a:pt x="14" y="12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3" y="15"/>
                        </a:lnTo>
                        <a:lnTo>
                          <a:pt x="6" y="27"/>
                        </a:lnTo>
                        <a:lnTo>
                          <a:pt x="10" y="41"/>
                        </a:lnTo>
                        <a:lnTo>
                          <a:pt x="18" y="57"/>
                        </a:lnTo>
                        <a:lnTo>
                          <a:pt x="16" y="57"/>
                        </a:lnTo>
                        <a:lnTo>
                          <a:pt x="28" y="5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6" name="Freeform 1003"/>
                  <p:cNvSpPr>
                    <a:spLocks/>
                  </p:cNvSpPr>
                  <p:nvPr/>
                </p:nvSpPr>
                <p:spPr bwMode="auto">
                  <a:xfrm rot="-5400000">
                    <a:off x="3610" y="3321"/>
                    <a:ext cx="10" cy="13"/>
                  </a:xfrm>
                  <a:custGeom>
                    <a:avLst/>
                    <a:gdLst/>
                    <a:ahLst/>
                    <a:cxnLst>
                      <a:cxn ang="0">
                        <a:pos x="33" y="27"/>
                      </a:cxn>
                      <a:cxn ang="0">
                        <a:pos x="33" y="27"/>
                      </a:cxn>
                      <a:cxn ang="0">
                        <a:pos x="27" y="22"/>
                      </a:cxn>
                      <a:cxn ang="0">
                        <a:pos x="20" y="14"/>
                      </a:cxn>
                      <a:cxn ang="0">
                        <a:pos x="14" y="7"/>
                      </a:cxn>
                      <a:cxn ang="0">
                        <a:pos x="12" y="0"/>
                      </a:cxn>
                      <a:cxn ang="0">
                        <a:pos x="0" y="4"/>
                      </a:cxn>
                      <a:cxn ang="0">
                        <a:pos x="5" y="11"/>
                      </a:cxn>
                      <a:cxn ang="0">
                        <a:pos x="11" y="20"/>
                      </a:cxn>
                      <a:cxn ang="0">
                        <a:pos x="18" y="28"/>
                      </a:cxn>
                      <a:cxn ang="0">
                        <a:pos x="26" y="37"/>
                      </a:cxn>
                      <a:cxn ang="0">
                        <a:pos x="26" y="37"/>
                      </a:cxn>
                      <a:cxn ang="0">
                        <a:pos x="26" y="37"/>
                      </a:cxn>
                      <a:cxn ang="0">
                        <a:pos x="30" y="38"/>
                      </a:cxn>
                      <a:cxn ang="0">
                        <a:pos x="34" y="35"/>
                      </a:cxn>
                      <a:cxn ang="0">
                        <a:pos x="35" y="31"/>
                      </a:cxn>
                      <a:cxn ang="0">
                        <a:pos x="33" y="27"/>
                      </a:cxn>
                    </a:cxnLst>
                    <a:rect l="0" t="0" r="r" b="b"/>
                    <a:pathLst>
                      <a:path w="35" h="38">
                        <a:moveTo>
                          <a:pt x="33" y="27"/>
                        </a:moveTo>
                        <a:lnTo>
                          <a:pt x="33" y="27"/>
                        </a:lnTo>
                        <a:lnTo>
                          <a:pt x="27" y="22"/>
                        </a:lnTo>
                        <a:lnTo>
                          <a:pt x="20" y="14"/>
                        </a:lnTo>
                        <a:lnTo>
                          <a:pt x="14" y="7"/>
                        </a:lnTo>
                        <a:lnTo>
                          <a:pt x="12" y="0"/>
                        </a:lnTo>
                        <a:lnTo>
                          <a:pt x="0" y="4"/>
                        </a:lnTo>
                        <a:lnTo>
                          <a:pt x="5" y="11"/>
                        </a:lnTo>
                        <a:lnTo>
                          <a:pt x="11" y="20"/>
                        </a:lnTo>
                        <a:lnTo>
                          <a:pt x="18" y="28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30" y="38"/>
                        </a:lnTo>
                        <a:lnTo>
                          <a:pt x="34" y="35"/>
                        </a:lnTo>
                        <a:lnTo>
                          <a:pt x="35" y="31"/>
                        </a:lnTo>
                        <a:lnTo>
                          <a:pt x="33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7" name="Freeform 1004"/>
                  <p:cNvSpPr>
                    <a:spLocks/>
                  </p:cNvSpPr>
                  <p:nvPr/>
                </p:nvSpPr>
                <p:spPr bwMode="auto">
                  <a:xfrm rot="-5400000">
                    <a:off x="3561" y="3902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0" y="5"/>
                      </a:cxn>
                      <a:cxn ang="0">
                        <a:pos x="2" y="11"/>
                      </a:cxn>
                      <a:cxn ang="0">
                        <a:pos x="6" y="15"/>
                      </a:cxn>
                      <a:cxn ang="0">
                        <a:pos x="13" y="14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13" h="15">
                        <a:moveTo>
                          <a:pt x="4" y="0"/>
                        </a:moveTo>
                        <a:lnTo>
                          <a:pt x="0" y="5"/>
                        </a:lnTo>
                        <a:lnTo>
                          <a:pt x="2" y="11"/>
                        </a:lnTo>
                        <a:lnTo>
                          <a:pt x="6" y="15"/>
                        </a:lnTo>
                        <a:lnTo>
                          <a:pt x="13" y="14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8" name="Freeform 1005"/>
                  <p:cNvSpPr>
                    <a:spLocks/>
                  </p:cNvSpPr>
                  <p:nvPr/>
                </p:nvSpPr>
                <p:spPr bwMode="auto">
                  <a:xfrm rot="-5400000">
                    <a:off x="3545" y="3884"/>
                    <a:ext cx="28" cy="14"/>
                  </a:xfrm>
                  <a:custGeom>
                    <a:avLst/>
                    <a:gdLst/>
                    <a:ahLst/>
                    <a:cxnLst>
                      <a:cxn ang="0">
                        <a:pos x="91" y="0"/>
                      </a:cxn>
                      <a:cxn ang="0">
                        <a:pos x="91" y="0"/>
                      </a:cxn>
                      <a:cxn ang="0">
                        <a:pos x="82" y="0"/>
                      </a:cxn>
                      <a:cxn ang="0">
                        <a:pos x="71" y="0"/>
                      </a:cxn>
                      <a:cxn ang="0">
                        <a:pos x="61" y="1"/>
                      </a:cxn>
                      <a:cxn ang="0">
                        <a:pos x="51" y="4"/>
                      </a:cxn>
                      <a:cxn ang="0">
                        <a:pos x="39" y="6"/>
                      </a:cxn>
                      <a:cxn ang="0">
                        <a:pos x="26" y="12"/>
                      </a:cxn>
                      <a:cxn ang="0">
                        <a:pos x="15" y="19"/>
                      </a:cxn>
                      <a:cxn ang="0">
                        <a:pos x="0" y="27"/>
                      </a:cxn>
                      <a:cxn ang="0">
                        <a:pos x="9" y="41"/>
                      </a:cxn>
                      <a:cxn ang="0">
                        <a:pos x="22" y="32"/>
                      </a:cxn>
                      <a:cxn ang="0">
                        <a:pos x="33" y="26"/>
                      </a:cxn>
                      <a:cxn ang="0">
                        <a:pos x="44" y="22"/>
                      </a:cxn>
                      <a:cxn ang="0">
                        <a:pos x="53" y="20"/>
                      </a:cxn>
                      <a:cxn ang="0">
                        <a:pos x="63" y="18"/>
                      </a:cxn>
                      <a:cxn ang="0">
                        <a:pos x="71" y="16"/>
                      </a:cxn>
                      <a:cxn ang="0">
                        <a:pos x="82" y="16"/>
                      </a:cxn>
                      <a:cxn ang="0">
                        <a:pos x="91" y="16"/>
                      </a:cxn>
                      <a:cxn ang="0">
                        <a:pos x="91" y="16"/>
                      </a:cxn>
                      <a:cxn ang="0">
                        <a:pos x="91" y="0"/>
                      </a:cxn>
                    </a:cxnLst>
                    <a:rect l="0" t="0" r="r" b="b"/>
                    <a:pathLst>
                      <a:path w="91" h="41">
                        <a:moveTo>
                          <a:pt x="91" y="0"/>
                        </a:moveTo>
                        <a:lnTo>
                          <a:pt x="91" y="0"/>
                        </a:lnTo>
                        <a:lnTo>
                          <a:pt x="82" y="0"/>
                        </a:lnTo>
                        <a:lnTo>
                          <a:pt x="71" y="0"/>
                        </a:lnTo>
                        <a:lnTo>
                          <a:pt x="61" y="1"/>
                        </a:lnTo>
                        <a:lnTo>
                          <a:pt x="51" y="4"/>
                        </a:lnTo>
                        <a:lnTo>
                          <a:pt x="39" y="6"/>
                        </a:lnTo>
                        <a:lnTo>
                          <a:pt x="26" y="12"/>
                        </a:lnTo>
                        <a:lnTo>
                          <a:pt x="15" y="19"/>
                        </a:lnTo>
                        <a:lnTo>
                          <a:pt x="0" y="27"/>
                        </a:lnTo>
                        <a:lnTo>
                          <a:pt x="9" y="41"/>
                        </a:lnTo>
                        <a:lnTo>
                          <a:pt x="22" y="32"/>
                        </a:lnTo>
                        <a:lnTo>
                          <a:pt x="33" y="26"/>
                        </a:lnTo>
                        <a:lnTo>
                          <a:pt x="44" y="22"/>
                        </a:lnTo>
                        <a:lnTo>
                          <a:pt x="53" y="20"/>
                        </a:lnTo>
                        <a:lnTo>
                          <a:pt x="63" y="18"/>
                        </a:lnTo>
                        <a:lnTo>
                          <a:pt x="71" y="16"/>
                        </a:lnTo>
                        <a:lnTo>
                          <a:pt x="82" y="16"/>
                        </a:lnTo>
                        <a:lnTo>
                          <a:pt x="91" y="16"/>
                        </a:lnTo>
                        <a:lnTo>
                          <a:pt x="91" y="16"/>
                        </a:lnTo>
                        <a:lnTo>
                          <a:pt x="9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59" name="Freeform 1006"/>
                  <p:cNvSpPr>
                    <a:spLocks/>
                  </p:cNvSpPr>
                  <p:nvPr/>
                </p:nvSpPr>
                <p:spPr bwMode="auto">
                  <a:xfrm rot="-5400000">
                    <a:off x="3562" y="3904"/>
                    <a:ext cx="1" cy="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0" name="Freeform 1007"/>
                  <p:cNvSpPr>
                    <a:spLocks/>
                  </p:cNvSpPr>
                  <p:nvPr/>
                </p:nvSpPr>
                <p:spPr bwMode="auto">
                  <a:xfrm rot="-5400000">
                    <a:off x="3609" y="3366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8" y="77"/>
                      </a:cxn>
                      <a:cxn ang="0">
                        <a:pos x="67" y="75"/>
                      </a:cxn>
                      <a:cxn ang="0">
                        <a:pos x="75" y="71"/>
                      </a:cxn>
                      <a:cxn ang="0">
                        <a:pos x="83" y="67"/>
                      </a:cxn>
                      <a:cxn ang="0">
                        <a:pos x="89" y="61"/>
                      </a:cxn>
                      <a:cxn ang="0">
                        <a:pos x="93" y="54"/>
                      </a:cxn>
                      <a:cxn ang="0">
                        <a:pos x="96" y="47"/>
                      </a:cxn>
                      <a:cxn ang="0">
                        <a:pos x="97" y="39"/>
                      </a:cxn>
                      <a:cxn ang="0">
                        <a:pos x="96" y="31"/>
                      </a:cxn>
                      <a:cxn ang="0">
                        <a:pos x="93" y="24"/>
                      </a:cxn>
                      <a:cxn ang="0">
                        <a:pos x="89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8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1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7" h="78">
                        <a:moveTo>
                          <a:pt x="48" y="78"/>
                        </a:moveTo>
                        <a:lnTo>
                          <a:pt x="58" y="77"/>
                        </a:lnTo>
                        <a:lnTo>
                          <a:pt x="67" y="75"/>
                        </a:lnTo>
                        <a:lnTo>
                          <a:pt x="75" y="71"/>
                        </a:lnTo>
                        <a:lnTo>
                          <a:pt x="83" y="67"/>
                        </a:lnTo>
                        <a:lnTo>
                          <a:pt x="89" y="61"/>
                        </a:lnTo>
                        <a:lnTo>
                          <a:pt x="93" y="54"/>
                        </a:lnTo>
                        <a:lnTo>
                          <a:pt x="96" y="47"/>
                        </a:lnTo>
                        <a:lnTo>
                          <a:pt x="97" y="39"/>
                        </a:lnTo>
                        <a:lnTo>
                          <a:pt x="96" y="31"/>
                        </a:lnTo>
                        <a:lnTo>
                          <a:pt x="93" y="24"/>
                        </a:lnTo>
                        <a:lnTo>
                          <a:pt x="89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8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1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1" name="Freeform 1008"/>
                  <p:cNvSpPr>
                    <a:spLocks/>
                  </p:cNvSpPr>
                  <p:nvPr/>
                </p:nvSpPr>
                <p:spPr bwMode="auto">
                  <a:xfrm rot="-5400000">
                    <a:off x="3624" y="3363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1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5" y="28"/>
                      </a:cxn>
                      <a:cxn ang="0">
                        <a:pos x="18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1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1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5" y="28"/>
                        </a:lnTo>
                        <a:lnTo>
                          <a:pt x="18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1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2" name="Freeform 1009"/>
                  <p:cNvSpPr>
                    <a:spLocks/>
                  </p:cNvSpPr>
                  <p:nvPr/>
                </p:nvSpPr>
                <p:spPr bwMode="auto">
                  <a:xfrm rot="-5400000">
                    <a:off x="3609" y="3362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8" y="15"/>
                      </a:cxn>
                      <a:cxn ang="0">
                        <a:pos x="25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1" y="32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1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8" y="15"/>
                        </a:lnTo>
                        <a:lnTo>
                          <a:pt x="25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1" y="32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1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3" name="Freeform 1010"/>
                  <p:cNvSpPr>
                    <a:spLocks/>
                  </p:cNvSpPr>
                  <p:nvPr/>
                </p:nvSpPr>
                <p:spPr bwMode="auto">
                  <a:xfrm rot="-5400000">
                    <a:off x="3609" y="337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6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6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4" name="Freeform 1011"/>
                  <p:cNvSpPr>
                    <a:spLocks/>
                  </p:cNvSpPr>
                  <p:nvPr/>
                </p:nvSpPr>
                <p:spPr bwMode="auto">
                  <a:xfrm rot="-5400000">
                    <a:off x="3624" y="3380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9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6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9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6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5" name="Freeform 1012"/>
                  <p:cNvSpPr>
                    <a:spLocks/>
                  </p:cNvSpPr>
                  <p:nvPr/>
                </p:nvSpPr>
                <p:spPr bwMode="auto">
                  <a:xfrm rot="-5400000">
                    <a:off x="3611" y="3475"/>
                    <a:ext cx="29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6" y="74"/>
                      </a:cxn>
                      <a:cxn ang="0">
                        <a:pos x="74" y="71"/>
                      </a:cxn>
                      <a:cxn ang="0">
                        <a:pos x="81" y="66"/>
                      </a:cxn>
                      <a:cxn ang="0">
                        <a:pos x="87" y="60"/>
                      </a:cxn>
                      <a:cxn ang="0">
                        <a:pos x="91" y="55"/>
                      </a:cxn>
                      <a:cxn ang="0">
                        <a:pos x="94" y="48"/>
                      </a:cxn>
                      <a:cxn ang="0">
                        <a:pos x="95" y="40"/>
                      </a:cxn>
                      <a:cxn ang="0">
                        <a:pos x="94" y="31"/>
                      </a:cxn>
                      <a:cxn ang="0">
                        <a:pos x="91" y="25"/>
                      </a:cxn>
                      <a:cxn ang="0">
                        <a:pos x="87" y="18"/>
                      </a:cxn>
                      <a:cxn ang="0">
                        <a:pos x="81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8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8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5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6" y="74"/>
                        </a:lnTo>
                        <a:lnTo>
                          <a:pt x="74" y="71"/>
                        </a:lnTo>
                        <a:lnTo>
                          <a:pt x="81" y="66"/>
                        </a:lnTo>
                        <a:lnTo>
                          <a:pt x="87" y="60"/>
                        </a:lnTo>
                        <a:lnTo>
                          <a:pt x="91" y="55"/>
                        </a:lnTo>
                        <a:lnTo>
                          <a:pt x="94" y="48"/>
                        </a:lnTo>
                        <a:lnTo>
                          <a:pt x="95" y="40"/>
                        </a:lnTo>
                        <a:lnTo>
                          <a:pt x="94" y="31"/>
                        </a:lnTo>
                        <a:lnTo>
                          <a:pt x="91" y="25"/>
                        </a:lnTo>
                        <a:lnTo>
                          <a:pt x="87" y="18"/>
                        </a:lnTo>
                        <a:lnTo>
                          <a:pt x="81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8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8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6" name="Freeform 1013"/>
                  <p:cNvSpPr>
                    <a:spLocks/>
                  </p:cNvSpPr>
                  <p:nvPr/>
                </p:nvSpPr>
                <p:spPr bwMode="auto">
                  <a:xfrm rot="-5400000">
                    <a:off x="3624" y="3473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4" y="17"/>
                      </a:cxn>
                      <a:cxn ang="0">
                        <a:pos x="29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6" y="31"/>
                      </a:cxn>
                      <a:cxn ang="0">
                        <a:pos x="43" y="24"/>
                      </a:cxn>
                      <a:cxn ang="0">
                        <a:pos x="48" y="17"/>
                      </a:cxn>
                      <a:cxn ang="0">
                        <a:pos x="51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3" h="43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4" y="17"/>
                        </a:lnTo>
                        <a:lnTo>
                          <a:pt x="29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6" y="31"/>
                        </a:lnTo>
                        <a:lnTo>
                          <a:pt x="43" y="24"/>
                        </a:lnTo>
                        <a:lnTo>
                          <a:pt x="48" y="17"/>
                        </a:lnTo>
                        <a:lnTo>
                          <a:pt x="51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7" name="Freeform 1014"/>
                  <p:cNvSpPr>
                    <a:spLocks/>
                  </p:cNvSpPr>
                  <p:nvPr/>
                </p:nvSpPr>
                <p:spPr bwMode="auto">
                  <a:xfrm rot="-5400000">
                    <a:off x="3610" y="3472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29" y="21"/>
                      </a:cxn>
                      <a:cxn ang="0">
                        <a:pos x="34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1" y="45"/>
                      </a:cxn>
                      <a:cxn ang="0">
                        <a:pos x="53" y="45"/>
                      </a:cxn>
                      <a:cxn ang="0">
                        <a:pos x="51" y="35"/>
                      </a:cxn>
                      <a:cxn ang="0">
                        <a:pos x="48" y="27"/>
                      </a:cxn>
                      <a:cxn ang="0">
                        <a:pos x="43" y="19"/>
                      </a:cxn>
                      <a:cxn ang="0">
                        <a:pos x="36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29" y="21"/>
                        </a:lnTo>
                        <a:lnTo>
                          <a:pt x="34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1" y="45"/>
                        </a:lnTo>
                        <a:lnTo>
                          <a:pt x="53" y="45"/>
                        </a:lnTo>
                        <a:lnTo>
                          <a:pt x="51" y="35"/>
                        </a:lnTo>
                        <a:lnTo>
                          <a:pt x="48" y="27"/>
                        </a:lnTo>
                        <a:lnTo>
                          <a:pt x="43" y="19"/>
                        </a:lnTo>
                        <a:lnTo>
                          <a:pt x="36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8" name="Freeform 1015"/>
                  <p:cNvSpPr>
                    <a:spLocks/>
                  </p:cNvSpPr>
                  <p:nvPr/>
                </p:nvSpPr>
                <p:spPr bwMode="auto">
                  <a:xfrm rot="-5400000">
                    <a:off x="3610" y="3490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3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28" y="17"/>
                      </a:cxn>
                      <a:cxn ang="0">
                        <a:pos x="35" y="15"/>
                      </a:cxn>
                      <a:cxn ang="0">
                        <a:pos x="44" y="12"/>
                      </a:cxn>
                      <a:cxn ang="0">
                        <a:pos x="53" y="11"/>
                      </a:cxn>
                      <a:cxn ang="0">
                        <a:pos x="53" y="0"/>
                      </a:cxn>
                      <a:cxn ang="0">
                        <a:pos x="42" y="1"/>
                      </a:cxn>
                      <a:cxn ang="0">
                        <a:pos x="33" y="3"/>
                      </a:cxn>
                      <a:cxn ang="0">
                        <a:pos x="24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4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3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3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28" y="17"/>
                        </a:lnTo>
                        <a:lnTo>
                          <a:pt x="35" y="15"/>
                        </a:lnTo>
                        <a:lnTo>
                          <a:pt x="44" y="12"/>
                        </a:lnTo>
                        <a:lnTo>
                          <a:pt x="53" y="11"/>
                        </a:lnTo>
                        <a:lnTo>
                          <a:pt x="53" y="0"/>
                        </a:lnTo>
                        <a:lnTo>
                          <a:pt x="42" y="1"/>
                        </a:lnTo>
                        <a:lnTo>
                          <a:pt x="33" y="3"/>
                        </a:lnTo>
                        <a:lnTo>
                          <a:pt x="24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4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69" name="Freeform 1016"/>
                  <p:cNvSpPr>
                    <a:spLocks/>
                  </p:cNvSpPr>
                  <p:nvPr/>
                </p:nvSpPr>
                <p:spPr bwMode="auto">
                  <a:xfrm rot="-5400000">
                    <a:off x="3625" y="3491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53" y="32"/>
                      </a:cxn>
                      <a:cxn ang="0">
                        <a:pos x="53" y="32"/>
                      </a:cxn>
                      <a:cxn ang="0">
                        <a:pos x="44" y="31"/>
                      </a:cxn>
                      <a:cxn ang="0">
                        <a:pos x="35" y="28"/>
                      </a:cxn>
                      <a:cxn ang="0">
                        <a:pos x="28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3" y="12"/>
                      </a:cxn>
                      <a:cxn ang="0">
                        <a:pos x="12" y="6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4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4" y="35"/>
                      </a:cxn>
                      <a:cxn ang="0">
                        <a:pos x="33" y="40"/>
                      </a:cxn>
                      <a:cxn ang="0">
                        <a:pos x="42" y="42"/>
                      </a:cxn>
                      <a:cxn ang="0">
                        <a:pos x="53" y="43"/>
                      </a:cxn>
                      <a:cxn ang="0">
                        <a:pos x="53" y="43"/>
                      </a:cxn>
                      <a:cxn ang="0">
                        <a:pos x="53" y="32"/>
                      </a:cxn>
                    </a:cxnLst>
                    <a:rect l="0" t="0" r="r" b="b"/>
                    <a:pathLst>
                      <a:path w="53" h="43">
                        <a:moveTo>
                          <a:pt x="53" y="32"/>
                        </a:moveTo>
                        <a:lnTo>
                          <a:pt x="53" y="32"/>
                        </a:lnTo>
                        <a:lnTo>
                          <a:pt x="44" y="31"/>
                        </a:lnTo>
                        <a:lnTo>
                          <a:pt x="35" y="28"/>
                        </a:lnTo>
                        <a:lnTo>
                          <a:pt x="28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3" y="12"/>
                        </a:lnTo>
                        <a:lnTo>
                          <a:pt x="12" y="6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4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4" y="35"/>
                        </a:lnTo>
                        <a:lnTo>
                          <a:pt x="33" y="40"/>
                        </a:lnTo>
                        <a:lnTo>
                          <a:pt x="42" y="42"/>
                        </a:lnTo>
                        <a:lnTo>
                          <a:pt x="53" y="43"/>
                        </a:lnTo>
                        <a:lnTo>
                          <a:pt x="53" y="43"/>
                        </a:lnTo>
                        <a:lnTo>
                          <a:pt x="53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0" name="Freeform 1017"/>
                  <p:cNvSpPr>
                    <a:spLocks/>
                  </p:cNvSpPr>
                  <p:nvPr/>
                </p:nvSpPr>
                <p:spPr bwMode="auto">
                  <a:xfrm rot="-5400000">
                    <a:off x="3613" y="3528"/>
                    <a:ext cx="31" cy="25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7"/>
                      </a:cxn>
                      <a:cxn ang="0">
                        <a:pos x="67" y="75"/>
                      </a:cxn>
                      <a:cxn ang="0">
                        <a:pos x="75" y="72"/>
                      </a:cxn>
                      <a:cxn ang="0">
                        <a:pos x="83" y="67"/>
                      </a:cxn>
                      <a:cxn ang="0">
                        <a:pos x="89" y="61"/>
                      </a:cxn>
                      <a:cxn ang="0">
                        <a:pos x="93" y="54"/>
                      </a:cxn>
                      <a:cxn ang="0">
                        <a:pos x="96" y="47"/>
                      </a:cxn>
                      <a:cxn ang="0">
                        <a:pos x="97" y="39"/>
                      </a:cxn>
                      <a:cxn ang="0">
                        <a:pos x="96" y="31"/>
                      </a:cxn>
                      <a:cxn ang="0">
                        <a:pos x="93" y="24"/>
                      </a:cxn>
                      <a:cxn ang="0">
                        <a:pos x="89" y="17"/>
                      </a:cxn>
                      <a:cxn ang="0">
                        <a:pos x="83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2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7" h="78">
                        <a:moveTo>
                          <a:pt x="48" y="78"/>
                        </a:moveTo>
                        <a:lnTo>
                          <a:pt x="57" y="77"/>
                        </a:lnTo>
                        <a:lnTo>
                          <a:pt x="67" y="75"/>
                        </a:lnTo>
                        <a:lnTo>
                          <a:pt x="75" y="72"/>
                        </a:lnTo>
                        <a:lnTo>
                          <a:pt x="83" y="67"/>
                        </a:lnTo>
                        <a:lnTo>
                          <a:pt x="89" y="61"/>
                        </a:lnTo>
                        <a:lnTo>
                          <a:pt x="93" y="54"/>
                        </a:lnTo>
                        <a:lnTo>
                          <a:pt x="96" y="47"/>
                        </a:lnTo>
                        <a:lnTo>
                          <a:pt x="97" y="39"/>
                        </a:lnTo>
                        <a:lnTo>
                          <a:pt x="96" y="31"/>
                        </a:lnTo>
                        <a:lnTo>
                          <a:pt x="93" y="24"/>
                        </a:lnTo>
                        <a:lnTo>
                          <a:pt x="89" y="17"/>
                        </a:lnTo>
                        <a:lnTo>
                          <a:pt x="83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2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1" name="Freeform 1018"/>
                  <p:cNvSpPr>
                    <a:spLocks/>
                  </p:cNvSpPr>
                  <p:nvPr/>
                </p:nvSpPr>
                <p:spPr bwMode="auto">
                  <a:xfrm rot="-5400000">
                    <a:off x="3627" y="3525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1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8" y="30"/>
                      </a:cxn>
                      <a:cxn ang="0">
                        <a:pos x="8" y="33"/>
                      </a:cxn>
                      <a:cxn ang="0">
                        <a:pos x="0" y="34"/>
                      </a:cxn>
                      <a:cxn ang="0">
                        <a:pos x="0" y="45"/>
                      </a:cxn>
                      <a:cxn ang="0">
                        <a:pos x="11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3"/>
                      </a:cxn>
                      <a:cxn ang="0">
                        <a:pos x="45" y="26"/>
                      </a:cxn>
                      <a:cxn ang="0">
                        <a:pos x="50" y="18"/>
                      </a:cxn>
                      <a:cxn ang="0">
                        <a:pos x="53" y="10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1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8" y="30"/>
                        </a:lnTo>
                        <a:lnTo>
                          <a:pt x="8" y="33"/>
                        </a:lnTo>
                        <a:lnTo>
                          <a:pt x="0" y="34"/>
                        </a:lnTo>
                        <a:lnTo>
                          <a:pt x="0" y="45"/>
                        </a:lnTo>
                        <a:lnTo>
                          <a:pt x="11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3"/>
                        </a:lnTo>
                        <a:lnTo>
                          <a:pt x="45" y="26"/>
                        </a:lnTo>
                        <a:lnTo>
                          <a:pt x="50" y="18"/>
                        </a:lnTo>
                        <a:lnTo>
                          <a:pt x="53" y="1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2" name="Freeform 1019"/>
                  <p:cNvSpPr>
                    <a:spLocks/>
                  </p:cNvSpPr>
                  <p:nvPr/>
                </p:nvSpPr>
                <p:spPr bwMode="auto">
                  <a:xfrm rot="-5400000">
                    <a:off x="3611" y="3524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8" y="15"/>
                      </a:cxn>
                      <a:cxn ang="0">
                        <a:pos x="24" y="18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1" y="33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1" y="2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8" y="15"/>
                        </a:lnTo>
                        <a:lnTo>
                          <a:pt x="24" y="18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1" y="33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1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3" name="Freeform 1020"/>
                  <p:cNvSpPr>
                    <a:spLocks/>
                  </p:cNvSpPr>
                  <p:nvPr/>
                </p:nvSpPr>
                <p:spPr bwMode="auto">
                  <a:xfrm rot="-5400000">
                    <a:off x="3611" y="3542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3"/>
                      </a:cxn>
                      <a:cxn ang="0">
                        <a:pos x="19" y="27"/>
                      </a:cxn>
                      <a:cxn ang="0">
                        <a:pos x="23" y="22"/>
                      </a:cxn>
                      <a:cxn ang="0">
                        <a:pos x="30" y="18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2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3"/>
                        </a:lnTo>
                        <a:lnTo>
                          <a:pt x="19" y="27"/>
                        </a:lnTo>
                        <a:lnTo>
                          <a:pt x="23" y="22"/>
                        </a:lnTo>
                        <a:lnTo>
                          <a:pt x="30" y="18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2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4" name="Freeform 1021"/>
                  <p:cNvSpPr>
                    <a:spLocks/>
                  </p:cNvSpPr>
                  <p:nvPr/>
                </p:nvSpPr>
                <p:spPr bwMode="auto">
                  <a:xfrm rot="-5400000">
                    <a:off x="3627" y="3543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4"/>
                      </a:cxn>
                      <a:cxn ang="0">
                        <a:pos x="54" y="34"/>
                      </a:cxn>
                      <a:cxn ang="0">
                        <a:pos x="46" y="33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9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10"/>
                      </a:cxn>
                      <a:cxn ang="0">
                        <a:pos x="5" y="18"/>
                      </a:cxn>
                      <a:cxn ang="0">
                        <a:pos x="9" y="26"/>
                      </a:cxn>
                      <a:cxn ang="0">
                        <a:pos x="16" y="33"/>
                      </a:cxn>
                      <a:cxn ang="0">
                        <a:pos x="25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4"/>
                      </a:cxn>
                    </a:cxnLst>
                    <a:rect l="0" t="0" r="r" b="b"/>
                    <a:pathLst>
                      <a:path w="54" h="45">
                        <a:moveTo>
                          <a:pt x="54" y="34"/>
                        </a:moveTo>
                        <a:lnTo>
                          <a:pt x="54" y="34"/>
                        </a:lnTo>
                        <a:lnTo>
                          <a:pt x="46" y="33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9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10"/>
                        </a:lnTo>
                        <a:lnTo>
                          <a:pt x="5" y="18"/>
                        </a:lnTo>
                        <a:lnTo>
                          <a:pt x="9" y="26"/>
                        </a:lnTo>
                        <a:lnTo>
                          <a:pt x="16" y="33"/>
                        </a:lnTo>
                        <a:lnTo>
                          <a:pt x="25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5" name="Freeform 1022"/>
                  <p:cNvSpPr>
                    <a:spLocks/>
                  </p:cNvSpPr>
                  <p:nvPr/>
                </p:nvSpPr>
                <p:spPr bwMode="auto">
                  <a:xfrm rot="-5400000">
                    <a:off x="3610" y="3589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9" y="78"/>
                      </a:cxn>
                      <a:cxn ang="0">
                        <a:pos x="58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3" y="66"/>
                      </a:cxn>
                      <a:cxn ang="0">
                        <a:pos x="89" y="60"/>
                      </a:cxn>
                      <a:cxn ang="0">
                        <a:pos x="93" y="55"/>
                      </a:cxn>
                      <a:cxn ang="0">
                        <a:pos x="96" y="48"/>
                      </a:cxn>
                      <a:cxn ang="0">
                        <a:pos x="97" y="40"/>
                      </a:cxn>
                      <a:cxn ang="0">
                        <a:pos x="96" y="31"/>
                      </a:cxn>
                      <a:cxn ang="0">
                        <a:pos x="93" y="25"/>
                      </a:cxn>
                      <a:cxn ang="0">
                        <a:pos x="89" y="18"/>
                      </a:cxn>
                      <a:cxn ang="0">
                        <a:pos x="83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8" y="2"/>
                      </a:cxn>
                      <a:cxn ang="0">
                        <a:pos x="49" y="0"/>
                      </a:cxn>
                      <a:cxn ang="0">
                        <a:pos x="39" y="2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2" y="71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9" y="78"/>
                      </a:cxn>
                    </a:cxnLst>
                    <a:rect l="0" t="0" r="r" b="b"/>
                    <a:pathLst>
                      <a:path w="97" h="78">
                        <a:moveTo>
                          <a:pt x="49" y="78"/>
                        </a:moveTo>
                        <a:lnTo>
                          <a:pt x="58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3" y="66"/>
                        </a:lnTo>
                        <a:lnTo>
                          <a:pt x="89" y="60"/>
                        </a:lnTo>
                        <a:lnTo>
                          <a:pt x="93" y="55"/>
                        </a:lnTo>
                        <a:lnTo>
                          <a:pt x="96" y="48"/>
                        </a:lnTo>
                        <a:lnTo>
                          <a:pt x="97" y="40"/>
                        </a:lnTo>
                        <a:lnTo>
                          <a:pt x="96" y="31"/>
                        </a:lnTo>
                        <a:lnTo>
                          <a:pt x="93" y="25"/>
                        </a:lnTo>
                        <a:lnTo>
                          <a:pt x="89" y="18"/>
                        </a:lnTo>
                        <a:lnTo>
                          <a:pt x="83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8" y="2"/>
                        </a:lnTo>
                        <a:lnTo>
                          <a:pt x="49" y="0"/>
                        </a:lnTo>
                        <a:lnTo>
                          <a:pt x="39" y="2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2" y="71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9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6" name="Freeform 1023"/>
                  <p:cNvSpPr>
                    <a:spLocks/>
                  </p:cNvSpPr>
                  <p:nvPr/>
                </p:nvSpPr>
                <p:spPr bwMode="auto">
                  <a:xfrm rot="-5400000">
                    <a:off x="3624" y="3586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2" y="0"/>
                      </a:cxn>
                      <a:cxn ang="0">
                        <a:pos x="42" y="0"/>
                      </a:cxn>
                      <a:cxn ang="0">
                        <a:pos x="41" y="6"/>
                      </a:cxn>
                      <a:cxn ang="0">
                        <a:pos x="40" y="12"/>
                      </a:cxn>
                      <a:cxn ang="0">
                        <a:pos x="35" y="17"/>
                      </a:cxn>
                      <a:cxn ang="0">
                        <a:pos x="31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8" y="31"/>
                      </a:cxn>
                      <a:cxn ang="0">
                        <a:pos x="44" y="24"/>
                      </a:cxn>
                      <a:cxn ang="0">
                        <a:pos x="49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2" y="0"/>
                      </a:cxn>
                    </a:cxnLst>
                    <a:rect l="0" t="0" r="r" b="b"/>
                    <a:pathLst>
                      <a:path w="54" h="43">
                        <a:moveTo>
                          <a:pt x="42" y="0"/>
                        </a:moveTo>
                        <a:lnTo>
                          <a:pt x="42" y="0"/>
                        </a:lnTo>
                        <a:lnTo>
                          <a:pt x="41" y="6"/>
                        </a:lnTo>
                        <a:lnTo>
                          <a:pt x="40" y="12"/>
                        </a:lnTo>
                        <a:lnTo>
                          <a:pt x="35" y="17"/>
                        </a:lnTo>
                        <a:lnTo>
                          <a:pt x="31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8" y="31"/>
                        </a:lnTo>
                        <a:lnTo>
                          <a:pt x="44" y="24"/>
                        </a:lnTo>
                        <a:lnTo>
                          <a:pt x="49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7" name="Freeform 1024"/>
                  <p:cNvSpPr>
                    <a:spLocks/>
                  </p:cNvSpPr>
                  <p:nvPr/>
                </p:nvSpPr>
                <p:spPr bwMode="auto">
                  <a:xfrm rot="-5400000">
                    <a:off x="3610" y="3585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1"/>
                      </a:cxn>
                      <a:cxn ang="0">
                        <a:pos x="35" y="26"/>
                      </a:cxn>
                      <a:cxn ang="0">
                        <a:pos x="40" y="32"/>
                      </a:cxn>
                      <a:cxn ang="0">
                        <a:pos x="41" y="38"/>
                      </a:cxn>
                      <a:cxn ang="0">
                        <a:pos x="42" y="45"/>
                      </a:cxn>
                      <a:cxn ang="0">
                        <a:pos x="54" y="45"/>
                      </a:cxn>
                      <a:cxn ang="0">
                        <a:pos x="53" y="35"/>
                      </a:cxn>
                      <a:cxn ang="0">
                        <a:pos x="49" y="27"/>
                      </a:cxn>
                      <a:cxn ang="0">
                        <a:pos x="44" y="19"/>
                      </a:cxn>
                      <a:cxn ang="0">
                        <a:pos x="38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4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1"/>
                        </a:lnTo>
                        <a:lnTo>
                          <a:pt x="35" y="26"/>
                        </a:lnTo>
                        <a:lnTo>
                          <a:pt x="40" y="32"/>
                        </a:lnTo>
                        <a:lnTo>
                          <a:pt x="41" y="38"/>
                        </a:lnTo>
                        <a:lnTo>
                          <a:pt x="42" y="45"/>
                        </a:lnTo>
                        <a:lnTo>
                          <a:pt x="54" y="45"/>
                        </a:lnTo>
                        <a:lnTo>
                          <a:pt x="53" y="35"/>
                        </a:lnTo>
                        <a:lnTo>
                          <a:pt x="49" y="27"/>
                        </a:lnTo>
                        <a:lnTo>
                          <a:pt x="44" y="19"/>
                        </a:lnTo>
                        <a:lnTo>
                          <a:pt x="38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8" name="Freeform 1025"/>
                  <p:cNvSpPr>
                    <a:spLocks/>
                  </p:cNvSpPr>
                  <p:nvPr/>
                </p:nvSpPr>
                <p:spPr bwMode="auto">
                  <a:xfrm rot="-5400000">
                    <a:off x="3610" y="3602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5" y="11"/>
                      </a:cxn>
                      <a:cxn ang="0">
                        <a:pos x="55" y="0"/>
                      </a:cxn>
                      <a:cxn ang="0">
                        <a:pos x="44" y="1"/>
                      </a:cxn>
                      <a:cxn ang="0">
                        <a:pos x="35" y="3"/>
                      </a:cxn>
                      <a:cxn ang="0">
                        <a:pos x="26" y="8"/>
                      </a:cxn>
                      <a:cxn ang="0">
                        <a:pos x="17" y="12"/>
                      </a:cxn>
                      <a:cxn ang="0">
                        <a:pos x="10" y="19"/>
                      </a:cxn>
                      <a:cxn ang="0">
                        <a:pos x="5" y="27"/>
                      </a:cxn>
                      <a:cxn ang="0">
                        <a:pos x="2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5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5" y="11"/>
                        </a:lnTo>
                        <a:lnTo>
                          <a:pt x="55" y="0"/>
                        </a:lnTo>
                        <a:lnTo>
                          <a:pt x="44" y="1"/>
                        </a:lnTo>
                        <a:lnTo>
                          <a:pt x="35" y="3"/>
                        </a:lnTo>
                        <a:lnTo>
                          <a:pt x="26" y="8"/>
                        </a:lnTo>
                        <a:lnTo>
                          <a:pt x="17" y="12"/>
                        </a:lnTo>
                        <a:lnTo>
                          <a:pt x="10" y="19"/>
                        </a:lnTo>
                        <a:lnTo>
                          <a:pt x="5" y="27"/>
                        </a:lnTo>
                        <a:lnTo>
                          <a:pt x="2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79" name="Freeform 1026"/>
                  <p:cNvSpPr>
                    <a:spLocks/>
                  </p:cNvSpPr>
                  <p:nvPr/>
                </p:nvSpPr>
                <p:spPr bwMode="auto">
                  <a:xfrm rot="-5400000">
                    <a:off x="3624" y="3603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5" y="32"/>
                      </a:cxn>
                      <a:cxn ang="0">
                        <a:pos x="55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9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2" y="9"/>
                      </a:cxn>
                      <a:cxn ang="0">
                        <a:pos x="5" y="17"/>
                      </a:cxn>
                      <a:cxn ang="0">
                        <a:pos x="10" y="24"/>
                      </a:cxn>
                      <a:cxn ang="0">
                        <a:pos x="17" y="31"/>
                      </a:cxn>
                      <a:cxn ang="0">
                        <a:pos x="26" y="35"/>
                      </a:cxn>
                      <a:cxn ang="0">
                        <a:pos x="35" y="40"/>
                      </a:cxn>
                      <a:cxn ang="0">
                        <a:pos x="44" y="42"/>
                      </a:cxn>
                      <a:cxn ang="0">
                        <a:pos x="55" y="43"/>
                      </a:cxn>
                      <a:cxn ang="0">
                        <a:pos x="55" y="43"/>
                      </a:cxn>
                      <a:cxn ang="0">
                        <a:pos x="55" y="32"/>
                      </a:cxn>
                    </a:cxnLst>
                    <a:rect l="0" t="0" r="r" b="b"/>
                    <a:pathLst>
                      <a:path w="55" h="43">
                        <a:moveTo>
                          <a:pt x="55" y="32"/>
                        </a:moveTo>
                        <a:lnTo>
                          <a:pt x="55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9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2" y="9"/>
                        </a:lnTo>
                        <a:lnTo>
                          <a:pt x="5" y="17"/>
                        </a:lnTo>
                        <a:lnTo>
                          <a:pt x="10" y="24"/>
                        </a:lnTo>
                        <a:lnTo>
                          <a:pt x="17" y="31"/>
                        </a:lnTo>
                        <a:lnTo>
                          <a:pt x="26" y="35"/>
                        </a:lnTo>
                        <a:lnTo>
                          <a:pt x="35" y="40"/>
                        </a:lnTo>
                        <a:lnTo>
                          <a:pt x="44" y="42"/>
                        </a:lnTo>
                        <a:lnTo>
                          <a:pt x="55" y="43"/>
                        </a:lnTo>
                        <a:lnTo>
                          <a:pt x="55" y="43"/>
                        </a:lnTo>
                        <a:lnTo>
                          <a:pt x="55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0" name="Freeform 1027"/>
                  <p:cNvSpPr>
                    <a:spLocks/>
                  </p:cNvSpPr>
                  <p:nvPr/>
                </p:nvSpPr>
                <p:spPr bwMode="auto">
                  <a:xfrm rot="-5400000">
                    <a:off x="3610" y="3645"/>
                    <a:ext cx="32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6" y="74"/>
                      </a:cxn>
                      <a:cxn ang="0">
                        <a:pos x="74" y="71"/>
                      </a:cxn>
                      <a:cxn ang="0">
                        <a:pos x="82" y="66"/>
                      </a:cxn>
                      <a:cxn ang="0">
                        <a:pos x="88" y="60"/>
                      </a:cxn>
                      <a:cxn ang="0">
                        <a:pos x="93" y="55"/>
                      </a:cxn>
                      <a:cxn ang="0">
                        <a:pos x="95" y="48"/>
                      </a:cxn>
                      <a:cxn ang="0">
                        <a:pos x="96" y="40"/>
                      </a:cxn>
                      <a:cxn ang="0">
                        <a:pos x="95" y="31"/>
                      </a:cxn>
                      <a:cxn ang="0">
                        <a:pos x="93" y="25"/>
                      </a:cxn>
                      <a:cxn ang="0">
                        <a:pos x="88" y="18"/>
                      </a:cxn>
                      <a:cxn ang="0">
                        <a:pos x="82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9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3" y="12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3" y="55"/>
                      </a:cxn>
                      <a:cxn ang="0">
                        <a:pos x="8" y="60"/>
                      </a:cxn>
                      <a:cxn ang="0">
                        <a:pos x="13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9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6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6" y="74"/>
                        </a:lnTo>
                        <a:lnTo>
                          <a:pt x="74" y="71"/>
                        </a:lnTo>
                        <a:lnTo>
                          <a:pt x="82" y="66"/>
                        </a:lnTo>
                        <a:lnTo>
                          <a:pt x="88" y="60"/>
                        </a:lnTo>
                        <a:lnTo>
                          <a:pt x="93" y="55"/>
                        </a:lnTo>
                        <a:lnTo>
                          <a:pt x="95" y="48"/>
                        </a:lnTo>
                        <a:lnTo>
                          <a:pt x="96" y="40"/>
                        </a:lnTo>
                        <a:lnTo>
                          <a:pt x="95" y="31"/>
                        </a:lnTo>
                        <a:lnTo>
                          <a:pt x="93" y="25"/>
                        </a:lnTo>
                        <a:lnTo>
                          <a:pt x="88" y="18"/>
                        </a:lnTo>
                        <a:lnTo>
                          <a:pt x="82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9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3" y="12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3" y="55"/>
                        </a:lnTo>
                        <a:lnTo>
                          <a:pt x="8" y="60"/>
                        </a:lnTo>
                        <a:lnTo>
                          <a:pt x="13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9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1" name="Freeform 1028"/>
                  <p:cNvSpPr>
                    <a:spLocks/>
                  </p:cNvSpPr>
                  <p:nvPr/>
                </p:nvSpPr>
                <p:spPr bwMode="auto">
                  <a:xfrm rot="-5400000">
                    <a:off x="3624" y="3641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1" y="6"/>
                      </a:cxn>
                      <a:cxn ang="0">
                        <a:pos x="40" y="12"/>
                      </a:cxn>
                      <a:cxn ang="0">
                        <a:pos x="36" y="17"/>
                      </a:cxn>
                      <a:cxn ang="0">
                        <a:pos x="31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9" y="35"/>
                      </a:cxn>
                      <a:cxn ang="0">
                        <a:pos x="38" y="31"/>
                      </a:cxn>
                      <a:cxn ang="0">
                        <a:pos x="45" y="24"/>
                      </a:cxn>
                      <a:cxn ang="0">
                        <a:pos x="49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3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1" y="6"/>
                        </a:lnTo>
                        <a:lnTo>
                          <a:pt x="40" y="12"/>
                        </a:lnTo>
                        <a:lnTo>
                          <a:pt x="36" y="17"/>
                        </a:lnTo>
                        <a:lnTo>
                          <a:pt x="31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9" y="35"/>
                        </a:lnTo>
                        <a:lnTo>
                          <a:pt x="38" y="31"/>
                        </a:lnTo>
                        <a:lnTo>
                          <a:pt x="45" y="24"/>
                        </a:lnTo>
                        <a:lnTo>
                          <a:pt x="49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2" name="Freeform 1029"/>
                  <p:cNvSpPr>
                    <a:spLocks/>
                  </p:cNvSpPr>
                  <p:nvPr/>
                </p:nvSpPr>
                <p:spPr bwMode="auto">
                  <a:xfrm rot="-5400000">
                    <a:off x="3610" y="3640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1"/>
                      </a:cxn>
                      <a:cxn ang="0">
                        <a:pos x="36" y="26"/>
                      </a:cxn>
                      <a:cxn ang="0">
                        <a:pos x="40" y="32"/>
                      </a:cxn>
                      <a:cxn ang="0">
                        <a:pos x="41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5"/>
                      </a:cxn>
                      <a:cxn ang="0">
                        <a:pos x="49" y="27"/>
                      </a:cxn>
                      <a:cxn ang="0">
                        <a:pos x="45" y="19"/>
                      </a:cxn>
                      <a:cxn ang="0">
                        <a:pos x="38" y="12"/>
                      </a:cxn>
                      <a:cxn ang="0">
                        <a:pos x="29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4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1"/>
                        </a:lnTo>
                        <a:lnTo>
                          <a:pt x="36" y="26"/>
                        </a:lnTo>
                        <a:lnTo>
                          <a:pt x="40" y="32"/>
                        </a:lnTo>
                        <a:lnTo>
                          <a:pt x="41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5"/>
                        </a:lnTo>
                        <a:lnTo>
                          <a:pt x="49" y="27"/>
                        </a:lnTo>
                        <a:lnTo>
                          <a:pt x="45" y="19"/>
                        </a:lnTo>
                        <a:lnTo>
                          <a:pt x="38" y="12"/>
                        </a:lnTo>
                        <a:lnTo>
                          <a:pt x="29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3" name="Freeform 1030"/>
                  <p:cNvSpPr>
                    <a:spLocks/>
                  </p:cNvSpPr>
                  <p:nvPr/>
                </p:nvSpPr>
                <p:spPr bwMode="auto">
                  <a:xfrm rot="-5400000">
                    <a:off x="3610" y="3658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4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4" y="11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4" y="3"/>
                      </a:cxn>
                      <a:cxn ang="0">
                        <a:pos x="25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4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4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4" y="11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4" y="3"/>
                        </a:lnTo>
                        <a:lnTo>
                          <a:pt x="25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4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4" name="Freeform 1031"/>
                  <p:cNvSpPr>
                    <a:spLocks/>
                  </p:cNvSpPr>
                  <p:nvPr/>
                </p:nvSpPr>
                <p:spPr bwMode="auto">
                  <a:xfrm rot="-5400000">
                    <a:off x="3624" y="3659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4" y="32"/>
                      </a:cxn>
                      <a:cxn ang="0">
                        <a:pos x="54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4" y="12"/>
                      </a:cxn>
                      <a:cxn ang="0">
                        <a:pos x="12" y="6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4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5" y="35"/>
                      </a:cxn>
                      <a:cxn ang="0">
                        <a:pos x="34" y="40"/>
                      </a:cxn>
                      <a:cxn ang="0">
                        <a:pos x="44" y="42"/>
                      </a:cxn>
                      <a:cxn ang="0">
                        <a:pos x="54" y="43"/>
                      </a:cxn>
                      <a:cxn ang="0">
                        <a:pos x="54" y="43"/>
                      </a:cxn>
                      <a:cxn ang="0">
                        <a:pos x="54" y="32"/>
                      </a:cxn>
                    </a:cxnLst>
                    <a:rect l="0" t="0" r="r" b="b"/>
                    <a:pathLst>
                      <a:path w="54" h="43">
                        <a:moveTo>
                          <a:pt x="54" y="32"/>
                        </a:moveTo>
                        <a:lnTo>
                          <a:pt x="54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4" y="12"/>
                        </a:lnTo>
                        <a:lnTo>
                          <a:pt x="12" y="6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4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5" y="35"/>
                        </a:lnTo>
                        <a:lnTo>
                          <a:pt x="34" y="40"/>
                        </a:lnTo>
                        <a:lnTo>
                          <a:pt x="44" y="42"/>
                        </a:lnTo>
                        <a:lnTo>
                          <a:pt x="54" y="43"/>
                        </a:lnTo>
                        <a:lnTo>
                          <a:pt x="54" y="43"/>
                        </a:lnTo>
                        <a:lnTo>
                          <a:pt x="54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5" name="Freeform 1032"/>
                  <p:cNvSpPr>
                    <a:spLocks/>
                  </p:cNvSpPr>
                  <p:nvPr/>
                </p:nvSpPr>
                <p:spPr bwMode="auto">
                  <a:xfrm rot="-5400000">
                    <a:off x="3610" y="3705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9" y="78"/>
                      </a:cxn>
                      <a:cxn ang="0">
                        <a:pos x="58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2" y="66"/>
                      </a:cxn>
                      <a:cxn ang="0">
                        <a:pos x="88" y="60"/>
                      </a:cxn>
                      <a:cxn ang="0">
                        <a:pos x="92" y="55"/>
                      </a:cxn>
                      <a:cxn ang="0">
                        <a:pos x="95" y="48"/>
                      </a:cxn>
                      <a:cxn ang="0">
                        <a:pos x="96" y="40"/>
                      </a:cxn>
                      <a:cxn ang="0">
                        <a:pos x="95" y="31"/>
                      </a:cxn>
                      <a:cxn ang="0">
                        <a:pos x="92" y="25"/>
                      </a:cxn>
                      <a:cxn ang="0">
                        <a:pos x="88" y="18"/>
                      </a:cxn>
                      <a:cxn ang="0">
                        <a:pos x="82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8" y="2"/>
                      </a:cxn>
                      <a:cxn ang="0">
                        <a:pos x="49" y="0"/>
                      </a:cxn>
                      <a:cxn ang="0">
                        <a:pos x="38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8" y="76"/>
                      </a:cxn>
                      <a:cxn ang="0">
                        <a:pos x="49" y="78"/>
                      </a:cxn>
                    </a:cxnLst>
                    <a:rect l="0" t="0" r="r" b="b"/>
                    <a:pathLst>
                      <a:path w="96" h="78">
                        <a:moveTo>
                          <a:pt x="49" y="78"/>
                        </a:moveTo>
                        <a:lnTo>
                          <a:pt x="58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2" y="66"/>
                        </a:lnTo>
                        <a:lnTo>
                          <a:pt x="88" y="60"/>
                        </a:lnTo>
                        <a:lnTo>
                          <a:pt x="92" y="55"/>
                        </a:lnTo>
                        <a:lnTo>
                          <a:pt x="95" y="48"/>
                        </a:lnTo>
                        <a:lnTo>
                          <a:pt x="96" y="40"/>
                        </a:lnTo>
                        <a:lnTo>
                          <a:pt x="95" y="31"/>
                        </a:lnTo>
                        <a:lnTo>
                          <a:pt x="92" y="25"/>
                        </a:lnTo>
                        <a:lnTo>
                          <a:pt x="88" y="18"/>
                        </a:lnTo>
                        <a:lnTo>
                          <a:pt x="82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8" y="2"/>
                        </a:lnTo>
                        <a:lnTo>
                          <a:pt x="49" y="0"/>
                        </a:lnTo>
                        <a:lnTo>
                          <a:pt x="38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8" y="76"/>
                        </a:lnTo>
                        <a:lnTo>
                          <a:pt x="49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6" name="Freeform 1033"/>
                  <p:cNvSpPr>
                    <a:spLocks/>
                  </p:cNvSpPr>
                  <p:nvPr/>
                </p:nvSpPr>
                <p:spPr bwMode="auto">
                  <a:xfrm rot="-5400000">
                    <a:off x="3625" y="3702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4" y="17"/>
                      </a:cxn>
                      <a:cxn ang="0">
                        <a:pos x="30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6" y="31"/>
                      </a:cxn>
                      <a:cxn ang="0">
                        <a:pos x="43" y="24"/>
                      </a:cxn>
                      <a:cxn ang="0">
                        <a:pos x="48" y="17"/>
                      </a:cxn>
                      <a:cxn ang="0">
                        <a:pos x="51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3" h="43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4" y="17"/>
                        </a:lnTo>
                        <a:lnTo>
                          <a:pt x="30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6" y="31"/>
                        </a:lnTo>
                        <a:lnTo>
                          <a:pt x="43" y="24"/>
                        </a:lnTo>
                        <a:lnTo>
                          <a:pt x="48" y="17"/>
                        </a:lnTo>
                        <a:lnTo>
                          <a:pt x="51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7" name="Freeform 1034"/>
                  <p:cNvSpPr>
                    <a:spLocks/>
                  </p:cNvSpPr>
                  <p:nvPr/>
                </p:nvSpPr>
                <p:spPr bwMode="auto">
                  <a:xfrm rot="-5400000">
                    <a:off x="3610" y="3701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0" y="21"/>
                      </a:cxn>
                      <a:cxn ang="0">
                        <a:pos x="34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1" y="45"/>
                      </a:cxn>
                      <a:cxn ang="0">
                        <a:pos x="53" y="45"/>
                      </a:cxn>
                      <a:cxn ang="0">
                        <a:pos x="51" y="35"/>
                      </a:cxn>
                      <a:cxn ang="0">
                        <a:pos x="48" y="27"/>
                      </a:cxn>
                      <a:cxn ang="0">
                        <a:pos x="43" y="19"/>
                      </a:cxn>
                      <a:cxn ang="0">
                        <a:pos x="36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0" y="21"/>
                        </a:lnTo>
                        <a:lnTo>
                          <a:pt x="34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1" y="45"/>
                        </a:lnTo>
                        <a:lnTo>
                          <a:pt x="53" y="45"/>
                        </a:lnTo>
                        <a:lnTo>
                          <a:pt x="51" y="35"/>
                        </a:lnTo>
                        <a:lnTo>
                          <a:pt x="48" y="27"/>
                        </a:lnTo>
                        <a:lnTo>
                          <a:pt x="43" y="19"/>
                        </a:lnTo>
                        <a:lnTo>
                          <a:pt x="36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8" name="Freeform 1035"/>
                  <p:cNvSpPr>
                    <a:spLocks/>
                  </p:cNvSpPr>
                  <p:nvPr/>
                </p:nvSpPr>
                <p:spPr bwMode="auto">
                  <a:xfrm rot="-5400000">
                    <a:off x="3610" y="3718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6"/>
                      </a:cxn>
                      <a:cxn ang="0">
                        <a:pos x="23" y="21"/>
                      </a:cxn>
                      <a:cxn ang="0">
                        <a:pos x="29" y="17"/>
                      </a:cxn>
                      <a:cxn ang="0">
                        <a:pos x="36" y="15"/>
                      </a:cxn>
                      <a:cxn ang="0">
                        <a:pos x="44" y="12"/>
                      </a:cxn>
                      <a:cxn ang="0">
                        <a:pos x="55" y="11"/>
                      </a:cxn>
                      <a:cxn ang="0">
                        <a:pos x="55" y="0"/>
                      </a:cxn>
                      <a:cxn ang="0">
                        <a:pos x="44" y="1"/>
                      </a:cxn>
                      <a:cxn ang="0">
                        <a:pos x="34" y="3"/>
                      </a:cxn>
                      <a:cxn ang="0">
                        <a:pos x="25" y="8"/>
                      </a:cxn>
                      <a:cxn ang="0">
                        <a:pos x="17" y="12"/>
                      </a:cxn>
                      <a:cxn ang="0">
                        <a:pos x="10" y="19"/>
                      </a:cxn>
                      <a:cxn ang="0">
                        <a:pos x="5" y="27"/>
                      </a:cxn>
                      <a:cxn ang="0">
                        <a:pos x="2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5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6"/>
                        </a:lnTo>
                        <a:lnTo>
                          <a:pt x="23" y="21"/>
                        </a:lnTo>
                        <a:lnTo>
                          <a:pt x="29" y="17"/>
                        </a:lnTo>
                        <a:lnTo>
                          <a:pt x="36" y="15"/>
                        </a:lnTo>
                        <a:lnTo>
                          <a:pt x="44" y="12"/>
                        </a:lnTo>
                        <a:lnTo>
                          <a:pt x="55" y="11"/>
                        </a:lnTo>
                        <a:lnTo>
                          <a:pt x="55" y="0"/>
                        </a:lnTo>
                        <a:lnTo>
                          <a:pt x="44" y="1"/>
                        </a:lnTo>
                        <a:lnTo>
                          <a:pt x="34" y="3"/>
                        </a:lnTo>
                        <a:lnTo>
                          <a:pt x="25" y="8"/>
                        </a:lnTo>
                        <a:lnTo>
                          <a:pt x="17" y="12"/>
                        </a:lnTo>
                        <a:lnTo>
                          <a:pt x="10" y="19"/>
                        </a:lnTo>
                        <a:lnTo>
                          <a:pt x="5" y="27"/>
                        </a:lnTo>
                        <a:lnTo>
                          <a:pt x="2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89" name="Freeform 1036"/>
                  <p:cNvSpPr>
                    <a:spLocks/>
                  </p:cNvSpPr>
                  <p:nvPr/>
                </p:nvSpPr>
                <p:spPr bwMode="auto">
                  <a:xfrm rot="-5400000">
                    <a:off x="3624" y="3719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5" y="32"/>
                      </a:cxn>
                      <a:cxn ang="0">
                        <a:pos x="55" y="32"/>
                      </a:cxn>
                      <a:cxn ang="0">
                        <a:pos x="44" y="31"/>
                      </a:cxn>
                      <a:cxn ang="0">
                        <a:pos x="36" y="28"/>
                      </a:cxn>
                      <a:cxn ang="0">
                        <a:pos x="29" y="26"/>
                      </a:cxn>
                      <a:cxn ang="0">
                        <a:pos x="23" y="21"/>
                      </a:cxn>
                      <a:cxn ang="0">
                        <a:pos x="19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2" y="9"/>
                      </a:cxn>
                      <a:cxn ang="0">
                        <a:pos x="5" y="17"/>
                      </a:cxn>
                      <a:cxn ang="0">
                        <a:pos x="10" y="24"/>
                      </a:cxn>
                      <a:cxn ang="0">
                        <a:pos x="17" y="31"/>
                      </a:cxn>
                      <a:cxn ang="0">
                        <a:pos x="25" y="35"/>
                      </a:cxn>
                      <a:cxn ang="0">
                        <a:pos x="34" y="40"/>
                      </a:cxn>
                      <a:cxn ang="0">
                        <a:pos x="44" y="42"/>
                      </a:cxn>
                      <a:cxn ang="0">
                        <a:pos x="55" y="43"/>
                      </a:cxn>
                      <a:cxn ang="0">
                        <a:pos x="55" y="43"/>
                      </a:cxn>
                      <a:cxn ang="0">
                        <a:pos x="55" y="32"/>
                      </a:cxn>
                    </a:cxnLst>
                    <a:rect l="0" t="0" r="r" b="b"/>
                    <a:pathLst>
                      <a:path w="55" h="43">
                        <a:moveTo>
                          <a:pt x="55" y="32"/>
                        </a:moveTo>
                        <a:lnTo>
                          <a:pt x="55" y="32"/>
                        </a:lnTo>
                        <a:lnTo>
                          <a:pt x="44" y="31"/>
                        </a:lnTo>
                        <a:lnTo>
                          <a:pt x="36" y="28"/>
                        </a:lnTo>
                        <a:lnTo>
                          <a:pt x="29" y="26"/>
                        </a:lnTo>
                        <a:lnTo>
                          <a:pt x="23" y="21"/>
                        </a:lnTo>
                        <a:lnTo>
                          <a:pt x="19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2" y="9"/>
                        </a:lnTo>
                        <a:lnTo>
                          <a:pt x="5" y="17"/>
                        </a:lnTo>
                        <a:lnTo>
                          <a:pt x="10" y="24"/>
                        </a:lnTo>
                        <a:lnTo>
                          <a:pt x="17" y="31"/>
                        </a:lnTo>
                        <a:lnTo>
                          <a:pt x="25" y="35"/>
                        </a:lnTo>
                        <a:lnTo>
                          <a:pt x="34" y="40"/>
                        </a:lnTo>
                        <a:lnTo>
                          <a:pt x="44" y="42"/>
                        </a:lnTo>
                        <a:lnTo>
                          <a:pt x="55" y="43"/>
                        </a:lnTo>
                        <a:lnTo>
                          <a:pt x="55" y="43"/>
                        </a:lnTo>
                        <a:lnTo>
                          <a:pt x="55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0" name="Freeform 1037"/>
                  <p:cNvSpPr>
                    <a:spLocks/>
                  </p:cNvSpPr>
                  <p:nvPr/>
                </p:nvSpPr>
                <p:spPr bwMode="auto">
                  <a:xfrm rot="-5400000">
                    <a:off x="3566" y="3682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9" y="83"/>
                      </a:cxn>
                      <a:cxn ang="0">
                        <a:pos x="41" y="131"/>
                      </a:cxn>
                      <a:cxn ang="0">
                        <a:pos x="45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3" y="238"/>
                        </a:lnTo>
                        <a:lnTo>
                          <a:pt x="111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1" y="226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1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4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9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6" y="196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9" y="83"/>
                        </a:lnTo>
                        <a:lnTo>
                          <a:pt x="42" y="111"/>
                        </a:lnTo>
                        <a:lnTo>
                          <a:pt x="41" y="131"/>
                        </a:lnTo>
                        <a:lnTo>
                          <a:pt x="42" y="142"/>
                        </a:lnTo>
                        <a:lnTo>
                          <a:pt x="45" y="156"/>
                        </a:lnTo>
                        <a:lnTo>
                          <a:pt x="48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1" name="Freeform 1038"/>
                  <p:cNvSpPr>
                    <a:spLocks/>
                  </p:cNvSpPr>
                  <p:nvPr/>
                </p:nvSpPr>
                <p:spPr bwMode="auto">
                  <a:xfrm rot="-5400000">
                    <a:off x="3612" y="3712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1"/>
                      </a:cxn>
                      <a:cxn ang="0">
                        <a:pos x="36" y="14"/>
                      </a:cxn>
                      <a:cxn ang="0">
                        <a:pos x="34" y="18"/>
                      </a:cxn>
                      <a:cxn ang="0">
                        <a:pos x="32" y="19"/>
                      </a:cxn>
                      <a:cxn ang="0">
                        <a:pos x="26" y="19"/>
                      </a:cxn>
                      <a:cxn ang="0">
                        <a:pos x="18" y="16"/>
                      </a:cxn>
                      <a:cxn ang="0">
                        <a:pos x="6" y="8"/>
                      </a:cxn>
                      <a:cxn ang="0">
                        <a:pos x="0" y="18"/>
                      </a:cxn>
                      <a:cxn ang="0">
                        <a:pos x="13" y="26"/>
                      </a:cxn>
                      <a:cxn ang="0">
                        <a:pos x="24" y="30"/>
                      </a:cxn>
                      <a:cxn ang="0">
                        <a:pos x="34" y="30"/>
                      </a:cxn>
                      <a:cxn ang="0">
                        <a:pos x="41" y="24"/>
                      </a:cxn>
                      <a:cxn ang="0">
                        <a:pos x="46" y="19"/>
                      </a:cxn>
                      <a:cxn ang="0">
                        <a:pos x="49" y="13"/>
                      </a:cxn>
                      <a:cxn ang="0">
                        <a:pos x="50" y="6"/>
                      </a:cxn>
                      <a:cxn ang="0">
                        <a:pos x="50" y="1"/>
                      </a:cxn>
                      <a:cxn ang="0">
                        <a:pos x="50" y="3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1"/>
                        </a:lnTo>
                        <a:lnTo>
                          <a:pt x="36" y="14"/>
                        </a:lnTo>
                        <a:lnTo>
                          <a:pt x="34" y="18"/>
                        </a:lnTo>
                        <a:lnTo>
                          <a:pt x="32" y="19"/>
                        </a:lnTo>
                        <a:lnTo>
                          <a:pt x="26" y="19"/>
                        </a:lnTo>
                        <a:lnTo>
                          <a:pt x="18" y="16"/>
                        </a:lnTo>
                        <a:lnTo>
                          <a:pt x="6" y="8"/>
                        </a:lnTo>
                        <a:lnTo>
                          <a:pt x="0" y="18"/>
                        </a:lnTo>
                        <a:lnTo>
                          <a:pt x="13" y="26"/>
                        </a:lnTo>
                        <a:lnTo>
                          <a:pt x="24" y="30"/>
                        </a:lnTo>
                        <a:lnTo>
                          <a:pt x="34" y="30"/>
                        </a:lnTo>
                        <a:lnTo>
                          <a:pt x="41" y="24"/>
                        </a:lnTo>
                        <a:lnTo>
                          <a:pt x="46" y="19"/>
                        </a:lnTo>
                        <a:lnTo>
                          <a:pt x="49" y="13"/>
                        </a:lnTo>
                        <a:lnTo>
                          <a:pt x="50" y="6"/>
                        </a:lnTo>
                        <a:lnTo>
                          <a:pt x="50" y="1"/>
                        </a:lnTo>
                        <a:lnTo>
                          <a:pt x="50" y="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2" name="Freeform 1039"/>
                  <p:cNvSpPr>
                    <a:spLocks/>
                  </p:cNvSpPr>
                  <p:nvPr/>
                </p:nvSpPr>
                <p:spPr bwMode="auto">
                  <a:xfrm rot="-5400000">
                    <a:off x="3613" y="3702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30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5"/>
                      </a:cxn>
                      <a:cxn ang="0">
                        <a:pos x="11" y="8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30" y="18"/>
                      </a:cxn>
                    </a:cxnLst>
                    <a:rect l="0" t="0" r="r" b="b"/>
                    <a:pathLst>
                      <a:path w="30" h="23">
                        <a:moveTo>
                          <a:pt x="30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5"/>
                        </a:lnTo>
                        <a:lnTo>
                          <a:pt x="11" y="8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30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3" name="Freeform 1040"/>
                  <p:cNvSpPr>
                    <a:spLocks/>
                  </p:cNvSpPr>
                  <p:nvPr/>
                </p:nvSpPr>
                <p:spPr bwMode="auto">
                  <a:xfrm rot="-5400000">
                    <a:off x="3620" y="3701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4" y="5"/>
                      </a:cxn>
                      <a:cxn ang="0">
                        <a:pos x="36" y="9"/>
                      </a:cxn>
                      <a:cxn ang="0">
                        <a:pos x="34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4" y="5"/>
                        </a:lnTo>
                        <a:lnTo>
                          <a:pt x="36" y="9"/>
                        </a:lnTo>
                        <a:lnTo>
                          <a:pt x="34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4" name="Freeform 1041"/>
                  <p:cNvSpPr>
                    <a:spLocks/>
                  </p:cNvSpPr>
                  <p:nvPr/>
                </p:nvSpPr>
                <p:spPr bwMode="auto">
                  <a:xfrm rot="-5400000">
                    <a:off x="3622" y="3720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9" y="2"/>
                      </a:cxn>
                      <a:cxn ang="0">
                        <a:pos x="9" y="3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9" y="2"/>
                        </a:lnTo>
                        <a:lnTo>
                          <a:pt x="9" y="3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5" name="Freeform 1042"/>
                  <p:cNvSpPr>
                    <a:spLocks/>
                  </p:cNvSpPr>
                  <p:nvPr/>
                </p:nvSpPr>
                <p:spPr bwMode="auto">
                  <a:xfrm rot="-5400000">
                    <a:off x="3560" y="3684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5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6" y="254"/>
                      </a:cxn>
                      <a:cxn ang="0">
                        <a:pos x="43" y="226"/>
                      </a:cxn>
                      <a:cxn ang="0">
                        <a:pos x="26" y="200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5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6" y="254"/>
                        </a:lnTo>
                        <a:lnTo>
                          <a:pt x="43" y="226"/>
                        </a:lnTo>
                        <a:lnTo>
                          <a:pt x="26" y="200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6" name="Freeform 1043"/>
                  <p:cNvSpPr>
                    <a:spLocks/>
                  </p:cNvSpPr>
                  <p:nvPr/>
                </p:nvSpPr>
                <p:spPr bwMode="auto">
                  <a:xfrm rot="-5400000">
                    <a:off x="3556" y="3703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7" name="Freeform 1044"/>
                  <p:cNvSpPr>
                    <a:spLocks/>
                  </p:cNvSpPr>
                  <p:nvPr/>
                </p:nvSpPr>
                <p:spPr bwMode="auto">
                  <a:xfrm rot="-5400000">
                    <a:off x="3557" y="3707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2" y="9"/>
                      </a:cxn>
                      <a:cxn ang="0">
                        <a:pos x="6" y="11"/>
                      </a:cxn>
                      <a:cxn ang="0">
                        <a:pos x="10" y="13"/>
                      </a:cxn>
                      <a:cxn ang="0">
                        <a:pos x="14" y="13"/>
                      </a:cxn>
                      <a:cxn ang="0">
                        <a:pos x="25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10" y="1"/>
                      </a:cxn>
                      <a:cxn ang="0">
                        <a:pos x="8" y="0"/>
                      </a:cxn>
                      <a:cxn ang="0">
                        <a:pos x="11" y="2"/>
                      </a:cxn>
                      <a:cxn ang="0">
                        <a:pos x="10" y="1"/>
                      </a:cxn>
                      <a:cxn ang="0">
                        <a:pos x="11" y="2"/>
                      </a:cxn>
                      <a:cxn ang="0">
                        <a:pos x="7" y="0"/>
                      </a:cxn>
                      <a:cxn ang="0">
                        <a:pos x="3" y="1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25" h="13">
                        <a:moveTo>
                          <a:pt x="3" y="10"/>
                        </a:moveTo>
                        <a:lnTo>
                          <a:pt x="2" y="9"/>
                        </a:lnTo>
                        <a:lnTo>
                          <a:pt x="6" y="11"/>
                        </a:lnTo>
                        <a:lnTo>
                          <a:pt x="10" y="13"/>
                        </a:lnTo>
                        <a:lnTo>
                          <a:pt x="14" y="13"/>
                        </a:lnTo>
                        <a:lnTo>
                          <a:pt x="25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10" y="1"/>
                        </a:lnTo>
                        <a:lnTo>
                          <a:pt x="8" y="0"/>
                        </a:lnTo>
                        <a:lnTo>
                          <a:pt x="11" y="2"/>
                        </a:lnTo>
                        <a:lnTo>
                          <a:pt x="10" y="1"/>
                        </a:lnTo>
                        <a:lnTo>
                          <a:pt x="11" y="2"/>
                        </a:lnTo>
                        <a:lnTo>
                          <a:pt x="7" y="0"/>
                        </a:lnTo>
                        <a:lnTo>
                          <a:pt x="3" y="1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8" name="Freeform 1045"/>
                  <p:cNvSpPr>
                    <a:spLocks/>
                  </p:cNvSpPr>
                  <p:nvPr/>
                </p:nvSpPr>
                <p:spPr bwMode="auto">
                  <a:xfrm rot="-5400000">
                    <a:off x="3548" y="3716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10" y="23"/>
                      </a:cxn>
                      <a:cxn ang="0">
                        <a:pos x="10" y="21"/>
                      </a:cxn>
                      <a:cxn ang="0">
                        <a:pos x="11" y="21"/>
                      </a:cxn>
                      <a:cxn ang="0">
                        <a:pos x="12" y="18"/>
                      </a:cxn>
                      <a:cxn ang="0">
                        <a:pos x="17" y="16"/>
                      </a:cxn>
                      <a:cxn ang="0">
                        <a:pos x="21" y="13"/>
                      </a:cxn>
                      <a:cxn ang="0">
                        <a:pos x="27" y="11"/>
                      </a:cxn>
                      <a:cxn ang="0">
                        <a:pos x="36" y="11"/>
                      </a:cxn>
                      <a:cxn ang="0">
                        <a:pos x="44" y="15"/>
                      </a:cxn>
                      <a:cxn ang="0">
                        <a:pos x="56" y="20"/>
                      </a:cxn>
                      <a:cxn ang="0">
                        <a:pos x="63" y="11"/>
                      </a:cxn>
                      <a:cxn ang="0">
                        <a:pos x="49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7" y="2"/>
                      </a:cxn>
                      <a:cxn ang="0">
                        <a:pos x="10" y="7"/>
                      </a:cxn>
                      <a:cxn ang="0">
                        <a:pos x="5" y="11"/>
                      </a:cxn>
                      <a:cxn ang="0">
                        <a:pos x="2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4" y="24"/>
                      </a:cxn>
                      <a:cxn ang="0">
                        <a:pos x="7" y="24"/>
                      </a:cxn>
                      <a:cxn ang="0">
                        <a:pos x="10" y="21"/>
                      </a:cxn>
                      <a:cxn ang="0">
                        <a:pos x="10" y="23"/>
                      </a:cxn>
                    </a:cxnLst>
                    <a:rect l="0" t="0" r="r" b="b"/>
                    <a:pathLst>
                      <a:path w="63" h="24">
                        <a:moveTo>
                          <a:pt x="10" y="23"/>
                        </a:moveTo>
                        <a:lnTo>
                          <a:pt x="10" y="21"/>
                        </a:lnTo>
                        <a:lnTo>
                          <a:pt x="11" y="21"/>
                        </a:lnTo>
                        <a:lnTo>
                          <a:pt x="12" y="18"/>
                        </a:lnTo>
                        <a:lnTo>
                          <a:pt x="17" y="16"/>
                        </a:lnTo>
                        <a:lnTo>
                          <a:pt x="21" y="13"/>
                        </a:lnTo>
                        <a:lnTo>
                          <a:pt x="27" y="11"/>
                        </a:lnTo>
                        <a:lnTo>
                          <a:pt x="36" y="11"/>
                        </a:lnTo>
                        <a:lnTo>
                          <a:pt x="44" y="15"/>
                        </a:lnTo>
                        <a:lnTo>
                          <a:pt x="56" y="20"/>
                        </a:lnTo>
                        <a:lnTo>
                          <a:pt x="63" y="11"/>
                        </a:lnTo>
                        <a:lnTo>
                          <a:pt x="49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7" y="2"/>
                        </a:lnTo>
                        <a:lnTo>
                          <a:pt x="10" y="7"/>
                        </a:lnTo>
                        <a:lnTo>
                          <a:pt x="5" y="11"/>
                        </a:lnTo>
                        <a:lnTo>
                          <a:pt x="2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4" y="24"/>
                        </a:lnTo>
                        <a:lnTo>
                          <a:pt x="7" y="24"/>
                        </a:lnTo>
                        <a:lnTo>
                          <a:pt x="10" y="21"/>
                        </a:lnTo>
                        <a:lnTo>
                          <a:pt x="10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99" name="Freeform 1046"/>
                  <p:cNvSpPr>
                    <a:spLocks/>
                  </p:cNvSpPr>
                  <p:nvPr/>
                </p:nvSpPr>
                <p:spPr bwMode="auto">
                  <a:xfrm rot="-5400000">
                    <a:off x="3570" y="371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1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1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0" name="Freeform 1047"/>
                  <p:cNvSpPr>
                    <a:spLocks/>
                  </p:cNvSpPr>
                  <p:nvPr/>
                </p:nvSpPr>
                <p:spPr bwMode="auto">
                  <a:xfrm rot="-5400000">
                    <a:off x="3597" y="3725"/>
                    <a:ext cx="7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7" y="54"/>
                      </a:cxn>
                      <a:cxn ang="0">
                        <a:pos x="22" y="40"/>
                      </a:cxn>
                      <a:cxn ang="0">
                        <a:pos x="17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6" y="28"/>
                      </a:cxn>
                      <a:cxn ang="0">
                        <a:pos x="10" y="42"/>
                      </a:cxn>
                      <a:cxn ang="0">
                        <a:pos x="17" y="58"/>
                      </a:cxn>
                      <a:cxn ang="0">
                        <a:pos x="17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7" h="58">
                        <a:moveTo>
                          <a:pt x="27" y="54"/>
                        </a:moveTo>
                        <a:lnTo>
                          <a:pt x="27" y="54"/>
                        </a:lnTo>
                        <a:lnTo>
                          <a:pt x="22" y="40"/>
                        </a:lnTo>
                        <a:lnTo>
                          <a:pt x="17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6" y="28"/>
                        </a:lnTo>
                        <a:lnTo>
                          <a:pt x="10" y="42"/>
                        </a:lnTo>
                        <a:lnTo>
                          <a:pt x="17" y="58"/>
                        </a:lnTo>
                        <a:lnTo>
                          <a:pt x="17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1" name="Freeform 1048"/>
                  <p:cNvSpPr>
                    <a:spLocks/>
                  </p:cNvSpPr>
                  <p:nvPr/>
                </p:nvSpPr>
                <p:spPr bwMode="auto">
                  <a:xfrm rot="-5400000">
                    <a:off x="3610" y="3721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6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6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2" name="Freeform 1049"/>
                  <p:cNvSpPr>
                    <a:spLocks/>
                  </p:cNvSpPr>
                  <p:nvPr/>
                </p:nvSpPr>
                <p:spPr bwMode="auto">
                  <a:xfrm rot="-5400000">
                    <a:off x="3609" y="3765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7"/>
                      </a:cxn>
                      <a:cxn ang="0">
                        <a:pos x="67" y="75"/>
                      </a:cxn>
                      <a:cxn ang="0">
                        <a:pos x="75" y="71"/>
                      </a:cxn>
                      <a:cxn ang="0">
                        <a:pos x="83" y="67"/>
                      </a:cxn>
                      <a:cxn ang="0">
                        <a:pos x="88" y="61"/>
                      </a:cxn>
                      <a:cxn ang="0">
                        <a:pos x="93" y="54"/>
                      </a:cxn>
                      <a:cxn ang="0">
                        <a:pos x="95" y="47"/>
                      </a:cxn>
                      <a:cxn ang="0">
                        <a:pos x="96" y="39"/>
                      </a:cxn>
                      <a:cxn ang="0">
                        <a:pos x="95" y="31"/>
                      </a:cxn>
                      <a:cxn ang="0">
                        <a:pos x="93" y="24"/>
                      </a:cxn>
                      <a:cxn ang="0">
                        <a:pos x="88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1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6" h="78">
                        <a:moveTo>
                          <a:pt x="48" y="78"/>
                        </a:moveTo>
                        <a:lnTo>
                          <a:pt x="57" y="77"/>
                        </a:lnTo>
                        <a:lnTo>
                          <a:pt x="67" y="75"/>
                        </a:lnTo>
                        <a:lnTo>
                          <a:pt x="75" y="71"/>
                        </a:lnTo>
                        <a:lnTo>
                          <a:pt x="83" y="67"/>
                        </a:lnTo>
                        <a:lnTo>
                          <a:pt x="88" y="61"/>
                        </a:lnTo>
                        <a:lnTo>
                          <a:pt x="93" y="54"/>
                        </a:lnTo>
                        <a:lnTo>
                          <a:pt x="95" y="47"/>
                        </a:lnTo>
                        <a:lnTo>
                          <a:pt x="96" y="39"/>
                        </a:lnTo>
                        <a:lnTo>
                          <a:pt x="95" y="31"/>
                        </a:lnTo>
                        <a:lnTo>
                          <a:pt x="93" y="24"/>
                        </a:lnTo>
                        <a:lnTo>
                          <a:pt x="88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1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3" name="Freeform 1050"/>
                  <p:cNvSpPr>
                    <a:spLocks/>
                  </p:cNvSpPr>
                  <p:nvPr/>
                </p:nvSpPr>
                <p:spPr bwMode="auto">
                  <a:xfrm rot="-5400000">
                    <a:off x="3624" y="3761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0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7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0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7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4" name="Freeform 1051"/>
                  <p:cNvSpPr>
                    <a:spLocks/>
                  </p:cNvSpPr>
                  <p:nvPr/>
                </p:nvSpPr>
                <p:spPr bwMode="auto">
                  <a:xfrm rot="-5400000">
                    <a:off x="3609" y="3761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2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2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5" name="Freeform 1052"/>
                  <p:cNvSpPr>
                    <a:spLocks/>
                  </p:cNvSpPr>
                  <p:nvPr/>
                </p:nvSpPr>
                <p:spPr bwMode="auto">
                  <a:xfrm rot="-5400000">
                    <a:off x="3609" y="3778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6" name="Freeform 1053"/>
                  <p:cNvSpPr>
                    <a:spLocks/>
                  </p:cNvSpPr>
                  <p:nvPr/>
                </p:nvSpPr>
                <p:spPr bwMode="auto">
                  <a:xfrm rot="-5400000">
                    <a:off x="3624" y="3779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8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5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8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5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7" name="Freeform 1054"/>
                  <p:cNvSpPr>
                    <a:spLocks/>
                  </p:cNvSpPr>
                  <p:nvPr/>
                </p:nvSpPr>
                <p:spPr bwMode="auto">
                  <a:xfrm rot="-5400000">
                    <a:off x="3611" y="3820"/>
                    <a:ext cx="29" cy="26"/>
                  </a:xfrm>
                  <a:custGeom>
                    <a:avLst/>
                    <a:gdLst/>
                    <a:ahLst/>
                    <a:cxnLst>
                      <a:cxn ang="0">
                        <a:pos x="48" y="79"/>
                      </a:cxn>
                      <a:cxn ang="0">
                        <a:pos x="57" y="77"/>
                      </a:cxn>
                      <a:cxn ang="0">
                        <a:pos x="66" y="75"/>
                      </a:cxn>
                      <a:cxn ang="0">
                        <a:pos x="74" y="72"/>
                      </a:cxn>
                      <a:cxn ang="0">
                        <a:pos x="82" y="67"/>
                      </a:cxn>
                      <a:cxn ang="0">
                        <a:pos x="88" y="61"/>
                      </a:cxn>
                      <a:cxn ang="0">
                        <a:pos x="93" y="54"/>
                      </a:cxn>
                      <a:cxn ang="0">
                        <a:pos x="95" y="47"/>
                      </a:cxn>
                      <a:cxn ang="0">
                        <a:pos x="96" y="39"/>
                      </a:cxn>
                      <a:cxn ang="0">
                        <a:pos x="95" y="31"/>
                      </a:cxn>
                      <a:cxn ang="0">
                        <a:pos x="93" y="24"/>
                      </a:cxn>
                      <a:cxn ang="0">
                        <a:pos x="88" y="17"/>
                      </a:cxn>
                      <a:cxn ang="0">
                        <a:pos x="82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4"/>
                      </a:cxn>
                      <a:cxn ang="0">
                        <a:pos x="21" y="7"/>
                      </a:cxn>
                      <a:cxn ang="0">
                        <a:pos x="13" y="12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3" y="67"/>
                      </a:cxn>
                      <a:cxn ang="0">
                        <a:pos x="21" y="72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9"/>
                      </a:cxn>
                    </a:cxnLst>
                    <a:rect l="0" t="0" r="r" b="b"/>
                    <a:pathLst>
                      <a:path w="96" h="79">
                        <a:moveTo>
                          <a:pt x="48" y="79"/>
                        </a:moveTo>
                        <a:lnTo>
                          <a:pt x="57" y="77"/>
                        </a:lnTo>
                        <a:lnTo>
                          <a:pt x="66" y="75"/>
                        </a:lnTo>
                        <a:lnTo>
                          <a:pt x="74" y="72"/>
                        </a:lnTo>
                        <a:lnTo>
                          <a:pt x="82" y="67"/>
                        </a:lnTo>
                        <a:lnTo>
                          <a:pt x="88" y="61"/>
                        </a:lnTo>
                        <a:lnTo>
                          <a:pt x="93" y="54"/>
                        </a:lnTo>
                        <a:lnTo>
                          <a:pt x="95" y="47"/>
                        </a:lnTo>
                        <a:lnTo>
                          <a:pt x="96" y="39"/>
                        </a:lnTo>
                        <a:lnTo>
                          <a:pt x="95" y="31"/>
                        </a:lnTo>
                        <a:lnTo>
                          <a:pt x="93" y="24"/>
                        </a:lnTo>
                        <a:lnTo>
                          <a:pt x="88" y="17"/>
                        </a:lnTo>
                        <a:lnTo>
                          <a:pt x="82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4"/>
                        </a:lnTo>
                        <a:lnTo>
                          <a:pt x="21" y="7"/>
                        </a:lnTo>
                        <a:lnTo>
                          <a:pt x="13" y="12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3" y="67"/>
                        </a:lnTo>
                        <a:lnTo>
                          <a:pt x="21" y="72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9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8" name="Freeform 1055"/>
                  <p:cNvSpPr>
                    <a:spLocks/>
                  </p:cNvSpPr>
                  <p:nvPr/>
                </p:nvSpPr>
                <p:spPr bwMode="auto">
                  <a:xfrm rot="-5400000">
                    <a:off x="3625" y="3817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1" y="7"/>
                      </a:cxn>
                      <a:cxn ang="0">
                        <a:pos x="40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7" y="30"/>
                      </a:cxn>
                      <a:cxn ang="0">
                        <a:pos x="8" y="33"/>
                      </a:cxn>
                      <a:cxn ang="0">
                        <a:pos x="0" y="34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3"/>
                      </a:cxn>
                      <a:cxn ang="0">
                        <a:pos x="45" y="26"/>
                      </a:cxn>
                      <a:cxn ang="0">
                        <a:pos x="49" y="18"/>
                      </a:cxn>
                      <a:cxn ang="0">
                        <a:pos x="53" y="10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1" y="7"/>
                        </a:lnTo>
                        <a:lnTo>
                          <a:pt x="40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7" y="30"/>
                        </a:lnTo>
                        <a:lnTo>
                          <a:pt x="8" y="33"/>
                        </a:lnTo>
                        <a:lnTo>
                          <a:pt x="0" y="34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3"/>
                        </a:lnTo>
                        <a:lnTo>
                          <a:pt x="45" y="26"/>
                        </a:lnTo>
                        <a:lnTo>
                          <a:pt x="49" y="18"/>
                        </a:lnTo>
                        <a:lnTo>
                          <a:pt x="53" y="1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09" name="Freeform 1056"/>
                  <p:cNvSpPr>
                    <a:spLocks/>
                  </p:cNvSpPr>
                  <p:nvPr/>
                </p:nvSpPr>
                <p:spPr bwMode="auto">
                  <a:xfrm rot="-5400000">
                    <a:off x="3610" y="3815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8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3"/>
                      </a:cxn>
                      <a:cxn ang="0">
                        <a:pos x="41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49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9"/>
                      </a:cxn>
                      <a:cxn ang="0">
                        <a:pos x="20" y="4"/>
                      </a:cxn>
                      <a:cxn ang="0">
                        <a:pos x="10" y="2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8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3"/>
                        </a:lnTo>
                        <a:lnTo>
                          <a:pt x="41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49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9"/>
                        </a:lnTo>
                        <a:lnTo>
                          <a:pt x="20" y="4"/>
                        </a:lnTo>
                        <a:lnTo>
                          <a:pt x="10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0" name="Freeform 1057"/>
                  <p:cNvSpPr>
                    <a:spLocks/>
                  </p:cNvSpPr>
                  <p:nvPr/>
                </p:nvSpPr>
                <p:spPr bwMode="auto">
                  <a:xfrm rot="-5400000">
                    <a:off x="3609" y="3832"/>
                    <a:ext cx="18" cy="17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4" y="33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8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2"/>
                      </a:cxn>
                      <a:cxn ang="0">
                        <a:pos x="34" y="4"/>
                      </a:cxn>
                      <a:cxn ang="0">
                        <a:pos x="25" y="9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4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4" y="33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8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2"/>
                        </a:lnTo>
                        <a:lnTo>
                          <a:pt x="34" y="4"/>
                        </a:lnTo>
                        <a:lnTo>
                          <a:pt x="25" y="9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4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1" name="Freeform 1058"/>
                  <p:cNvSpPr>
                    <a:spLocks/>
                  </p:cNvSpPr>
                  <p:nvPr/>
                </p:nvSpPr>
                <p:spPr bwMode="auto">
                  <a:xfrm rot="-5400000">
                    <a:off x="3624" y="3834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4" y="34"/>
                      </a:cxn>
                      <a:cxn ang="0">
                        <a:pos x="54" y="34"/>
                      </a:cxn>
                      <a:cxn ang="0">
                        <a:pos x="46" y="33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8" y="19"/>
                      </a:cxn>
                      <a:cxn ang="0">
                        <a:pos x="14" y="13"/>
                      </a:cxn>
                      <a:cxn ang="0">
                        <a:pos x="12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10"/>
                      </a:cxn>
                      <a:cxn ang="0">
                        <a:pos x="4" y="18"/>
                      </a:cxn>
                      <a:cxn ang="0">
                        <a:pos x="9" y="26"/>
                      </a:cxn>
                      <a:cxn ang="0">
                        <a:pos x="16" y="33"/>
                      </a:cxn>
                      <a:cxn ang="0">
                        <a:pos x="25" y="37"/>
                      </a:cxn>
                      <a:cxn ang="0">
                        <a:pos x="34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4"/>
                      </a:cxn>
                    </a:cxnLst>
                    <a:rect l="0" t="0" r="r" b="b"/>
                    <a:pathLst>
                      <a:path w="54" h="45">
                        <a:moveTo>
                          <a:pt x="54" y="34"/>
                        </a:moveTo>
                        <a:lnTo>
                          <a:pt x="54" y="34"/>
                        </a:lnTo>
                        <a:lnTo>
                          <a:pt x="46" y="33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8" y="19"/>
                        </a:lnTo>
                        <a:lnTo>
                          <a:pt x="14" y="13"/>
                        </a:lnTo>
                        <a:lnTo>
                          <a:pt x="12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10"/>
                        </a:lnTo>
                        <a:lnTo>
                          <a:pt x="4" y="18"/>
                        </a:lnTo>
                        <a:lnTo>
                          <a:pt x="9" y="26"/>
                        </a:lnTo>
                        <a:lnTo>
                          <a:pt x="16" y="33"/>
                        </a:lnTo>
                        <a:lnTo>
                          <a:pt x="25" y="37"/>
                        </a:lnTo>
                        <a:lnTo>
                          <a:pt x="34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2" name="Freeform 1059"/>
                  <p:cNvSpPr>
                    <a:spLocks/>
                  </p:cNvSpPr>
                  <p:nvPr/>
                </p:nvSpPr>
                <p:spPr bwMode="auto">
                  <a:xfrm rot="-5400000">
                    <a:off x="3607" y="3873"/>
                    <a:ext cx="31" cy="28"/>
                  </a:xfrm>
                  <a:custGeom>
                    <a:avLst/>
                    <a:gdLst/>
                    <a:ahLst/>
                    <a:cxnLst>
                      <a:cxn ang="0">
                        <a:pos x="46" y="83"/>
                      </a:cxn>
                      <a:cxn ang="0">
                        <a:pos x="55" y="81"/>
                      </a:cxn>
                      <a:cxn ang="0">
                        <a:pos x="64" y="79"/>
                      </a:cxn>
                      <a:cxn ang="0">
                        <a:pos x="71" y="76"/>
                      </a:cxn>
                      <a:cxn ang="0">
                        <a:pos x="78" y="70"/>
                      </a:cxn>
                      <a:cxn ang="0">
                        <a:pos x="84" y="64"/>
                      </a:cxn>
                      <a:cxn ang="0">
                        <a:pos x="88" y="57"/>
                      </a:cxn>
                      <a:cxn ang="0">
                        <a:pos x="91" y="49"/>
                      </a:cxn>
                      <a:cxn ang="0">
                        <a:pos x="92" y="41"/>
                      </a:cxn>
                      <a:cxn ang="0">
                        <a:pos x="91" y="33"/>
                      </a:cxn>
                      <a:cxn ang="0">
                        <a:pos x="88" y="25"/>
                      </a:cxn>
                      <a:cxn ang="0">
                        <a:pos x="84" y="18"/>
                      </a:cxn>
                      <a:cxn ang="0">
                        <a:pos x="78" y="11"/>
                      </a:cxn>
                      <a:cxn ang="0">
                        <a:pos x="71" y="7"/>
                      </a:cxn>
                      <a:cxn ang="0">
                        <a:pos x="64" y="3"/>
                      </a:cxn>
                      <a:cxn ang="0">
                        <a:pos x="55" y="1"/>
                      </a:cxn>
                      <a:cxn ang="0">
                        <a:pos x="46" y="0"/>
                      </a:cxn>
                      <a:cxn ang="0">
                        <a:pos x="37" y="1"/>
                      </a:cxn>
                      <a:cxn ang="0">
                        <a:pos x="27" y="3"/>
                      </a:cxn>
                      <a:cxn ang="0">
                        <a:pos x="20" y="7"/>
                      </a:cxn>
                      <a:cxn ang="0">
                        <a:pos x="14" y="11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3"/>
                      </a:cxn>
                      <a:cxn ang="0">
                        <a:pos x="0" y="41"/>
                      </a:cxn>
                      <a:cxn ang="0">
                        <a:pos x="1" y="49"/>
                      </a:cxn>
                      <a:cxn ang="0">
                        <a:pos x="3" y="57"/>
                      </a:cxn>
                      <a:cxn ang="0">
                        <a:pos x="8" y="64"/>
                      </a:cxn>
                      <a:cxn ang="0">
                        <a:pos x="14" y="70"/>
                      </a:cxn>
                      <a:cxn ang="0">
                        <a:pos x="20" y="76"/>
                      </a:cxn>
                      <a:cxn ang="0">
                        <a:pos x="27" y="79"/>
                      </a:cxn>
                      <a:cxn ang="0">
                        <a:pos x="37" y="81"/>
                      </a:cxn>
                      <a:cxn ang="0">
                        <a:pos x="46" y="83"/>
                      </a:cxn>
                    </a:cxnLst>
                    <a:rect l="0" t="0" r="r" b="b"/>
                    <a:pathLst>
                      <a:path w="92" h="83">
                        <a:moveTo>
                          <a:pt x="46" y="83"/>
                        </a:moveTo>
                        <a:lnTo>
                          <a:pt x="55" y="81"/>
                        </a:lnTo>
                        <a:lnTo>
                          <a:pt x="64" y="79"/>
                        </a:lnTo>
                        <a:lnTo>
                          <a:pt x="71" y="76"/>
                        </a:lnTo>
                        <a:lnTo>
                          <a:pt x="78" y="70"/>
                        </a:lnTo>
                        <a:lnTo>
                          <a:pt x="84" y="64"/>
                        </a:lnTo>
                        <a:lnTo>
                          <a:pt x="88" y="57"/>
                        </a:lnTo>
                        <a:lnTo>
                          <a:pt x="91" y="49"/>
                        </a:lnTo>
                        <a:lnTo>
                          <a:pt x="92" y="41"/>
                        </a:lnTo>
                        <a:lnTo>
                          <a:pt x="91" y="33"/>
                        </a:lnTo>
                        <a:lnTo>
                          <a:pt x="88" y="25"/>
                        </a:lnTo>
                        <a:lnTo>
                          <a:pt x="84" y="18"/>
                        </a:lnTo>
                        <a:lnTo>
                          <a:pt x="78" y="11"/>
                        </a:lnTo>
                        <a:lnTo>
                          <a:pt x="71" y="7"/>
                        </a:lnTo>
                        <a:lnTo>
                          <a:pt x="64" y="3"/>
                        </a:lnTo>
                        <a:lnTo>
                          <a:pt x="55" y="1"/>
                        </a:lnTo>
                        <a:lnTo>
                          <a:pt x="46" y="0"/>
                        </a:lnTo>
                        <a:lnTo>
                          <a:pt x="37" y="1"/>
                        </a:lnTo>
                        <a:lnTo>
                          <a:pt x="27" y="3"/>
                        </a:lnTo>
                        <a:lnTo>
                          <a:pt x="20" y="7"/>
                        </a:lnTo>
                        <a:lnTo>
                          <a:pt x="14" y="11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3"/>
                        </a:lnTo>
                        <a:lnTo>
                          <a:pt x="0" y="41"/>
                        </a:lnTo>
                        <a:lnTo>
                          <a:pt x="1" y="49"/>
                        </a:lnTo>
                        <a:lnTo>
                          <a:pt x="3" y="57"/>
                        </a:lnTo>
                        <a:lnTo>
                          <a:pt x="8" y="64"/>
                        </a:lnTo>
                        <a:lnTo>
                          <a:pt x="14" y="70"/>
                        </a:lnTo>
                        <a:lnTo>
                          <a:pt x="20" y="76"/>
                        </a:lnTo>
                        <a:lnTo>
                          <a:pt x="27" y="79"/>
                        </a:lnTo>
                        <a:lnTo>
                          <a:pt x="37" y="81"/>
                        </a:lnTo>
                        <a:lnTo>
                          <a:pt x="46" y="83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3" name="Freeform 1060"/>
                  <p:cNvSpPr>
                    <a:spLocks/>
                  </p:cNvSpPr>
                  <p:nvPr/>
                </p:nvSpPr>
                <p:spPr bwMode="auto">
                  <a:xfrm rot="-5400000">
                    <a:off x="3622" y="3871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9" y="7"/>
                      </a:cxn>
                      <a:cxn ang="0">
                        <a:pos x="38" y="14"/>
                      </a:cxn>
                      <a:cxn ang="0">
                        <a:pos x="33" y="20"/>
                      </a:cxn>
                      <a:cxn ang="0">
                        <a:pos x="29" y="24"/>
                      </a:cxn>
                      <a:cxn ang="0">
                        <a:pos x="22" y="30"/>
                      </a:cxn>
                      <a:cxn ang="0">
                        <a:pos x="17" y="32"/>
                      </a:cxn>
                      <a:cxn ang="0">
                        <a:pos x="8" y="35"/>
                      </a:cxn>
                      <a:cxn ang="0">
                        <a:pos x="0" y="36"/>
                      </a:cxn>
                      <a:cxn ang="0">
                        <a:pos x="0" y="47"/>
                      </a:cxn>
                      <a:cxn ang="0">
                        <a:pos x="10" y="46"/>
                      </a:cxn>
                      <a:cxn ang="0">
                        <a:pos x="19" y="44"/>
                      </a:cxn>
                      <a:cxn ang="0">
                        <a:pos x="29" y="39"/>
                      </a:cxn>
                      <a:cxn ang="0">
                        <a:pos x="35" y="34"/>
                      </a:cxn>
                      <a:cxn ang="0">
                        <a:pos x="42" y="27"/>
                      </a:cxn>
                      <a:cxn ang="0">
                        <a:pos x="47" y="19"/>
                      </a:cxn>
                      <a:cxn ang="0">
                        <a:pos x="50" y="9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2" h="47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9" y="7"/>
                        </a:lnTo>
                        <a:lnTo>
                          <a:pt x="38" y="14"/>
                        </a:lnTo>
                        <a:lnTo>
                          <a:pt x="33" y="20"/>
                        </a:lnTo>
                        <a:lnTo>
                          <a:pt x="29" y="24"/>
                        </a:lnTo>
                        <a:lnTo>
                          <a:pt x="22" y="30"/>
                        </a:lnTo>
                        <a:lnTo>
                          <a:pt x="17" y="32"/>
                        </a:lnTo>
                        <a:lnTo>
                          <a:pt x="8" y="35"/>
                        </a:lnTo>
                        <a:lnTo>
                          <a:pt x="0" y="36"/>
                        </a:lnTo>
                        <a:lnTo>
                          <a:pt x="0" y="47"/>
                        </a:lnTo>
                        <a:lnTo>
                          <a:pt x="10" y="46"/>
                        </a:lnTo>
                        <a:lnTo>
                          <a:pt x="19" y="44"/>
                        </a:lnTo>
                        <a:lnTo>
                          <a:pt x="29" y="39"/>
                        </a:lnTo>
                        <a:lnTo>
                          <a:pt x="35" y="34"/>
                        </a:lnTo>
                        <a:lnTo>
                          <a:pt x="42" y="27"/>
                        </a:lnTo>
                        <a:lnTo>
                          <a:pt x="47" y="19"/>
                        </a:lnTo>
                        <a:lnTo>
                          <a:pt x="50" y="9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4" name="Freeform 1061"/>
                  <p:cNvSpPr>
                    <a:spLocks/>
                  </p:cNvSpPr>
                  <p:nvPr/>
                </p:nvSpPr>
                <p:spPr bwMode="auto">
                  <a:xfrm rot="-5400000">
                    <a:off x="3606" y="3872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3" y="17"/>
                      </a:cxn>
                      <a:cxn ang="0">
                        <a:pos x="29" y="22"/>
                      </a:cxn>
                      <a:cxn ang="0">
                        <a:pos x="33" y="28"/>
                      </a:cxn>
                      <a:cxn ang="0">
                        <a:pos x="38" y="33"/>
                      </a:cxn>
                      <a:cxn ang="0">
                        <a:pos x="39" y="40"/>
                      </a:cxn>
                      <a:cxn ang="0">
                        <a:pos x="40" y="47"/>
                      </a:cxn>
                      <a:cxn ang="0">
                        <a:pos x="52" y="47"/>
                      </a:cxn>
                      <a:cxn ang="0">
                        <a:pos x="50" y="38"/>
                      </a:cxn>
                      <a:cxn ang="0">
                        <a:pos x="47" y="29"/>
                      </a:cxn>
                      <a:cxn ang="0">
                        <a:pos x="42" y="21"/>
                      </a:cxn>
                      <a:cxn ang="0">
                        <a:pos x="35" y="13"/>
                      </a:cxn>
                      <a:cxn ang="0">
                        <a:pos x="27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2" h="47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3" y="17"/>
                        </a:lnTo>
                        <a:lnTo>
                          <a:pt x="29" y="22"/>
                        </a:lnTo>
                        <a:lnTo>
                          <a:pt x="33" y="28"/>
                        </a:lnTo>
                        <a:lnTo>
                          <a:pt x="38" y="33"/>
                        </a:lnTo>
                        <a:lnTo>
                          <a:pt x="39" y="40"/>
                        </a:lnTo>
                        <a:lnTo>
                          <a:pt x="40" y="47"/>
                        </a:lnTo>
                        <a:lnTo>
                          <a:pt x="52" y="47"/>
                        </a:lnTo>
                        <a:lnTo>
                          <a:pt x="50" y="38"/>
                        </a:lnTo>
                        <a:lnTo>
                          <a:pt x="47" y="29"/>
                        </a:lnTo>
                        <a:lnTo>
                          <a:pt x="42" y="21"/>
                        </a:lnTo>
                        <a:lnTo>
                          <a:pt x="35" y="13"/>
                        </a:lnTo>
                        <a:lnTo>
                          <a:pt x="27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5" name="Freeform 1062"/>
                  <p:cNvSpPr>
                    <a:spLocks/>
                  </p:cNvSpPr>
                  <p:nvPr/>
                </p:nvSpPr>
                <p:spPr bwMode="auto">
                  <a:xfrm rot="-5400000">
                    <a:off x="3606" y="388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7"/>
                      </a:cxn>
                      <a:cxn ang="0">
                        <a:pos x="11" y="47"/>
                      </a:cxn>
                      <a:cxn ang="0">
                        <a:pos x="13" y="40"/>
                      </a:cxn>
                      <a:cxn ang="0">
                        <a:pos x="14" y="33"/>
                      </a:cxn>
                      <a:cxn ang="0">
                        <a:pos x="18" y="28"/>
                      </a:cxn>
                      <a:cxn ang="0">
                        <a:pos x="23" y="22"/>
                      </a:cxn>
                      <a:cxn ang="0">
                        <a:pos x="29" y="17"/>
                      </a:cxn>
                      <a:cxn ang="0">
                        <a:pos x="34" y="15"/>
                      </a:cxn>
                      <a:cxn ang="0">
                        <a:pos x="44" y="13"/>
                      </a:cxn>
                      <a:cxn ang="0">
                        <a:pos x="52" y="11"/>
                      </a:cxn>
                      <a:cxn ang="0">
                        <a:pos x="52" y="0"/>
                      </a:cxn>
                      <a:cxn ang="0">
                        <a:pos x="41" y="1"/>
                      </a:cxn>
                      <a:cxn ang="0">
                        <a:pos x="32" y="3"/>
                      </a:cxn>
                      <a:cxn ang="0">
                        <a:pos x="24" y="8"/>
                      </a:cxn>
                      <a:cxn ang="0">
                        <a:pos x="16" y="13"/>
                      </a:cxn>
                      <a:cxn ang="0">
                        <a:pos x="9" y="21"/>
                      </a:cxn>
                      <a:cxn ang="0">
                        <a:pos x="5" y="29"/>
                      </a:cxn>
                      <a:cxn ang="0">
                        <a:pos x="1" y="38"/>
                      </a:cxn>
                      <a:cxn ang="0">
                        <a:pos x="0" y="47"/>
                      </a:cxn>
                      <a:cxn ang="0">
                        <a:pos x="0" y="47"/>
                      </a:cxn>
                      <a:cxn ang="0">
                        <a:pos x="11" y="47"/>
                      </a:cxn>
                    </a:cxnLst>
                    <a:rect l="0" t="0" r="r" b="b"/>
                    <a:pathLst>
                      <a:path w="52" h="47">
                        <a:moveTo>
                          <a:pt x="11" y="47"/>
                        </a:moveTo>
                        <a:lnTo>
                          <a:pt x="11" y="47"/>
                        </a:lnTo>
                        <a:lnTo>
                          <a:pt x="13" y="40"/>
                        </a:lnTo>
                        <a:lnTo>
                          <a:pt x="14" y="33"/>
                        </a:lnTo>
                        <a:lnTo>
                          <a:pt x="18" y="28"/>
                        </a:lnTo>
                        <a:lnTo>
                          <a:pt x="23" y="22"/>
                        </a:lnTo>
                        <a:lnTo>
                          <a:pt x="29" y="17"/>
                        </a:lnTo>
                        <a:lnTo>
                          <a:pt x="34" y="15"/>
                        </a:lnTo>
                        <a:lnTo>
                          <a:pt x="44" y="13"/>
                        </a:lnTo>
                        <a:lnTo>
                          <a:pt x="52" y="11"/>
                        </a:lnTo>
                        <a:lnTo>
                          <a:pt x="52" y="0"/>
                        </a:lnTo>
                        <a:lnTo>
                          <a:pt x="41" y="1"/>
                        </a:lnTo>
                        <a:lnTo>
                          <a:pt x="32" y="3"/>
                        </a:lnTo>
                        <a:lnTo>
                          <a:pt x="24" y="8"/>
                        </a:lnTo>
                        <a:lnTo>
                          <a:pt x="16" y="13"/>
                        </a:lnTo>
                        <a:lnTo>
                          <a:pt x="9" y="21"/>
                        </a:lnTo>
                        <a:lnTo>
                          <a:pt x="5" y="29"/>
                        </a:lnTo>
                        <a:lnTo>
                          <a:pt x="1" y="38"/>
                        </a:lnTo>
                        <a:lnTo>
                          <a:pt x="0" y="47"/>
                        </a:lnTo>
                        <a:lnTo>
                          <a:pt x="0" y="47"/>
                        </a:lnTo>
                        <a:lnTo>
                          <a:pt x="11" y="4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6" name="Freeform 1063"/>
                  <p:cNvSpPr>
                    <a:spLocks/>
                  </p:cNvSpPr>
                  <p:nvPr/>
                </p:nvSpPr>
                <p:spPr bwMode="auto">
                  <a:xfrm rot="-5400000">
                    <a:off x="3622" y="3888"/>
                    <a:ext cx="18" cy="17"/>
                  </a:xfrm>
                  <a:custGeom>
                    <a:avLst/>
                    <a:gdLst/>
                    <a:ahLst/>
                    <a:cxnLst>
                      <a:cxn ang="0">
                        <a:pos x="52" y="36"/>
                      </a:cxn>
                      <a:cxn ang="0">
                        <a:pos x="52" y="36"/>
                      </a:cxn>
                      <a:cxn ang="0">
                        <a:pos x="44" y="35"/>
                      </a:cxn>
                      <a:cxn ang="0">
                        <a:pos x="34" y="32"/>
                      </a:cxn>
                      <a:cxn ang="0">
                        <a:pos x="30" y="30"/>
                      </a:cxn>
                      <a:cxn ang="0">
                        <a:pos x="23" y="24"/>
                      </a:cxn>
                      <a:cxn ang="0">
                        <a:pos x="18" y="20"/>
                      </a:cxn>
                      <a:cxn ang="0">
                        <a:pos x="14" y="14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9"/>
                      </a:cxn>
                      <a:cxn ang="0">
                        <a:pos x="9" y="27"/>
                      </a:cxn>
                      <a:cxn ang="0">
                        <a:pos x="16" y="34"/>
                      </a:cxn>
                      <a:cxn ang="0">
                        <a:pos x="23" y="39"/>
                      </a:cxn>
                      <a:cxn ang="0">
                        <a:pos x="32" y="44"/>
                      </a:cxn>
                      <a:cxn ang="0">
                        <a:pos x="41" y="46"/>
                      </a:cxn>
                      <a:cxn ang="0">
                        <a:pos x="52" y="47"/>
                      </a:cxn>
                      <a:cxn ang="0">
                        <a:pos x="52" y="47"/>
                      </a:cxn>
                      <a:cxn ang="0">
                        <a:pos x="52" y="36"/>
                      </a:cxn>
                    </a:cxnLst>
                    <a:rect l="0" t="0" r="r" b="b"/>
                    <a:pathLst>
                      <a:path w="52" h="47">
                        <a:moveTo>
                          <a:pt x="52" y="36"/>
                        </a:moveTo>
                        <a:lnTo>
                          <a:pt x="52" y="36"/>
                        </a:lnTo>
                        <a:lnTo>
                          <a:pt x="44" y="35"/>
                        </a:lnTo>
                        <a:lnTo>
                          <a:pt x="34" y="32"/>
                        </a:lnTo>
                        <a:lnTo>
                          <a:pt x="30" y="30"/>
                        </a:lnTo>
                        <a:lnTo>
                          <a:pt x="23" y="24"/>
                        </a:lnTo>
                        <a:lnTo>
                          <a:pt x="18" y="20"/>
                        </a:lnTo>
                        <a:lnTo>
                          <a:pt x="14" y="14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9"/>
                        </a:lnTo>
                        <a:lnTo>
                          <a:pt x="9" y="27"/>
                        </a:lnTo>
                        <a:lnTo>
                          <a:pt x="16" y="34"/>
                        </a:lnTo>
                        <a:lnTo>
                          <a:pt x="23" y="39"/>
                        </a:lnTo>
                        <a:lnTo>
                          <a:pt x="32" y="44"/>
                        </a:lnTo>
                        <a:lnTo>
                          <a:pt x="41" y="46"/>
                        </a:lnTo>
                        <a:lnTo>
                          <a:pt x="52" y="47"/>
                        </a:lnTo>
                        <a:lnTo>
                          <a:pt x="52" y="47"/>
                        </a:lnTo>
                        <a:lnTo>
                          <a:pt x="52" y="3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7" name="Freeform 1064"/>
                  <p:cNvSpPr>
                    <a:spLocks/>
                  </p:cNvSpPr>
                  <p:nvPr/>
                </p:nvSpPr>
                <p:spPr bwMode="auto">
                  <a:xfrm rot="-5400000">
                    <a:off x="3610" y="3420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2" y="66"/>
                      </a:cxn>
                      <a:cxn ang="0">
                        <a:pos x="87" y="60"/>
                      </a:cxn>
                      <a:cxn ang="0">
                        <a:pos x="92" y="55"/>
                      </a:cxn>
                      <a:cxn ang="0">
                        <a:pos x="94" y="48"/>
                      </a:cxn>
                      <a:cxn ang="0">
                        <a:pos x="95" y="40"/>
                      </a:cxn>
                      <a:cxn ang="0">
                        <a:pos x="94" y="31"/>
                      </a:cxn>
                      <a:cxn ang="0">
                        <a:pos x="92" y="25"/>
                      </a:cxn>
                      <a:cxn ang="0">
                        <a:pos x="87" y="18"/>
                      </a:cxn>
                      <a:cxn ang="0">
                        <a:pos x="82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9" y="2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3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2" y="71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5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2" y="66"/>
                        </a:lnTo>
                        <a:lnTo>
                          <a:pt x="87" y="60"/>
                        </a:lnTo>
                        <a:lnTo>
                          <a:pt x="92" y="55"/>
                        </a:lnTo>
                        <a:lnTo>
                          <a:pt x="94" y="48"/>
                        </a:lnTo>
                        <a:lnTo>
                          <a:pt x="95" y="40"/>
                        </a:lnTo>
                        <a:lnTo>
                          <a:pt x="94" y="31"/>
                        </a:lnTo>
                        <a:lnTo>
                          <a:pt x="92" y="25"/>
                        </a:lnTo>
                        <a:lnTo>
                          <a:pt x="87" y="18"/>
                        </a:lnTo>
                        <a:lnTo>
                          <a:pt x="82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9" y="2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3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2" y="71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8" name="Freeform 1065"/>
                  <p:cNvSpPr>
                    <a:spLocks/>
                  </p:cNvSpPr>
                  <p:nvPr/>
                </p:nvSpPr>
                <p:spPr bwMode="auto">
                  <a:xfrm rot="-5400000">
                    <a:off x="3623" y="3418"/>
                    <a:ext cx="19" cy="14"/>
                  </a:xfrm>
                  <a:custGeom>
                    <a:avLst/>
                    <a:gdLst/>
                    <a:ahLst/>
                    <a:cxnLst>
                      <a:cxn ang="0">
                        <a:pos x="42" y="0"/>
                      </a:cxn>
                      <a:cxn ang="0">
                        <a:pos x="42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5" y="17"/>
                      </a:cxn>
                      <a:cxn ang="0">
                        <a:pos x="30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1" y="42"/>
                      </a:cxn>
                      <a:cxn ang="0">
                        <a:pos x="20" y="40"/>
                      </a:cxn>
                      <a:cxn ang="0">
                        <a:pos x="29" y="35"/>
                      </a:cxn>
                      <a:cxn ang="0">
                        <a:pos x="37" y="31"/>
                      </a:cxn>
                      <a:cxn ang="0">
                        <a:pos x="44" y="24"/>
                      </a:cxn>
                      <a:cxn ang="0">
                        <a:pos x="49" y="17"/>
                      </a:cxn>
                      <a:cxn ang="0">
                        <a:pos x="52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2" y="0"/>
                      </a:cxn>
                    </a:cxnLst>
                    <a:rect l="0" t="0" r="r" b="b"/>
                    <a:pathLst>
                      <a:path w="53" h="43">
                        <a:moveTo>
                          <a:pt x="42" y="0"/>
                        </a:moveTo>
                        <a:lnTo>
                          <a:pt x="42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5" y="17"/>
                        </a:lnTo>
                        <a:lnTo>
                          <a:pt x="30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1" y="42"/>
                        </a:lnTo>
                        <a:lnTo>
                          <a:pt x="20" y="40"/>
                        </a:lnTo>
                        <a:lnTo>
                          <a:pt x="29" y="35"/>
                        </a:lnTo>
                        <a:lnTo>
                          <a:pt x="37" y="31"/>
                        </a:lnTo>
                        <a:lnTo>
                          <a:pt x="44" y="24"/>
                        </a:lnTo>
                        <a:lnTo>
                          <a:pt x="49" y="17"/>
                        </a:lnTo>
                        <a:lnTo>
                          <a:pt x="52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19" name="Freeform 1066"/>
                  <p:cNvSpPr>
                    <a:spLocks/>
                  </p:cNvSpPr>
                  <p:nvPr/>
                </p:nvSpPr>
                <p:spPr bwMode="auto">
                  <a:xfrm rot="-5400000">
                    <a:off x="3609" y="3417"/>
                    <a:ext cx="19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0" y="21"/>
                      </a:cxn>
                      <a:cxn ang="0">
                        <a:pos x="35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2" y="45"/>
                      </a:cxn>
                      <a:cxn ang="0">
                        <a:pos x="53" y="45"/>
                      </a:cxn>
                      <a:cxn ang="0">
                        <a:pos x="52" y="35"/>
                      </a:cxn>
                      <a:cxn ang="0">
                        <a:pos x="49" y="27"/>
                      </a:cxn>
                      <a:cxn ang="0">
                        <a:pos x="44" y="19"/>
                      </a:cxn>
                      <a:cxn ang="0">
                        <a:pos x="37" y="12"/>
                      </a:cxn>
                      <a:cxn ang="0">
                        <a:pos x="29" y="8"/>
                      </a:cxn>
                      <a:cxn ang="0">
                        <a:pos x="20" y="3"/>
                      </a:cxn>
                      <a:cxn ang="0">
                        <a:pos x="11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0" y="21"/>
                        </a:lnTo>
                        <a:lnTo>
                          <a:pt x="35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2" y="45"/>
                        </a:lnTo>
                        <a:lnTo>
                          <a:pt x="53" y="45"/>
                        </a:lnTo>
                        <a:lnTo>
                          <a:pt x="52" y="35"/>
                        </a:lnTo>
                        <a:lnTo>
                          <a:pt x="49" y="27"/>
                        </a:lnTo>
                        <a:lnTo>
                          <a:pt x="44" y="19"/>
                        </a:lnTo>
                        <a:lnTo>
                          <a:pt x="37" y="12"/>
                        </a:lnTo>
                        <a:lnTo>
                          <a:pt x="29" y="8"/>
                        </a:lnTo>
                        <a:lnTo>
                          <a:pt x="20" y="3"/>
                        </a:lnTo>
                        <a:lnTo>
                          <a:pt x="11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0" name="Freeform 1067"/>
                  <p:cNvSpPr>
                    <a:spLocks/>
                  </p:cNvSpPr>
                  <p:nvPr/>
                </p:nvSpPr>
                <p:spPr bwMode="auto">
                  <a:xfrm rot="-5400000">
                    <a:off x="3610" y="3434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4" y="11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3"/>
                      </a:cxn>
                      <a:cxn ang="0">
                        <a:pos x="25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5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4" y="11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3"/>
                        </a:lnTo>
                        <a:lnTo>
                          <a:pt x="25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5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1" name="Freeform 1068"/>
                  <p:cNvSpPr>
                    <a:spLocks/>
                  </p:cNvSpPr>
                  <p:nvPr/>
                </p:nvSpPr>
                <p:spPr bwMode="auto">
                  <a:xfrm rot="-5400000">
                    <a:off x="3625" y="3435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54" y="32"/>
                      </a:cxn>
                      <a:cxn ang="0">
                        <a:pos x="54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5" y="35"/>
                      </a:cxn>
                      <a:cxn ang="0">
                        <a:pos x="35" y="40"/>
                      </a:cxn>
                      <a:cxn ang="0">
                        <a:pos x="44" y="42"/>
                      </a:cxn>
                      <a:cxn ang="0">
                        <a:pos x="54" y="43"/>
                      </a:cxn>
                      <a:cxn ang="0">
                        <a:pos x="54" y="43"/>
                      </a:cxn>
                      <a:cxn ang="0">
                        <a:pos x="54" y="32"/>
                      </a:cxn>
                    </a:cxnLst>
                    <a:rect l="0" t="0" r="r" b="b"/>
                    <a:pathLst>
                      <a:path w="54" h="43">
                        <a:moveTo>
                          <a:pt x="54" y="32"/>
                        </a:moveTo>
                        <a:lnTo>
                          <a:pt x="54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5" y="35"/>
                        </a:lnTo>
                        <a:lnTo>
                          <a:pt x="35" y="40"/>
                        </a:lnTo>
                        <a:lnTo>
                          <a:pt x="44" y="42"/>
                        </a:lnTo>
                        <a:lnTo>
                          <a:pt x="54" y="43"/>
                        </a:lnTo>
                        <a:lnTo>
                          <a:pt x="54" y="43"/>
                        </a:lnTo>
                        <a:lnTo>
                          <a:pt x="54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2" name="Freeform 1069"/>
                  <p:cNvSpPr>
                    <a:spLocks/>
                  </p:cNvSpPr>
                  <p:nvPr/>
                </p:nvSpPr>
                <p:spPr bwMode="auto">
                  <a:xfrm rot="-5400000">
                    <a:off x="3563" y="3851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8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3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4" y="271"/>
                      </a:cxn>
                      <a:cxn ang="0">
                        <a:pos x="93" y="267"/>
                      </a:cxn>
                      <a:cxn ang="0">
                        <a:pos x="75" y="261"/>
                      </a:cxn>
                      <a:cxn ang="0">
                        <a:pos x="64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0" y="64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6" y="1"/>
                      </a:cxn>
                      <a:cxn ang="0">
                        <a:pos x="128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7" y="40"/>
                      </a:cxn>
                      <a:cxn ang="0">
                        <a:pos x="73" y="46"/>
                      </a:cxn>
                      <a:cxn ang="0">
                        <a:pos x="67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5" y="155"/>
                      </a:cxn>
                      <a:cxn ang="0">
                        <a:pos x="52" y="182"/>
                      </a:cxn>
                      <a:cxn ang="0">
                        <a:pos x="61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3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19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3" y="268"/>
                        </a:lnTo>
                        <a:lnTo>
                          <a:pt x="114" y="271"/>
                        </a:lnTo>
                        <a:lnTo>
                          <a:pt x="103" y="270"/>
                        </a:lnTo>
                        <a:lnTo>
                          <a:pt x="93" y="267"/>
                        </a:lnTo>
                        <a:lnTo>
                          <a:pt x="83" y="265"/>
                        </a:lnTo>
                        <a:lnTo>
                          <a:pt x="75" y="261"/>
                        </a:lnTo>
                        <a:lnTo>
                          <a:pt x="69" y="258"/>
                        </a:lnTo>
                        <a:lnTo>
                          <a:pt x="64" y="256"/>
                        </a:lnTo>
                        <a:lnTo>
                          <a:pt x="60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4"/>
                        </a:lnTo>
                        <a:lnTo>
                          <a:pt x="20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0" y="0"/>
                        </a:lnTo>
                        <a:lnTo>
                          <a:pt x="96" y="1"/>
                        </a:lnTo>
                        <a:lnTo>
                          <a:pt x="113" y="8"/>
                        </a:lnTo>
                        <a:lnTo>
                          <a:pt x="128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19" y="51"/>
                        </a:lnTo>
                        <a:lnTo>
                          <a:pt x="107" y="44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5" y="155"/>
                        </a:lnTo>
                        <a:lnTo>
                          <a:pt x="47" y="168"/>
                        </a:lnTo>
                        <a:lnTo>
                          <a:pt x="52" y="182"/>
                        </a:lnTo>
                        <a:lnTo>
                          <a:pt x="57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3" name="Freeform 1070"/>
                  <p:cNvSpPr>
                    <a:spLocks/>
                  </p:cNvSpPr>
                  <p:nvPr/>
                </p:nvSpPr>
                <p:spPr bwMode="auto">
                  <a:xfrm rot="-5400000">
                    <a:off x="3609" y="3881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4" y="15"/>
                      </a:cxn>
                      <a:cxn ang="0">
                        <a:pos x="31" y="18"/>
                      </a:cxn>
                      <a:cxn ang="0">
                        <a:pos x="26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3" y="29"/>
                      </a:cxn>
                      <a:cxn ang="0">
                        <a:pos x="41" y="25"/>
                      </a:cxn>
                      <a:cxn ang="0">
                        <a:pos x="46" y="18"/>
                      </a:cxn>
                      <a:cxn ang="0">
                        <a:pos x="48" y="12"/>
                      </a:cxn>
                      <a:cxn ang="0">
                        <a:pos x="49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4" y="15"/>
                        </a:lnTo>
                        <a:lnTo>
                          <a:pt x="31" y="18"/>
                        </a:lnTo>
                        <a:lnTo>
                          <a:pt x="26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3" y="29"/>
                        </a:lnTo>
                        <a:lnTo>
                          <a:pt x="41" y="25"/>
                        </a:lnTo>
                        <a:lnTo>
                          <a:pt x="46" y="18"/>
                        </a:lnTo>
                        <a:lnTo>
                          <a:pt x="48" y="12"/>
                        </a:lnTo>
                        <a:lnTo>
                          <a:pt x="49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4" name="Freeform 1071"/>
                  <p:cNvSpPr>
                    <a:spLocks/>
                  </p:cNvSpPr>
                  <p:nvPr/>
                </p:nvSpPr>
                <p:spPr bwMode="auto">
                  <a:xfrm rot="-5400000">
                    <a:off x="3610" y="3871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9"/>
                      </a:cxn>
                      <a:cxn ang="0">
                        <a:pos x="30" y="19"/>
                      </a:cxn>
                      <a:cxn ang="0">
                        <a:pos x="24" y="11"/>
                      </a:cxn>
                      <a:cxn ang="0">
                        <a:pos x="17" y="4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2" y="7"/>
                      </a:cxn>
                      <a:cxn ang="0">
                        <a:pos x="8" y="12"/>
                      </a:cxn>
                      <a:cxn ang="0">
                        <a:pos x="10" y="13"/>
                      </a:cxn>
                      <a:cxn ang="0">
                        <a:pos x="15" y="18"/>
                      </a:cxn>
                      <a:cxn ang="0">
                        <a:pos x="18" y="23"/>
                      </a:cxn>
                      <a:cxn ang="0">
                        <a:pos x="20" y="23"/>
                      </a:cxn>
                      <a:cxn ang="0">
                        <a:pos x="29" y="19"/>
                      </a:cxn>
                    </a:cxnLst>
                    <a:rect l="0" t="0" r="r" b="b"/>
                    <a:pathLst>
                      <a:path w="30" h="23">
                        <a:moveTo>
                          <a:pt x="29" y="19"/>
                        </a:moveTo>
                        <a:lnTo>
                          <a:pt x="30" y="19"/>
                        </a:lnTo>
                        <a:lnTo>
                          <a:pt x="24" y="11"/>
                        </a:lnTo>
                        <a:lnTo>
                          <a:pt x="17" y="4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2" y="7"/>
                        </a:lnTo>
                        <a:lnTo>
                          <a:pt x="8" y="12"/>
                        </a:lnTo>
                        <a:lnTo>
                          <a:pt x="10" y="13"/>
                        </a:lnTo>
                        <a:lnTo>
                          <a:pt x="15" y="18"/>
                        </a:lnTo>
                        <a:lnTo>
                          <a:pt x="18" y="23"/>
                        </a:lnTo>
                        <a:lnTo>
                          <a:pt x="20" y="23"/>
                        </a:lnTo>
                        <a:lnTo>
                          <a:pt x="29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5" name="Freeform 1072"/>
                  <p:cNvSpPr>
                    <a:spLocks/>
                  </p:cNvSpPr>
                  <p:nvPr/>
                </p:nvSpPr>
                <p:spPr bwMode="auto">
                  <a:xfrm rot="-5400000">
                    <a:off x="3618" y="3869"/>
                    <a:ext cx="13" cy="19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6"/>
                      </a:cxn>
                      <a:cxn ang="0">
                        <a:pos x="46" y="16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5" y="16"/>
                      </a:cxn>
                      <a:cxn ang="0">
                        <a:pos x="34" y="22"/>
                      </a:cxn>
                      <a:cxn ang="0">
                        <a:pos x="29" y="28"/>
                      </a:cxn>
                      <a:cxn ang="0">
                        <a:pos x="24" y="32"/>
                      </a:cxn>
                      <a:cxn ang="0">
                        <a:pos x="19" y="36"/>
                      </a:cxn>
                      <a:cxn ang="0">
                        <a:pos x="12" y="38"/>
                      </a:cxn>
                      <a:cxn ang="0">
                        <a:pos x="3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6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6"/>
                        </a:lnTo>
                        <a:lnTo>
                          <a:pt x="46" y="16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5" y="16"/>
                        </a:lnTo>
                        <a:lnTo>
                          <a:pt x="34" y="22"/>
                        </a:lnTo>
                        <a:lnTo>
                          <a:pt x="29" y="28"/>
                        </a:lnTo>
                        <a:lnTo>
                          <a:pt x="24" y="32"/>
                        </a:lnTo>
                        <a:lnTo>
                          <a:pt x="19" y="36"/>
                        </a:lnTo>
                        <a:lnTo>
                          <a:pt x="12" y="38"/>
                        </a:lnTo>
                        <a:lnTo>
                          <a:pt x="3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6" name="Freeform 1073"/>
                  <p:cNvSpPr>
                    <a:spLocks/>
                  </p:cNvSpPr>
                  <p:nvPr/>
                </p:nvSpPr>
                <p:spPr bwMode="auto">
                  <a:xfrm rot="-5400000">
                    <a:off x="3621" y="3889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11"/>
                      </a:cxn>
                      <a:cxn ang="0">
                        <a:pos x="3" y="11"/>
                      </a:cxn>
                      <a:cxn ang="0">
                        <a:pos x="5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0" y="21"/>
                      </a:cxn>
                      <a:cxn ang="0">
                        <a:pos x="29" y="26"/>
                      </a:cxn>
                      <a:cxn ang="0">
                        <a:pos x="40" y="28"/>
                      </a:cxn>
                      <a:cxn ang="0">
                        <a:pos x="51" y="30"/>
                      </a:cxn>
                      <a:cxn ang="0">
                        <a:pos x="51" y="19"/>
                      </a:cxn>
                      <a:cxn ang="0">
                        <a:pos x="42" y="16"/>
                      </a:cxn>
                      <a:cxn ang="0">
                        <a:pos x="32" y="14"/>
                      </a:cxn>
                      <a:cxn ang="0">
                        <a:pos x="25" y="12"/>
                      </a:cxn>
                      <a:cxn ang="0">
                        <a:pos x="19" y="8"/>
                      </a:cxn>
                      <a:cxn ang="0">
                        <a:pos x="15" y="6"/>
                      </a:cxn>
                      <a:cxn ang="0">
                        <a:pos x="10" y="4"/>
                      </a:cxn>
                      <a:cxn ang="0">
                        <a:pos x="10" y="4"/>
                      </a:cxn>
                      <a:cxn ang="0">
                        <a:pos x="9" y="1"/>
                      </a:cxn>
                      <a:cxn ang="0">
                        <a:pos x="9" y="3"/>
                      </a:cxn>
                      <a:cxn ang="0">
                        <a:pos x="9" y="1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2" y="11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51" h="30">
                        <a:moveTo>
                          <a:pt x="2" y="10"/>
                        </a:moveTo>
                        <a:lnTo>
                          <a:pt x="2" y="11"/>
                        </a:lnTo>
                        <a:lnTo>
                          <a:pt x="3" y="11"/>
                        </a:lnTo>
                        <a:lnTo>
                          <a:pt x="5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0" y="21"/>
                        </a:lnTo>
                        <a:lnTo>
                          <a:pt x="29" y="26"/>
                        </a:lnTo>
                        <a:lnTo>
                          <a:pt x="40" y="28"/>
                        </a:lnTo>
                        <a:lnTo>
                          <a:pt x="51" y="30"/>
                        </a:lnTo>
                        <a:lnTo>
                          <a:pt x="51" y="19"/>
                        </a:lnTo>
                        <a:lnTo>
                          <a:pt x="42" y="16"/>
                        </a:lnTo>
                        <a:lnTo>
                          <a:pt x="32" y="14"/>
                        </a:lnTo>
                        <a:lnTo>
                          <a:pt x="25" y="12"/>
                        </a:lnTo>
                        <a:lnTo>
                          <a:pt x="19" y="8"/>
                        </a:lnTo>
                        <a:lnTo>
                          <a:pt x="15" y="6"/>
                        </a:lnTo>
                        <a:lnTo>
                          <a:pt x="10" y="4"/>
                        </a:lnTo>
                        <a:lnTo>
                          <a:pt x="10" y="4"/>
                        </a:lnTo>
                        <a:lnTo>
                          <a:pt x="9" y="1"/>
                        </a:lnTo>
                        <a:lnTo>
                          <a:pt x="9" y="3"/>
                        </a:lnTo>
                        <a:lnTo>
                          <a:pt x="9" y="1"/>
                        </a:lnTo>
                        <a:lnTo>
                          <a:pt x="4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2" y="11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7" name="Freeform 1074"/>
                  <p:cNvSpPr>
                    <a:spLocks/>
                  </p:cNvSpPr>
                  <p:nvPr/>
                </p:nvSpPr>
                <p:spPr bwMode="auto">
                  <a:xfrm rot="-5400000">
                    <a:off x="3558" y="3853"/>
                    <a:ext cx="50" cy="87"/>
                  </a:xfrm>
                  <a:custGeom>
                    <a:avLst/>
                    <a:gdLst/>
                    <a:ahLst/>
                    <a:cxnLst>
                      <a:cxn ang="0">
                        <a:pos x="150" y="43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6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4" y="30"/>
                      </a:cxn>
                      <a:cxn ang="0">
                        <a:pos x="22" y="49"/>
                      </a:cxn>
                      <a:cxn ang="0">
                        <a:pos x="10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6" y="199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6" y="12"/>
                      </a:cxn>
                      <a:cxn ang="0">
                        <a:pos x="101" y="13"/>
                      </a:cxn>
                      <a:cxn ang="0">
                        <a:pos x="116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3" y="50"/>
                      </a:cxn>
                      <a:cxn ang="0">
                        <a:pos x="150" y="43"/>
                      </a:cxn>
                    </a:cxnLst>
                    <a:rect l="0" t="0" r="r" b="b"/>
                    <a:pathLst>
                      <a:path w="151" h="261">
                        <a:moveTo>
                          <a:pt x="150" y="43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6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4" y="30"/>
                        </a:lnTo>
                        <a:lnTo>
                          <a:pt x="22" y="49"/>
                        </a:lnTo>
                        <a:lnTo>
                          <a:pt x="10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6" y="199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6" y="12"/>
                        </a:lnTo>
                        <a:lnTo>
                          <a:pt x="101" y="13"/>
                        </a:lnTo>
                        <a:lnTo>
                          <a:pt x="116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3" y="50"/>
                        </a:lnTo>
                        <a:lnTo>
                          <a:pt x="150" y="4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8" name="Freeform 1075"/>
                  <p:cNvSpPr>
                    <a:spLocks/>
                  </p:cNvSpPr>
                  <p:nvPr/>
                </p:nvSpPr>
                <p:spPr bwMode="auto">
                  <a:xfrm rot="-5400000">
                    <a:off x="3554" y="3870"/>
                    <a:ext cx="4" cy="7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10" y="17"/>
                      </a:cxn>
                      <a:cxn ang="0">
                        <a:pos x="12" y="15"/>
                      </a:cxn>
                      <a:cxn ang="0">
                        <a:pos x="14" y="10"/>
                      </a:cxn>
                      <a:cxn ang="0">
                        <a:pos x="15" y="7"/>
                      </a:cxn>
                      <a:cxn ang="0">
                        <a:pos x="13" y="0"/>
                      </a:cxn>
                      <a:cxn ang="0">
                        <a:pos x="6" y="7"/>
                      </a:cxn>
                      <a:cxn ang="0">
                        <a:pos x="3" y="4"/>
                      </a:cxn>
                      <a:cxn ang="0">
                        <a:pos x="2" y="8"/>
                      </a:cxn>
                      <a:cxn ang="0">
                        <a:pos x="2" y="10"/>
                      </a:cxn>
                      <a:cxn ang="0">
                        <a:pos x="1" y="10"/>
                      </a:cxn>
                      <a:cxn ang="0">
                        <a:pos x="5" y="8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2" y="18"/>
                      </a:cxn>
                      <a:cxn ang="0">
                        <a:pos x="7" y="19"/>
                      </a:cxn>
                      <a:cxn ang="0">
                        <a:pos x="10" y="17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5" h="19">
                        <a:moveTo>
                          <a:pt x="7" y="19"/>
                        </a:moveTo>
                        <a:lnTo>
                          <a:pt x="10" y="17"/>
                        </a:lnTo>
                        <a:lnTo>
                          <a:pt x="12" y="15"/>
                        </a:lnTo>
                        <a:lnTo>
                          <a:pt x="14" y="10"/>
                        </a:lnTo>
                        <a:lnTo>
                          <a:pt x="15" y="7"/>
                        </a:lnTo>
                        <a:lnTo>
                          <a:pt x="13" y="0"/>
                        </a:lnTo>
                        <a:lnTo>
                          <a:pt x="6" y="7"/>
                        </a:lnTo>
                        <a:lnTo>
                          <a:pt x="3" y="4"/>
                        </a:lnTo>
                        <a:lnTo>
                          <a:pt x="2" y="8"/>
                        </a:lnTo>
                        <a:lnTo>
                          <a:pt x="2" y="10"/>
                        </a:lnTo>
                        <a:lnTo>
                          <a:pt x="1" y="10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5"/>
                        </a:lnTo>
                        <a:lnTo>
                          <a:pt x="2" y="18"/>
                        </a:lnTo>
                        <a:lnTo>
                          <a:pt x="7" y="19"/>
                        </a:lnTo>
                        <a:lnTo>
                          <a:pt x="10" y="17"/>
                        </a:lnTo>
                        <a:lnTo>
                          <a:pt x="7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29" name="Freeform 1076"/>
                  <p:cNvSpPr>
                    <a:spLocks/>
                  </p:cNvSpPr>
                  <p:nvPr/>
                </p:nvSpPr>
                <p:spPr bwMode="auto">
                  <a:xfrm rot="-5400000">
                    <a:off x="3554" y="3876"/>
                    <a:ext cx="9" cy="5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7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7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0" name="Freeform 1077"/>
                  <p:cNvSpPr>
                    <a:spLocks/>
                  </p:cNvSpPr>
                  <p:nvPr/>
                </p:nvSpPr>
                <p:spPr bwMode="auto">
                  <a:xfrm rot="-5400000">
                    <a:off x="3546" y="3885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6" y="11"/>
                      </a:cxn>
                      <a:cxn ang="0">
                        <a:pos x="35" y="11"/>
                      </a:cxn>
                      <a:cxn ang="0">
                        <a:pos x="44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6" y="2"/>
                      </a:cxn>
                      <a:cxn ang="0">
                        <a:pos x="9" y="6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6" y="11"/>
                        </a:lnTo>
                        <a:lnTo>
                          <a:pt x="35" y="11"/>
                        </a:lnTo>
                        <a:lnTo>
                          <a:pt x="44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6" y="2"/>
                        </a:lnTo>
                        <a:lnTo>
                          <a:pt x="9" y="6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1" name="Freeform 1078"/>
                  <p:cNvSpPr>
                    <a:spLocks/>
                  </p:cNvSpPr>
                  <p:nvPr/>
                </p:nvSpPr>
                <p:spPr bwMode="auto">
                  <a:xfrm rot="-5400000">
                    <a:off x="3567" y="3887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89"/>
                      </a:cxn>
                      <a:cxn ang="0">
                        <a:pos x="13" y="89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89"/>
                      </a:cxn>
                    </a:cxnLst>
                    <a:rect l="0" t="0" r="r" b="b"/>
                    <a:pathLst>
                      <a:path w="36" h="92">
                        <a:moveTo>
                          <a:pt x="13" y="89"/>
                        </a:moveTo>
                        <a:lnTo>
                          <a:pt x="13" y="89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8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2" name="Freeform 1079"/>
                  <p:cNvSpPr>
                    <a:spLocks/>
                  </p:cNvSpPr>
                  <p:nvPr/>
                </p:nvSpPr>
                <p:spPr bwMode="auto">
                  <a:xfrm rot="-5400000">
                    <a:off x="3593" y="3894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5"/>
                      </a:cxn>
                      <a:cxn ang="0">
                        <a:pos x="27" y="55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4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4" y="17"/>
                      </a:cxn>
                      <a:cxn ang="0">
                        <a:pos x="6" y="29"/>
                      </a:cxn>
                      <a:cxn ang="0">
                        <a:pos x="11" y="43"/>
                      </a:cxn>
                      <a:cxn ang="0">
                        <a:pos x="18" y="59"/>
                      </a:cxn>
                      <a:cxn ang="0">
                        <a:pos x="17" y="59"/>
                      </a:cxn>
                      <a:cxn ang="0">
                        <a:pos x="28" y="55"/>
                      </a:cxn>
                    </a:cxnLst>
                    <a:rect l="0" t="0" r="r" b="b"/>
                    <a:pathLst>
                      <a:path w="28" h="59">
                        <a:moveTo>
                          <a:pt x="28" y="55"/>
                        </a:moveTo>
                        <a:lnTo>
                          <a:pt x="27" y="55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4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4" y="17"/>
                        </a:lnTo>
                        <a:lnTo>
                          <a:pt x="6" y="29"/>
                        </a:lnTo>
                        <a:lnTo>
                          <a:pt x="11" y="43"/>
                        </a:lnTo>
                        <a:lnTo>
                          <a:pt x="18" y="59"/>
                        </a:lnTo>
                        <a:lnTo>
                          <a:pt x="17" y="59"/>
                        </a:lnTo>
                        <a:lnTo>
                          <a:pt x="28" y="5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3" name="Freeform 1080"/>
                  <p:cNvSpPr>
                    <a:spLocks/>
                  </p:cNvSpPr>
                  <p:nvPr/>
                </p:nvSpPr>
                <p:spPr bwMode="auto">
                  <a:xfrm rot="-5400000">
                    <a:off x="3607" y="3890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19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4"/>
                      </a:cxn>
                      <a:cxn ang="0">
                        <a:pos x="4" y="11"/>
                      </a:cxn>
                      <a:cxn ang="0">
                        <a:pos x="10" y="20"/>
                      </a:cxn>
                      <a:cxn ang="0">
                        <a:pos x="17" y="28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19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4"/>
                        </a:lnTo>
                        <a:lnTo>
                          <a:pt x="4" y="11"/>
                        </a:lnTo>
                        <a:lnTo>
                          <a:pt x="10" y="20"/>
                        </a:lnTo>
                        <a:lnTo>
                          <a:pt x="17" y="28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4" name="Freeform 1081"/>
                  <p:cNvSpPr>
                    <a:spLocks/>
                  </p:cNvSpPr>
                  <p:nvPr/>
                </p:nvSpPr>
                <p:spPr bwMode="auto">
                  <a:xfrm rot="-5400000">
                    <a:off x="3565" y="3797"/>
                    <a:ext cx="47" cy="91"/>
                  </a:xfrm>
                  <a:custGeom>
                    <a:avLst/>
                    <a:gdLst/>
                    <a:ahLst/>
                    <a:cxnLst>
                      <a:cxn ang="0">
                        <a:pos x="93" y="234"/>
                      </a:cxn>
                      <a:cxn ang="0">
                        <a:pos x="110" y="238"/>
                      </a:cxn>
                      <a:cxn ang="0">
                        <a:pos x="118" y="230"/>
                      </a:cxn>
                      <a:cxn ang="0">
                        <a:pos x="122" y="220"/>
                      </a:cxn>
                      <a:cxn ang="0">
                        <a:pos x="124" y="214"/>
                      </a:cxn>
                      <a:cxn ang="0">
                        <a:pos x="136" y="221"/>
                      </a:cxn>
                      <a:cxn ang="0">
                        <a:pos x="144" y="236"/>
                      </a:cxn>
                      <a:cxn ang="0">
                        <a:pos x="140" y="251"/>
                      </a:cxn>
                      <a:cxn ang="0">
                        <a:pos x="131" y="264"/>
                      </a:cxn>
                      <a:cxn ang="0">
                        <a:pos x="114" y="269"/>
                      </a:cxn>
                      <a:cxn ang="0">
                        <a:pos x="93" y="267"/>
                      </a:cxn>
                      <a:cxn ang="0">
                        <a:pos x="75" y="260"/>
                      </a:cxn>
                      <a:cxn ang="0">
                        <a:pos x="64" y="254"/>
                      </a:cxn>
                      <a:cxn ang="0">
                        <a:pos x="58" y="251"/>
                      </a:cxn>
                      <a:cxn ang="0">
                        <a:pos x="33" y="222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1" y="64"/>
                      </a:cxn>
                      <a:cxn ang="0">
                        <a:pos x="34" y="27"/>
                      </a:cxn>
                      <a:cxn ang="0">
                        <a:pos x="65" y="4"/>
                      </a:cxn>
                      <a:cxn ang="0">
                        <a:pos x="98" y="1"/>
                      </a:cxn>
                      <a:cxn ang="0">
                        <a:pos x="129" y="20"/>
                      </a:cxn>
                      <a:cxn ang="0">
                        <a:pos x="141" y="42"/>
                      </a:cxn>
                      <a:cxn ang="0">
                        <a:pos x="138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7" y="40"/>
                      </a:cxn>
                      <a:cxn ang="0">
                        <a:pos x="73" y="45"/>
                      </a:cxn>
                      <a:cxn ang="0">
                        <a:pos x="67" y="52"/>
                      </a:cxn>
                      <a:cxn ang="0">
                        <a:pos x="48" y="82"/>
                      </a:cxn>
                      <a:cxn ang="0">
                        <a:pos x="40" y="131"/>
                      </a:cxn>
                      <a:cxn ang="0">
                        <a:pos x="45" y="154"/>
                      </a:cxn>
                      <a:cxn ang="0">
                        <a:pos x="52" y="182"/>
                      </a:cxn>
                      <a:cxn ang="0">
                        <a:pos x="62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4" h="269">
                        <a:moveTo>
                          <a:pt x="80" y="225"/>
                        </a:moveTo>
                        <a:lnTo>
                          <a:pt x="93" y="234"/>
                        </a:lnTo>
                        <a:lnTo>
                          <a:pt x="102" y="237"/>
                        </a:lnTo>
                        <a:lnTo>
                          <a:pt x="110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1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7" y="258"/>
                        </a:lnTo>
                        <a:lnTo>
                          <a:pt x="131" y="264"/>
                        </a:lnTo>
                        <a:lnTo>
                          <a:pt x="123" y="267"/>
                        </a:lnTo>
                        <a:lnTo>
                          <a:pt x="114" y="269"/>
                        </a:lnTo>
                        <a:lnTo>
                          <a:pt x="103" y="269"/>
                        </a:lnTo>
                        <a:lnTo>
                          <a:pt x="93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4" y="254"/>
                        </a:lnTo>
                        <a:lnTo>
                          <a:pt x="60" y="252"/>
                        </a:lnTo>
                        <a:lnTo>
                          <a:pt x="58" y="251"/>
                        </a:lnTo>
                        <a:lnTo>
                          <a:pt x="57" y="250"/>
                        </a:lnTo>
                        <a:lnTo>
                          <a:pt x="33" y="222"/>
                        </a:lnTo>
                        <a:lnTo>
                          <a:pt x="16" y="194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7"/>
                        </a:lnTo>
                        <a:lnTo>
                          <a:pt x="11" y="64"/>
                        </a:lnTo>
                        <a:lnTo>
                          <a:pt x="22" y="45"/>
                        </a:lnTo>
                        <a:lnTo>
                          <a:pt x="34" y="27"/>
                        </a:lnTo>
                        <a:lnTo>
                          <a:pt x="49" y="14"/>
                        </a:lnTo>
                        <a:lnTo>
                          <a:pt x="65" y="4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0"/>
                        </a:lnTo>
                        <a:lnTo>
                          <a:pt x="141" y="40"/>
                        </a:lnTo>
                        <a:lnTo>
                          <a:pt x="141" y="42"/>
                        </a:lnTo>
                        <a:lnTo>
                          <a:pt x="139" y="46"/>
                        </a:lnTo>
                        <a:lnTo>
                          <a:pt x="138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1"/>
                        </a:lnTo>
                        <a:lnTo>
                          <a:pt x="73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5" y="53"/>
                        </a:lnTo>
                        <a:lnTo>
                          <a:pt x="48" y="82"/>
                        </a:lnTo>
                        <a:lnTo>
                          <a:pt x="41" y="109"/>
                        </a:lnTo>
                        <a:lnTo>
                          <a:pt x="40" y="131"/>
                        </a:lnTo>
                        <a:lnTo>
                          <a:pt x="41" y="141"/>
                        </a:lnTo>
                        <a:lnTo>
                          <a:pt x="45" y="154"/>
                        </a:lnTo>
                        <a:lnTo>
                          <a:pt x="47" y="168"/>
                        </a:lnTo>
                        <a:lnTo>
                          <a:pt x="52" y="182"/>
                        </a:lnTo>
                        <a:lnTo>
                          <a:pt x="57" y="197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3" y="220"/>
                        </a:lnTo>
                        <a:lnTo>
                          <a:pt x="80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5" name="Freeform 1082"/>
                  <p:cNvSpPr>
                    <a:spLocks/>
                  </p:cNvSpPr>
                  <p:nvPr/>
                </p:nvSpPr>
                <p:spPr bwMode="auto">
                  <a:xfrm rot="-5400000">
                    <a:off x="3612" y="3827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0"/>
                      </a:cxn>
                      <a:cxn ang="0">
                        <a:pos x="37" y="14"/>
                      </a:cxn>
                      <a:cxn ang="0">
                        <a:pos x="34" y="17"/>
                      </a:cxn>
                      <a:cxn ang="0">
                        <a:pos x="33" y="18"/>
                      </a:cxn>
                      <a:cxn ang="0">
                        <a:pos x="26" y="17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4"/>
                      </a:cxn>
                      <a:cxn ang="0">
                        <a:pos x="24" y="29"/>
                      </a:cxn>
                      <a:cxn ang="0">
                        <a:pos x="33" y="30"/>
                      </a:cxn>
                      <a:cxn ang="0">
                        <a:pos x="41" y="24"/>
                      </a:cxn>
                      <a:cxn ang="0">
                        <a:pos x="46" y="18"/>
                      </a:cxn>
                      <a:cxn ang="0">
                        <a:pos x="49" y="13"/>
                      </a:cxn>
                      <a:cxn ang="0">
                        <a:pos x="51" y="6"/>
                      </a:cxn>
                      <a:cxn ang="0">
                        <a:pos x="51" y="1"/>
                      </a:cxn>
                      <a:cxn ang="0">
                        <a:pos x="51" y="2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0"/>
                        </a:lnTo>
                        <a:lnTo>
                          <a:pt x="37" y="14"/>
                        </a:lnTo>
                        <a:lnTo>
                          <a:pt x="34" y="17"/>
                        </a:lnTo>
                        <a:lnTo>
                          <a:pt x="33" y="18"/>
                        </a:lnTo>
                        <a:lnTo>
                          <a:pt x="26" y="17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4"/>
                        </a:lnTo>
                        <a:lnTo>
                          <a:pt x="24" y="29"/>
                        </a:lnTo>
                        <a:lnTo>
                          <a:pt x="33" y="30"/>
                        </a:lnTo>
                        <a:lnTo>
                          <a:pt x="41" y="24"/>
                        </a:lnTo>
                        <a:lnTo>
                          <a:pt x="46" y="18"/>
                        </a:lnTo>
                        <a:lnTo>
                          <a:pt x="49" y="13"/>
                        </a:lnTo>
                        <a:lnTo>
                          <a:pt x="51" y="6"/>
                        </a:lnTo>
                        <a:lnTo>
                          <a:pt x="51" y="1"/>
                        </a:lnTo>
                        <a:lnTo>
                          <a:pt x="51" y="2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6" name="Freeform 1083"/>
                  <p:cNvSpPr>
                    <a:spLocks/>
                  </p:cNvSpPr>
                  <p:nvPr/>
                </p:nvSpPr>
                <p:spPr bwMode="auto">
                  <a:xfrm rot="-5400000">
                    <a:off x="3612" y="3819"/>
                    <a:ext cx="9" cy="9"/>
                  </a:xfrm>
                  <a:custGeom>
                    <a:avLst/>
                    <a:gdLst/>
                    <a:ahLst/>
                    <a:cxnLst>
                      <a:cxn ang="0">
                        <a:pos x="30" y="19"/>
                      </a:cxn>
                      <a:cxn ang="0">
                        <a:pos x="30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8"/>
                      </a:cxn>
                      <a:cxn ang="0">
                        <a:pos x="8" y="12"/>
                      </a:cxn>
                      <a:cxn ang="0">
                        <a:pos x="12" y="13"/>
                      </a:cxn>
                      <a:cxn ang="0">
                        <a:pos x="15" y="16"/>
                      </a:cxn>
                      <a:cxn ang="0">
                        <a:pos x="21" y="23"/>
                      </a:cxn>
                      <a:cxn ang="0">
                        <a:pos x="21" y="23"/>
                      </a:cxn>
                      <a:cxn ang="0">
                        <a:pos x="30" y="19"/>
                      </a:cxn>
                    </a:cxnLst>
                    <a:rect l="0" t="0" r="r" b="b"/>
                    <a:pathLst>
                      <a:path w="30" h="23">
                        <a:moveTo>
                          <a:pt x="30" y="19"/>
                        </a:moveTo>
                        <a:lnTo>
                          <a:pt x="30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8"/>
                        </a:lnTo>
                        <a:lnTo>
                          <a:pt x="8" y="12"/>
                        </a:lnTo>
                        <a:lnTo>
                          <a:pt x="12" y="13"/>
                        </a:lnTo>
                        <a:lnTo>
                          <a:pt x="15" y="16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30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7" name="Freeform 1084"/>
                  <p:cNvSpPr>
                    <a:spLocks/>
                  </p:cNvSpPr>
                  <p:nvPr/>
                </p:nvSpPr>
                <p:spPr bwMode="auto">
                  <a:xfrm rot="-5400000">
                    <a:off x="3620" y="3815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0" y="48"/>
                      </a:cxn>
                      <a:cxn ang="0">
                        <a:pos x="11" y="48"/>
                      </a:cxn>
                      <a:cxn ang="0">
                        <a:pos x="21" y="46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5"/>
                      </a:cxn>
                      <a:cxn ang="0">
                        <a:pos x="45" y="17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4" y="15"/>
                      </a:cxn>
                      <a:cxn ang="0">
                        <a:pos x="31" y="23"/>
                      </a:cxn>
                      <a:cxn ang="0">
                        <a:pos x="29" y="27"/>
                      </a:cxn>
                      <a:cxn ang="0">
                        <a:pos x="25" y="32"/>
                      </a:cxn>
                      <a:cxn ang="0">
                        <a:pos x="19" y="34"/>
                      </a:cxn>
                      <a:cxn ang="0">
                        <a:pos x="11" y="37"/>
                      </a:cxn>
                      <a:cxn ang="0">
                        <a:pos x="0" y="37"/>
                      </a:cxn>
                      <a:cxn ang="0">
                        <a:pos x="0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6" h="48">
                        <a:moveTo>
                          <a:pt x="0" y="48"/>
                        </a:moveTo>
                        <a:lnTo>
                          <a:pt x="0" y="48"/>
                        </a:lnTo>
                        <a:lnTo>
                          <a:pt x="11" y="48"/>
                        </a:lnTo>
                        <a:lnTo>
                          <a:pt x="21" y="46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5"/>
                        </a:lnTo>
                        <a:lnTo>
                          <a:pt x="45" y="17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4" y="15"/>
                        </a:lnTo>
                        <a:lnTo>
                          <a:pt x="31" y="23"/>
                        </a:lnTo>
                        <a:lnTo>
                          <a:pt x="29" y="27"/>
                        </a:lnTo>
                        <a:lnTo>
                          <a:pt x="25" y="32"/>
                        </a:lnTo>
                        <a:lnTo>
                          <a:pt x="19" y="34"/>
                        </a:lnTo>
                        <a:lnTo>
                          <a:pt x="11" y="37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8" name="Freeform 1085"/>
                  <p:cNvSpPr>
                    <a:spLocks/>
                  </p:cNvSpPr>
                  <p:nvPr/>
                </p:nvSpPr>
                <p:spPr bwMode="auto">
                  <a:xfrm rot="-5400000">
                    <a:off x="3622" y="3835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3" y="10"/>
                      </a:cxn>
                      <a:cxn ang="0">
                        <a:pos x="5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0" y="22"/>
                      </a:cxn>
                      <a:cxn ang="0">
                        <a:pos x="30" y="25"/>
                      </a:cxn>
                      <a:cxn ang="0">
                        <a:pos x="40" y="29"/>
                      </a:cxn>
                      <a:cxn ang="0">
                        <a:pos x="51" y="31"/>
                      </a:cxn>
                      <a:cxn ang="0">
                        <a:pos x="51" y="20"/>
                      </a:cxn>
                      <a:cxn ang="0">
                        <a:pos x="42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19" y="9"/>
                      </a:cxn>
                      <a:cxn ang="0">
                        <a:pos x="15" y="6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1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3" y="10"/>
                        </a:lnTo>
                        <a:lnTo>
                          <a:pt x="5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0" y="22"/>
                        </a:lnTo>
                        <a:lnTo>
                          <a:pt x="30" y="25"/>
                        </a:lnTo>
                        <a:lnTo>
                          <a:pt x="40" y="29"/>
                        </a:lnTo>
                        <a:lnTo>
                          <a:pt x="51" y="31"/>
                        </a:lnTo>
                        <a:lnTo>
                          <a:pt x="51" y="20"/>
                        </a:lnTo>
                        <a:lnTo>
                          <a:pt x="42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19" y="9"/>
                        </a:lnTo>
                        <a:lnTo>
                          <a:pt x="15" y="6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4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39" name="Freeform 1086"/>
                  <p:cNvSpPr>
                    <a:spLocks/>
                  </p:cNvSpPr>
                  <p:nvPr/>
                </p:nvSpPr>
                <p:spPr bwMode="auto">
                  <a:xfrm rot="-5400000">
                    <a:off x="3560" y="3799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8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6" y="30"/>
                      </a:cxn>
                      <a:cxn ang="0">
                        <a:pos x="23" y="48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3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5"/>
                      </a:cxn>
                      <a:cxn ang="0">
                        <a:pos x="26" y="198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4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4" y="16"/>
                      </a:cxn>
                      <a:cxn ang="0">
                        <a:pos x="88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30" y="30"/>
                      </a:cxn>
                      <a:cxn ang="0">
                        <a:pos x="143" y="48"/>
                      </a:cxn>
                      <a:cxn ang="0">
                        <a:pos x="143" y="48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59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8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6" y="30"/>
                        </a:lnTo>
                        <a:lnTo>
                          <a:pt x="23" y="48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3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5"/>
                        </a:lnTo>
                        <a:lnTo>
                          <a:pt x="26" y="198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4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4" y="16"/>
                        </a:lnTo>
                        <a:lnTo>
                          <a:pt x="88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30" y="30"/>
                        </a:lnTo>
                        <a:lnTo>
                          <a:pt x="143" y="48"/>
                        </a:lnTo>
                        <a:lnTo>
                          <a:pt x="143" y="48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0" name="Freeform 1087"/>
                  <p:cNvSpPr>
                    <a:spLocks/>
                  </p:cNvSpPr>
                  <p:nvPr/>
                </p:nvSpPr>
                <p:spPr bwMode="auto">
                  <a:xfrm rot="-5400000">
                    <a:off x="3557" y="3817"/>
                    <a:ext cx="3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10" y="16"/>
                      </a:cxn>
                      <a:cxn ang="0">
                        <a:pos x="12" y="14"/>
                      </a:cxn>
                      <a:cxn ang="0">
                        <a:pos x="13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4"/>
                      </a:cxn>
                      <a:cxn ang="0">
                        <a:pos x="5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6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6" h="18">
                        <a:moveTo>
                          <a:pt x="6" y="18"/>
                        </a:moveTo>
                        <a:lnTo>
                          <a:pt x="10" y="16"/>
                        </a:lnTo>
                        <a:lnTo>
                          <a:pt x="12" y="14"/>
                        </a:lnTo>
                        <a:lnTo>
                          <a:pt x="13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4"/>
                        </a:lnTo>
                        <a:lnTo>
                          <a:pt x="5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6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1" name="Freeform 1088"/>
                  <p:cNvSpPr>
                    <a:spLocks/>
                  </p:cNvSpPr>
                  <p:nvPr/>
                </p:nvSpPr>
                <p:spPr bwMode="auto">
                  <a:xfrm rot="-5400000">
                    <a:off x="3557" y="3823"/>
                    <a:ext cx="6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8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5" y="1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2" h="12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8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5" y="1"/>
                        </a:lnTo>
                        <a:lnTo>
                          <a:pt x="1" y="2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2" name="Freeform 1089"/>
                  <p:cNvSpPr>
                    <a:spLocks/>
                  </p:cNvSpPr>
                  <p:nvPr/>
                </p:nvSpPr>
                <p:spPr bwMode="auto">
                  <a:xfrm rot="-5400000">
                    <a:off x="3548" y="3831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9" y="22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5"/>
                      </a:cxn>
                      <a:cxn ang="0">
                        <a:pos x="19" y="13"/>
                      </a:cxn>
                      <a:cxn ang="0">
                        <a:pos x="26" y="12"/>
                      </a:cxn>
                      <a:cxn ang="0">
                        <a:pos x="35" y="12"/>
                      </a:cxn>
                      <a:cxn ang="0">
                        <a:pos x="44" y="14"/>
                      </a:cxn>
                      <a:cxn ang="0">
                        <a:pos x="55" y="21"/>
                      </a:cxn>
                      <a:cxn ang="0">
                        <a:pos x="62" y="12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7" y="1"/>
                      </a:cxn>
                      <a:cxn ang="0">
                        <a:pos x="9" y="6"/>
                      </a:cxn>
                      <a:cxn ang="0">
                        <a:pos x="4" y="11"/>
                      </a:cxn>
                      <a:cxn ang="0">
                        <a:pos x="1" y="14"/>
                      </a:cxn>
                      <a:cxn ang="0">
                        <a:pos x="0" y="16"/>
                      </a:cxn>
                      <a:cxn ang="0">
                        <a:pos x="0" y="15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3" y="23"/>
                      </a:cxn>
                      <a:cxn ang="0">
                        <a:pos x="7" y="23"/>
                      </a:cxn>
                      <a:cxn ang="0">
                        <a:pos x="9" y="21"/>
                      </a:cxn>
                      <a:cxn ang="0">
                        <a:pos x="9" y="22"/>
                      </a:cxn>
                    </a:cxnLst>
                    <a:rect l="0" t="0" r="r" b="b"/>
                    <a:pathLst>
                      <a:path w="62" h="23">
                        <a:moveTo>
                          <a:pt x="9" y="22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5"/>
                        </a:lnTo>
                        <a:lnTo>
                          <a:pt x="19" y="13"/>
                        </a:lnTo>
                        <a:lnTo>
                          <a:pt x="26" y="12"/>
                        </a:lnTo>
                        <a:lnTo>
                          <a:pt x="35" y="12"/>
                        </a:lnTo>
                        <a:lnTo>
                          <a:pt x="44" y="14"/>
                        </a:lnTo>
                        <a:lnTo>
                          <a:pt x="55" y="21"/>
                        </a:lnTo>
                        <a:lnTo>
                          <a:pt x="62" y="12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7" y="1"/>
                        </a:lnTo>
                        <a:lnTo>
                          <a:pt x="9" y="6"/>
                        </a:lnTo>
                        <a:lnTo>
                          <a:pt x="4" y="11"/>
                        </a:lnTo>
                        <a:lnTo>
                          <a:pt x="1" y="14"/>
                        </a:lnTo>
                        <a:lnTo>
                          <a:pt x="0" y="16"/>
                        </a:lnTo>
                        <a:lnTo>
                          <a:pt x="0" y="15"/>
                        </a:lnTo>
                        <a:lnTo>
                          <a:pt x="0" y="16"/>
                        </a:lnTo>
                        <a:lnTo>
                          <a:pt x="0" y="20"/>
                        </a:lnTo>
                        <a:lnTo>
                          <a:pt x="3" y="23"/>
                        </a:lnTo>
                        <a:lnTo>
                          <a:pt x="7" y="23"/>
                        </a:lnTo>
                        <a:lnTo>
                          <a:pt x="9" y="21"/>
                        </a:lnTo>
                        <a:lnTo>
                          <a:pt x="9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3" name="Freeform 1090"/>
                  <p:cNvSpPr>
                    <a:spLocks/>
                  </p:cNvSpPr>
                  <p:nvPr/>
                </p:nvSpPr>
                <p:spPr bwMode="auto">
                  <a:xfrm rot="-5400000">
                    <a:off x="3569" y="3832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1"/>
                      </a:cxn>
                      <a:cxn ang="0">
                        <a:pos x="12" y="82"/>
                      </a:cxn>
                      <a:cxn ang="0">
                        <a:pos x="13" y="60"/>
                      </a:cxn>
                      <a:cxn ang="0">
                        <a:pos x="20" y="35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4">
                        <a:moveTo>
                          <a:pt x="13" y="91"/>
                        </a:moveTo>
                        <a:lnTo>
                          <a:pt x="13" y="91"/>
                        </a:lnTo>
                        <a:lnTo>
                          <a:pt x="12" y="82"/>
                        </a:lnTo>
                        <a:lnTo>
                          <a:pt x="13" y="60"/>
                        </a:lnTo>
                        <a:lnTo>
                          <a:pt x="20" y="35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4" name="Freeform 1091"/>
                  <p:cNvSpPr>
                    <a:spLocks/>
                  </p:cNvSpPr>
                  <p:nvPr/>
                </p:nvSpPr>
                <p:spPr bwMode="auto">
                  <a:xfrm rot="-5400000">
                    <a:off x="3596" y="3839"/>
                    <a:ext cx="7" cy="20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7" y="54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4" y="15"/>
                      </a:cxn>
                      <a:cxn ang="0">
                        <a:pos x="6" y="29"/>
                      </a:cxn>
                      <a:cxn ang="0">
                        <a:pos x="11" y="43"/>
                      </a:cxn>
                      <a:cxn ang="0">
                        <a:pos x="18" y="59"/>
                      </a:cxn>
                      <a:cxn ang="0">
                        <a:pos x="18" y="59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7" h="59">
                        <a:moveTo>
                          <a:pt x="27" y="54"/>
                        </a:moveTo>
                        <a:lnTo>
                          <a:pt x="27" y="54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4" y="15"/>
                        </a:lnTo>
                        <a:lnTo>
                          <a:pt x="6" y="29"/>
                        </a:lnTo>
                        <a:lnTo>
                          <a:pt x="11" y="43"/>
                        </a:lnTo>
                        <a:lnTo>
                          <a:pt x="18" y="59"/>
                        </a:lnTo>
                        <a:lnTo>
                          <a:pt x="18" y="59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5" name="Freeform 1092"/>
                  <p:cNvSpPr>
                    <a:spLocks/>
                  </p:cNvSpPr>
                  <p:nvPr/>
                </p:nvSpPr>
                <p:spPr bwMode="auto">
                  <a:xfrm rot="-5400000">
                    <a:off x="3609" y="3835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5" y="22"/>
                      </a:cxn>
                      <a:cxn ang="0">
                        <a:pos x="19" y="14"/>
                      </a:cxn>
                      <a:cxn ang="0">
                        <a:pos x="14" y="6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4" y="13"/>
                      </a:cxn>
                      <a:cxn ang="0">
                        <a:pos x="10" y="21"/>
                      </a:cxn>
                      <a:cxn ang="0">
                        <a:pos x="16" y="29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9" y="37"/>
                      </a:cxn>
                      <a:cxn ang="0">
                        <a:pos x="32" y="35"/>
                      </a:cxn>
                      <a:cxn ang="0">
                        <a:pos x="33" y="30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3" h="37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5" y="22"/>
                        </a:lnTo>
                        <a:lnTo>
                          <a:pt x="19" y="14"/>
                        </a:lnTo>
                        <a:lnTo>
                          <a:pt x="14" y="6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4" y="13"/>
                        </a:lnTo>
                        <a:lnTo>
                          <a:pt x="10" y="21"/>
                        </a:lnTo>
                        <a:lnTo>
                          <a:pt x="16" y="29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9" y="37"/>
                        </a:lnTo>
                        <a:lnTo>
                          <a:pt x="32" y="35"/>
                        </a:lnTo>
                        <a:lnTo>
                          <a:pt x="33" y="30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6" name="Freeform 1093"/>
                  <p:cNvSpPr>
                    <a:spLocks/>
                  </p:cNvSpPr>
                  <p:nvPr/>
                </p:nvSpPr>
                <p:spPr bwMode="auto">
                  <a:xfrm rot="-5400000">
                    <a:off x="3566" y="3742"/>
                    <a:ext cx="46" cy="91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0" y="238"/>
                      </a:cxn>
                      <a:cxn ang="0">
                        <a:pos x="119" y="230"/>
                      </a:cxn>
                      <a:cxn ang="0">
                        <a:pos x="121" y="220"/>
                      </a:cxn>
                      <a:cxn ang="0">
                        <a:pos x="125" y="214"/>
                      </a:cxn>
                      <a:cxn ang="0">
                        <a:pos x="136" y="221"/>
                      </a:cxn>
                      <a:cxn ang="0">
                        <a:pos x="143" y="236"/>
                      </a:cxn>
                      <a:cxn ang="0">
                        <a:pos x="141" y="251"/>
                      </a:cxn>
                      <a:cxn ang="0">
                        <a:pos x="130" y="264"/>
                      </a:cxn>
                      <a:cxn ang="0">
                        <a:pos x="113" y="269"/>
                      </a:cxn>
                      <a:cxn ang="0">
                        <a:pos x="92" y="267"/>
                      </a:cxn>
                      <a:cxn ang="0">
                        <a:pos x="75" y="260"/>
                      </a:cxn>
                      <a:cxn ang="0">
                        <a:pos x="64" y="254"/>
                      </a:cxn>
                      <a:cxn ang="0">
                        <a:pos x="59" y="251"/>
                      </a:cxn>
                      <a:cxn ang="0">
                        <a:pos x="34" y="222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1" y="64"/>
                      </a:cxn>
                      <a:cxn ang="0">
                        <a:pos x="34" y="27"/>
                      </a:cxn>
                      <a:cxn ang="0">
                        <a:pos x="65" y="4"/>
                      </a:cxn>
                      <a:cxn ang="0">
                        <a:pos x="97" y="1"/>
                      </a:cxn>
                      <a:cxn ang="0">
                        <a:pos x="128" y="20"/>
                      </a:cxn>
                      <a:cxn ang="0">
                        <a:pos x="141" y="42"/>
                      </a:cxn>
                      <a:cxn ang="0">
                        <a:pos x="138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4" y="154"/>
                      </a:cxn>
                      <a:cxn ang="0">
                        <a:pos x="51" y="182"/>
                      </a:cxn>
                      <a:cxn ang="0">
                        <a:pos x="61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3" h="269">
                        <a:moveTo>
                          <a:pt x="81" y="225"/>
                        </a:moveTo>
                        <a:lnTo>
                          <a:pt x="94" y="234"/>
                        </a:lnTo>
                        <a:lnTo>
                          <a:pt x="103" y="237"/>
                        </a:lnTo>
                        <a:lnTo>
                          <a:pt x="110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0" y="225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1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7"/>
                        </a:lnTo>
                        <a:lnTo>
                          <a:pt x="113" y="269"/>
                        </a:lnTo>
                        <a:lnTo>
                          <a:pt x="103" y="269"/>
                        </a:lnTo>
                        <a:lnTo>
                          <a:pt x="92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4" y="254"/>
                        </a:lnTo>
                        <a:lnTo>
                          <a:pt x="60" y="252"/>
                        </a:lnTo>
                        <a:lnTo>
                          <a:pt x="59" y="251"/>
                        </a:lnTo>
                        <a:lnTo>
                          <a:pt x="58" y="250"/>
                        </a:lnTo>
                        <a:lnTo>
                          <a:pt x="34" y="222"/>
                        </a:lnTo>
                        <a:lnTo>
                          <a:pt x="16" y="194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4" y="87"/>
                        </a:lnTo>
                        <a:lnTo>
                          <a:pt x="11" y="64"/>
                        </a:lnTo>
                        <a:lnTo>
                          <a:pt x="21" y="45"/>
                        </a:lnTo>
                        <a:lnTo>
                          <a:pt x="34" y="27"/>
                        </a:lnTo>
                        <a:lnTo>
                          <a:pt x="49" y="14"/>
                        </a:lnTo>
                        <a:lnTo>
                          <a:pt x="65" y="4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3" y="8"/>
                        </a:lnTo>
                        <a:lnTo>
                          <a:pt x="128" y="20"/>
                        </a:lnTo>
                        <a:lnTo>
                          <a:pt x="141" y="40"/>
                        </a:lnTo>
                        <a:lnTo>
                          <a:pt x="141" y="42"/>
                        </a:lnTo>
                        <a:lnTo>
                          <a:pt x="140" y="46"/>
                        </a:lnTo>
                        <a:lnTo>
                          <a:pt x="138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1"/>
                        </a:lnTo>
                        <a:lnTo>
                          <a:pt x="74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09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4" y="154"/>
                        </a:lnTo>
                        <a:lnTo>
                          <a:pt x="47" y="168"/>
                        </a:lnTo>
                        <a:lnTo>
                          <a:pt x="51" y="182"/>
                        </a:lnTo>
                        <a:lnTo>
                          <a:pt x="58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4" y="220"/>
                        </a:lnTo>
                        <a:lnTo>
                          <a:pt x="81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7" name="Freeform 1094"/>
                  <p:cNvSpPr>
                    <a:spLocks/>
                  </p:cNvSpPr>
                  <p:nvPr/>
                </p:nvSpPr>
                <p:spPr bwMode="auto">
                  <a:xfrm rot="-5400000">
                    <a:off x="3613" y="3771"/>
                    <a:ext cx="15" cy="10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8" y="4"/>
                      </a:cxn>
                      <a:cxn ang="0">
                        <a:pos x="37" y="9"/>
                      </a:cxn>
                      <a:cxn ang="0">
                        <a:pos x="37" y="13"/>
                      </a:cxn>
                      <a:cxn ang="0">
                        <a:pos x="35" y="15"/>
                      </a:cxn>
                      <a:cxn ang="0">
                        <a:pos x="33" y="17"/>
                      </a:cxn>
                      <a:cxn ang="0">
                        <a:pos x="27" y="16"/>
                      </a:cxn>
                      <a:cxn ang="0">
                        <a:pos x="19" y="14"/>
                      </a:cxn>
                      <a:cxn ang="0">
                        <a:pos x="7" y="6"/>
                      </a:cxn>
                      <a:cxn ang="0">
                        <a:pos x="0" y="15"/>
                      </a:cxn>
                      <a:cxn ang="0">
                        <a:pos x="14" y="23"/>
                      </a:cxn>
                      <a:cxn ang="0">
                        <a:pos x="25" y="28"/>
                      </a:cxn>
                      <a:cxn ang="0">
                        <a:pos x="33" y="29"/>
                      </a:cxn>
                      <a:cxn ang="0">
                        <a:pos x="42" y="24"/>
                      </a:cxn>
                      <a:cxn ang="0">
                        <a:pos x="46" y="17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1" h="29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8" y="4"/>
                        </a:lnTo>
                        <a:lnTo>
                          <a:pt x="37" y="9"/>
                        </a:lnTo>
                        <a:lnTo>
                          <a:pt x="37" y="13"/>
                        </a:lnTo>
                        <a:lnTo>
                          <a:pt x="35" y="15"/>
                        </a:lnTo>
                        <a:lnTo>
                          <a:pt x="33" y="17"/>
                        </a:lnTo>
                        <a:lnTo>
                          <a:pt x="27" y="16"/>
                        </a:lnTo>
                        <a:lnTo>
                          <a:pt x="19" y="14"/>
                        </a:lnTo>
                        <a:lnTo>
                          <a:pt x="7" y="6"/>
                        </a:lnTo>
                        <a:lnTo>
                          <a:pt x="0" y="15"/>
                        </a:lnTo>
                        <a:lnTo>
                          <a:pt x="14" y="23"/>
                        </a:lnTo>
                        <a:lnTo>
                          <a:pt x="25" y="28"/>
                        </a:lnTo>
                        <a:lnTo>
                          <a:pt x="33" y="29"/>
                        </a:lnTo>
                        <a:lnTo>
                          <a:pt x="42" y="24"/>
                        </a:lnTo>
                        <a:lnTo>
                          <a:pt x="46" y="17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8" name="Freeform 1095"/>
                  <p:cNvSpPr>
                    <a:spLocks/>
                  </p:cNvSpPr>
                  <p:nvPr/>
                </p:nvSpPr>
                <p:spPr bwMode="auto">
                  <a:xfrm rot="-5400000">
                    <a:off x="3612" y="3762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28" y="19"/>
                      </a:cxn>
                      <a:cxn ang="0">
                        <a:pos x="29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1" y="7"/>
                      </a:cxn>
                      <a:cxn ang="0">
                        <a:pos x="8" y="12"/>
                      </a:cxn>
                      <a:cxn ang="0">
                        <a:pos x="11" y="13"/>
                      </a:cxn>
                      <a:cxn ang="0">
                        <a:pos x="15" y="16"/>
                      </a:cxn>
                      <a:cxn ang="0">
                        <a:pos x="18" y="23"/>
                      </a:cxn>
                      <a:cxn ang="0">
                        <a:pos x="19" y="23"/>
                      </a:cxn>
                      <a:cxn ang="0">
                        <a:pos x="28" y="19"/>
                      </a:cxn>
                    </a:cxnLst>
                    <a:rect l="0" t="0" r="r" b="b"/>
                    <a:pathLst>
                      <a:path w="29" h="23">
                        <a:moveTo>
                          <a:pt x="28" y="19"/>
                        </a:moveTo>
                        <a:lnTo>
                          <a:pt x="29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1" y="7"/>
                        </a:lnTo>
                        <a:lnTo>
                          <a:pt x="8" y="12"/>
                        </a:lnTo>
                        <a:lnTo>
                          <a:pt x="11" y="13"/>
                        </a:lnTo>
                        <a:lnTo>
                          <a:pt x="15" y="16"/>
                        </a:lnTo>
                        <a:lnTo>
                          <a:pt x="18" y="23"/>
                        </a:lnTo>
                        <a:lnTo>
                          <a:pt x="19" y="23"/>
                        </a:lnTo>
                        <a:lnTo>
                          <a:pt x="28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49" name="Freeform 1096"/>
                  <p:cNvSpPr>
                    <a:spLocks/>
                  </p:cNvSpPr>
                  <p:nvPr/>
                </p:nvSpPr>
                <p:spPr bwMode="auto">
                  <a:xfrm rot="-5400000">
                    <a:off x="3620" y="3761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1" y="48"/>
                      </a:cxn>
                      <a:cxn ang="0">
                        <a:pos x="11" y="48"/>
                      </a:cxn>
                      <a:cxn ang="0">
                        <a:pos x="21" y="46"/>
                      </a:cxn>
                      <a:cxn ang="0">
                        <a:pos x="32" y="41"/>
                      </a:cxn>
                      <a:cxn ang="0">
                        <a:pos x="39" y="34"/>
                      </a:cxn>
                      <a:cxn ang="0">
                        <a:pos x="43" y="26"/>
                      </a:cxn>
                      <a:cxn ang="0">
                        <a:pos x="47" y="16"/>
                      </a:cxn>
                      <a:cxn ang="0">
                        <a:pos x="47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5" y="16"/>
                      </a:cxn>
                      <a:cxn ang="0">
                        <a:pos x="34" y="22"/>
                      </a:cxn>
                      <a:cxn ang="0">
                        <a:pos x="30" y="27"/>
                      </a:cxn>
                      <a:cxn ang="0">
                        <a:pos x="25" y="32"/>
                      </a:cxn>
                      <a:cxn ang="0">
                        <a:pos x="19" y="34"/>
                      </a:cxn>
                      <a:cxn ang="0">
                        <a:pos x="11" y="37"/>
                      </a:cxn>
                      <a:cxn ang="0">
                        <a:pos x="1" y="37"/>
                      </a:cxn>
                      <a:cxn ang="0">
                        <a:pos x="2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7" h="48">
                        <a:moveTo>
                          <a:pt x="0" y="48"/>
                        </a:moveTo>
                        <a:lnTo>
                          <a:pt x="1" y="48"/>
                        </a:lnTo>
                        <a:lnTo>
                          <a:pt x="11" y="48"/>
                        </a:lnTo>
                        <a:lnTo>
                          <a:pt x="21" y="46"/>
                        </a:lnTo>
                        <a:lnTo>
                          <a:pt x="32" y="41"/>
                        </a:lnTo>
                        <a:lnTo>
                          <a:pt x="39" y="34"/>
                        </a:lnTo>
                        <a:lnTo>
                          <a:pt x="43" y="26"/>
                        </a:lnTo>
                        <a:lnTo>
                          <a:pt x="47" y="16"/>
                        </a:lnTo>
                        <a:lnTo>
                          <a:pt x="47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5" y="16"/>
                        </a:lnTo>
                        <a:lnTo>
                          <a:pt x="34" y="22"/>
                        </a:lnTo>
                        <a:lnTo>
                          <a:pt x="30" y="27"/>
                        </a:lnTo>
                        <a:lnTo>
                          <a:pt x="25" y="32"/>
                        </a:lnTo>
                        <a:lnTo>
                          <a:pt x="19" y="34"/>
                        </a:lnTo>
                        <a:lnTo>
                          <a:pt x="11" y="37"/>
                        </a:lnTo>
                        <a:lnTo>
                          <a:pt x="1" y="37"/>
                        </a:lnTo>
                        <a:lnTo>
                          <a:pt x="2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0" name="Freeform 1097"/>
                  <p:cNvSpPr>
                    <a:spLocks/>
                  </p:cNvSpPr>
                  <p:nvPr/>
                </p:nvSpPr>
                <p:spPr bwMode="auto">
                  <a:xfrm rot="-5400000">
                    <a:off x="3621" y="3780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3" y="10"/>
                      </a:cxn>
                      <a:cxn ang="0">
                        <a:pos x="5" y="13"/>
                      </a:cxn>
                      <a:cxn ang="0">
                        <a:pos x="9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29" y="25"/>
                      </a:cxn>
                      <a:cxn ang="0">
                        <a:pos x="39" y="29"/>
                      </a:cxn>
                      <a:cxn ang="0">
                        <a:pos x="50" y="31"/>
                      </a:cxn>
                      <a:cxn ang="0">
                        <a:pos x="52" y="20"/>
                      </a:cxn>
                      <a:cxn ang="0">
                        <a:pos x="42" y="17"/>
                      </a:cxn>
                      <a:cxn ang="0">
                        <a:pos x="33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4" y="6"/>
                      </a:cxn>
                      <a:cxn ang="0">
                        <a:pos x="12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3" y="10"/>
                        </a:lnTo>
                        <a:lnTo>
                          <a:pt x="5" y="13"/>
                        </a:lnTo>
                        <a:lnTo>
                          <a:pt x="9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29" y="25"/>
                        </a:lnTo>
                        <a:lnTo>
                          <a:pt x="39" y="29"/>
                        </a:lnTo>
                        <a:lnTo>
                          <a:pt x="50" y="31"/>
                        </a:lnTo>
                        <a:lnTo>
                          <a:pt x="52" y="20"/>
                        </a:lnTo>
                        <a:lnTo>
                          <a:pt x="42" y="17"/>
                        </a:lnTo>
                        <a:lnTo>
                          <a:pt x="33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4" y="6"/>
                        </a:lnTo>
                        <a:lnTo>
                          <a:pt x="12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1" name="Freeform 1098"/>
                  <p:cNvSpPr>
                    <a:spLocks/>
                  </p:cNvSpPr>
                  <p:nvPr/>
                </p:nvSpPr>
                <p:spPr bwMode="auto">
                  <a:xfrm rot="-5400000">
                    <a:off x="3560" y="3743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9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2" y="48"/>
                      </a:cxn>
                      <a:cxn ang="0">
                        <a:pos x="11" y="68"/>
                      </a:cxn>
                      <a:cxn ang="0">
                        <a:pos x="4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8" y="203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5"/>
                      </a:cxn>
                      <a:cxn ang="0">
                        <a:pos x="27" y="198"/>
                      </a:cxn>
                      <a:cxn ang="0">
                        <a:pos x="18" y="172"/>
                      </a:cxn>
                      <a:cxn ang="0">
                        <a:pos x="12" y="145"/>
                      </a:cxn>
                      <a:cxn ang="0">
                        <a:pos x="12" y="119"/>
                      </a:cxn>
                      <a:cxn ang="0">
                        <a:pos x="15" y="94"/>
                      </a:cxn>
                      <a:cxn ang="0">
                        <a:pos x="22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29" y="30"/>
                      </a:cxn>
                      <a:cxn ang="0">
                        <a:pos x="142" y="48"/>
                      </a:cxn>
                      <a:cxn ang="0">
                        <a:pos x="142" y="48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59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9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2" y="48"/>
                        </a:lnTo>
                        <a:lnTo>
                          <a:pt x="11" y="68"/>
                        </a:lnTo>
                        <a:lnTo>
                          <a:pt x="4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8" y="203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5"/>
                        </a:lnTo>
                        <a:lnTo>
                          <a:pt x="27" y="198"/>
                        </a:lnTo>
                        <a:lnTo>
                          <a:pt x="18" y="172"/>
                        </a:lnTo>
                        <a:lnTo>
                          <a:pt x="12" y="145"/>
                        </a:lnTo>
                        <a:lnTo>
                          <a:pt x="12" y="119"/>
                        </a:lnTo>
                        <a:lnTo>
                          <a:pt x="15" y="94"/>
                        </a:lnTo>
                        <a:lnTo>
                          <a:pt x="22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29" y="30"/>
                        </a:lnTo>
                        <a:lnTo>
                          <a:pt x="142" y="48"/>
                        </a:lnTo>
                        <a:lnTo>
                          <a:pt x="142" y="48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2" name="Freeform 1099"/>
                  <p:cNvSpPr>
                    <a:spLocks/>
                  </p:cNvSpPr>
                  <p:nvPr/>
                </p:nvSpPr>
                <p:spPr bwMode="auto">
                  <a:xfrm rot="-5400000">
                    <a:off x="3556" y="3761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4" y="18"/>
                      </a:cxn>
                      <a:cxn ang="0">
                        <a:pos x="9" y="15"/>
                      </a:cxn>
                      <a:cxn ang="0">
                        <a:pos x="10" y="14"/>
                      </a:cxn>
                      <a:cxn ang="0">
                        <a:pos x="12" y="9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3" y="4"/>
                      </a:cxn>
                      <a:cxn ang="0">
                        <a:pos x="2" y="3"/>
                      </a:cxn>
                      <a:cxn ang="0">
                        <a:pos x="1" y="7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3" y="17"/>
                      </a:cxn>
                      <a:cxn ang="0">
                        <a:pos x="7" y="17"/>
                      </a:cxn>
                      <a:cxn ang="0">
                        <a:pos x="9" y="15"/>
                      </a:cxn>
                      <a:cxn ang="0">
                        <a:pos x="4" y="18"/>
                      </a:cxn>
                    </a:cxnLst>
                    <a:rect l="0" t="0" r="r" b="b"/>
                    <a:pathLst>
                      <a:path w="13" h="18">
                        <a:moveTo>
                          <a:pt x="4" y="18"/>
                        </a:moveTo>
                        <a:lnTo>
                          <a:pt x="9" y="15"/>
                        </a:lnTo>
                        <a:lnTo>
                          <a:pt x="10" y="14"/>
                        </a:lnTo>
                        <a:lnTo>
                          <a:pt x="12" y="9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3" y="4"/>
                        </a:lnTo>
                        <a:lnTo>
                          <a:pt x="2" y="3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3" y="17"/>
                        </a:lnTo>
                        <a:lnTo>
                          <a:pt x="7" y="17"/>
                        </a:lnTo>
                        <a:lnTo>
                          <a:pt x="9" y="15"/>
                        </a:lnTo>
                        <a:lnTo>
                          <a:pt x="4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3" name="Freeform 1100"/>
                  <p:cNvSpPr>
                    <a:spLocks/>
                  </p:cNvSpPr>
                  <p:nvPr/>
                </p:nvSpPr>
                <p:spPr bwMode="auto">
                  <a:xfrm rot="-5400000">
                    <a:off x="3556" y="3766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8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2" h="12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8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4" name="Freeform 1101"/>
                  <p:cNvSpPr>
                    <a:spLocks/>
                  </p:cNvSpPr>
                  <p:nvPr/>
                </p:nvSpPr>
                <p:spPr bwMode="auto">
                  <a:xfrm rot="-5400000">
                    <a:off x="3548" y="3776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9" y="22"/>
                      </a:cxn>
                      <a:cxn ang="0">
                        <a:pos x="9" y="21"/>
                      </a:cxn>
                      <a:cxn ang="0">
                        <a:pos x="11" y="21"/>
                      </a:cxn>
                      <a:cxn ang="0">
                        <a:pos x="12" y="18"/>
                      </a:cxn>
                      <a:cxn ang="0">
                        <a:pos x="16" y="15"/>
                      </a:cxn>
                      <a:cxn ang="0">
                        <a:pos x="20" y="13"/>
                      </a:cxn>
                      <a:cxn ang="0">
                        <a:pos x="27" y="12"/>
                      </a:cxn>
                      <a:cxn ang="0">
                        <a:pos x="36" y="12"/>
                      </a:cxn>
                      <a:cxn ang="0">
                        <a:pos x="44" y="14"/>
                      </a:cxn>
                      <a:cxn ang="0">
                        <a:pos x="56" y="21"/>
                      </a:cxn>
                      <a:cxn ang="0">
                        <a:pos x="62" y="12"/>
                      </a:cxn>
                      <a:cxn ang="0">
                        <a:pos x="49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8" y="1"/>
                      </a:cxn>
                      <a:cxn ang="0">
                        <a:pos x="9" y="6"/>
                      </a:cxn>
                      <a:cxn ang="0">
                        <a:pos x="5" y="11"/>
                      </a:cxn>
                      <a:cxn ang="0">
                        <a:pos x="1" y="14"/>
                      </a:cxn>
                      <a:cxn ang="0">
                        <a:pos x="0" y="16"/>
                      </a:cxn>
                      <a:cxn ang="0">
                        <a:pos x="0" y="15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4" y="23"/>
                      </a:cxn>
                      <a:cxn ang="0">
                        <a:pos x="7" y="23"/>
                      </a:cxn>
                      <a:cxn ang="0">
                        <a:pos x="9" y="21"/>
                      </a:cxn>
                      <a:cxn ang="0">
                        <a:pos x="9" y="22"/>
                      </a:cxn>
                    </a:cxnLst>
                    <a:rect l="0" t="0" r="r" b="b"/>
                    <a:pathLst>
                      <a:path w="62" h="23">
                        <a:moveTo>
                          <a:pt x="9" y="22"/>
                        </a:moveTo>
                        <a:lnTo>
                          <a:pt x="9" y="21"/>
                        </a:lnTo>
                        <a:lnTo>
                          <a:pt x="11" y="21"/>
                        </a:lnTo>
                        <a:lnTo>
                          <a:pt x="12" y="18"/>
                        </a:lnTo>
                        <a:lnTo>
                          <a:pt x="16" y="15"/>
                        </a:lnTo>
                        <a:lnTo>
                          <a:pt x="20" y="13"/>
                        </a:lnTo>
                        <a:lnTo>
                          <a:pt x="27" y="12"/>
                        </a:lnTo>
                        <a:lnTo>
                          <a:pt x="36" y="12"/>
                        </a:lnTo>
                        <a:lnTo>
                          <a:pt x="44" y="14"/>
                        </a:lnTo>
                        <a:lnTo>
                          <a:pt x="56" y="21"/>
                        </a:lnTo>
                        <a:lnTo>
                          <a:pt x="62" y="12"/>
                        </a:lnTo>
                        <a:lnTo>
                          <a:pt x="49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8" y="1"/>
                        </a:lnTo>
                        <a:lnTo>
                          <a:pt x="9" y="6"/>
                        </a:lnTo>
                        <a:lnTo>
                          <a:pt x="5" y="11"/>
                        </a:lnTo>
                        <a:lnTo>
                          <a:pt x="1" y="14"/>
                        </a:lnTo>
                        <a:lnTo>
                          <a:pt x="0" y="16"/>
                        </a:lnTo>
                        <a:lnTo>
                          <a:pt x="0" y="15"/>
                        </a:lnTo>
                        <a:lnTo>
                          <a:pt x="0" y="16"/>
                        </a:lnTo>
                        <a:lnTo>
                          <a:pt x="0" y="20"/>
                        </a:lnTo>
                        <a:lnTo>
                          <a:pt x="4" y="23"/>
                        </a:lnTo>
                        <a:lnTo>
                          <a:pt x="7" y="23"/>
                        </a:lnTo>
                        <a:lnTo>
                          <a:pt x="9" y="21"/>
                        </a:lnTo>
                        <a:lnTo>
                          <a:pt x="9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5" name="Freeform 1102"/>
                  <p:cNvSpPr>
                    <a:spLocks/>
                  </p:cNvSpPr>
                  <p:nvPr/>
                </p:nvSpPr>
                <p:spPr bwMode="auto">
                  <a:xfrm rot="-5400000">
                    <a:off x="3569" y="377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2" y="91"/>
                      </a:cxn>
                      <a:cxn ang="0">
                        <a:pos x="12" y="91"/>
                      </a:cxn>
                      <a:cxn ang="0">
                        <a:pos x="11" y="82"/>
                      </a:cxn>
                      <a:cxn ang="0">
                        <a:pos x="12" y="60"/>
                      </a:cxn>
                      <a:cxn ang="0">
                        <a:pos x="19" y="35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2" y="91"/>
                      </a:cxn>
                    </a:cxnLst>
                    <a:rect l="0" t="0" r="r" b="b"/>
                    <a:pathLst>
                      <a:path w="35" h="94">
                        <a:moveTo>
                          <a:pt x="12" y="91"/>
                        </a:moveTo>
                        <a:lnTo>
                          <a:pt x="12" y="91"/>
                        </a:lnTo>
                        <a:lnTo>
                          <a:pt x="11" y="82"/>
                        </a:lnTo>
                        <a:lnTo>
                          <a:pt x="12" y="60"/>
                        </a:lnTo>
                        <a:lnTo>
                          <a:pt x="19" y="35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2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6" name="Freeform 1103"/>
                  <p:cNvSpPr>
                    <a:spLocks/>
                  </p:cNvSpPr>
                  <p:nvPr/>
                </p:nvSpPr>
                <p:spPr bwMode="auto">
                  <a:xfrm rot="-5400000">
                    <a:off x="3595" y="3784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4"/>
                      </a:cxn>
                      <a:cxn ang="0">
                        <a:pos x="26" y="54"/>
                      </a:cxn>
                      <a:cxn ang="0">
                        <a:pos x="21" y="41"/>
                      </a:cxn>
                      <a:cxn ang="0">
                        <a:pos x="17" y="27"/>
                      </a:cxn>
                      <a:cxn ang="0">
                        <a:pos x="14" y="13"/>
                      </a:cxn>
                      <a:cxn ang="0">
                        <a:pos x="11" y="0"/>
                      </a:cxn>
                      <a:cxn ang="0">
                        <a:pos x="0" y="3"/>
                      </a:cxn>
                      <a:cxn ang="0">
                        <a:pos x="2" y="15"/>
                      </a:cxn>
                      <a:cxn ang="0">
                        <a:pos x="6" y="29"/>
                      </a:cxn>
                      <a:cxn ang="0">
                        <a:pos x="9" y="43"/>
                      </a:cxn>
                      <a:cxn ang="0">
                        <a:pos x="17" y="59"/>
                      </a:cxn>
                      <a:cxn ang="0">
                        <a:pos x="16" y="59"/>
                      </a:cxn>
                      <a:cxn ang="0">
                        <a:pos x="28" y="54"/>
                      </a:cxn>
                    </a:cxnLst>
                    <a:rect l="0" t="0" r="r" b="b"/>
                    <a:pathLst>
                      <a:path w="28" h="59">
                        <a:moveTo>
                          <a:pt x="28" y="54"/>
                        </a:moveTo>
                        <a:lnTo>
                          <a:pt x="26" y="54"/>
                        </a:lnTo>
                        <a:lnTo>
                          <a:pt x="21" y="41"/>
                        </a:lnTo>
                        <a:lnTo>
                          <a:pt x="17" y="27"/>
                        </a:lnTo>
                        <a:lnTo>
                          <a:pt x="14" y="13"/>
                        </a:lnTo>
                        <a:lnTo>
                          <a:pt x="11" y="0"/>
                        </a:lnTo>
                        <a:lnTo>
                          <a:pt x="0" y="3"/>
                        </a:lnTo>
                        <a:lnTo>
                          <a:pt x="2" y="15"/>
                        </a:lnTo>
                        <a:lnTo>
                          <a:pt x="6" y="29"/>
                        </a:lnTo>
                        <a:lnTo>
                          <a:pt x="9" y="43"/>
                        </a:lnTo>
                        <a:lnTo>
                          <a:pt x="17" y="59"/>
                        </a:lnTo>
                        <a:lnTo>
                          <a:pt x="16" y="59"/>
                        </a:lnTo>
                        <a:lnTo>
                          <a:pt x="28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7" name="Freeform 1104"/>
                  <p:cNvSpPr>
                    <a:spLocks/>
                  </p:cNvSpPr>
                  <p:nvPr/>
                </p:nvSpPr>
                <p:spPr bwMode="auto">
                  <a:xfrm rot="-5400000">
                    <a:off x="3609" y="3781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5" y="22"/>
                      </a:cxn>
                      <a:cxn ang="0">
                        <a:pos x="20" y="14"/>
                      </a:cxn>
                      <a:cxn ang="0">
                        <a:pos x="14" y="7"/>
                      </a:cxn>
                      <a:cxn ang="0">
                        <a:pos x="12" y="0"/>
                      </a:cxn>
                      <a:cxn ang="0">
                        <a:pos x="0" y="5"/>
                      </a:cxn>
                      <a:cxn ang="0">
                        <a:pos x="5" y="12"/>
                      </a:cxn>
                      <a:cxn ang="0">
                        <a:pos x="10" y="21"/>
                      </a:cxn>
                      <a:cxn ang="0">
                        <a:pos x="18" y="29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30" y="37"/>
                      </a:cxn>
                      <a:cxn ang="0">
                        <a:pos x="33" y="35"/>
                      </a:cxn>
                      <a:cxn ang="0">
                        <a:pos x="35" y="30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5" h="37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5" y="22"/>
                        </a:lnTo>
                        <a:lnTo>
                          <a:pt x="20" y="14"/>
                        </a:lnTo>
                        <a:lnTo>
                          <a:pt x="14" y="7"/>
                        </a:lnTo>
                        <a:lnTo>
                          <a:pt x="12" y="0"/>
                        </a:lnTo>
                        <a:lnTo>
                          <a:pt x="0" y="5"/>
                        </a:lnTo>
                        <a:lnTo>
                          <a:pt x="5" y="12"/>
                        </a:lnTo>
                        <a:lnTo>
                          <a:pt x="10" y="21"/>
                        </a:lnTo>
                        <a:lnTo>
                          <a:pt x="18" y="29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30" y="37"/>
                        </a:lnTo>
                        <a:lnTo>
                          <a:pt x="33" y="35"/>
                        </a:lnTo>
                        <a:lnTo>
                          <a:pt x="35" y="30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8" name="Freeform 1105"/>
                  <p:cNvSpPr>
                    <a:spLocks/>
                  </p:cNvSpPr>
                  <p:nvPr/>
                </p:nvSpPr>
                <p:spPr bwMode="auto">
                  <a:xfrm rot="-5400000">
                    <a:off x="3565" y="3623"/>
                    <a:ext cx="48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10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5" y="222"/>
                      </a:cxn>
                      <a:cxn ang="0">
                        <a:pos x="144" y="236"/>
                      </a:cxn>
                      <a:cxn ang="0">
                        <a:pos x="140" y="251"/>
                      </a:cxn>
                      <a:cxn ang="0">
                        <a:pos x="131" y="264"/>
                      </a:cxn>
                      <a:cxn ang="0">
                        <a:pos x="114" y="271"/>
                      </a:cxn>
                      <a:cxn ang="0">
                        <a:pos x="93" y="267"/>
                      </a:cxn>
                      <a:cxn ang="0">
                        <a:pos x="74" y="262"/>
                      </a:cxn>
                      <a:cxn ang="0">
                        <a:pos x="64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1" y="65"/>
                      </a:cxn>
                      <a:cxn ang="0">
                        <a:pos x="34" y="28"/>
                      </a:cxn>
                      <a:cxn ang="0">
                        <a:pos x="65" y="5"/>
                      </a:cxn>
                      <a:cxn ang="0">
                        <a:pos x="97" y="1"/>
                      </a:cxn>
                      <a:cxn ang="0">
                        <a:pos x="129" y="21"/>
                      </a:cxn>
                      <a:cxn ang="0">
                        <a:pos x="141" y="43"/>
                      </a:cxn>
                      <a:cxn ang="0">
                        <a:pos x="138" y="50"/>
                      </a:cxn>
                      <a:cxn ang="0">
                        <a:pos x="129" y="52"/>
                      </a:cxn>
                      <a:cxn ang="0">
                        <a:pos x="120" y="51"/>
                      </a:cxn>
                      <a:cxn ang="0">
                        <a:pos x="107" y="44"/>
                      </a:cxn>
                      <a:cxn ang="0">
                        <a:pos x="87" y="40"/>
                      </a:cxn>
                      <a:cxn ang="0">
                        <a:pos x="73" y="46"/>
                      </a:cxn>
                      <a:cxn ang="0">
                        <a:pos x="66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4" y="156"/>
                      </a:cxn>
                      <a:cxn ang="0">
                        <a:pos x="51" y="182"/>
                      </a:cxn>
                      <a:cxn ang="0">
                        <a:pos x="62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4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3" y="238"/>
                        </a:lnTo>
                        <a:lnTo>
                          <a:pt x="110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0" y="226"/>
                        </a:lnTo>
                        <a:lnTo>
                          <a:pt x="122" y="220"/>
                        </a:lnTo>
                        <a:lnTo>
                          <a:pt x="123" y="215"/>
                        </a:lnTo>
                        <a:lnTo>
                          <a:pt x="125" y="214"/>
                        </a:lnTo>
                        <a:lnTo>
                          <a:pt x="130" y="217"/>
                        </a:lnTo>
                        <a:lnTo>
                          <a:pt x="135" y="222"/>
                        </a:lnTo>
                        <a:lnTo>
                          <a:pt x="141" y="229"/>
                        </a:lnTo>
                        <a:lnTo>
                          <a:pt x="144" y="236"/>
                        </a:lnTo>
                        <a:lnTo>
                          <a:pt x="142" y="243"/>
                        </a:lnTo>
                        <a:lnTo>
                          <a:pt x="140" y="251"/>
                        </a:lnTo>
                        <a:lnTo>
                          <a:pt x="137" y="258"/>
                        </a:lnTo>
                        <a:lnTo>
                          <a:pt x="131" y="264"/>
                        </a:lnTo>
                        <a:lnTo>
                          <a:pt x="123" y="268"/>
                        </a:lnTo>
                        <a:lnTo>
                          <a:pt x="114" y="271"/>
                        </a:lnTo>
                        <a:lnTo>
                          <a:pt x="103" y="270"/>
                        </a:lnTo>
                        <a:lnTo>
                          <a:pt x="93" y="267"/>
                        </a:lnTo>
                        <a:lnTo>
                          <a:pt x="82" y="265"/>
                        </a:lnTo>
                        <a:lnTo>
                          <a:pt x="74" y="262"/>
                        </a:lnTo>
                        <a:lnTo>
                          <a:pt x="69" y="258"/>
                        </a:lnTo>
                        <a:lnTo>
                          <a:pt x="64" y="256"/>
                        </a:lnTo>
                        <a:lnTo>
                          <a:pt x="59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7" y="196"/>
                        </a:lnTo>
                        <a:lnTo>
                          <a:pt x="5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1" y="65"/>
                        </a:lnTo>
                        <a:lnTo>
                          <a:pt x="21" y="45"/>
                        </a:lnTo>
                        <a:lnTo>
                          <a:pt x="34" y="28"/>
                        </a:lnTo>
                        <a:lnTo>
                          <a:pt x="49" y="14"/>
                        </a:lnTo>
                        <a:lnTo>
                          <a:pt x="65" y="5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1" y="40"/>
                        </a:lnTo>
                        <a:lnTo>
                          <a:pt x="141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9" y="52"/>
                        </a:lnTo>
                        <a:lnTo>
                          <a:pt x="123" y="52"/>
                        </a:lnTo>
                        <a:lnTo>
                          <a:pt x="120" y="51"/>
                        </a:lnTo>
                        <a:lnTo>
                          <a:pt x="119" y="51"/>
                        </a:lnTo>
                        <a:lnTo>
                          <a:pt x="107" y="44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6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4" y="156"/>
                        </a:lnTo>
                        <a:lnTo>
                          <a:pt x="48" y="168"/>
                        </a:lnTo>
                        <a:lnTo>
                          <a:pt x="51" y="182"/>
                        </a:lnTo>
                        <a:lnTo>
                          <a:pt x="57" y="197"/>
                        </a:lnTo>
                        <a:lnTo>
                          <a:pt x="62" y="204"/>
                        </a:lnTo>
                        <a:lnTo>
                          <a:pt x="67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59" name="Freeform 1106"/>
                  <p:cNvSpPr>
                    <a:spLocks/>
                  </p:cNvSpPr>
                  <p:nvPr/>
                </p:nvSpPr>
                <p:spPr bwMode="auto">
                  <a:xfrm rot="-5400000">
                    <a:off x="3612" y="365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9" y="4"/>
                      </a:cxn>
                      <a:cxn ang="0">
                        <a:pos x="38" y="10"/>
                      </a:cxn>
                      <a:cxn ang="0">
                        <a:pos x="38" y="13"/>
                      </a:cxn>
                      <a:cxn ang="0">
                        <a:pos x="35" y="15"/>
                      </a:cxn>
                      <a:cxn ang="0">
                        <a:pos x="32" y="18"/>
                      </a:cxn>
                      <a:cxn ang="0">
                        <a:pos x="27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5" y="29"/>
                      </a:cxn>
                      <a:cxn ang="0">
                        <a:pos x="34" y="29"/>
                      </a:cxn>
                      <a:cxn ang="0">
                        <a:pos x="42" y="25"/>
                      </a:cxn>
                      <a:cxn ang="0">
                        <a:pos x="47" y="18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2" h="29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9" y="4"/>
                        </a:lnTo>
                        <a:lnTo>
                          <a:pt x="38" y="10"/>
                        </a:lnTo>
                        <a:lnTo>
                          <a:pt x="38" y="13"/>
                        </a:lnTo>
                        <a:lnTo>
                          <a:pt x="35" y="15"/>
                        </a:lnTo>
                        <a:lnTo>
                          <a:pt x="32" y="18"/>
                        </a:lnTo>
                        <a:lnTo>
                          <a:pt x="27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5" y="29"/>
                        </a:lnTo>
                        <a:lnTo>
                          <a:pt x="34" y="29"/>
                        </a:lnTo>
                        <a:lnTo>
                          <a:pt x="42" y="25"/>
                        </a:lnTo>
                        <a:lnTo>
                          <a:pt x="47" y="18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0" name="Freeform 1107"/>
                  <p:cNvSpPr>
                    <a:spLocks/>
                  </p:cNvSpPr>
                  <p:nvPr/>
                </p:nvSpPr>
                <p:spPr bwMode="auto">
                  <a:xfrm rot="-5400000">
                    <a:off x="3613" y="3643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29" y="18"/>
                      </a:cxn>
                      <a:cxn ang="0">
                        <a:pos x="23" y="10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6"/>
                      </a:cxn>
                      <a:cxn ang="0">
                        <a:pos x="8" y="11"/>
                      </a:cxn>
                      <a:cxn ang="0">
                        <a:pos x="9" y="12"/>
                      </a:cxn>
                      <a:cxn ang="0">
                        <a:pos x="14" y="17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29" h="23">
                        <a:moveTo>
                          <a:pt x="29" y="18"/>
                        </a:moveTo>
                        <a:lnTo>
                          <a:pt x="29" y="18"/>
                        </a:lnTo>
                        <a:lnTo>
                          <a:pt x="23" y="10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6"/>
                        </a:lnTo>
                        <a:lnTo>
                          <a:pt x="8" y="11"/>
                        </a:lnTo>
                        <a:lnTo>
                          <a:pt x="9" y="12"/>
                        </a:lnTo>
                        <a:lnTo>
                          <a:pt x="14" y="17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1" name="Freeform 1108"/>
                  <p:cNvSpPr>
                    <a:spLocks/>
                  </p:cNvSpPr>
                  <p:nvPr/>
                </p:nvSpPr>
                <p:spPr bwMode="auto">
                  <a:xfrm rot="-5400000">
                    <a:off x="3620" y="3641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5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2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5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2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2" name="Freeform 1109"/>
                  <p:cNvSpPr>
                    <a:spLocks/>
                  </p:cNvSpPr>
                  <p:nvPr/>
                </p:nvSpPr>
                <p:spPr bwMode="auto">
                  <a:xfrm rot="-5400000">
                    <a:off x="3622" y="3661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3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10" y="2"/>
                      </a:cxn>
                      <a:cxn ang="0">
                        <a:pos x="10" y="3"/>
                      </a:cxn>
                      <a:cxn ang="0">
                        <a:pos x="10" y="2"/>
                      </a:cxn>
                      <a:cxn ang="0">
                        <a:pos x="5" y="0"/>
                      </a:cxn>
                      <a:cxn ang="0">
                        <a:pos x="2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3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0" y="2"/>
                        </a:lnTo>
                        <a:lnTo>
                          <a:pt x="5" y="0"/>
                        </a:lnTo>
                        <a:lnTo>
                          <a:pt x="2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3" name="Freeform 1110"/>
                  <p:cNvSpPr>
                    <a:spLocks/>
                  </p:cNvSpPr>
                  <p:nvPr/>
                </p:nvSpPr>
                <p:spPr bwMode="auto">
                  <a:xfrm rot="-5400000">
                    <a:off x="3561" y="3625"/>
                    <a:ext cx="48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6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3" y="49"/>
                      </a:cxn>
                      <a:cxn ang="0">
                        <a:pos x="143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6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3" y="49"/>
                        </a:lnTo>
                        <a:lnTo>
                          <a:pt x="143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4" name="Freeform 1111"/>
                  <p:cNvSpPr>
                    <a:spLocks/>
                  </p:cNvSpPr>
                  <p:nvPr/>
                </p:nvSpPr>
                <p:spPr bwMode="auto">
                  <a:xfrm rot="-5400000">
                    <a:off x="3556" y="3642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3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3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5" name="Freeform 1112"/>
                  <p:cNvSpPr>
                    <a:spLocks/>
                  </p:cNvSpPr>
                  <p:nvPr/>
                </p:nvSpPr>
                <p:spPr bwMode="auto">
                  <a:xfrm rot="-5400000">
                    <a:off x="3557" y="3647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8" y="13"/>
                      </a:cxn>
                      <a:cxn ang="0">
                        <a:pos x="14" y="13"/>
                      </a:cxn>
                      <a:cxn ang="0">
                        <a:pos x="23" y="11"/>
                      </a:cxn>
                      <a:cxn ang="0">
                        <a:pos x="20" y="0"/>
                      </a:cxn>
                      <a:cxn ang="0">
                        <a:pos x="14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4" y="1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3" h="13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8" y="13"/>
                        </a:lnTo>
                        <a:lnTo>
                          <a:pt x="14" y="13"/>
                        </a:lnTo>
                        <a:lnTo>
                          <a:pt x="23" y="11"/>
                        </a:lnTo>
                        <a:lnTo>
                          <a:pt x="20" y="0"/>
                        </a:lnTo>
                        <a:lnTo>
                          <a:pt x="14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4" y="1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6" name="Freeform 1113"/>
                  <p:cNvSpPr>
                    <a:spLocks/>
                  </p:cNvSpPr>
                  <p:nvPr/>
                </p:nvSpPr>
                <p:spPr bwMode="auto">
                  <a:xfrm rot="-5400000">
                    <a:off x="3549" y="3657"/>
                    <a:ext cx="21" cy="9"/>
                  </a:xfrm>
                  <a:custGeom>
                    <a:avLst/>
                    <a:gdLst/>
                    <a:ahLst/>
                    <a:cxnLst>
                      <a:cxn ang="0">
                        <a:pos x="11" y="23"/>
                      </a:cxn>
                      <a:cxn ang="0">
                        <a:pos x="11" y="23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8" y="16"/>
                      </a:cxn>
                      <a:cxn ang="0">
                        <a:pos x="22" y="13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5"/>
                      </a:cxn>
                      <a:cxn ang="0">
                        <a:pos x="57" y="20"/>
                      </a:cxn>
                      <a:cxn ang="0">
                        <a:pos x="64" y="11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8" y="2"/>
                      </a:cxn>
                      <a:cxn ang="0">
                        <a:pos x="11" y="7"/>
                      </a:cxn>
                      <a:cxn ang="0">
                        <a:pos x="6" y="11"/>
                      </a:cxn>
                      <a:cxn ang="0">
                        <a:pos x="3" y="15"/>
                      </a:cxn>
                      <a:cxn ang="0">
                        <a:pos x="2" y="16"/>
                      </a:cxn>
                      <a:cxn ang="0">
                        <a:pos x="2" y="16"/>
                      </a:cxn>
                      <a:cxn ang="0">
                        <a:pos x="2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5"/>
                      </a:cxn>
                      <a:cxn ang="0">
                        <a:pos x="11" y="23"/>
                      </a:cxn>
                    </a:cxnLst>
                    <a:rect l="0" t="0" r="r" b="b"/>
                    <a:pathLst>
                      <a:path w="64" h="25">
                        <a:moveTo>
                          <a:pt x="11" y="23"/>
                        </a:moveTo>
                        <a:lnTo>
                          <a:pt x="11" y="23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8" y="16"/>
                        </a:lnTo>
                        <a:lnTo>
                          <a:pt x="22" y="13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5"/>
                        </a:lnTo>
                        <a:lnTo>
                          <a:pt x="57" y="20"/>
                        </a:lnTo>
                        <a:lnTo>
                          <a:pt x="64" y="11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8" y="2"/>
                        </a:lnTo>
                        <a:lnTo>
                          <a:pt x="11" y="7"/>
                        </a:lnTo>
                        <a:lnTo>
                          <a:pt x="6" y="11"/>
                        </a:lnTo>
                        <a:lnTo>
                          <a:pt x="3" y="15"/>
                        </a:lnTo>
                        <a:lnTo>
                          <a:pt x="2" y="16"/>
                        </a:lnTo>
                        <a:lnTo>
                          <a:pt x="2" y="16"/>
                        </a:lnTo>
                        <a:lnTo>
                          <a:pt x="2" y="16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5"/>
                        </a:lnTo>
                        <a:lnTo>
                          <a:pt x="1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7" name="Freeform 1114"/>
                  <p:cNvSpPr>
                    <a:spLocks/>
                  </p:cNvSpPr>
                  <p:nvPr/>
                </p:nvSpPr>
                <p:spPr bwMode="auto">
                  <a:xfrm rot="-5400000">
                    <a:off x="3570" y="365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8" name="Freeform 1115"/>
                  <p:cNvSpPr>
                    <a:spLocks/>
                  </p:cNvSpPr>
                  <p:nvPr/>
                </p:nvSpPr>
                <p:spPr bwMode="auto">
                  <a:xfrm rot="-5400000">
                    <a:off x="3596" y="3667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9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7" y="28"/>
                      </a:cxn>
                      <a:cxn ang="0">
                        <a:pos x="11" y="42"/>
                      </a:cxn>
                      <a:cxn ang="0">
                        <a:pos x="16" y="58"/>
                      </a:cxn>
                      <a:cxn ang="0">
                        <a:pos x="18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8" h="58">
                        <a:moveTo>
                          <a:pt x="27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9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7" y="28"/>
                        </a:lnTo>
                        <a:lnTo>
                          <a:pt x="11" y="42"/>
                        </a:lnTo>
                        <a:lnTo>
                          <a:pt x="16" y="58"/>
                        </a:lnTo>
                        <a:lnTo>
                          <a:pt x="18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69" name="Freeform 1116"/>
                  <p:cNvSpPr>
                    <a:spLocks/>
                  </p:cNvSpPr>
                  <p:nvPr/>
                </p:nvSpPr>
                <p:spPr bwMode="auto">
                  <a:xfrm rot="-5400000">
                    <a:off x="3610" y="3662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5" y="22"/>
                      </a:cxn>
                      <a:cxn ang="0">
                        <a:pos x="19" y="14"/>
                      </a:cxn>
                      <a:cxn ang="0">
                        <a:pos x="13" y="5"/>
                      </a:cxn>
                      <a:cxn ang="0">
                        <a:pos x="9" y="0"/>
                      </a:cxn>
                      <a:cxn ang="0">
                        <a:pos x="0" y="4"/>
                      </a:cxn>
                      <a:cxn ang="0">
                        <a:pos x="4" y="12"/>
                      </a:cxn>
                      <a:cxn ang="0">
                        <a:pos x="10" y="20"/>
                      </a:cxn>
                      <a:cxn ang="0">
                        <a:pos x="16" y="28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8" y="38"/>
                      </a:cxn>
                      <a:cxn ang="0">
                        <a:pos x="32" y="35"/>
                      </a:cxn>
                      <a:cxn ang="0">
                        <a:pos x="33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3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5" y="22"/>
                        </a:lnTo>
                        <a:lnTo>
                          <a:pt x="19" y="14"/>
                        </a:lnTo>
                        <a:lnTo>
                          <a:pt x="13" y="5"/>
                        </a:lnTo>
                        <a:lnTo>
                          <a:pt x="9" y="0"/>
                        </a:lnTo>
                        <a:lnTo>
                          <a:pt x="0" y="4"/>
                        </a:lnTo>
                        <a:lnTo>
                          <a:pt x="4" y="12"/>
                        </a:lnTo>
                        <a:lnTo>
                          <a:pt x="10" y="20"/>
                        </a:lnTo>
                        <a:lnTo>
                          <a:pt x="16" y="28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8" y="38"/>
                        </a:lnTo>
                        <a:lnTo>
                          <a:pt x="32" y="35"/>
                        </a:lnTo>
                        <a:lnTo>
                          <a:pt x="33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0" name="Freeform 1117"/>
                  <p:cNvSpPr>
                    <a:spLocks/>
                  </p:cNvSpPr>
                  <p:nvPr/>
                </p:nvSpPr>
                <p:spPr bwMode="auto">
                  <a:xfrm rot="-5400000">
                    <a:off x="3565" y="3567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20" y="230"/>
                      </a:cxn>
                      <a:cxn ang="0">
                        <a:pos x="122" y="220"/>
                      </a:cxn>
                      <a:cxn ang="0">
                        <a:pos x="126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9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9" y="83"/>
                      </a:cxn>
                      <a:cxn ang="0">
                        <a:pos x="41" y="131"/>
                      </a:cxn>
                      <a:cxn ang="0">
                        <a:pos x="45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4" y="238"/>
                        </a:lnTo>
                        <a:lnTo>
                          <a:pt x="111" y="238"/>
                        </a:lnTo>
                        <a:lnTo>
                          <a:pt x="117" y="235"/>
                        </a:lnTo>
                        <a:lnTo>
                          <a:pt x="120" y="230"/>
                        </a:lnTo>
                        <a:lnTo>
                          <a:pt x="121" y="226"/>
                        </a:lnTo>
                        <a:lnTo>
                          <a:pt x="122" y="220"/>
                        </a:lnTo>
                        <a:lnTo>
                          <a:pt x="124" y="215"/>
                        </a:lnTo>
                        <a:lnTo>
                          <a:pt x="126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4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9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8" y="196"/>
                        </a:lnTo>
                        <a:lnTo>
                          <a:pt x="6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7" y="51"/>
                        </a:lnTo>
                        <a:lnTo>
                          <a:pt x="129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9" y="83"/>
                        </a:lnTo>
                        <a:lnTo>
                          <a:pt x="42" y="111"/>
                        </a:lnTo>
                        <a:lnTo>
                          <a:pt x="41" y="131"/>
                        </a:lnTo>
                        <a:lnTo>
                          <a:pt x="42" y="142"/>
                        </a:lnTo>
                        <a:lnTo>
                          <a:pt x="45" y="156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1" name="Freeform 1118"/>
                  <p:cNvSpPr>
                    <a:spLocks/>
                  </p:cNvSpPr>
                  <p:nvPr/>
                </p:nvSpPr>
                <p:spPr bwMode="auto">
                  <a:xfrm rot="-5400000">
                    <a:off x="3611" y="3596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4"/>
                      </a:cxn>
                      <a:cxn ang="0">
                        <a:pos x="38" y="10"/>
                      </a:cxn>
                      <a:cxn ang="0">
                        <a:pos x="38" y="13"/>
                      </a:cxn>
                      <a:cxn ang="0">
                        <a:pos x="36" y="15"/>
                      </a:cxn>
                      <a:cxn ang="0">
                        <a:pos x="33" y="18"/>
                      </a:cxn>
                      <a:cxn ang="0">
                        <a:pos x="28" y="18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6" y="29"/>
                      </a:cxn>
                      <a:cxn ang="0">
                        <a:pos x="35" y="29"/>
                      </a:cxn>
                      <a:cxn ang="0">
                        <a:pos x="43" y="25"/>
                      </a:cxn>
                      <a:cxn ang="0">
                        <a:pos x="48" y="18"/>
                      </a:cxn>
                      <a:cxn ang="0">
                        <a:pos x="50" y="12"/>
                      </a:cxn>
                      <a:cxn ang="0">
                        <a:pos x="51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2" h="29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4"/>
                        </a:lnTo>
                        <a:lnTo>
                          <a:pt x="38" y="10"/>
                        </a:lnTo>
                        <a:lnTo>
                          <a:pt x="38" y="13"/>
                        </a:lnTo>
                        <a:lnTo>
                          <a:pt x="36" y="15"/>
                        </a:lnTo>
                        <a:lnTo>
                          <a:pt x="33" y="18"/>
                        </a:lnTo>
                        <a:lnTo>
                          <a:pt x="28" y="18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6" y="29"/>
                        </a:lnTo>
                        <a:lnTo>
                          <a:pt x="35" y="29"/>
                        </a:lnTo>
                        <a:lnTo>
                          <a:pt x="43" y="25"/>
                        </a:lnTo>
                        <a:lnTo>
                          <a:pt x="48" y="18"/>
                        </a:lnTo>
                        <a:lnTo>
                          <a:pt x="50" y="12"/>
                        </a:lnTo>
                        <a:lnTo>
                          <a:pt x="51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2" name="Freeform 1119"/>
                  <p:cNvSpPr>
                    <a:spLocks/>
                  </p:cNvSpPr>
                  <p:nvPr/>
                </p:nvSpPr>
                <p:spPr bwMode="auto">
                  <a:xfrm rot="-5400000">
                    <a:off x="3613" y="3586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29" y="18"/>
                      </a:cxn>
                      <a:cxn ang="0">
                        <a:pos x="23" y="10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6"/>
                      </a:cxn>
                      <a:cxn ang="0">
                        <a:pos x="8" y="11"/>
                      </a:cxn>
                      <a:cxn ang="0">
                        <a:pos x="9" y="12"/>
                      </a:cxn>
                      <a:cxn ang="0">
                        <a:pos x="14" y="17"/>
                      </a:cxn>
                      <a:cxn ang="0">
                        <a:pos x="19" y="23"/>
                      </a:cxn>
                      <a:cxn ang="0">
                        <a:pos x="19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29" h="23">
                        <a:moveTo>
                          <a:pt x="29" y="18"/>
                        </a:moveTo>
                        <a:lnTo>
                          <a:pt x="29" y="18"/>
                        </a:lnTo>
                        <a:lnTo>
                          <a:pt x="23" y="10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6"/>
                        </a:lnTo>
                        <a:lnTo>
                          <a:pt x="8" y="11"/>
                        </a:lnTo>
                        <a:lnTo>
                          <a:pt x="9" y="12"/>
                        </a:lnTo>
                        <a:lnTo>
                          <a:pt x="14" y="17"/>
                        </a:lnTo>
                        <a:lnTo>
                          <a:pt x="19" y="23"/>
                        </a:lnTo>
                        <a:lnTo>
                          <a:pt x="19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3" name="Freeform 1120"/>
                  <p:cNvSpPr>
                    <a:spLocks/>
                  </p:cNvSpPr>
                  <p:nvPr/>
                </p:nvSpPr>
                <p:spPr bwMode="auto">
                  <a:xfrm rot="-5400000">
                    <a:off x="3620" y="3586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4" y="5"/>
                      </a:cxn>
                      <a:cxn ang="0">
                        <a:pos x="36" y="9"/>
                      </a:cxn>
                      <a:cxn ang="0">
                        <a:pos x="34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4" y="5"/>
                        </a:lnTo>
                        <a:lnTo>
                          <a:pt x="36" y="9"/>
                        </a:lnTo>
                        <a:lnTo>
                          <a:pt x="34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4" name="Freeform 1121"/>
                  <p:cNvSpPr>
                    <a:spLocks/>
                  </p:cNvSpPr>
                  <p:nvPr/>
                </p:nvSpPr>
                <p:spPr bwMode="auto">
                  <a:xfrm rot="-5400000">
                    <a:off x="3623" y="3604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0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9" y="2"/>
                      </a:cxn>
                      <a:cxn ang="0">
                        <a:pos x="9" y="3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2" y="11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52" h="30">
                        <a:moveTo>
                          <a:pt x="2" y="10"/>
                        </a:moveTo>
                        <a:lnTo>
                          <a:pt x="2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0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9" y="2"/>
                        </a:lnTo>
                        <a:lnTo>
                          <a:pt x="9" y="3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2" y="11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5" name="Freeform 1122"/>
                  <p:cNvSpPr>
                    <a:spLocks/>
                  </p:cNvSpPr>
                  <p:nvPr/>
                </p:nvSpPr>
                <p:spPr bwMode="auto">
                  <a:xfrm rot="-5400000">
                    <a:off x="3560" y="3568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59" y="261"/>
                      </a:cxn>
                      <a:cxn ang="0">
                        <a:pos x="66" y="254"/>
                      </a:cxn>
                      <a:cxn ang="0">
                        <a:pos x="43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59" y="261"/>
                        </a:lnTo>
                        <a:lnTo>
                          <a:pt x="66" y="254"/>
                        </a:lnTo>
                        <a:lnTo>
                          <a:pt x="43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6" name="Freeform 1123"/>
                  <p:cNvSpPr>
                    <a:spLocks/>
                  </p:cNvSpPr>
                  <p:nvPr/>
                </p:nvSpPr>
                <p:spPr bwMode="auto">
                  <a:xfrm rot="-5400000">
                    <a:off x="3556" y="3587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7" name="Freeform 1124"/>
                  <p:cNvSpPr>
                    <a:spLocks/>
                  </p:cNvSpPr>
                  <p:nvPr/>
                </p:nvSpPr>
                <p:spPr bwMode="auto">
                  <a:xfrm rot="-5400000">
                    <a:off x="3556" y="3592"/>
                    <a:ext cx="9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1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6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1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6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8" name="Freeform 1125"/>
                  <p:cNvSpPr>
                    <a:spLocks/>
                  </p:cNvSpPr>
                  <p:nvPr/>
                </p:nvSpPr>
                <p:spPr bwMode="auto">
                  <a:xfrm rot="-5400000">
                    <a:off x="3549" y="3600"/>
                    <a:ext cx="21" cy="9"/>
                  </a:xfrm>
                  <a:custGeom>
                    <a:avLst/>
                    <a:gdLst/>
                    <a:ahLst/>
                    <a:cxnLst>
                      <a:cxn ang="0">
                        <a:pos x="11" y="23"/>
                      </a:cxn>
                      <a:cxn ang="0">
                        <a:pos x="11" y="23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7" y="16"/>
                      </a:cxn>
                      <a:cxn ang="0">
                        <a:pos x="22" y="13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5"/>
                      </a:cxn>
                      <a:cxn ang="0">
                        <a:pos x="57" y="20"/>
                      </a:cxn>
                      <a:cxn ang="0">
                        <a:pos x="64" y="11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7" y="2"/>
                      </a:cxn>
                      <a:cxn ang="0">
                        <a:pos x="11" y="7"/>
                      </a:cxn>
                      <a:cxn ang="0">
                        <a:pos x="6" y="11"/>
                      </a:cxn>
                      <a:cxn ang="0">
                        <a:pos x="3" y="15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5"/>
                      </a:cxn>
                      <a:cxn ang="0">
                        <a:pos x="11" y="23"/>
                      </a:cxn>
                    </a:cxnLst>
                    <a:rect l="0" t="0" r="r" b="b"/>
                    <a:pathLst>
                      <a:path w="64" h="25">
                        <a:moveTo>
                          <a:pt x="11" y="23"/>
                        </a:moveTo>
                        <a:lnTo>
                          <a:pt x="11" y="23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7" y="16"/>
                        </a:lnTo>
                        <a:lnTo>
                          <a:pt x="22" y="13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5"/>
                        </a:lnTo>
                        <a:lnTo>
                          <a:pt x="57" y="20"/>
                        </a:lnTo>
                        <a:lnTo>
                          <a:pt x="64" y="11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7" y="2"/>
                        </a:lnTo>
                        <a:lnTo>
                          <a:pt x="11" y="7"/>
                        </a:lnTo>
                        <a:lnTo>
                          <a:pt x="6" y="11"/>
                        </a:lnTo>
                        <a:lnTo>
                          <a:pt x="3" y="15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5"/>
                        </a:lnTo>
                        <a:lnTo>
                          <a:pt x="1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79" name="Freeform 1126"/>
                  <p:cNvSpPr>
                    <a:spLocks/>
                  </p:cNvSpPr>
                  <p:nvPr/>
                </p:nvSpPr>
                <p:spPr bwMode="auto">
                  <a:xfrm rot="-5400000">
                    <a:off x="3570" y="3602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1" y="80"/>
                      </a:cxn>
                      <a:cxn ang="0">
                        <a:pos x="13" y="60"/>
                      </a:cxn>
                      <a:cxn ang="0">
                        <a:pos x="19" y="34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1" y="80"/>
                        </a:lnTo>
                        <a:lnTo>
                          <a:pt x="13" y="60"/>
                        </a:lnTo>
                        <a:lnTo>
                          <a:pt x="19" y="34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0" name="Freeform 1127"/>
                  <p:cNvSpPr>
                    <a:spLocks/>
                  </p:cNvSpPr>
                  <p:nvPr/>
                </p:nvSpPr>
                <p:spPr bwMode="auto">
                  <a:xfrm rot="-5400000">
                    <a:off x="3595" y="3609"/>
                    <a:ext cx="10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8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3" y="16"/>
                      </a:cxn>
                      <a:cxn ang="0">
                        <a:pos x="7" y="28"/>
                      </a:cxn>
                      <a:cxn ang="0">
                        <a:pos x="10" y="42"/>
                      </a:cxn>
                      <a:cxn ang="0">
                        <a:pos x="16" y="58"/>
                      </a:cxn>
                      <a:cxn ang="0">
                        <a:pos x="17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8" h="58">
                        <a:moveTo>
                          <a:pt x="27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8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3" y="16"/>
                        </a:lnTo>
                        <a:lnTo>
                          <a:pt x="7" y="28"/>
                        </a:lnTo>
                        <a:lnTo>
                          <a:pt x="10" y="42"/>
                        </a:lnTo>
                        <a:lnTo>
                          <a:pt x="16" y="58"/>
                        </a:lnTo>
                        <a:lnTo>
                          <a:pt x="17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1" name="Freeform 1128"/>
                  <p:cNvSpPr>
                    <a:spLocks/>
                  </p:cNvSpPr>
                  <p:nvPr/>
                </p:nvSpPr>
                <p:spPr bwMode="auto">
                  <a:xfrm rot="-5400000">
                    <a:off x="3610" y="3605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6" y="28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6" y="28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2" name="Freeform 1129"/>
                  <p:cNvSpPr>
                    <a:spLocks/>
                  </p:cNvSpPr>
                  <p:nvPr/>
                </p:nvSpPr>
                <p:spPr bwMode="auto">
                  <a:xfrm rot="-5400000">
                    <a:off x="3566" y="3505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1" y="238"/>
                      </a:cxn>
                      <a:cxn ang="0">
                        <a:pos x="120" y="231"/>
                      </a:cxn>
                      <a:cxn ang="0">
                        <a:pos x="122" y="220"/>
                      </a:cxn>
                      <a:cxn ang="0">
                        <a:pos x="126" y="215"/>
                      </a:cxn>
                      <a:cxn ang="0">
                        <a:pos x="136" y="222"/>
                      </a:cxn>
                      <a:cxn ang="0">
                        <a:pos x="144" y="235"/>
                      </a:cxn>
                      <a:cxn ang="0">
                        <a:pos x="141" y="250"/>
                      </a:cxn>
                      <a:cxn ang="0">
                        <a:pos x="132" y="263"/>
                      </a:cxn>
                      <a:cxn ang="0">
                        <a:pos x="114" y="270"/>
                      </a:cxn>
                      <a:cxn ang="0">
                        <a:pos x="94" y="268"/>
                      </a:cxn>
                      <a:cxn ang="0">
                        <a:pos x="75" y="261"/>
                      </a:cxn>
                      <a:cxn ang="0">
                        <a:pos x="65" y="255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8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0"/>
                      </a:cxn>
                      <a:cxn ang="0">
                        <a:pos x="129" y="20"/>
                      </a:cxn>
                      <a:cxn ang="0">
                        <a:pos x="142" y="43"/>
                      </a:cxn>
                      <a:cxn ang="0">
                        <a:pos x="140" y="50"/>
                      </a:cxn>
                      <a:cxn ang="0">
                        <a:pos x="129" y="52"/>
                      </a:cxn>
                      <a:cxn ang="0">
                        <a:pos x="121" y="51"/>
                      </a:cxn>
                      <a:cxn ang="0">
                        <a:pos x="107" y="43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5" y="155"/>
                      </a:cxn>
                      <a:cxn ang="0">
                        <a:pos x="52" y="181"/>
                      </a:cxn>
                      <a:cxn ang="0">
                        <a:pos x="62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0">
                        <a:moveTo>
                          <a:pt x="81" y="226"/>
                        </a:moveTo>
                        <a:lnTo>
                          <a:pt x="94" y="234"/>
                        </a:lnTo>
                        <a:lnTo>
                          <a:pt x="104" y="238"/>
                        </a:lnTo>
                        <a:lnTo>
                          <a:pt x="111" y="238"/>
                        </a:lnTo>
                        <a:lnTo>
                          <a:pt x="117" y="235"/>
                        </a:lnTo>
                        <a:lnTo>
                          <a:pt x="120" y="231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3" y="216"/>
                        </a:lnTo>
                        <a:lnTo>
                          <a:pt x="126" y="215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5"/>
                        </a:lnTo>
                        <a:lnTo>
                          <a:pt x="143" y="244"/>
                        </a:lnTo>
                        <a:lnTo>
                          <a:pt x="141" y="250"/>
                        </a:lnTo>
                        <a:lnTo>
                          <a:pt x="137" y="257"/>
                        </a:lnTo>
                        <a:lnTo>
                          <a:pt x="132" y="263"/>
                        </a:lnTo>
                        <a:lnTo>
                          <a:pt x="123" y="268"/>
                        </a:lnTo>
                        <a:lnTo>
                          <a:pt x="114" y="270"/>
                        </a:lnTo>
                        <a:lnTo>
                          <a:pt x="104" y="270"/>
                        </a:lnTo>
                        <a:lnTo>
                          <a:pt x="94" y="268"/>
                        </a:lnTo>
                        <a:lnTo>
                          <a:pt x="83" y="264"/>
                        </a:lnTo>
                        <a:lnTo>
                          <a:pt x="75" y="261"/>
                        </a:lnTo>
                        <a:lnTo>
                          <a:pt x="69" y="259"/>
                        </a:lnTo>
                        <a:lnTo>
                          <a:pt x="65" y="255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0"/>
                        </a:lnTo>
                        <a:lnTo>
                          <a:pt x="34" y="223"/>
                        </a:lnTo>
                        <a:lnTo>
                          <a:pt x="17" y="195"/>
                        </a:lnTo>
                        <a:lnTo>
                          <a:pt x="6" y="168"/>
                        </a:lnTo>
                        <a:lnTo>
                          <a:pt x="1" y="140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4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0"/>
                        </a:lnTo>
                        <a:lnTo>
                          <a:pt x="114" y="7"/>
                        </a:lnTo>
                        <a:lnTo>
                          <a:pt x="129" y="20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1" y="47"/>
                        </a:lnTo>
                        <a:lnTo>
                          <a:pt x="140" y="50"/>
                        </a:lnTo>
                        <a:lnTo>
                          <a:pt x="138" y="51"/>
                        </a:lnTo>
                        <a:lnTo>
                          <a:pt x="129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3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2"/>
                        </a:lnTo>
                        <a:lnTo>
                          <a:pt x="74" y="45"/>
                        </a:lnTo>
                        <a:lnTo>
                          <a:pt x="69" y="49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10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5" y="155"/>
                        </a:lnTo>
                        <a:lnTo>
                          <a:pt x="49" y="168"/>
                        </a:lnTo>
                        <a:lnTo>
                          <a:pt x="52" y="181"/>
                        </a:lnTo>
                        <a:lnTo>
                          <a:pt x="58" y="196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6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3" name="Freeform 1130"/>
                  <p:cNvSpPr>
                    <a:spLocks/>
                  </p:cNvSpPr>
                  <p:nvPr/>
                </p:nvSpPr>
                <p:spPr bwMode="auto">
                  <a:xfrm rot="-5400000">
                    <a:off x="3613" y="3535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3"/>
                      </a:cxn>
                      <a:cxn ang="0">
                        <a:pos x="38" y="8"/>
                      </a:cxn>
                      <a:cxn ang="0">
                        <a:pos x="37" y="13"/>
                      </a:cxn>
                      <a:cxn ang="0">
                        <a:pos x="36" y="15"/>
                      </a:cxn>
                      <a:cxn ang="0">
                        <a:pos x="34" y="16"/>
                      </a:cxn>
                      <a:cxn ang="0">
                        <a:pos x="28" y="16"/>
                      </a:cxn>
                      <a:cxn ang="0">
                        <a:pos x="19" y="14"/>
                      </a:cxn>
                      <a:cxn ang="0">
                        <a:pos x="7" y="6"/>
                      </a:cxn>
                      <a:cxn ang="0">
                        <a:pos x="0" y="15"/>
                      </a:cxn>
                      <a:cxn ang="0">
                        <a:pos x="14" y="23"/>
                      </a:cxn>
                      <a:cxn ang="0">
                        <a:pos x="26" y="28"/>
                      </a:cxn>
                      <a:cxn ang="0">
                        <a:pos x="34" y="28"/>
                      </a:cxn>
                      <a:cxn ang="0">
                        <a:pos x="43" y="24"/>
                      </a:cxn>
                      <a:cxn ang="0">
                        <a:pos x="49" y="17"/>
                      </a:cxn>
                      <a:cxn ang="0">
                        <a:pos x="50" y="10"/>
                      </a:cxn>
                      <a:cxn ang="0">
                        <a:pos x="51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2" h="28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3"/>
                        </a:lnTo>
                        <a:lnTo>
                          <a:pt x="38" y="8"/>
                        </a:lnTo>
                        <a:lnTo>
                          <a:pt x="37" y="13"/>
                        </a:lnTo>
                        <a:lnTo>
                          <a:pt x="36" y="15"/>
                        </a:lnTo>
                        <a:lnTo>
                          <a:pt x="34" y="16"/>
                        </a:lnTo>
                        <a:lnTo>
                          <a:pt x="28" y="16"/>
                        </a:lnTo>
                        <a:lnTo>
                          <a:pt x="19" y="14"/>
                        </a:lnTo>
                        <a:lnTo>
                          <a:pt x="7" y="6"/>
                        </a:lnTo>
                        <a:lnTo>
                          <a:pt x="0" y="15"/>
                        </a:lnTo>
                        <a:lnTo>
                          <a:pt x="14" y="23"/>
                        </a:lnTo>
                        <a:lnTo>
                          <a:pt x="26" y="28"/>
                        </a:lnTo>
                        <a:lnTo>
                          <a:pt x="34" y="28"/>
                        </a:lnTo>
                        <a:lnTo>
                          <a:pt x="43" y="24"/>
                        </a:lnTo>
                        <a:lnTo>
                          <a:pt x="49" y="17"/>
                        </a:lnTo>
                        <a:lnTo>
                          <a:pt x="50" y="10"/>
                        </a:lnTo>
                        <a:lnTo>
                          <a:pt x="51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4" name="Freeform 1131"/>
                  <p:cNvSpPr>
                    <a:spLocks/>
                  </p:cNvSpPr>
                  <p:nvPr/>
                </p:nvSpPr>
                <p:spPr bwMode="auto">
                  <a:xfrm rot="-5400000">
                    <a:off x="3614" y="3527"/>
                    <a:ext cx="9" cy="8"/>
                  </a:xfrm>
                  <a:custGeom>
                    <a:avLst/>
                    <a:gdLst/>
                    <a:ahLst/>
                    <a:cxnLst>
                      <a:cxn ang="0">
                        <a:pos x="29" y="17"/>
                      </a:cxn>
                      <a:cxn ang="0">
                        <a:pos x="29" y="17"/>
                      </a:cxn>
                      <a:cxn ang="0">
                        <a:pos x="22" y="9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1" y="7"/>
                      </a:cxn>
                      <a:cxn ang="0">
                        <a:pos x="8" y="11"/>
                      </a:cxn>
                      <a:cxn ang="0">
                        <a:pos x="9" y="13"/>
                      </a:cxn>
                      <a:cxn ang="0">
                        <a:pos x="15" y="16"/>
                      </a:cxn>
                      <a:cxn ang="0">
                        <a:pos x="19" y="22"/>
                      </a:cxn>
                      <a:cxn ang="0">
                        <a:pos x="19" y="22"/>
                      </a:cxn>
                      <a:cxn ang="0">
                        <a:pos x="29" y="17"/>
                      </a:cxn>
                    </a:cxnLst>
                    <a:rect l="0" t="0" r="r" b="b"/>
                    <a:pathLst>
                      <a:path w="29" h="22">
                        <a:moveTo>
                          <a:pt x="29" y="17"/>
                        </a:moveTo>
                        <a:lnTo>
                          <a:pt x="29" y="17"/>
                        </a:lnTo>
                        <a:lnTo>
                          <a:pt x="22" y="9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1" y="7"/>
                        </a:lnTo>
                        <a:lnTo>
                          <a:pt x="8" y="11"/>
                        </a:lnTo>
                        <a:lnTo>
                          <a:pt x="9" y="13"/>
                        </a:lnTo>
                        <a:lnTo>
                          <a:pt x="15" y="16"/>
                        </a:lnTo>
                        <a:lnTo>
                          <a:pt x="19" y="22"/>
                        </a:lnTo>
                        <a:lnTo>
                          <a:pt x="19" y="22"/>
                        </a:lnTo>
                        <a:lnTo>
                          <a:pt x="29" y="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5" name="Freeform 1132"/>
                  <p:cNvSpPr>
                    <a:spLocks/>
                  </p:cNvSpPr>
                  <p:nvPr/>
                </p:nvSpPr>
                <p:spPr bwMode="auto">
                  <a:xfrm rot="-5400000">
                    <a:off x="3621" y="3524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50"/>
                      </a:cxn>
                      <a:cxn ang="0">
                        <a:pos x="0" y="50"/>
                      </a:cxn>
                      <a:cxn ang="0">
                        <a:pos x="10" y="50"/>
                      </a:cxn>
                      <a:cxn ang="0">
                        <a:pos x="22" y="47"/>
                      </a:cxn>
                      <a:cxn ang="0">
                        <a:pos x="31" y="42"/>
                      </a:cxn>
                      <a:cxn ang="0">
                        <a:pos x="38" y="35"/>
                      </a:cxn>
                      <a:cxn ang="0">
                        <a:pos x="43" y="27"/>
                      </a:cxn>
                      <a:cxn ang="0">
                        <a:pos x="45" y="19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3" y="5"/>
                      </a:cxn>
                      <a:cxn ang="0">
                        <a:pos x="34" y="9"/>
                      </a:cxn>
                      <a:cxn ang="0">
                        <a:pos x="33" y="16"/>
                      </a:cxn>
                      <a:cxn ang="0">
                        <a:pos x="31" y="22"/>
                      </a:cxn>
                      <a:cxn ang="0">
                        <a:pos x="29" y="28"/>
                      </a:cxn>
                      <a:cxn ang="0">
                        <a:pos x="24" y="33"/>
                      </a:cxn>
                      <a:cxn ang="0">
                        <a:pos x="17" y="36"/>
                      </a:cxn>
                      <a:cxn ang="0">
                        <a:pos x="10" y="38"/>
                      </a:cxn>
                      <a:cxn ang="0">
                        <a:pos x="0" y="38"/>
                      </a:cxn>
                      <a:cxn ang="0">
                        <a:pos x="0" y="38"/>
                      </a:cxn>
                      <a:cxn ang="0">
                        <a:pos x="0" y="50"/>
                      </a:cxn>
                    </a:cxnLst>
                    <a:rect l="0" t="0" r="r" b="b"/>
                    <a:pathLst>
                      <a:path w="46" h="50">
                        <a:moveTo>
                          <a:pt x="0" y="50"/>
                        </a:moveTo>
                        <a:lnTo>
                          <a:pt x="0" y="50"/>
                        </a:lnTo>
                        <a:lnTo>
                          <a:pt x="10" y="50"/>
                        </a:lnTo>
                        <a:lnTo>
                          <a:pt x="22" y="47"/>
                        </a:lnTo>
                        <a:lnTo>
                          <a:pt x="31" y="42"/>
                        </a:lnTo>
                        <a:lnTo>
                          <a:pt x="38" y="35"/>
                        </a:lnTo>
                        <a:lnTo>
                          <a:pt x="43" y="27"/>
                        </a:lnTo>
                        <a:lnTo>
                          <a:pt x="45" y="19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3" y="5"/>
                        </a:lnTo>
                        <a:lnTo>
                          <a:pt x="34" y="9"/>
                        </a:lnTo>
                        <a:lnTo>
                          <a:pt x="33" y="16"/>
                        </a:lnTo>
                        <a:lnTo>
                          <a:pt x="31" y="22"/>
                        </a:lnTo>
                        <a:lnTo>
                          <a:pt x="29" y="28"/>
                        </a:lnTo>
                        <a:lnTo>
                          <a:pt x="24" y="33"/>
                        </a:lnTo>
                        <a:lnTo>
                          <a:pt x="17" y="36"/>
                        </a:lnTo>
                        <a:lnTo>
                          <a:pt x="10" y="38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5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6" name="Freeform 1133"/>
                  <p:cNvSpPr>
                    <a:spLocks/>
                  </p:cNvSpPr>
                  <p:nvPr/>
                </p:nvSpPr>
                <p:spPr bwMode="auto">
                  <a:xfrm rot="-5400000">
                    <a:off x="3624" y="354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4" y="10"/>
                      </a:cxn>
                      <a:cxn ang="0">
                        <a:pos x="6" y="12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30" y="25"/>
                      </a:cxn>
                      <a:cxn ang="0">
                        <a:pos x="40" y="28"/>
                      </a:cxn>
                      <a:cxn ang="0">
                        <a:pos x="52" y="31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5" y="5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4" y="10"/>
                        </a:lnTo>
                        <a:lnTo>
                          <a:pt x="6" y="12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30" y="25"/>
                        </a:lnTo>
                        <a:lnTo>
                          <a:pt x="40" y="28"/>
                        </a:lnTo>
                        <a:lnTo>
                          <a:pt x="52" y="31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5" y="5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5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7" name="Freeform 1134"/>
                  <p:cNvSpPr>
                    <a:spLocks/>
                  </p:cNvSpPr>
                  <p:nvPr/>
                </p:nvSpPr>
                <p:spPr bwMode="auto">
                  <a:xfrm rot="-5400000">
                    <a:off x="3561" y="3507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4" y="44"/>
                      </a:cxn>
                      <a:cxn ang="0">
                        <a:pos x="153" y="42"/>
                      </a:cxn>
                      <a:cxn ang="0">
                        <a:pos x="140" y="22"/>
                      </a:cxn>
                      <a:cxn ang="0">
                        <a:pos x="123" y="8"/>
                      </a:cxn>
                      <a:cxn ang="0">
                        <a:pos x="105" y="0"/>
                      </a:cxn>
                      <a:cxn ang="0">
                        <a:pos x="88" y="0"/>
                      </a:cxn>
                      <a:cxn ang="0">
                        <a:pos x="70" y="4"/>
                      </a:cxn>
                      <a:cxn ang="0">
                        <a:pos x="52" y="15"/>
                      </a:cxn>
                      <a:cxn ang="0">
                        <a:pos x="36" y="30"/>
                      </a:cxn>
                      <a:cxn ang="0">
                        <a:pos x="23" y="47"/>
                      </a:cxn>
                      <a:cxn ang="0">
                        <a:pos x="12" y="68"/>
                      </a:cxn>
                      <a:cxn ang="0">
                        <a:pos x="4" y="92"/>
                      </a:cxn>
                      <a:cxn ang="0">
                        <a:pos x="0" y="118"/>
                      </a:cxn>
                      <a:cxn ang="0">
                        <a:pos x="2" y="145"/>
                      </a:cxn>
                      <a:cxn ang="0">
                        <a:pos x="6" y="174"/>
                      </a:cxn>
                      <a:cxn ang="0">
                        <a:pos x="19" y="202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4"/>
                      </a:cxn>
                      <a:cxn ang="0">
                        <a:pos x="28" y="198"/>
                      </a:cxn>
                      <a:cxn ang="0">
                        <a:pos x="18" y="171"/>
                      </a:cxn>
                      <a:cxn ang="0">
                        <a:pos x="13" y="145"/>
                      </a:cxn>
                      <a:cxn ang="0">
                        <a:pos x="12" y="118"/>
                      </a:cxn>
                      <a:cxn ang="0">
                        <a:pos x="15" y="94"/>
                      </a:cxn>
                      <a:cxn ang="0">
                        <a:pos x="23" y="72"/>
                      </a:cxn>
                      <a:cxn ang="0">
                        <a:pos x="33" y="52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4" y="16"/>
                      </a:cxn>
                      <a:cxn ang="0">
                        <a:pos x="88" y="11"/>
                      </a:cxn>
                      <a:cxn ang="0">
                        <a:pos x="103" y="11"/>
                      </a:cxn>
                      <a:cxn ang="0">
                        <a:pos x="118" y="17"/>
                      </a:cxn>
                      <a:cxn ang="0">
                        <a:pos x="131" y="29"/>
                      </a:cxn>
                      <a:cxn ang="0">
                        <a:pos x="143" y="47"/>
                      </a:cxn>
                      <a:cxn ang="0">
                        <a:pos x="142" y="46"/>
                      </a:cxn>
                      <a:cxn ang="0">
                        <a:pos x="154" y="44"/>
                      </a:cxn>
                    </a:cxnLst>
                    <a:rect l="0" t="0" r="r" b="b"/>
                    <a:pathLst>
                      <a:path w="154" h="259">
                        <a:moveTo>
                          <a:pt x="154" y="44"/>
                        </a:moveTo>
                        <a:lnTo>
                          <a:pt x="153" y="42"/>
                        </a:lnTo>
                        <a:lnTo>
                          <a:pt x="140" y="22"/>
                        </a:lnTo>
                        <a:lnTo>
                          <a:pt x="123" y="8"/>
                        </a:lnTo>
                        <a:lnTo>
                          <a:pt x="105" y="0"/>
                        </a:lnTo>
                        <a:lnTo>
                          <a:pt x="88" y="0"/>
                        </a:lnTo>
                        <a:lnTo>
                          <a:pt x="70" y="4"/>
                        </a:lnTo>
                        <a:lnTo>
                          <a:pt x="52" y="15"/>
                        </a:lnTo>
                        <a:lnTo>
                          <a:pt x="36" y="30"/>
                        </a:lnTo>
                        <a:lnTo>
                          <a:pt x="23" y="47"/>
                        </a:lnTo>
                        <a:lnTo>
                          <a:pt x="12" y="68"/>
                        </a:lnTo>
                        <a:lnTo>
                          <a:pt x="4" y="92"/>
                        </a:lnTo>
                        <a:lnTo>
                          <a:pt x="0" y="118"/>
                        </a:lnTo>
                        <a:lnTo>
                          <a:pt x="2" y="145"/>
                        </a:lnTo>
                        <a:lnTo>
                          <a:pt x="6" y="174"/>
                        </a:lnTo>
                        <a:lnTo>
                          <a:pt x="19" y="202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4"/>
                        </a:lnTo>
                        <a:lnTo>
                          <a:pt x="28" y="198"/>
                        </a:lnTo>
                        <a:lnTo>
                          <a:pt x="18" y="171"/>
                        </a:lnTo>
                        <a:lnTo>
                          <a:pt x="13" y="145"/>
                        </a:lnTo>
                        <a:lnTo>
                          <a:pt x="12" y="118"/>
                        </a:lnTo>
                        <a:lnTo>
                          <a:pt x="15" y="94"/>
                        </a:lnTo>
                        <a:lnTo>
                          <a:pt x="23" y="72"/>
                        </a:lnTo>
                        <a:lnTo>
                          <a:pt x="33" y="52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4" y="16"/>
                        </a:lnTo>
                        <a:lnTo>
                          <a:pt x="88" y="11"/>
                        </a:lnTo>
                        <a:lnTo>
                          <a:pt x="103" y="11"/>
                        </a:lnTo>
                        <a:lnTo>
                          <a:pt x="118" y="17"/>
                        </a:lnTo>
                        <a:lnTo>
                          <a:pt x="131" y="29"/>
                        </a:lnTo>
                        <a:lnTo>
                          <a:pt x="143" y="47"/>
                        </a:lnTo>
                        <a:lnTo>
                          <a:pt x="142" y="46"/>
                        </a:lnTo>
                        <a:lnTo>
                          <a:pt x="154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8" name="Freeform 1135"/>
                  <p:cNvSpPr>
                    <a:spLocks/>
                  </p:cNvSpPr>
                  <p:nvPr/>
                </p:nvSpPr>
                <p:spPr bwMode="auto">
                  <a:xfrm rot="-5400000">
                    <a:off x="3558" y="3524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4" y="18"/>
                      </a:cxn>
                      <a:cxn ang="0">
                        <a:pos x="9" y="14"/>
                      </a:cxn>
                      <a:cxn ang="0">
                        <a:pos x="10" y="13"/>
                      </a:cxn>
                      <a:cxn ang="0">
                        <a:pos x="13" y="9"/>
                      </a:cxn>
                      <a:cxn ang="0">
                        <a:pos x="14" y="4"/>
                      </a:cxn>
                      <a:cxn ang="0">
                        <a:pos x="14" y="0"/>
                      </a:cxn>
                      <a:cxn ang="0">
                        <a:pos x="2" y="2"/>
                      </a:cxn>
                      <a:cxn ang="0">
                        <a:pos x="2" y="4"/>
                      </a:cxn>
                      <a:cxn ang="0">
                        <a:pos x="1" y="6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6"/>
                      </a:cxn>
                      <a:cxn ang="0">
                        <a:pos x="0" y="10"/>
                      </a:cxn>
                      <a:cxn ang="0">
                        <a:pos x="0" y="13"/>
                      </a:cxn>
                      <a:cxn ang="0">
                        <a:pos x="3" y="17"/>
                      </a:cxn>
                      <a:cxn ang="0">
                        <a:pos x="7" y="17"/>
                      </a:cxn>
                      <a:cxn ang="0">
                        <a:pos x="9" y="14"/>
                      </a:cxn>
                      <a:cxn ang="0">
                        <a:pos x="4" y="18"/>
                      </a:cxn>
                    </a:cxnLst>
                    <a:rect l="0" t="0" r="r" b="b"/>
                    <a:pathLst>
                      <a:path w="14" h="18">
                        <a:moveTo>
                          <a:pt x="4" y="18"/>
                        </a:moveTo>
                        <a:lnTo>
                          <a:pt x="9" y="14"/>
                        </a:lnTo>
                        <a:lnTo>
                          <a:pt x="10" y="13"/>
                        </a:lnTo>
                        <a:lnTo>
                          <a:pt x="13" y="9"/>
                        </a:lnTo>
                        <a:lnTo>
                          <a:pt x="14" y="4"/>
                        </a:lnTo>
                        <a:lnTo>
                          <a:pt x="14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1" y="6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6"/>
                        </a:lnTo>
                        <a:lnTo>
                          <a:pt x="0" y="10"/>
                        </a:lnTo>
                        <a:lnTo>
                          <a:pt x="0" y="13"/>
                        </a:lnTo>
                        <a:lnTo>
                          <a:pt x="3" y="17"/>
                        </a:lnTo>
                        <a:lnTo>
                          <a:pt x="7" y="17"/>
                        </a:lnTo>
                        <a:lnTo>
                          <a:pt x="9" y="14"/>
                        </a:lnTo>
                        <a:lnTo>
                          <a:pt x="4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89" name="Freeform 1136"/>
                  <p:cNvSpPr>
                    <a:spLocks/>
                  </p:cNvSpPr>
                  <p:nvPr/>
                </p:nvSpPr>
                <p:spPr bwMode="auto">
                  <a:xfrm rot="-5400000">
                    <a:off x="3559" y="3530"/>
                    <a:ext cx="7" cy="6"/>
                  </a:xfrm>
                  <a:custGeom>
                    <a:avLst/>
                    <a:gdLst/>
                    <a:ahLst/>
                    <a:cxnLst>
                      <a:cxn ang="0">
                        <a:pos x="3" y="11"/>
                      </a:cxn>
                      <a:cxn ang="0">
                        <a:pos x="3" y="11"/>
                      </a:cxn>
                      <a:cxn ang="0">
                        <a:pos x="6" y="12"/>
                      </a:cxn>
                      <a:cxn ang="0">
                        <a:pos x="9" y="13"/>
                      </a:cxn>
                      <a:cxn ang="0">
                        <a:pos x="15" y="13"/>
                      </a:cxn>
                      <a:cxn ang="0">
                        <a:pos x="24" y="12"/>
                      </a:cxn>
                      <a:cxn ang="0">
                        <a:pos x="24" y="0"/>
                      </a:cxn>
                      <a:cxn ang="0">
                        <a:pos x="15" y="2"/>
                      </a:cxn>
                      <a:cxn ang="0">
                        <a:pos x="9" y="2"/>
                      </a:cxn>
                      <a:cxn ang="0">
                        <a:pos x="8" y="0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</a:cxnLst>
                    <a:rect l="0" t="0" r="r" b="b"/>
                    <a:pathLst>
                      <a:path w="24" h="13">
                        <a:moveTo>
                          <a:pt x="3" y="11"/>
                        </a:moveTo>
                        <a:lnTo>
                          <a:pt x="3" y="11"/>
                        </a:lnTo>
                        <a:lnTo>
                          <a:pt x="6" y="12"/>
                        </a:lnTo>
                        <a:lnTo>
                          <a:pt x="9" y="13"/>
                        </a:lnTo>
                        <a:lnTo>
                          <a:pt x="15" y="13"/>
                        </a:lnTo>
                        <a:lnTo>
                          <a:pt x="24" y="12"/>
                        </a:lnTo>
                        <a:lnTo>
                          <a:pt x="24" y="0"/>
                        </a:lnTo>
                        <a:lnTo>
                          <a:pt x="15" y="2"/>
                        </a:lnTo>
                        <a:lnTo>
                          <a:pt x="9" y="2"/>
                        </a:lnTo>
                        <a:lnTo>
                          <a:pt x="8" y="0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0" name="Freeform 1137"/>
                  <p:cNvSpPr>
                    <a:spLocks/>
                  </p:cNvSpPr>
                  <p:nvPr/>
                </p:nvSpPr>
                <p:spPr bwMode="auto">
                  <a:xfrm rot="-5400000">
                    <a:off x="3550" y="3539"/>
                    <a:ext cx="21" cy="10"/>
                  </a:xfrm>
                  <a:custGeom>
                    <a:avLst/>
                    <a:gdLst/>
                    <a:ahLst/>
                    <a:cxnLst>
                      <a:cxn ang="0">
                        <a:pos x="10" y="23"/>
                      </a:cxn>
                      <a:cxn ang="0">
                        <a:pos x="10" y="23"/>
                      </a:cxn>
                      <a:cxn ang="0">
                        <a:pos x="12" y="22"/>
                      </a:cxn>
                      <a:cxn ang="0">
                        <a:pos x="13" y="18"/>
                      </a:cxn>
                      <a:cxn ang="0">
                        <a:pos x="17" y="16"/>
                      </a:cxn>
                      <a:cxn ang="0">
                        <a:pos x="22" y="14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4"/>
                      </a:cxn>
                      <a:cxn ang="0">
                        <a:pos x="57" y="22"/>
                      </a:cxn>
                      <a:cxn ang="0">
                        <a:pos x="63" y="13"/>
                      </a:cxn>
                      <a:cxn ang="0">
                        <a:pos x="50" y="5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7" y="2"/>
                      </a:cxn>
                      <a:cxn ang="0">
                        <a:pos x="10" y="7"/>
                      </a:cxn>
                      <a:cxn ang="0">
                        <a:pos x="6" y="11"/>
                      </a:cxn>
                      <a:cxn ang="0">
                        <a:pos x="2" y="15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0" y="21"/>
                      </a:cxn>
                      <a:cxn ang="0">
                        <a:pos x="2" y="24"/>
                      </a:cxn>
                      <a:cxn ang="0">
                        <a:pos x="7" y="25"/>
                      </a:cxn>
                      <a:cxn ang="0">
                        <a:pos x="10" y="23"/>
                      </a:cxn>
                    </a:cxnLst>
                    <a:rect l="0" t="0" r="r" b="b"/>
                    <a:pathLst>
                      <a:path w="63" h="25">
                        <a:moveTo>
                          <a:pt x="10" y="23"/>
                        </a:moveTo>
                        <a:lnTo>
                          <a:pt x="10" y="23"/>
                        </a:lnTo>
                        <a:lnTo>
                          <a:pt x="12" y="22"/>
                        </a:lnTo>
                        <a:lnTo>
                          <a:pt x="13" y="18"/>
                        </a:lnTo>
                        <a:lnTo>
                          <a:pt x="17" y="16"/>
                        </a:lnTo>
                        <a:lnTo>
                          <a:pt x="22" y="14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4"/>
                        </a:lnTo>
                        <a:lnTo>
                          <a:pt x="57" y="22"/>
                        </a:lnTo>
                        <a:lnTo>
                          <a:pt x="63" y="13"/>
                        </a:lnTo>
                        <a:lnTo>
                          <a:pt x="50" y="5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7" y="2"/>
                        </a:lnTo>
                        <a:lnTo>
                          <a:pt x="10" y="7"/>
                        </a:lnTo>
                        <a:lnTo>
                          <a:pt x="6" y="11"/>
                        </a:lnTo>
                        <a:lnTo>
                          <a:pt x="2" y="15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0" y="21"/>
                        </a:lnTo>
                        <a:lnTo>
                          <a:pt x="2" y="24"/>
                        </a:lnTo>
                        <a:lnTo>
                          <a:pt x="7" y="25"/>
                        </a:lnTo>
                        <a:lnTo>
                          <a:pt x="10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1" name="Freeform 1138"/>
                  <p:cNvSpPr>
                    <a:spLocks/>
                  </p:cNvSpPr>
                  <p:nvPr/>
                </p:nvSpPr>
                <p:spPr bwMode="auto">
                  <a:xfrm rot="-5400000">
                    <a:off x="3571" y="3541"/>
                    <a:ext cx="12" cy="30"/>
                  </a:xfrm>
                  <a:custGeom>
                    <a:avLst/>
                    <a:gdLst/>
                    <a:ahLst/>
                    <a:cxnLst>
                      <a:cxn ang="0">
                        <a:pos x="12" y="90"/>
                      </a:cxn>
                      <a:cxn ang="0">
                        <a:pos x="12" y="90"/>
                      </a:cxn>
                      <a:cxn ang="0">
                        <a:pos x="11" y="81"/>
                      </a:cxn>
                      <a:cxn ang="0">
                        <a:pos x="12" y="60"/>
                      </a:cxn>
                      <a:cxn ang="0">
                        <a:pos x="19" y="35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1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2" y="90"/>
                      </a:cxn>
                    </a:cxnLst>
                    <a:rect l="0" t="0" r="r" b="b"/>
                    <a:pathLst>
                      <a:path w="35" h="92">
                        <a:moveTo>
                          <a:pt x="12" y="90"/>
                        </a:moveTo>
                        <a:lnTo>
                          <a:pt x="12" y="90"/>
                        </a:lnTo>
                        <a:lnTo>
                          <a:pt x="11" y="81"/>
                        </a:lnTo>
                        <a:lnTo>
                          <a:pt x="12" y="60"/>
                        </a:lnTo>
                        <a:lnTo>
                          <a:pt x="19" y="35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1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2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2" name="Freeform 1139"/>
                  <p:cNvSpPr>
                    <a:spLocks/>
                  </p:cNvSpPr>
                  <p:nvPr/>
                </p:nvSpPr>
                <p:spPr bwMode="auto">
                  <a:xfrm rot="-5400000">
                    <a:off x="3597" y="3548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8" y="26"/>
                      </a:cxn>
                      <a:cxn ang="0">
                        <a:pos x="15" y="14"/>
                      </a:cxn>
                      <a:cxn ang="0">
                        <a:pos x="11" y="0"/>
                      </a:cxn>
                      <a:cxn ang="0">
                        <a:pos x="0" y="2"/>
                      </a:cxn>
                      <a:cxn ang="0">
                        <a:pos x="3" y="16"/>
                      </a:cxn>
                      <a:cxn ang="0">
                        <a:pos x="7" y="29"/>
                      </a:cxn>
                      <a:cxn ang="0">
                        <a:pos x="10" y="42"/>
                      </a:cxn>
                      <a:cxn ang="0">
                        <a:pos x="16" y="59"/>
                      </a:cxn>
                      <a:cxn ang="0">
                        <a:pos x="17" y="59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8" h="59">
                        <a:moveTo>
                          <a:pt x="26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8" y="26"/>
                        </a:lnTo>
                        <a:lnTo>
                          <a:pt x="15" y="14"/>
                        </a:lnTo>
                        <a:lnTo>
                          <a:pt x="11" y="0"/>
                        </a:lnTo>
                        <a:lnTo>
                          <a:pt x="0" y="2"/>
                        </a:lnTo>
                        <a:lnTo>
                          <a:pt x="3" y="16"/>
                        </a:lnTo>
                        <a:lnTo>
                          <a:pt x="7" y="29"/>
                        </a:lnTo>
                        <a:lnTo>
                          <a:pt x="10" y="42"/>
                        </a:lnTo>
                        <a:lnTo>
                          <a:pt x="16" y="59"/>
                        </a:lnTo>
                        <a:lnTo>
                          <a:pt x="17" y="59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3" name="Freeform 1140"/>
                  <p:cNvSpPr>
                    <a:spLocks/>
                  </p:cNvSpPr>
                  <p:nvPr/>
                </p:nvSpPr>
                <p:spPr bwMode="auto">
                  <a:xfrm rot="-5400000">
                    <a:off x="3611" y="3544"/>
                    <a:ext cx="10" cy="13"/>
                  </a:xfrm>
                  <a:custGeom>
                    <a:avLst/>
                    <a:gdLst/>
                    <a:ahLst/>
                    <a:cxnLst>
                      <a:cxn ang="0">
                        <a:pos x="31" y="28"/>
                      </a:cxn>
                      <a:cxn ang="0">
                        <a:pos x="31" y="28"/>
                      </a:cxn>
                      <a:cxn ang="0">
                        <a:pos x="26" y="23"/>
                      </a:cxn>
                      <a:cxn ang="0">
                        <a:pos x="20" y="15"/>
                      </a:cxn>
                      <a:cxn ang="0">
                        <a:pos x="14" y="8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5" y="13"/>
                      </a:cxn>
                      <a:cxn ang="0">
                        <a:pos x="11" y="22"/>
                      </a:cxn>
                      <a:cxn ang="0">
                        <a:pos x="16" y="30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9" y="38"/>
                      </a:cxn>
                      <a:cxn ang="0">
                        <a:pos x="32" y="36"/>
                      </a:cxn>
                      <a:cxn ang="0">
                        <a:pos x="34" y="31"/>
                      </a:cxn>
                      <a:cxn ang="0">
                        <a:pos x="31" y="28"/>
                      </a:cxn>
                    </a:cxnLst>
                    <a:rect l="0" t="0" r="r" b="b"/>
                    <a:pathLst>
                      <a:path w="34" h="38">
                        <a:moveTo>
                          <a:pt x="31" y="28"/>
                        </a:moveTo>
                        <a:lnTo>
                          <a:pt x="31" y="28"/>
                        </a:lnTo>
                        <a:lnTo>
                          <a:pt x="26" y="23"/>
                        </a:lnTo>
                        <a:lnTo>
                          <a:pt x="20" y="15"/>
                        </a:lnTo>
                        <a:lnTo>
                          <a:pt x="14" y="8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5" y="13"/>
                        </a:lnTo>
                        <a:lnTo>
                          <a:pt x="11" y="22"/>
                        </a:lnTo>
                        <a:lnTo>
                          <a:pt x="16" y="30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9" y="38"/>
                        </a:lnTo>
                        <a:lnTo>
                          <a:pt x="32" y="36"/>
                        </a:lnTo>
                        <a:lnTo>
                          <a:pt x="34" y="31"/>
                        </a:lnTo>
                        <a:lnTo>
                          <a:pt x="31" y="2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4" name="Freeform 1141"/>
                  <p:cNvSpPr>
                    <a:spLocks/>
                  </p:cNvSpPr>
                  <p:nvPr/>
                </p:nvSpPr>
                <p:spPr bwMode="auto">
                  <a:xfrm rot="-5400000">
                    <a:off x="3565" y="3452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3" y="220"/>
                      </a:cxn>
                      <a:cxn ang="0">
                        <a:pos x="125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5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8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50" y="83"/>
                      </a:cxn>
                      <a:cxn ang="0">
                        <a:pos x="42" y="131"/>
                      </a:cxn>
                      <a:cxn ang="0">
                        <a:pos x="47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3" y="238"/>
                        </a:lnTo>
                        <a:lnTo>
                          <a:pt x="111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1" y="226"/>
                        </a:lnTo>
                        <a:lnTo>
                          <a:pt x="123" y="220"/>
                        </a:lnTo>
                        <a:lnTo>
                          <a:pt x="123" y="215"/>
                        </a:lnTo>
                        <a:lnTo>
                          <a:pt x="125" y="214"/>
                        </a:lnTo>
                        <a:lnTo>
                          <a:pt x="131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8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5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70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8" y="196"/>
                        </a:lnTo>
                        <a:lnTo>
                          <a:pt x="6" y="167"/>
                        </a:lnTo>
                        <a:lnTo>
                          <a:pt x="2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5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8" y="51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8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70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50" y="83"/>
                        </a:lnTo>
                        <a:lnTo>
                          <a:pt x="43" y="111"/>
                        </a:lnTo>
                        <a:lnTo>
                          <a:pt x="42" y="131"/>
                        </a:lnTo>
                        <a:lnTo>
                          <a:pt x="43" y="142"/>
                        </a:lnTo>
                        <a:lnTo>
                          <a:pt x="47" y="156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5" name="Freeform 1142"/>
                  <p:cNvSpPr>
                    <a:spLocks/>
                  </p:cNvSpPr>
                  <p:nvPr/>
                </p:nvSpPr>
                <p:spPr bwMode="auto">
                  <a:xfrm rot="-5400000">
                    <a:off x="3612" y="348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1"/>
                      </a:cxn>
                      <a:cxn ang="0">
                        <a:pos x="37" y="14"/>
                      </a:cxn>
                      <a:cxn ang="0">
                        <a:pos x="34" y="18"/>
                      </a:cxn>
                      <a:cxn ang="0">
                        <a:pos x="32" y="19"/>
                      </a:cxn>
                      <a:cxn ang="0">
                        <a:pos x="26" y="19"/>
                      </a:cxn>
                      <a:cxn ang="0">
                        <a:pos x="18" y="16"/>
                      </a:cxn>
                      <a:cxn ang="0">
                        <a:pos x="7" y="8"/>
                      </a:cxn>
                      <a:cxn ang="0">
                        <a:pos x="0" y="18"/>
                      </a:cxn>
                      <a:cxn ang="0">
                        <a:pos x="13" y="26"/>
                      </a:cxn>
                      <a:cxn ang="0">
                        <a:pos x="24" y="30"/>
                      </a:cxn>
                      <a:cxn ang="0">
                        <a:pos x="34" y="30"/>
                      </a:cxn>
                      <a:cxn ang="0">
                        <a:pos x="41" y="24"/>
                      </a:cxn>
                      <a:cxn ang="0">
                        <a:pos x="46" y="19"/>
                      </a:cxn>
                      <a:cxn ang="0">
                        <a:pos x="49" y="13"/>
                      </a:cxn>
                      <a:cxn ang="0">
                        <a:pos x="50" y="6"/>
                      </a:cxn>
                      <a:cxn ang="0">
                        <a:pos x="50" y="1"/>
                      </a:cxn>
                      <a:cxn ang="0">
                        <a:pos x="50" y="3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1"/>
                        </a:lnTo>
                        <a:lnTo>
                          <a:pt x="37" y="14"/>
                        </a:lnTo>
                        <a:lnTo>
                          <a:pt x="34" y="18"/>
                        </a:lnTo>
                        <a:lnTo>
                          <a:pt x="32" y="19"/>
                        </a:lnTo>
                        <a:lnTo>
                          <a:pt x="26" y="19"/>
                        </a:lnTo>
                        <a:lnTo>
                          <a:pt x="18" y="16"/>
                        </a:lnTo>
                        <a:lnTo>
                          <a:pt x="7" y="8"/>
                        </a:lnTo>
                        <a:lnTo>
                          <a:pt x="0" y="18"/>
                        </a:lnTo>
                        <a:lnTo>
                          <a:pt x="13" y="26"/>
                        </a:lnTo>
                        <a:lnTo>
                          <a:pt x="24" y="30"/>
                        </a:lnTo>
                        <a:lnTo>
                          <a:pt x="34" y="30"/>
                        </a:lnTo>
                        <a:lnTo>
                          <a:pt x="41" y="24"/>
                        </a:lnTo>
                        <a:lnTo>
                          <a:pt x="46" y="19"/>
                        </a:lnTo>
                        <a:lnTo>
                          <a:pt x="49" y="13"/>
                        </a:lnTo>
                        <a:lnTo>
                          <a:pt x="50" y="6"/>
                        </a:lnTo>
                        <a:lnTo>
                          <a:pt x="50" y="1"/>
                        </a:lnTo>
                        <a:lnTo>
                          <a:pt x="50" y="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6" name="Freeform 1143"/>
                  <p:cNvSpPr>
                    <a:spLocks/>
                  </p:cNvSpPr>
                  <p:nvPr/>
                </p:nvSpPr>
                <p:spPr bwMode="auto">
                  <a:xfrm rot="-5400000">
                    <a:off x="3612" y="3474"/>
                    <a:ext cx="10" cy="10"/>
                  </a:xfrm>
                  <a:custGeom>
                    <a:avLst/>
                    <a:gdLst/>
                    <a:ahLst/>
                    <a:cxnLst>
                      <a:cxn ang="0">
                        <a:pos x="30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5"/>
                      </a:cxn>
                      <a:cxn ang="0">
                        <a:pos x="11" y="8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21" y="23"/>
                      </a:cxn>
                      <a:cxn ang="0">
                        <a:pos x="21" y="23"/>
                      </a:cxn>
                      <a:cxn ang="0">
                        <a:pos x="30" y="18"/>
                      </a:cxn>
                    </a:cxnLst>
                    <a:rect l="0" t="0" r="r" b="b"/>
                    <a:pathLst>
                      <a:path w="30" h="23">
                        <a:moveTo>
                          <a:pt x="30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5"/>
                        </a:lnTo>
                        <a:lnTo>
                          <a:pt x="11" y="8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30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7" name="Freeform 1144"/>
                  <p:cNvSpPr>
                    <a:spLocks/>
                  </p:cNvSpPr>
                  <p:nvPr/>
                </p:nvSpPr>
                <p:spPr bwMode="auto">
                  <a:xfrm rot="-5400000">
                    <a:off x="3620" y="3471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5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2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5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2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8" name="Freeform 1145"/>
                  <p:cNvSpPr>
                    <a:spLocks/>
                  </p:cNvSpPr>
                  <p:nvPr/>
                </p:nvSpPr>
                <p:spPr bwMode="auto">
                  <a:xfrm rot="-5400000">
                    <a:off x="3622" y="3491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3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10" y="2"/>
                      </a:cxn>
                      <a:cxn ang="0">
                        <a:pos x="10" y="3"/>
                      </a:cxn>
                      <a:cxn ang="0">
                        <a:pos x="10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3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0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599" name="Freeform 1146"/>
                  <p:cNvSpPr>
                    <a:spLocks/>
                  </p:cNvSpPr>
                  <p:nvPr/>
                </p:nvSpPr>
                <p:spPr bwMode="auto">
                  <a:xfrm rot="-5400000">
                    <a:off x="3560" y="3455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3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3" y="49"/>
                      </a:cxn>
                      <a:cxn ang="0">
                        <a:pos x="143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3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3" y="49"/>
                        </a:lnTo>
                        <a:lnTo>
                          <a:pt x="143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0" name="Freeform 1147"/>
                  <p:cNvSpPr>
                    <a:spLocks/>
                  </p:cNvSpPr>
                  <p:nvPr/>
                </p:nvSpPr>
                <p:spPr bwMode="auto">
                  <a:xfrm rot="-5400000">
                    <a:off x="3556" y="3473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1" name="Freeform 1148"/>
                  <p:cNvSpPr>
                    <a:spLocks/>
                  </p:cNvSpPr>
                  <p:nvPr/>
                </p:nvSpPr>
                <p:spPr bwMode="auto">
                  <a:xfrm rot="-5400000">
                    <a:off x="3557" y="347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3" y="13"/>
                      </a:cxn>
                      <a:cxn ang="0">
                        <a:pos x="24" y="11"/>
                      </a:cxn>
                      <a:cxn ang="0">
                        <a:pos x="21" y="0"/>
                      </a:cxn>
                      <a:cxn ang="0">
                        <a:pos x="13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6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3" y="13"/>
                        </a:lnTo>
                        <a:lnTo>
                          <a:pt x="24" y="11"/>
                        </a:lnTo>
                        <a:lnTo>
                          <a:pt x="21" y="0"/>
                        </a:lnTo>
                        <a:lnTo>
                          <a:pt x="13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6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2" name="Freeform 1149"/>
                  <p:cNvSpPr>
                    <a:spLocks/>
                  </p:cNvSpPr>
                  <p:nvPr/>
                </p:nvSpPr>
                <p:spPr bwMode="auto">
                  <a:xfrm rot="-5400000">
                    <a:off x="3548" y="3487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6" y="11"/>
                      </a:cxn>
                      <a:cxn ang="0">
                        <a:pos x="35" y="11"/>
                      </a:cxn>
                      <a:cxn ang="0">
                        <a:pos x="43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6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6" y="11"/>
                        </a:lnTo>
                        <a:lnTo>
                          <a:pt x="35" y="11"/>
                        </a:lnTo>
                        <a:lnTo>
                          <a:pt x="43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6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3" name="Freeform 1150"/>
                  <p:cNvSpPr>
                    <a:spLocks/>
                  </p:cNvSpPr>
                  <p:nvPr/>
                </p:nvSpPr>
                <p:spPr bwMode="auto">
                  <a:xfrm rot="-5400000">
                    <a:off x="3570" y="3487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5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4" name="Freeform 1151"/>
                  <p:cNvSpPr>
                    <a:spLocks/>
                  </p:cNvSpPr>
                  <p:nvPr/>
                </p:nvSpPr>
                <p:spPr bwMode="auto">
                  <a:xfrm rot="-5400000">
                    <a:off x="3596" y="3495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7" y="54"/>
                      </a:cxn>
                      <a:cxn ang="0">
                        <a:pos x="21" y="40"/>
                      </a:cxn>
                      <a:cxn ang="0">
                        <a:pos x="18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6" y="28"/>
                      </a:cxn>
                      <a:cxn ang="0">
                        <a:pos x="10" y="42"/>
                      </a:cxn>
                      <a:cxn ang="0">
                        <a:pos x="15" y="58"/>
                      </a:cxn>
                      <a:cxn ang="0">
                        <a:pos x="16" y="58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7" h="58">
                        <a:moveTo>
                          <a:pt x="26" y="54"/>
                        </a:moveTo>
                        <a:lnTo>
                          <a:pt x="27" y="54"/>
                        </a:lnTo>
                        <a:lnTo>
                          <a:pt x="21" y="40"/>
                        </a:lnTo>
                        <a:lnTo>
                          <a:pt x="18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6" y="28"/>
                        </a:lnTo>
                        <a:lnTo>
                          <a:pt x="10" y="42"/>
                        </a:lnTo>
                        <a:lnTo>
                          <a:pt x="15" y="58"/>
                        </a:lnTo>
                        <a:lnTo>
                          <a:pt x="16" y="58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5" name="Freeform 1152"/>
                  <p:cNvSpPr>
                    <a:spLocks/>
                  </p:cNvSpPr>
                  <p:nvPr/>
                </p:nvSpPr>
                <p:spPr bwMode="auto">
                  <a:xfrm rot="-5400000">
                    <a:off x="3610" y="3491"/>
                    <a:ext cx="10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7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7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6" name="Freeform 1153"/>
                  <p:cNvSpPr>
                    <a:spLocks/>
                  </p:cNvSpPr>
                  <p:nvPr/>
                </p:nvSpPr>
                <p:spPr bwMode="auto">
                  <a:xfrm rot="-5400000">
                    <a:off x="3566" y="3397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9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3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3" y="271"/>
                      </a:cxn>
                      <a:cxn ang="0">
                        <a:pos x="92" y="267"/>
                      </a:cxn>
                      <a:cxn ang="0">
                        <a:pos x="75" y="262"/>
                      </a:cxn>
                      <a:cxn ang="0">
                        <a:pos x="63" y="256"/>
                      </a:cxn>
                      <a:cxn ang="0">
                        <a:pos x="59" y="252"/>
                      </a:cxn>
                      <a:cxn ang="0">
                        <a:pos x="33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0" y="65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7" y="1"/>
                      </a:cxn>
                      <a:cxn ang="0">
                        <a:pos x="128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4" y="156"/>
                      </a:cxn>
                      <a:cxn ang="0">
                        <a:pos x="51" y="182"/>
                      </a:cxn>
                      <a:cxn ang="0">
                        <a:pos x="61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3" h="271">
                        <a:moveTo>
                          <a:pt x="81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0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8"/>
                        </a:lnTo>
                        <a:lnTo>
                          <a:pt x="113" y="271"/>
                        </a:lnTo>
                        <a:lnTo>
                          <a:pt x="102" y="270"/>
                        </a:lnTo>
                        <a:lnTo>
                          <a:pt x="92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8" y="258"/>
                        </a:lnTo>
                        <a:lnTo>
                          <a:pt x="63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5"/>
                        </a:lnTo>
                        <a:lnTo>
                          <a:pt x="21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3" y="8"/>
                        </a:lnTo>
                        <a:lnTo>
                          <a:pt x="128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79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4" y="156"/>
                        </a:lnTo>
                        <a:lnTo>
                          <a:pt x="47" y="168"/>
                        </a:lnTo>
                        <a:lnTo>
                          <a:pt x="51" y="182"/>
                        </a:lnTo>
                        <a:lnTo>
                          <a:pt x="58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7" name="Freeform 1154"/>
                  <p:cNvSpPr>
                    <a:spLocks/>
                  </p:cNvSpPr>
                  <p:nvPr/>
                </p:nvSpPr>
                <p:spPr bwMode="auto">
                  <a:xfrm rot="-5400000">
                    <a:off x="3612" y="3427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5" y="15"/>
                      </a:cxn>
                      <a:cxn ang="0">
                        <a:pos x="31" y="18"/>
                      </a:cxn>
                      <a:cxn ang="0">
                        <a:pos x="27" y="18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4" y="29"/>
                      </a:cxn>
                      <a:cxn ang="0">
                        <a:pos x="42" y="25"/>
                      </a:cxn>
                      <a:cxn ang="0">
                        <a:pos x="46" y="18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5" y="15"/>
                        </a:lnTo>
                        <a:lnTo>
                          <a:pt x="31" y="18"/>
                        </a:lnTo>
                        <a:lnTo>
                          <a:pt x="27" y="18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4" y="29"/>
                        </a:lnTo>
                        <a:lnTo>
                          <a:pt x="42" y="25"/>
                        </a:lnTo>
                        <a:lnTo>
                          <a:pt x="46" y="18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8" name="Freeform 1155"/>
                  <p:cNvSpPr>
                    <a:spLocks/>
                  </p:cNvSpPr>
                  <p:nvPr/>
                </p:nvSpPr>
                <p:spPr bwMode="auto">
                  <a:xfrm rot="-5400000">
                    <a:off x="3613" y="3417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8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6"/>
                      </a:cxn>
                      <a:cxn ang="0">
                        <a:pos x="8" y="11"/>
                      </a:cxn>
                      <a:cxn ang="0">
                        <a:pos x="11" y="12"/>
                      </a:cxn>
                      <a:cxn ang="0">
                        <a:pos x="15" y="17"/>
                      </a:cxn>
                      <a:cxn ang="0">
                        <a:pos x="19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30" h="23">
                        <a:moveTo>
                          <a:pt x="29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8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6"/>
                        </a:lnTo>
                        <a:lnTo>
                          <a:pt x="8" y="11"/>
                        </a:lnTo>
                        <a:lnTo>
                          <a:pt x="11" y="12"/>
                        </a:lnTo>
                        <a:lnTo>
                          <a:pt x="15" y="17"/>
                        </a:lnTo>
                        <a:lnTo>
                          <a:pt x="19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09" name="Freeform 1156"/>
                  <p:cNvSpPr>
                    <a:spLocks/>
                  </p:cNvSpPr>
                  <p:nvPr/>
                </p:nvSpPr>
                <p:spPr bwMode="auto">
                  <a:xfrm rot="-5400000">
                    <a:off x="3620" y="3417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3" y="41"/>
                      </a:cxn>
                      <a:cxn ang="0">
                        <a:pos x="39" y="35"/>
                      </a:cxn>
                      <a:cxn ang="0">
                        <a:pos x="44" y="26"/>
                      </a:cxn>
                      <a:cxn ang="0">
                        <a:pos x="48" y="16"/>
                      </a:cxn>
                      <a:cxn ang="0">
                        <a:pos x="48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6" y="16"/>
                      </a:cxn>
                      <a:cxn ang="0">
                        <a:pos x="35" y="22"/>
                      </a:cxn>
                      <a:cxn ang="0">
                        <a:pos x="30" y="28"/>
                      </a:cxn>
                      <a:cxn ang="0">
                        <a:pos x="26" y="32"/>
                      </a:cxn>
                      <a:cxn ang="0">
                        <a:pos x="19" y="36"/>
                      </a:cxn>
                      <a:cxn ang="0">
                        <a:pos x="12" y="38"/>
                      </a:cxn>
                      <a:cxn ang="0">
                        <a:pos x="3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8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3" y="41"/>
                        </a:lnTo>
                        <a:lnTo>
                          <a:pt x="39" y="35"/>
                        </a:lnTo>
                        <a:lnTo>
                          <a:pt x="44" y="26"/>
                        </a:lnTo>
                        <a:lnTo>
                          <a:pt x="48" y="16"/>
                        </a:lnTo>
                        <a:lnTo>
                          <a:pt x="48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6" y="16"/>
                        </a:lnTo>
                        <a:lnTo>
                          <a:pt x="35" y="22"/>
                        </a:lnTo>
                        <a:lnTo>
                          <a:pt x="30" y="28"/>
                        </a:lnTo>
                        <a:lnTo>
                          <a:pt x="26" y="32"/>
                        </a:lnTo>
                        <a:lnTo>
                          <a:pt x="19" y="36"/>
                        </a:lnTo>
                        <a:lnTo>
                          <a:pt x="12" y="38"/>
                        </a:lnTo>
                        <a:lnTo>
                          <a:pt x="3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0" name="Freeform 1157"/>
                  <p:cNvSpPr>
                    <a:spLocks/>
                  </p:cNvSpPr>
                  <p:nvPr/>
                </p:nvSpPr>
                <p:spPr bwMode="auto">
                  <a:xfrm rot="-5400000">
                    <a:off x="3623" y="3436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1" y="8"/>
                      </a:cxn>
                      <a:cxn ang="0">
                        <a:pos x="1" y="8"/>
                      </a:cxn>
                      <a:cxn ang="0">
                        <a:pos x="2" y="9"/>
                      </a:cxn>
                      <a:cxn ang="0">
                        <a:pos x="3" y="11"/>
                      </a:cxn>
                      <a:cxn ang="0">
                        <a:pos x="8" y="13"/>
                      </a:cxn>
                      <a:cxn ang="0">
                        <a:pos x="13" y="16"/>
                      </a:cxn>
                      <a:cxn ang="0">
                        <a:pos x="20" y="19"/>
                      </a:cxn>
                      <a:cxn ang="0">
                        <a:pos x="29" y="24"/>
                      </a:cxn>
                      <a:cxn ang="0">
                        <a:pos x="38" y="26"/>
                      </a:cxn>
                      <a:cxn ang="0">
                        <a:pos x="49" y="28"/>
                      </a:cxn>
                      <a:cxn ang="0">
                        <a:pos x="49" y="17"/>
                      </a:cxn>
                      <a:cxn ang="0">
                        <a:pos x="40" y="15"/>
                      </a:cxn>
                      <a:cxn ang="0">
                        <a:pos x="31" y="12"/>
                      </a:cxn>
                      <a:cxn ang="0">
                        <a:pos x="24" y="10"/>
                      </a:cxn>
                      <a:cxn ang="0">
                        <a:pos x="17" y="6"/>
                      </a:cxn>
                      <a:cxn ang="0">
                        <a:pos x="13" y="4"/>
                      </a:cxn>
                      <a:cxn ang="0">
                        <a:pos x="10" y="2"/>
                      </a:cxn>
                      <a:cxn ang="0">
                        <a:pos x="9" y="2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5" y="0"/>
                      </a:cxn>
                      <a:cxn ang="0">
                        <a:pos x="1" y="1"/>
                      </a:cxn>
                      <a:cxn ang="0">
                        <a:pos x="0" y="4"/>
                      </a:cxn>
                      <a:cxn ang="0">
                        <a:pos x="1" y="8"/>
                      </a:cxn>
                    </a:cxnLst>
                    <a:rect l="0" t="0" r="r" b="b"/>
                    <a:pathLst>
                      <a:path w="49" h="28">
                        <a:moveTo>
                          <a:pt x="1" y="8"/>
                        </a:moveTo>
                        <a:lnTo>
                          <a:pt x="1" y="8"/>
                        </a:lnTo>
                        <a:lnTo>
                          <a:pt x="2" y="9"/>
                        </a:lnTo>
                        <a:lnTo>
                          <a:pt x="3" y="11"/>
                        </a:lnTo>
                        <a:lnTo>
                          <a:pt x="8" y="13"/>
                        </a:lnTo>
                        <a:lnTo>
                          <a:pt x="13" y="16"/>
                        </a:lnTo>
                        <a:lnTo>
                          <a:pt x="20" y="19"/>
                        </a:lnTo>
                        <a:lnTo>
                          <a:pt x="29" y="24"/>
                        </a:lnTo>
                        <a:lnTo>
                          <a:pt x="38" y="26"/>
                        </a:lnTo>
                        <a:lnTo>
                          <a:pt x="49" y="28"/>
                        </a:lnTo>
                        <a:lnTo>
                          <a:pt x="49" y="17"/>
                        </a:lnTo>
                        <a:lnTo>
                          <a:pt x="40" y="15"/>
                        </a:lnTo>
                        <a:lnTo>
                          <a:pt x="31" y="12"/>
                        </a:lnTo>
                        <a:lnTo>
                          <a:pt x="24" y="10"/>
                        </a:lnTo>
                        <a:lnTo>
                          <a:pt x="17" y="6"/>
                        </a:lnTo>
                        <a:lnTo>
                          <a:pt x="13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5" y="0"/>
                        </a:lnTo>
                        <a:lnTo>
                          <a:pt x="1" y="1"/>
                        </a:lnTo>
                        <a:lnTo>
                          <a:pt x="0" y="4"/>
                        </a:lnTo>
                        <a:lnTo>
                          <a:pt x="1" y="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1" name="Freeform 1158"/>
                  <p:cNvSpPr>
                    <a:spLocks/>
                  </p:cNvSpPr>
                  <p:nvPr/>
                </p:nvSpPr>
                <p:spPr bwMode="auto">
                  <a:xfrm rot="-5400000">
                    <a:off x="3560" y="3400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2" y="49"/>
                      </a:cxn>
                      <a:cxn ang="0">
                        <a:pos x="11" y="68"/>
                      </a:cxn>
                      <a:cxn ang="0">
                        <a:pos x="4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5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2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61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2" y="49"/>
                        </a:lnTo>
                        <a:lnTo>
                          <a:pt x="11" y="68"/>
                        </a:lnTo>
                        <a:lnTo>
                          <a:pt x="4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5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2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2" name="Freeform 1159"/>
                  <p:cNvSpPr>
                    <a:spLocks/>
                  </p:cNvSpPr>
                  <p:nvPr/>
                </p:nvSpPr>
                <p:spPr bwMode="auto">
                  <a:xfrm rot="-5400000">
                    <a:off x="3556" y="3417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10" y="15"/>
                      </a:cxn>
                      <a:cxn ang="0">
                        <a:pos x="11" y="14"/>
                      </a:cxn>
                      <a:cxn ang="0">
                        <a:pos x="13" y="9"/>
                      </a:cxn>
                      <a:cxn ang="0">
                        <a:pos x="14" y="6"/>
                      </a:cxn>
                      <a:cxn ang="0">
                        <a:pos x="13" y="0"/>
                      </a:cxn>
                      <a:cxn ang="0">
                        <a:pos x="4" y="5"/>
                      </a:cxn>
                      <a:cxn ang="0">
                        <a:pos x="3" y="4"/>
                      </a:cxn>
                      <a:cxn ang="0">
                        <a:pos x="2" y="7"/>
                      </a:cxn>
                      <a:cxn ang="0">
                        <a:pos x="2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4" y="17"/>
                      </a:cxn>
                      <a:cxn ang="0">
                        <a:pos x="7" y="17"/>
                      </a:cxn>
                      <a:cxn ang="0">
                        <a:pos x="10" y="15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4" h="18">
                        <a:moveTo>
                          <a:pt x="6" y="18"/>
                        </a:moveTo>
                        <a:lnTo>
                          <a:pt x="10" y="15"/>
                        </a:lnTo>
                        <a:lnTo>
                          <a:pt x="11" y="14"/>
                        </a:lnTo>
                        <a:lnTo>
                          <a:pt x="13" y="9"/>
                        </a:lnTo>
                        <a:lnTo>
                          <a:pt x="14" y="6"/>
                        </a:lnTo>
                        <a:lnTo>
                          <a:pt x="13" y="0"/>
                        </a:lnTo>
                        <a:lnTo>
                          <a:pt x="4" y="5"/>
                        </a:lnTo>
                        <a:lnTo>
                          <a:pt x="3" y="4"/>
                        </a:lnTo>
                        <a:lnTo>
                          <a:pt x="2" y="7"/>
                        </a:lnTo>
                        <a:lnTo>
                          <a:pt x="2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4" y="17"/>
                        </a:lnTo>
                        <a:lnTo>
                          <a:pt x="7" y="17"/>
                        </a:lnTo>
                        <a:lnTo>
                          <a:pt x="10" y="15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3" name="Freeform 1160"/>
                  <p:cNvSpPr>
                    <a:spLocks/>
                  </p:cNvSpPr>
                  <p:nvPr/>
                </p:nvSpPr>
                <p:spPr bwMode="auto">
                  <a:xfrm rot="-5400000">
                    <a:off x="3556" y="3423"/>
                    <a:ext cx="9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6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7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6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7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4" name="Freeform 1161"/>
                  <p:cNvSpPr>
                    <a:spLocks/>
                  </p:cNvSpPr>
                  <p:nvPr/>
                </p:nvSpPr>
                <p:spPr bwMode="auto">
                  <a:xfrm rot="-5400000">
                    <a:off x="3548" y="3431"/>
                    <a:ext cx="22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2" y="18"/>
                      </a:cxn>
                      <a:cxn ang="0">
                        <a:pos x="16" y="16"/>
                      </a:cxn>
                      <a:cxn ang="0">
                        <a:pos x="21" y="13"/>
                      </a:cxn>
                      <a:cxn ang="0">
                        <a:pos x="27" y="11"/>
                      </a:cxn>
                      <a:cxn ang="0">
                        <a:pos x="36" y="11"/>
                      </a:cxn>
                      <a:cxn ang="0">
                        <a:pos x="44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5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2" y="18"/>
                        </a:lnTo>
                        <a:lnTo>
                          <a:pt x="16" y="16"/>
                        </a:lnTo>
                        <a:lnTo>
                          <a:pt x="21" y="13"/>
                        </a:lnTo>
                        <a:lnTo>
                          <a:pt x="27" y="11"/>
                        </a:lnTo>
                        <a:lnTo>
                          <a:pt x="36" y="11"/>
                        </a:lnTo>
                        <a:lnTo>
                          <a:pt x="44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5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5" name="Freeform 1162"/>
                  <p:cNvSpPr>
                    <a:spLocks/>
                  </p:cNvSpPr>
                  <p:nvPr/>
                </p:nvSpPr>
                <p:spPr bwMode="auto">
                  <a:xfrm rot="-5400000">
                    <a:off x="3570" y="3433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2" y="91"/>
                      </a:cxn>
                      <a:cxn ang="0">
                        <a:pos x="12" y="90"/>
                      </a:cxn>
                      <a:cxn ang="0">
                        <a:pos x="11" y="80"/>
                      </a:cxn>
                      <a:cxn ang="0">
                        <a:pos x="12" y="60"/>
                      </a:cxn>
                      <a:cxn ang="0">
                        <a:pos x="19" y="34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1"/>
                      </a:cxn>
                      <a:cxn ang="0">
                        <a:pos x="12" y="91"/>
                      </a:cxn>
                    </a:cxnLst>
                    <a:rect l="0" t="0" r="r" b="b"/>
                    <a:pathLst>
                      <a:path w="35" h="92">
                        <a:moveTo>
                          <a:pt x="12" y="91"/>
                        </a:moveTo>
                        <a:lnTo>
                          <a:pt x="12" y="90"/>
                        </a:lnTo>
                        <a:lnTo>
                          <a:pt x="11" y="80"/>
                        </a:lnTo>
                        <a:lnTo>
                          <a:pt x="12" y="60"/>
                        </a:lnTo>
                        <a:lnTo>
                          <a:pt x="19" y="34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1"/>
                        </a:lnTo>
                        <a:lnTo>
                          <a:pt x="12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6" name="Freeform 1163"/>
                  <p:cNvSpPr>
                    <a:spLocks/>
                  </p:cNvSpPr>
                  <p:nvPr/>
                </p:nvSpPr>
                <p:spPr bwMode="auto">
                  <a:xfrm rot="-5400000">
                    <a:off x="3596" y="3441"/>
                    <a:ext cx="9" cy="18"/>
                  </a:xfrm>
                  <a:custGeom>
                    <a:avLst/>
                    <a:gdLst/>
                    <a:ahLst/>
                    <a:cxnLst>
                      <a:cxn ang="0">
                        <a:pos x="27" y="53"/>
                      </a:cxn>
                      <a:cxn ang="0">
                        <a:pos x="26" y="53"/>
                      </a:cxn>
                      <a:cxn ang="0">
                        <a:pos x="20" y="39"/>
                      </a:cxn>
                      <a:cxn ang="0">
                        <a:pos x="17" y="25"/>
                      </a:cxn>
                      <a:cxn ang="0">
                        <a:pos x="13" y="12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2" y="15"/>
                      </a:cxn>
                      <a:cxn ang="0">
                        <a:pos x="5" y="27"/>
                      </a:cxn>
                      <a:cxn ang="0">
                        <a:pos x="9" y="41"/>
                      </a:cxn>
                      <a:cxn ang="0">
                        <a:pos x="17" y="57"/>
                      </a:cxn>
                      <a:cxn ang="0">
                        <a:pos x="16" y="57"/>
                      </a:cxn>
                      <a:cxn ang="0">
                        <a:pos x="27" y="53"/>
                      </a:cxn>
                    </a:cxnLst>
                    <a:rect l="0" t="0" r="r" b="b"/>
                    <a:pathLst>
                      <a:path w="27" h="57">
                        <a:moveTo>
                          <a:pt x="27" y="53"/>
                        </a:moveTo>
                        <a:lnTo>
                          <a:pt x="26" y="53"/>
                        </a:lnTo>
                        <a:lnTo>
                          <a:pt x="20" y="39"/>
                        </a:lnTo>
                        <a:lnTo>
                          <a:pt x="17" y="25"/>
                        </a:lnTo>
                        <a:lnTo>
                          <a:pt x="13" y="12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2" y="15"/>
                        </a:lnTo>
                        <a:lnTo>
                          <a:pt x="5" y="27"/>
                        </a:lnTo>
                        <a:lnTo>
                          <a:pt x="9" y="41"/>
                        </a:lnTo>
                        <a:lnTo>
                          <a:pt x="17" y="57"/>
                        </a:lnTo>
                        <a:lnTo>
                          <a:pt x="16" y="57"/>
                        </a:lnTo>
                        <a:lnTo>
                          <a:pt x="27" y="5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7" name="Freeform 1164"/>
                  <p:cNvSpPr>
                    <a:spLocks/>
                  </p:cNvSpPr>
                  <p:nvPr/>
                </p:nvSpPr>
                <p:spPr bwMode="auto">
                  <a:xfrm rot="-5400000">
                    <a:off x="3610" y="3436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19" y="14"/>
                      </a:cxn>
                      <a:cxn ang="0">
                        <a:pos x="14" y="7"/>
                      </a:cxn>
                      <a:cxn ang="0">
                        <a:pos x="11" y="0"/>
                      </a:cxn>
                      <a:cxn ang="0">
                        <a:pos x="0" y="4"/>
                      </a:cxn>
                      <a:cxn ang="0">
                        <a:pos x="4" y="11"/>
                      </a:cxn>
                      <a:cxn ang="0">
                        <a:pos x="10" y="20"/>
                      </a:cxn>
                      <a:cxn ang="0">
                        <a:pos x="17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30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19" y="14"/>
                        </a:lnTo>
                        <a:lnTo>
                          <a:pt x="14" y="7"/>
                        </a:lnTo>
                        <a:lnTo>
                          <a:pt x="11" y="0"/>
                        </a:lnTo>
                        <a:lnTo>
                          <a:pt x="0" y="4"/>
                        </a:lnTo>
                        <a:lnTo>
                          <a:pt x="4" y="11"/>
                        </a:lnTo>
                        <a:lnTo>
                          <a:pt x="10" y="20"/>
                        </a:lnTo>
                        <a:lnTo>
                          <a:pt x="17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30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8" name="Freeform 1165"/>
                  <p:cNvSpPr>
                    <a:spLocks/>
                  </p:cNvSpPr>
                  <p:nvPr/>
                </p:nvSpPr>
                <p:spPr bwMode="auto">
                  <a:xfrm rot="-5400000">
                    <a:off x="3566" y="3342"/>
                    <a:ext cx="46" cy="91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6" y="221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69"/>
                      </a:cxn>
                      <a:cxn ang="0">
                        <a:pos x="94" y="267"/>
                      </a:cxn>
                      <a:cxn ang="0">
                        <a:pos x="75" y="260"/>
                      </a:cxn>
                      <a:cxn ang="0">
                        <a:pos x="65" y="254"/>
                      </a:cxn>
                      <a:cxn ang="0">
                        <a:pos x="59" y="251"/>
                      </a:cxn>
                      <a:cxn ang="0">
                        <a:pos x="34" y="222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4"/>
                      </a:cxn>
                      <a:cxn ang="0">
                        <a:pos x="35" y="27"/>
                      </a:cxn>
                      <a:cxn ang="0">
                        <a:pos x="66" y="4"/>
                      </a:cxn>
                      <a:cxn ang="0">
                        <a:pos x="98" y="1"/>
                      </a:cxn>
                      <a:cxn ang="0">
                        <a:pos x="129" y="20"/>
                      </a:cxn>
                      <a:cxn ang="0">
                        <a:pos x="142" y="42"/>
                      </a:cxn>
                      <a:cxn ang="0">
                        <a:pos x="139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5" y="154"/>
                      </a:cxn>
                      <a:cxn ang="0">
                        <a:pos x="52" y="182"/>
                      </a:cxn>
                      <a:cxn ang="0">
                        <a:pos x="62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69">
                        <a:moveTo>
                          <a:pt x="81" y="225"/>
                        </a:moveTo>
                        <a:lnTo>
                          <a:pt x="94" y="234"/>
                        </a:lnTo>
                        <a:lnTo>
                          <a:pt x="104" y="237"/>
                        </a:lnTo>
                        <a:lnTo>
                          <a:pt x="111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7"/>
                        </a:lnTo>
                        <a:lnTo>
                          <a:pt x="114" y="269"/>
                        </a:lnTo>
                        <a:lnTo>
                          <a:pt x="104" y="269"/>
                        </a:lnTo>
                        <a:lnTo>
                          <a:pt x="94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5" y="254"/>
                        </a:lnTo>
                        <a:lnTo>
                          <a:pt x="60" y="252"/>
                        </a:lnTo>
                        <a:lnTo>
                          <a:pt x="59" y="251"/>
                        </a:lnTo>
                        <a:lnTo>
                          <a:pt x="58" y="250"/>
                        </a:lnTo>
                        <a:lnTo>
                          <a:pt x="34" y="222"/>
                        </a:lnTo>
                        <a:lnTo>
                          <a:pt x="18" y="194"/>
                        </a:lnTo>
                        <a:lnTo>
                          <a:pt x="6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4" y="87"/>
                        </a:lnTo>
                        <a:lnTo>
                          <a:pt x="12" y="64"/>
                        </a:lnTo>
                        <a:lnTo>
                          <a:pt x="22" y="45"/>
                        </a:lnTo>
                        <a:lnTo>
                          <a:pt x="35" y="27"/>
                        </a:lnTo>
                        <a:lnTo>
                          <a:pt x="50" y="14"/>
                        </a:lnTo>
                        <a:lnTo>
                          <a:pt x="66" y="4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0"/>
                        </a:lnTo>
                        <a:lnTo>
                          <a:pt x="142" y="40"/>
                        </a:lnTo>
                        <a:lnTo>
                          <a:pt x="142" y="42"/>
                        </a:lnTo>
                        <a:lnTo>
                          <a:pt x="140" y="46"/>
                        </a:lnTo>
                        <a:lnTo>
                          <a:pt x="139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1"/>
                        </a:lnTo>
                        <a:lnTo>
                          <a:pt x="74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09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5" y="154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19" name="Freeform 1166"/>
                  <p:cNvSpPr>
                    <a:spLocks/>
                  </p:cNvSpPr>
                  <p:nvPr/>
                </p:nvSpPr>
                <p:spPr bwMode="auto">
                  <a:xfrm rot="-5400000">
                    <a:off x="3611" y="3373"/>
                    <a:ext cx="18" cy="11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1"/>
                      </a:cxn>
                      <a:cxn ang="0">
                        <a:pos x="40" y="6"/>
                      </a:cxn>
                      <a:cxn ang="0">
                        <a:pos x="38" y="10"/>
                      </a:cxn>
                      <a:cxn ang="0">
                        <a:pos x="37" y="14"/>
                      </a:cxn>
                      <a:cxn ang="0">
                        <a:pos x="35" y="17"/>
                      </a:cxn>
                      <a:cxn ang="0">
                        <a:pos x="33" y="18"/>
                      </a:cxn>
                      <a:cxn ang="0">
                        <a:pos x="28" y="17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4"/>
                      </a:cxn>
                      <a:cxn ang="0">
                        <a:pos x="26" y="29"/>
                      </a:cxn>
                      <a:cxn ang="0">
                        <a:pos x="35" y="30"/>
                      </a:cxn>
                      <a:cxn ang="0">
                        <a:pos x="42" y="24"/>
                      </a:cxn>
                      <a:cxn ang="0">
                        <a:pos x="47" y="18"/>
                      </a:cxn>
                      <a:cxn ang="0">
                        <a:pos x="50" y="13"/>
                      </a:cxn>
                      <a:cxn ang="0">
                        <a:pos x="51" y="6"/>
                      </a:cxn>
                      <a:cxn ang="0">
                        <a:pos x="51" y="1"/>
                      </a:cxn>
                      <a:cxn ang="0">
                        <a:pos x="51" y="2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1" h="30">
                        <a:moveTo>
                          <a:pt x="40" y="0"/>
                        </a:moveTo>
                        <a:lnTo>
                          <a:pt x="40" y="1"/>
                        </a:lnTo>
                        <a:lnTo>
                          <a:pt x="40" y="6"/>
                        </a:lnTo>
                        <a:lnTo>
                          <a:pt x="38" y="10"/>
                        </a:lnTo>
                        <a:lnTo>
                          <a:pt x="37" y="14"/>
                        </a:lnTo>
                        <a:lnTo>
                          <a:pt x="35" y="17"/>
                        </a:lnTo>
                        <a:lnTo>
                          <a:pt x="33" y="18"/>
                        </a:lnTo>
                        <a:lnTo>
                          <a:pt x="28" y="17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4"/>
                        </a:lnTo>
                        <a:lnTo>
                          <a:pt x="26" y="29"/>
                        </a:lnTo>
                        <a:lnTo>
                          <a:pt x="35" y="30"/>
                        </a:lnTo>
                        <a:lnTo>
                          <a:pt x="42" y="24"/>
                        </a:lnTo>
                        <a:lnTo>
                          <a:pt x="47" y="18"/>
                        </a:lnTo>
                        <a:lnTo>
                          <a:pt x="50" y="13"/>
                        </a:lnTo>
                        <a:lnTo>
                          <a:pt x="51" y="6"/>
                        </a:lnTo>
                        <a:lnTo>
                          <a:pt x="51" y="1"/>
                        </a:lnTo>
                        <a:lnTo>
                          <a:pt x="51" y="2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0" name="Freeform 1167"/>
                  <p:cNvSpPr>
                    <a:spLocks/>
                  </p:cNvSpPr>
                  <p:nvPr/>
                </p:nvSpPr>
                <p:spPr bwMode="auto">
                  <a:xfrm rot="-5400000">
                    <a:off x="3612" y="3363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30" y="19"/>
                      </a:cxn>
                      <a:cxn ang="0">
                        <a:pos x="30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8"/>
                      </a:cxn>
                      <a:cxn ang="0">
                        <a:pos x="8" y="12"/>
                      </a:cxn>
                      <a:cxn ang="0">
                        <a:pos x="11" y="13"/>
                      </a:cxn>
                      <a:cxn ang="0">
                        <a:pos x="15" y="16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30" y="19"/>
                      </a:cxn>
                    </a:cxnLst>
                    <a:rect l="0" t="0" r="r" b="b"/>
                    <a:pathLst>
                      <a:path w="30" h="23">
                        <a:moveTo>
                          <a:pt x="30" y="19"/>
                        </a:moveTo>
                        <a:lnTo>
                          <a:pt x="30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8"/>
                        </a:lnTo>
                        <a:lnTo>
                          <a:pt x="8" y="12"/>
                        </a:lnTo>
                        <a:lnTo>
                          <a:pt x="11" y="13"/>
                        </a:lnTo>
                        <a:lnTo>
                          <a:pt x="15" y="16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30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1" name="Freeform 1168"/>
                  <p:cNvSpPr>
                    <a:spLocks/>
                  </p:cNvSpPr>
                  <p:nvPr/>
                </p:nvSpPr>
                <p:spPr bwMode="auto">
                  <a:xfrm rot="-5400000">
                    <a:off x="3620" y="3361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0" y="48"/>
                      </a:cxn>
                      <a:cxn ang="0">
                        <a:pos x="10" y="48"/>
                      </a:cxn>
                      <a:cxn ang="0">
                        <a:pos x="21" y="46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5"/>
                      </a:cxn>
                      <a:cxn ang="0">
                        <a:pos x="45" y="17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3" y="4"/>
                      </a:cxn>
                      <a:cxn ang="0">
                        <a:pos x="35" y="9"/>
                      </a:cxn>
                      <a:cxn ang="0">
                        <a:pos x="33" y="15"/>
                      </a:cxn>
                      <a:cxn ang="0">
                        <a:pos x="31" y="23"/>
                      </a:cxn>
                      <a:cxn ang="0">
                        <a:pos x="29" y="27"/>
                      </a:cxn>
                      <a:cxn ang="0">
                        <a:pos x="24" y="32"/>
                      </a:cxn>
                      <a:cxn ang="0">
                        <a:pos x="18" y="34"/>
                      </a:cxn>
                      <a:cxn ang="0">
                        <a:pos x="10" y="37"/>
                      </a:cxn>
                      <a:cxn ang="0">
                        <a:pos x="0" y="37"/>
                      </a:cxn>
                      <a:cxn ang="0">
                        <a:pos x="0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6" h="48">
                        <a:moveTo>
                          <a:pt x="0" y="48"/>
                        </a:moveTo>
                        <a:lnTo>
                          <a:pt x="0" y="48"/>
                        </a:lnTo>
                        <a:lnTo>
                          <a:pt x="10" y="48"/>
                        </a:lnTo>
                        <a:lnTo>
                          <a:pt x="21" y="46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5"/>
                        </a:lnTo>
                        <a:lnTo>
                          <a:pt x="45" y="17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3" y="4"/>
                        </a:lnTo>
                        <a:lnTo>
                          <a:pt x="35" y="9"/>
                        </a:lnTo>
                        <a:lnTo>
                          <a:pt x="33" y="15"/>
                        </a:lnTo>
                        <a:lnTo>
                          <a:pt x="31" y="23"/>
                        </a:lnTo>
                        <a:lnTo>
                          <a:pt x="29" y="27"/>
                        </a:lnTo>
                        <a:lnTo>
                          <a:pt x="24" y="32"/>
                        </a:lnTo>
                        <a:lnTo>
                          <a:pt x="18" y="34"/>
                        </a:lnTo>
                        <a:lnTo>
                          <a:pt x="10" y="37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2" name="Freeform 1169"/>
                  <p:cNvSpPr>
                    <a:spLocks/>
                  </p:cNvSpPr>
                  <p:nvPr/>
                </p:nvSpPr>
                <p:spPr bwMode="auto">
                  <a:xfrm rot="-5400000">
                    <a:off x="3622" y="3380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4" y="10"/>
                      </a:cxn>
                      <a:cxn ang="0">
                        <a:pos x="6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30" y="25"/>
                      </a:cxn>
                      <a:cxn ang="0">
                        <a:pos x="40" y="29"/>
                      </a:cxn>
                      <a:cxn ang="0">
                        <a:pos x="52" y="31"/>
                      </a:cxn>
                      <a:cxn ang="0">
                        <a:pos x="52" y="20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5" y="6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4" y="10"/>
                        </a:lnTo>
                        <a:lnTo>
                          <a:pt x="6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30" y="25"/>
                        </a:lnTo>
                        <a:lnTo>
                          <a:pt x="40" y="29"/>
                        </a:lnTo>
                        <a:lnTo>
                          <a:pt x="52" y="31"/>
                        </a:lnTo>
                        <a:lnTo>
                          <a:pt x="52" y="20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5" y="6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3" name="Freeform 1170"/>
                  <p:cNvSpPr>
                    <a:spLocks/>
                  </p:cNvSpPr>
                  <p:nvPr/>
                </p:nvSpPr>
                <p:spPr bwMode="auto">
                  <a:xfrm rot="-5400000">
                    <a:off x="3560" y="3344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8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3"/>
                      </a:cxn>
                      <a:cxn ang="0">
                        <a:pos x="34" y="231"/>
                      </a:cxn>
                      <a:cxn ang="0">
                        <a:pos x="59" y="259"/>
                      </a:cxn>
                      <a:cxn ang="0">
                        <a:pos x="66" y="252"/>
                      </a:cxn>
                      <a:cxn ang="0">
                        <a:pos x="43" y="225"/>
                      </a:cxn>
                      <a:cxn ang="0">
                        <a:pos x="27" y="198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4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30" y="30"/>
                      </a:cxn>
                      <a:cxn ang="0">
                        <a:pos x="142" y="48"/>
                      </a:cxn>
                      <a:cxn ang="0">
                        <a:pos x="142" y="48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59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8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3"/>
                        </a:lnTo>
                        <a:lnTo>
                          <a:pt x="34" y="231"/>
                        </a:lnTo>
                        <a:lnTo>
                          <a:pt x="59" y="259"/>
                        </a:lnTo>
                        <a:lnTo>
                          <a:pt x="66" y="252"/>
                        </a:lnTo>
                        <a:lnTo>
                          <a:pt x="43" y="225"/>
                        </a:lnTo>
                        <a:lnTo>
                          <a:pt x="27" y="198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4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30" y="30"/>
                        </a:lnTo>
                        <a:lnTo>
                          <a:pt x="142" y="48"/>
                        </a:lnTo>
                        <a:lnTo>
                          <a:pt x="142" y="48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4" name="Freeform 1171"/>
                  <p:cNvSpPr>
                    <a:spLocks/>
                  </p:cNvSpPr>
                  <p:nvPr/>
                </p:nvSpPr>
                <p:spPr bwMode="auto">
                  <a:xfrm rot="-5400000">
                    <a:off x="3556" y="3363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4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5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6" h="18">
                        <a:moveTo>
                          <a:pt x="5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4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5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5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5" name="Freeform 1172"/>
                  <p:cNvSpPr>
                    <a:spLocks/>
                  </p:cNvSpPr>
                  <p:nvPr/>
                </p:nvSpPr>
                <p:spPr bwMode="auto">
                  <a:xfrm rot="-5400000">
                    <a:off x="3556" y="336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9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9" y="1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2" h="12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9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9" y="1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6" name="Freeform 1173"/>
                  <p:cNvSpPr>
                    <a:spLocks/>
                  </p:cNvSpPr>
                  <p:nvPr/>
                </p:nvSpPr>
                <p:spPr bwMode="auto">
                  <a:xfrm rot="-5400000">
                    <a:off x="3548" y="3378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11" y="22"/>
                      </a:cxn>
                      <a:cxn ang="0">
                        <a:pos x="11" y="22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7" y="15"/>
                      </a:cxn>
                      <a:cxn ang="0">
                        <a:pos x="21" y="13"/>
                      </a:cxn>
                      <a:cxn ang="0">
                        <a:pos x="28" y="12"/>
                      </a:cxn>
                      <a:cxn ang="0">
                        <a:pos x="37" y="12"/>
                      </a:cxn>
                      <a:cxn ang="0">
                        <a:pos x="45" y="14"/>
                      </a:cxn>
                      <a:cxn ang="0">
                        <a:pos x="57" y="21"/>
                      </a:cxn>
                      <a:cxn ang="0">
                        <a:pos x="64" y="12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9" y="1"/>
                      </a:cxn>
                      <a:cxn ang="0">
                        <a:pos x="11" y="6"/>
                      </a:cxn>
                      <a:cxn ang="0">
                        <a:pos x="6" y="11"/>
                      </a:cxn>
                      <a:cxn ang="0">
                        <a:pos x="2" y="14"/>
                      </a:cxn>
                      <a:cxn ang="0">
                        <a:pos x="1" y="15"/>
                      </a:cxn>
                      <a:cxn ang="0">
                        <a:pos x="1" y="15"/>
                      </a:cxn>
                      <a:cxn ang="0">
                        <a:pos x="1" y="15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7" y="24"/>
                      </a:cxn>
                      <a:cxn ang="0">
                        <a:pos x="11" y="22"/>
                      </a:cxn>
                    </a:cxnLst>
                    <a:rect l="0" t="0" r="r" b="b"/>
                    <a:pathLst>
                      <a:path w="64" h="24">
                        <a:moveTo>
                          <a:pt x="11" y="22"/>
                        </a:moveTo>
                        <a:lnTo>
                          <a:pt x="11" y="22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7" y="15"/>
                        </a:lnTo>
                        <a:lnTo>
                          <a:pt x="21" y="13"/>
                        </a:lnTo>
                        <a:lnTo>
                          <a:pt x="28" y="12"/>
                        </a:lnTo>
                        <a:lnTo>
                          <a:pt x="37" y="12"/>
                        </a:lnTo>
                        <a:lnTo>
                          <a:pt x="45" y="14"/>
                        </a:lnTo>
                        <a:lnTo>
                          <a:pt x="57" y="21"/>
                        </a:lnTo>
                        <a:lnTo>
                          <a:pt x="64" y="12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9" y="1"/>
                        </a:lnTo>
                        <a:lnTo>
                          <a:pt x="11" y="6"/>
                        </a:lnTo>
                        <a:lnTo>
                          <a:pt x="6" y="11"/>
                        </a:lnTo>
                        <a:lnTo>
                          <a:pt x="2" y="14"/>
                        </a:lnTo>
                        <a:lnTo>
                          <a:pt x="1" y="15"/>
                        </a:lnTo>
                        <a:lnTo>
                          <a:pt x="1" y="15"/>
                        </a:lnTo>
                        <a:lnTo>
                          <a:pt x="1" y="15"/>
                        </a:lnTo>
                        <a:lnTo>
                          <a:pt x="0" y="20"/>
                        </a:lnTo>
                        <a:lnTo>
                          <a:pt x="2" y="23"/>
                        </a:lnTo>
                        <a:lnTo>
                          <a:pt x="7" y="24"/>
                        </a:lnTo>
                        <a:lnTo>
                          <a:pt x="1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7" name="Freeform 1174"/>
                  <p:cNvSpPr>
                    <a:spLocks/>
                  </p:cNvSpPr>
                  <p:nvPr/>
                </p:nvSpPr>
                <p:spPr bwMode="auto">
                  <a:xfrm rot="-5400000">
                    <a:off x="3569" y="3379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1"/>
                      </a:cxn>
                      <a:cxn ang="0">
                        <a:pos x="11" y="82"/>
                      </a:cxn>
                      <a:cxn ang="0">
                        <a:pos x="13" y="60"/>
                      </a:cxn>
                      <a:cxn ang="0">
                        <a:pos x="19" y="35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4">
                        <a:moveTo>
                          <a:pt x="13" y="91"/>
                        </a:moveTo>
                        <a:lnTo>
                          <a:pt x="13" y="91"/>
                        </a:lnTo>
                        <a:lnTo>
                          <a:pt x="11" y="82"/>
                        </a:lnTo>
                        <a:lnTo>
                          <a:pt x="13" y="60"/>
                        </a:lnTo>
                        <a:lnTo>
                          <a:pt x="19" y="35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8" name="Freeform 1175"/>
                  <p:cNvSpPr>
                    <a:spLocks/>
                  </p:cNvSpPr>
                  <p:nvPr/>
                </p:nvSpPr>
                <p:spPr bwMode="auto">
                  <a:xfrm rot="-5400000">
                    <a:off x="3595" y="3384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8" y="54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3" y="15"/>
                      </a:cxn>
                      <a:cxn ang="0">
                        <a:pos x="7" y="29"/>
                      </a:cxn>
                      <a:cxn ang="0">
                        <a:pos x="10" y="43"/>
                      </a:cxn>
                      <a:cxn ang="0">
                        <a:pos x="16" y="59"/>
                      </a:cxn>
                      <a:cxn ang="0">
                        <a:pos x="17" y="59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8" h="59">
                        <a:moveTo>
                          <a:pt x="26" y="54"/>
                        </a:moveTo>
                        <a:lnTo>
                          <a:pt x="28" y="54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3" y="15"/>
                        </a:lnTo>
                        <a:lnTo>
                          <a:pt x="7" y="29"/>
                        </a:lnTo>
                        <a:lnTo>
                          <a:pt x="10" y="43"/>
                        </a:lnTo>
                        <a:lnTo>
                          <a:pt x="16" y="59"/>
                        </a:lnTo>
                        <a:lnTo>
                          <a:pt x="17" y="59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629" name="Freeform 1176"/>
                  <p:cNvSpPr>
                    <a:spLocks/>
                  </p:cNvSpPr>
                  <p:nvPr/>
                </p:nvSpPr>
                <p:spPr bwMode="auto">
                  <a:xfrm rot="-5400000">
                    <a:off x="3609" y="3381"/>
                    <a:ext cx="10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6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5" y="13"/>
                      </a:cxn>
                      <a:cxn ang="0">
                        <a:pos x="11" y="21"/>
                      </a:cxn>
                      <a:cxn ang="0">
                        <a:pos x="16" y="29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9" y="37"/>
                      </a:cxn>
                      <a:cxn ang="0">
                        <a:pos x="33" y="35"/>
                      </a:cxn>
                      <a:cxn ang="0">
                        <a:pos x="34" y="30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7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6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5" y="13"/>
                        </a:lnTo>
                        <a:lnTo>
                          <a:pt x="11" y="21"/>
                        </a:lnTo>
                        <a:lnTo>
                          <a:pt x="16" y="29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9" y="37"/>
                        </a:lnTo>
                        <a:lnTo>
                          <a:pt x="33" y="35"/>
                        </a:lnTo>
                        <a:lnTo>
                          <a:pt x="34" y="30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  <p:grpSp>
              <p:nvGrpSpPr>
                <p:cNvPr id="1243" name="Group 1177"/>
                <p:cNvGrpSpPr>
                  <a:grpSpLocks/>
                </p:cNvGrpSpPr>
                <p:nvPr/>
              </p:nvGrpSpPr>
              <p:grpSpPr bwMode="auto">
                <a:xfrm>
                  <a:off x="2182" y="2400"/>
                  <a:ext cx="139" cy="1344"/>
                  <a:chOff x="3539" y="3276"/>
                  <a:chExt cx="104" cy="695"/>
                </a:xfrm>
              </p:grpSpPr>
              <p:sp>
                <p:nvSpPr>
                  <p:cNvPr id="1244" name="Freeform 1178"/>
                  <p:cNvSpPr>
                    <a:spLocks/>
                  </p:cNvSpPr>
                  <p:nvPr/>
                </p:nvSpPr>
                <p:spPr bwMode="auto">
                  <a:xfrm rot="-5400000">
                    <a:off x="3265" y="3583"/>
                    <a:ext cx="615" cy="9"/>
                  </a:xfrm>
                  <a:custGeom>
                    <a:avLst/>
                    <a:gdLst/>
                    <a:ahLst/>
                    <a:cxnLst>
                      <a:cxn ang="0">
                        <a:pos x="1893" y="19"/>
                      </a:cxn>
                      <a:cxn ang="0">
                        <a:pos x="1893" y="11"/>
                      </a:cxn>
                      <a:cxn ang="0">
                        <a:pos x="0" y="0"/>
                      </a:cxn>
                      <a:cxn ang="0">
                        <a:pos x="0" y="16"/>
                      </a:cxn>
                      <a:cxn ang="0">
                        <a:pos x="1893" y="27"/>
                      </a:cxn>
                      <a:cxn ang="0">
                        <a:pos x="1893" y="19"/>
                      </a:cxn>
                    </a:cxnLst>
                    <a:rect l="0" t="0" r="r" b="b"/>
                    <a:pathLst>
                      <a:path w="1893" h="27">
                        <a:moveTo>
                          <a:pt x="1893" y="19"/>
                        </a:moveTo>
                        <a:lnTo>
                          <a:pt x="1893" y="11"/>
                        </a:lnTo>
                        <a:lnTo>
                          <a:pt x="0" y="0"/>
                        </a:lnTo>
                        <a:lnTo>
                          <a:pt x="0" y="16"/>
                        </a:lnTo>
                        <a:lnTo>
                          <a:pt x="1893" y="27"/>
                        </a:lnTo>
                        <a:lnTo>
                          <a:pt x="1893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45" name="Freeform 1179"/>
                  <p:cNvSpPr>
                    <a:spLocks/>
                  </p:cNvSpPr>
                  <p:nvPr/>
                </p:nvSpPr>
                <p:spPr bwMode="auto">
                  <a:xfrm rot="-5400000">
                    <a:off x="3220" y="3621"/>
                    <a:ext cx="693" cy="3"/>
                  </a:xfrm>
                  <a:custGeom>
                    <a:avLst/>
                    <a:gdLst/>
                    <a:ahLst/>
                    <a:cxnLst>
                      <a:cxn ang="0">
                        <a:pos x="11" y="6"/>
                      </a:cxn>
                      <a:cxn ang="0">
                        <a:pos x="5" y="12"/>
                      </a:cxn>
                      <a:cxn ang="0">
                        <a:pos x="1974" y="12"/>
                      </a:cxn>
                      <a:cxn ang="0">
                        <a:pos x="1974" y="0"/>
                      </a:cxn>
                      <a:cxn ang="0">
                        <a:pos x="5" y="0"/>
                      </a:cxn>
                      <a:cxn ang="0">
                        <a:pos x="0" y="6"/>
                      </a:cxn>
                      <a:cxn ang="0">
                        <a:pos x="5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2" y="9"/>
                      </a:cxn>
                      <a:cxn ang="0">
                        <a:pos x="5" y="12"/>
                      </a:cxn>
                      <a:cxn ang="0">
                        <a:pos x="11" y="6"/>
                      </a:cxn>
                    </a:cxnLst>
                    <a:rect l="0" t="0" r="r" b="b"/>
                    <a:pathLst>
                      <a:path w="1974" h="12">
                        <a:moveTo>
                          <a:pt x="11" y="6"/>
                        </a:moveTo>
                        <a:lnTo>
                          <a:pt x="5" y="12"/>
                        </a:lnTo>
                        <a:lnTo>
                          <a:pt x="1974" y="12"/>
                        </a:lnTo>
                        <a:lnTo>
                          <a:pt x="1974" y="0"/>
                        </a:lnTo>
                        <a:lnTo>
                          <a:pt x="5" y="0"/>
                        </a:lnTo>
                        <a:lnTo>
                          <a:pt x="0" y="6"/>
                        </a:lnTo>
                        <a:lnTo>
                          <a:pt x="5" y="0"/>
                        </a:lnTo>
                        <a:lnTo>
                          <a:pt x="2" y="2"/>
                        </a:lnTo>
                        <a:lnTo>
                          <a:pt x="1" y="6"/>
                        </a:lnTo>
                        <a:lnTo>
                          <a:pt x="2" y="9"/>
                        </a:lnTo>
                        <a:lnTo>
                          <a:pt x="5" y="12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46" name="Freeform 1180"/>
                  <p:cNvSpPr>
                    <a:spLocks/>
                  </p:cNvSpPr>
                  <p:nvPr/>
                </p:nvSpPr>
                <p:spPr bwMode="auto">
                  <a:xfrm rot="-5400000">
                    <a:off x="3233" y="3626"/>
                    <a:ext cx="684" cy="4"/>
                  </a:xfrm>
                  <a:custGeom>
                    <a:avLst/>
                    <a:gdLst/>
                    <a:ahLst/>
                    <a:cxnLst>
                      <a:cxn ang="0">
                        <a:pos x="11" y="6"/>
                      </a:cxn>
                      <a:cxn ang="0">
                        <a:pos x="6" y="12"/>
                      </a:cxn>
                      <a:cxn ang="0">
                        <a:pos x="1967" y="12"/>
                      </a:cxn>
                      <a:cxn ang="0">
                        <a:pos x="1967" y="0"/>
                      </a:cxn>
                      <a:cxn ang="0">
                        <a:pos x="6" y="0"/>
                      </a:cxn>
                      <a:cxn ang="0">
                        <a:pos x="0" y="6"/>
                      </a:cxn>
                      <a:cxn ang="0">
                        <a:pos x="6" y="0"/>
                      </a:cxn>
                      <a:cxn ang="0">
                        <a:pos x="2" y="2"/>
                      </a:cxn>
                      <a:cxn ang="0">
                        <a:pos x="1" y="6"/>
                      </a:cxn>
                      <a:cxn ang="0">
                        <a:pos x="2" y="9"/>
                      </a:cxn>
                      <a:cxn ang="0">
                        <a:pos x="6" y="12"/>
                      </a:cxn>
                      <a:cxn ang="0">
                        <a:pos x="11" y="6"/>
                      </a:cxn>
                    </a:cxnLst>
                    <a:rect l="0" t="0" r="r" b="b"/>
                    <a:pathLst>
                      <a:path w="1967" h="12">
                        <a:moveTo>
                          <a:pt x="11" y="6"/>
                        </a:moveTo>
                        <a:lnTo>
                          <a:pt x="6" y="12"/>
                        </a:lnTo>
                        <a:lnTo>
                          <a:pt x="1967" y="12"/>
                        </a:lnTo>
                        <a:lnTo>
                          <a:pt x="1967" y="0"/>
                        </a:lnTo>
                        <a:lnTo>
                          <a:pt x="6" y="0"/>
                        </a:lnTo>
                        <a:lnTo>
                          <a:pt x="0" y="6"/>
                        </a:lnTo>
                        <a:lnTo>
                          <a:pt x="6" y="0"/>
                        </a:lnTo>
                        <a:lnTo>
                          <a:pt x="2" y="2"/>
                        </a:lnTo>
                        <a:lnTo>
                          <a:pt x="1" y="6"/>
                        </a:lnTo>
                        <a:lnTo>
                          <a:pt x="2" y="9"/>
                        </a:lnTo>
                        <a:lnTo>
                          <a:pt x="6" y="12"/>
                        </a:lnTo>
                        <a:lnTo>
                          <a:pt x="11" y="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47" name="Freeform 1181"/>
                  <p:cNvSpPr>
                    <a:spLocks/>
                  </p:cNvSpPr>
                  <p:nvPr/>
                </p:nvSpPr>
                <p:spPr bwMode="auto">
                  <a:xfrm rot="-5400000">
                    <a:off x="3611" y="3305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7"/>
                      </a:cxn>
                      <a:cxn ang="0">
                        <a:pos x="57" y="76"/>
                      </a:cxn>
                      <a:cxn ang="0">
                        <a:pos x="67" y="74"/>
                      </a:cxn>
                      <a:cxn ang="0">
                        <a:pos x="75" y="70"/>
                      </a:cxn>
                      <a:cxn ang="0">
                        <a:pos x="83" y="65"/>
                      </a:cxn>
                      <a:cxn ang="0">
                        <a:pos x="88" y="60"/>
                      </a:cxn>
                      <a:cxn ang="0">
                        <a:pos x="93" y="53"/>
                      </a:cxn>
                      <a:cxn ang="0">
                        <a:pos x="95" y="46"/>
                      </a:cxn>
                      <a:cxn ang="0">
                        <a:pos x="97" y="38"/>
                      </a:cxn>
                      <a:cxn ang="0">
                        <a:pos x="95" y="30"/>
                      </a:cxn>
                      <a:cxn ang="0">
                        <a:pos x="93" y="23"/>
                      </a:cxn>
                      <a:cxn ang="0">
                        <a:pos x="88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3"/>
                      </a:cxn>
                      <a:cxn ang="0">
                        <a:pos x="1" y="30"/>
                      </a:cxn>
                      <a:cxn ang="0">
                        <a:pos x="0" y="38"/>
                      </a:cxn>
                      <a:cxn ang="0">
                        <a:pos x="1" y="46"/>
                      </a:cxn>
                      <a:cxn ang="0">
                        <a:pos x="3" y="53"/>
                      </a:cxn>
                      <a:cxn ang="0">
                        <a:pos x="8" y="60"/>
                      </a:cxn>
                      <a:cxn ang="0">
                        <a:pos x="14" y="65"/>
                      </a:cxn>
                      <a:cxn ang="0">
                        <a:pos x="22" y="70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8" y="77"/>
                      </a:cxn>
                    </a:cxnLst>
                    <a:rect l="0" t="0" r="r" b="b"/>
                    <a:pathLst>
                      <a:path w="97" h="77">
                        <a:moveTo>
                          <a:pt x="48" y="77"/>
                        </a:moveTo>
                        <a:lnTo>
                          <a:pt x="57" y="76"/>
                        </a:lnTo>
                        <a:lnTo>
                          <a:pt x="67" y="74"/>
                        </a:lnTo>
                        <a:lnTo>
                          <a:pt x="75" y="70"/>
                        </a:lnTo>
                        <a:lnTo>
                          <a:pt x="83" y="65"/>
                        </a:lnTo>
                        <a:lnTo>
                          <a:pt x="88" y="60"/>
                        </a:lnTo>
                        <a:lnTo>
                          <a:pt x="93" y="53"/>
                        </a:lnTo>
                        <a:lnTo>
                          <a:pt x="95" y="46"/>
                        </a:lnTo>
                        <a:lnTo>
                          <a:pt x="97" y="38"/>
                        </a:lnTo>
                        <a:lnTo>
                          <a:pt x="95" y="30"/>
                        </a:lnTo>
                        <a:lnTo>
                          <a:pt x="93" y="23"/>
                        </a:lnTo>
                        <a:lnTo>
                          <a:pt x="88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3"/>
                        </a:lnTo>
                        <a:lnTo>
                          <a:pt x="1" y="30"/>
                        </a:lnTo>
                        <a:lnTo>
                          <a:pt x="0" y="38"/>
                        </a:lnTo>
                        <a:lnTo>
                          <a:pt x="1" y="46"/>
                        </a:lnTo>
                        <a:lnTo>
                          <a:pt x="3" y="53"/>
                        </a:lnTo>
                        <a:lnTo>
                          <a:pt x="8" y="60"/>
                        </a:lnTo>
                        <a:lnTo>
                          <a:pt x="14" y="65"/>
                        </a:lnTo>
                        <a:lnTo>
                          <a:pt x="22" y="70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8" y="77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48" name="Freeform 1182"/>
                  <p:cNvSpPr>
                    <a:spLocks/>
                  </p:cNvSpPr>
                  <p:nvPr/>
                </p:nvSpPr>
                <p:spPr bwMode="auto">
                  <a:xfrm rot="-5400000">
                    <a:off x="3625" y="3302"/>
                    <a:ext cx="19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0" y="13"/>
                      </a:cxn>
                      <a:cxn ang="0">
                        <a:pos x="36" y="18"/>
                      </a:cxn>
                      <a:cxn ang="0">
                        <a:pos x="31" y="23"/>
                      </a:cxn>
                      <a:cxn ang="0">
                        <a:pos x="24" y="27"/>
                      </a:cxn>
                      <a:cxn ang="0">
                        <a:pos x="17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1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0" y="13"/>
                        </a:lnTo>
                        <a:lnTo>
                          <a:pt x="36" y="18"/>
                        </a:lnTo>
                        <a:lnTo>
                          <a:pt x="31" y="23"/>
                        </a:lnTo>
                        <a:lnTo>
                          <a:pt x="24" y="27"/>
                        </a:lnTo>
                        <a:lnTo>
                          <a:pt x="17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1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49" name="Freeform 1183"/>
                  <p:cNvSpPr>
                    <a:spLocks/>
                  </p:cNvSpPr>
                  <p:nvPr/>
                </p:nvSpPr>
                <p:spPr bwMode="auto">
                  <a:xfrm rot="-5400000">
                    <a:off x="3610" y="3302"/>
                    <a:ext cx="19" cy="15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1"/>
                      </a:cxn>
                      <a:cxn ang="0">
                        <a:pos x="42" y="37"/>
                      </a:cxn>
                      <a:cxn ang="0">
                        <a:pos x="43" y="44"/>
                      </a:cxn>
                      <a:cxn ang="0">
                        <a:pos x="54" y="44"/>
                      </a:cxn>
                      <a:cxn ang="0">
                        <a:pos x="53" y="35"/>
                      </a:cxn>
                      <a:cxn ang="0">
                        <a:pos x="50" y="27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4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1"/>
                        </a:lnTo>
                        <a:lnTo>
                          <a:pt x="42" y="37"/>
                        </a:lnTo>
                        <a:lnTo>
                          <a:pt x="43" y="44"/>
                        </a:lnTo>
                        <a:lnTo>
                          <a:pt x="54" y="44"/>
                        </a:lnTo>
                        <a:lnTo>
                          <a:pt x="53" y="35"/>
                        </a:lnTo>
                        <a:lnTo>
                          <a:pt x="50" y="27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0" name="Freeform 1184"/>
                  <p:cNvSpPr>
                    <a:spLocks/>
                  </p:cNvSpPr>
                  <p:nvPr/>
                </p:nvSpPr>
                <p:spPr bwMode="auto">
                  <a:xfrm rot="-5400000">
                    <a:off x="3612" y="3319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11" y="44"/>
                      </a:cxn>
                      <a:cxn ang="0">
                        <a:pos x="11" y="44"/>
                      </a:cxn>
                      <a:cxn ang="0">
                        <a:pos x="13" y="37"/>
                      </a:cxn>
                      <a:cxn ang="0">
                        <a:pos x="14" y="31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7"/>
                      </a:cxn>
                      <a:cxn ang="0">
                        <a:pos x="1" y="35"/>
                      </a:cxn>
                      <a:cxn ang="0">
                        <a:pos x="0" y="44"/>
                      </a:cxn>
                      <a:cxn ang="0">
                        <a:pos x="0" y="44"/>
                      </a:cxn>
                      <a:cxn ang="0">
                        <a:pos x="11" y="44"/>
                      </a:cxn>
                    </a:cxnLst>
                    <a:rect l="0" t="0" r="r" b="b"/>
                    <a:pathLst>
                      <a:path w="54" h="44">
                        <a:moveTo>
                          <a:pt x="11" y="44"/>
                        </a:moveTo>
                        <a:lnTo>
                          <a:pt x="11" y="44"/>
                        </a:lnTo>
                        <a:lnTo>
                          <a:pt x="13" y="37"/>
                        </a:lnTo>
                        <a:lnTo>
                          <a:pt x="14" y="31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7"/>
                        </a:lnTo>
                        <a:lnTo>
                          <a:pt x="1" y="35"/>
                        </a:lnTo>
                        <a:lnTo>
                          <a:pt x="0" y="44"/>
                        </a:lnTo>
                        <a:lnTo>
                          <a:pt x="0" y="44"/>
                        </a:lnTo>
                        <a:lnTo>
                          <a:pt x="1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1" name="Freeform 1185"/>
                  <p:cNvSpPr>
                    <a:spLocks/>
                  </p:cNvSpPr>
                  <p:nvPr/>
                </p:nvSpPr>
                <p:spPr bwMode="auto">
                  <a:xfrm rot="-5400000">
                    <a:off x="3626" y="3319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7"/>
                      </a:cxn>
                      <a:cxn ang="0">
                        <a:pos x="23" y="23"/>
                      </a:cxn>
                      <a:cxn ang="0">
                        <a:pos x="18" y="18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5" y="37"/>
                      </a:cxn>
                      <a:cxn ang="0">
                        <a:pos x="35" y="41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7"/>
                        </a:lnTo>
                        <a:lnTo>
                          <a:pt x="23" y="23"/>
                        </a:lnTo>
                        <a:lnTo>
                          <a:pt x="18" y="18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5" y="37"/>
                        </a:lnTo>
                        <a:lnTo>
                          <a:pt x="35" y="41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2" name="Freeform 1186"/>
                  <p:cNvSpPr>
                    <a:spLocks/>
                  </p:cNvSpPr>
                  <p:nvPr/>
                </p:nvSpPr>
                <p:spPr bwMode="auto">
                  <a:xfrm rot="-5400000">
                    <a:off x="3566" y="3283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8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2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2" y="271"/>
                      </a:cxn>
                      <a:cxn ang="0">
                        <a:pos x="92" y="267"/>
                      </a:cxn>
                      <a:cxn ang="0">
                        <a:pos x="74" y="262"/>
                      </a:cxn>
                      <a:cxn ang="0">
                        <a:pos x="63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0" y="65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6" y="1"/>
                      </a:cxn>
                      <a:cxn ang="0">
                        <a:pos x="127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7" y="52"/>
                      </a:cxn>
                      <a:cxn ang="0">
                        <a:pos x="119" y="51"/>
                      </a:cxn>
                      <a:cxn ang="0">
                        <a:pos x="106" y="44"/>
                      </a:cxn>
                      <a:cxn ang="0">
                        <a:pos x="86" y="40"/>
                      </a:cxn>
                      <a:cxn ang="0">
                        <a:pos x="73" y="46"/>
                      </a:cxn>
                      <a:cxn ang="0">
                        <a:pos x="66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3" y="156"/>
                      </a:cxn>
                      <a:cxn ang="0">
                        <a:pos x="50" y="182"/>
                      </a:cxn>
                      <a:cxn ang="0">
                        <a:pos x="61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2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19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2" y="236"/>
                        </a:lnTo>
                        <a:lnTo>
                          <a:pt x="142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8"/>
                        </a:lnTo>
                        <a:lnTo>
                          <a:pt x="112" y="271"/>
                        </a:lnTo>
                        <a:lnTo>
                          <a:pt x="102" y="270"/>
                        </a:lnTo>
                        <a:lnTo>
                          <a:pt x="92" y="267"/>
                        </a:lnTo>
                        <a:lnTo>
                          <a:pt x="83" y="265"/>
                        </a:lnTo>
                        <a:lnTo>
                          <a:pt x="74" y="262"/>
                        </a:lnTo>
                        <a:lnTo>
                          <a:pt x="68" y="258"/>
                        </a:lnTo>
                        <a:lnTo>
                          <a:pt x="63" y="256"/>
                        </a:lnTo>
                        <a:lnTo>
                          <a:pt x="59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5"/>
                        </a:lnTo>
                        <a:lnTo>
                          <a:pt x="20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0" y="0"/>
                        </a:lnTo>
                        <a:lnTo>
                          <a:pt x="96" y="1"/>
                        </a:lnTo>
                        <a:lnTo>
                          <a:pt x="112" y="8"/>
                        </a:lnTo>
                        <a:lnTo>
                          <a:pt x="127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7" y="52"/>
                        </a:lnTo>
                        <a:lnTo>
                          <a:pt x="122" y="52"/>
                        </a:lnTo>
                        <a:lnTo>
                          <a:pt x="119" y="51"/>
                        </a:lnTo>
                        <a:lnTo>
                          <a:pt x="118" y="51"/>
                        </a:lnTo>
                        <a:lnTo>
                          <a:pt x="106" y="44"/>
                        </a:lnTo>
                        <a:lnTo>
                          <a:pt x="95" y="40"/>
                        </a:lnTo>
                        <a:lnTo>
                          <a:pt x="86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6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3" y="156"/>
                        </a:lnTo>
                        <a:lnTo>
                          <a:pt x="47" y="168"/>
                        </a:lnTo>
                        <a:lnTo>
                          <a:pt x="50" y="182"/>
                        </a:lnTo>
                        <a:lnTo>
                          <a:pt x="57" y="197"/>
                        </a:lnTo>
                        <a:lnTo>
                          <a:pt x="61" y="204"/>
                        </a:lnTo>
                        <a:lnTo>
                          <a:pt x="66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3" name="Freeform 1187"/>
                  <p:cNvSpPr>
                    <a:spLocks/>
                  </p:cNvSpPr>
                  <p:nvPr/>
                </p:nvSpPr>
                <p:spPr bwMode="auto">
                  <a:xfrm rot="-5400000">
                    <a:off x="3611" y="3314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4" y="15"/>
                      </a:cxn>
                      <a:cxn ang="0">
                        <a:pos x="31" y="18"/>
                      </a:cxn>
                      <a:cxn ang="0">
                        <a:pos x="26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3" y="29"/>
                      </a:cxn>
                      <a:cxn ang="0">
                        <a:pos x="41" y="25"/>
                      </a:cxn>
                      <a:cxn ang="0">
                        <a:pos x="46" y="18"/>
                      </a:cxn>
                      <a:cxn ang="0">
                        <a:pos x="48" y="12"/>
                      </a:cxn>
                      <a:cxn ang="0">
                        <a:pos x="49" y="6"/>
                      </a:cxn>
                      <a:cxn ang="0">
                        <a:pos x="50" y="0"/>
                      </a:cxn>
                      <a:cxn ang="0">
                        <a:pos x="50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4" y="15"/>
                        </a:lnTo>
                        <a:lnTo>
                          <a:pt x="31" y="18"/>
                        </a:lnTo>
                        <a:lnTo>
                          <a:pt x="26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3" y="29"/>
                        </a:lnTo>
                        <a:lnTo>
                          <a:pt x="41" y="25"/>
                        </a:lnTo>
                        <a:lnTo>
                          <a:pt x="46" y="18"/>
                        </a:lnTo>
                        <a:lnTo>
                          <a:pt x="48" y="12"/>
                        </a:lnTo>
                        <a:lnTo>
                          <a:pt x="49" y="6"/>
                        </a:lnTo>
                        <a:lnTo>
                          <a:pt x="50" y="0"/>
                        </a:lnTo>
                        <a:lnTo>
                          <a:pt x="50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4" name="Freeform 1188"/>
                  <p:cNvSpPr>
                    <a:spLocks/>
                  </p:cNvSpPr>
                  <p:nvPr/>
                </p:nvSpPr>
                <p:spPr bwMode="auto">
                  <a:xfrm rot="-5400000">
                    <a:off x="3612" y="3303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6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18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30" h="23">
                        <a:moveTo>
                          <a:pt x="29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6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18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5" name="Freeform 1189"/>
                  <p:cNvSpPr>
                    <a:spLocks/>
                  </p:cNvSpPr>
                  <p:nvPr/>
                </p:nvSpPr>
                <p:spPr bwMode="auto">
                  <a:xfrm rot="-5400000">
                    <a:off x="3620" y="3302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6"/>
                      </a:cxn>
                      <a:cxn ang="0">
                        <a:pos x="47" y="16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6" y="16"/>
                      </a:cxn>
                      <a:cxn ang="0">
                        <a:pos x="35" y="22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6"/>
                        </a:lnTo>
                        <a:lnTo>
                          <a:pt x="47" y="16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6" y="16"/>
                        </a:lnTo>
                        <a:lnTo>
                          <a:pt x="35" y="22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6" name="Freeform 1190"/>
                  <p:cNvSpPr>
                    <a:spLocks/>
                  </p:cNvSpPr>
                  <p:nvPr/>
                </p:nvSpPr>
                <p:spPr bwMode="auto">
                  <a:xfrm rot="-5400000">
                    <a:off x="3624" y="3321"/>
                    <a:ext cx="15" cy="10"/>
                  </a:xfrm>
                  <a:custGeom>
                    <a:avLst/>
                    <a:gdLst/>
                    <a:ahLst/>
                    <a:cxnLst>
                      <a:cxn ang="0">
                        <a:pos x="1" y="8"/>
                      </a:cxn>
                      <a:cxn ang="0">
                        <a:pos x="1" y="8"/>
                      </a:cxn>
                      <a:cxn ang="0">
                        <a:pos x="2" y="9"/>
                      </a:cxn>
                      <a:cxn ang="0">
                        <a:pos x="3" y="11"/>
                      </a:cxn>
                      <a:cxn ang="0">
                        <a:pos x="8" y="13"/>
                      </a:cxn>
                      <a:cxn ang="0">
                        <a:pos x="12" y="16"/>
                      </a:cxn>
                      <a:cxn ang="0">
                        <a:pos x="19" y="19"/>
                      </a:cxn>
                      <a:cxn ang="0">
                        <a:pos x="28" y="24"/>
                      </a:cxn>
                      <a:cxn ang="0">
                        <a:pos x="38" y="26"/>
                      </a:cxn>
                      <a:cxn ang="0">
                        <a:pos x="49" y="28"/>
                      </a:cxn>
                      <a:cxn ang="0">
                        <a:pos x="49" y="17"/>
                      </a:cxn>
                      <a:cxn ang="0">
                        <a:pos x="40" y="15"/>
                      </a:cxn>
                      <a:cxn ang="0">
                        <a:pos x="31" y="12"/>
                      </a:cxn>
                      <a:cxn ang="0">
                        <a:pos x="24" y="10"/>
                      </a:cxn>
                      <a:cxn ang="0">
                        <a:pos x="17" y="6"/>
                      </a:cxn>
                      <a:cxn ang="0">
                        <a:pos x="12" y="4"/>
                      </a:cxn>
                      <a:cxn ang="0">
                        <a:pos x="10" y="2"/>
                      </a:cxn>
                      <a:cxn ang="0">
                        <a:pos x="9" y="2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4" y="0"/>
                      </a:cxn>
                      <a:cxn ang="0">
                        <a:pos x="1" y="1"/>
                      </a:cxn>
                      <a:cxn ang="0">
                        <a:pos x="0" y="4"/>
                      </a:cxn>
                      <a:cxn ang="0">
                        <a:pos x="1" y="8"/>
                      </a:cxn>
                    </a:cxnLst>
                    <a:rect l="0" t="0" r="r" b="b"/>
                    <a:pathLst>
                      <a:path w="49" h="28">
                        <a:moveTo>
                          <a:pt x="1" y="8"/>
                        </a:moveTo>
                        <a:lnTo>
                          <a:pt x="1" y="8"/>
                        </a:lnTo>
                        <a:lnTo>
                          <a:pt x="2" y="9"/>
                        </a:lnTo>
                        <a:lnTo>
                          <a:pt x="3" y="11"/>
                        </a:lnTo>
                        <a:lnTo>
                          <a:pt x="8" y="13"/>
                        </a:lnTo>
                        <a:lnTo>
                          <a:pt x="12" y="16"/>
                        </a:lnTo>
                        <a:lnTo>
                          <a:pt x="19" y="19"/>
                        </a:lnTo>
                        <a:lnTo>
                          <a:pt x="28" y="24"/>
                        </a:lnTo>
                        <a:lnTo>
                          <a:pt x="38" y="26"/>
                        </a:lnTo>
                        <a:lnTo>
                          <a:pt x="49" y="28"/>
                        </a:lnTo>
                        <a:lnTo>
                          <a:pt x="49" y="17"/>
                        </a:lnTo>
                        <a:lnTo>
                          <a:pt x="40" y="15"/>
                        </a:lnTo>
                        <a:lnTo>
                          <a:pt x="31" y="12"/>
                        </a:lnTo>
                        <a:lnTo>
                          <a:pt x="24" y="10"/>
                        </a:lnTo>
                        <a:lnTo>
                          <a:pt x="17" y="6"/>
                        </a:lnTo>
                        <a:lnTo>
                          <a:pt x="12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4" y="0"/>
                        </a:lnTo>
                        <a:lnTo>
                          <a:pt x="1" y="1"/>
                        </a:lnTo>
                        <a:lnTo>
                          <a:pt x="0" y="4"/>
                        </a:lnTo>
                        <a:lnTo>
                          <a:pt x="1" y="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7" name="Freeform 1191"/>
                  <p:cNvSpPr>
                    <a:spLocks/>
                  </p:cNvSpPr>
                  <p:nvPr/>
                </p:nvSpPr>
                <p:spPr bwMode="auto">
                  <a:xfrm rot="-5400000">
                    <a:off x="3561" y="3284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6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4" y="30"/>
                      </a:cxn>
                      <a:cxn ang="0">
                        <a:pos x="22" y="49"/>
                      </a:cxn>
                      <a:cxn ang="0">
                        <a:pos x="10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6" y="200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7" y="24"/>
                      </a:cxn>
                      <a:cxn ang="0">
                        <a:pos x="72" y="16"/>
                      </a:cxn>
                      <a:cxn ang="0">
                        <a:pos x="86" y="12"/>
                      </a:cxn>
                      <a:cxn ang="0">
                        <a:pos x="101" y="13"/>
                      </a:cxn>
                      <a:cxn ang="0">
                        <a:pos x="116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61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6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4" y="30"/>
                        </a:lnTo>
                        <a:lnTo>
                          <a:pt x="22" y="49"/>
                        </a:lnTo>
                        <a:lnTo>
                          <a:pt x="10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6" y="200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7" y="24"/>
                        </a:lnTo>
                        <a:lnTo>
                          <a:pt x="72" y="16"/>
                        </a:lnTo>
                        <a:lnTo>
                          <a:pt x="86" y="12"/>
                        </a:lnTo>
                        <a:lnTo>
                          <a:pt x="101" y="13"/>
                        </a:lnTo>
                        <a:lnTo>
                          <a:pt x="116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8" name="Freeform 1192"/>
                  <p:cNvSpPr>
                    <a:spLocks/>
                  </p:cNvSpPr>
                  <p:nvPr/>
                </p:nvSpPr>
                <p:spPr bwMode="auto">
                  <a:xfrm rot="-5400000">
                    <a:off x="3557" y="3302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9" y="15"/>
                      </a:cxn>
                      <a:cxn ang="0">
                        <a:pos x="10" y="14"/>
                      </a:cxn>
                      <a:cxn ang="0">
                        <a:pos x="13" y="9"/>
                      </a:cxn>
                      <a:cxn ang="0">
                        <a:pos x="14" y="6"/>
                      </a:cxn>
                      <a:cxn ang="0">
                        <a:pos x="13" y="0"/>
                      </a:cxn>
                      <a:cxn ang="0">
                        <a:pos x="4" y="5"/>
                      </a:cxn>
                      <a:cxn ang="0">
                        <a:pos x="2" y="4"/>
                      </a:cxn>
                      <a:cxn ang="0">
                        <a:pos x="1" y="7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4" y="17"/>
                      </a:cxn>
                      <a:cxn ang="0">
                        <a:pos x="7" y="17"/>
                      </a:cxn>
                      <a:cxn ang="0">
                        <a:pos x="9" y="15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4" h="18">
                        <a:moveTo>
                          <a:pt x="6" y="18"/>
                        </a:moveTo>
                        <a:lnTo>
                          <a:pt x="9" y="15"/>
                        </a:lnTo>
                        <a:lnTo>
                          <a:pt x="10" y="14"/>
                        </a:lnTo>
                        <a:lnTo>
                          <a:pt x="13" y="9"/>
                        </a:lnTo>
                        <a:lnTo>
                          <a:pt x="14" y="6"/>
                        </a:lnTo>
                        <a:lnTo>
                          <a:pt x="13" y="0"/>
                        </a:lnTo>
                        <a:lnTo>
                          <a:pt x="4" y="5"/>
                        </a:lnTo>
                        <a:lnTo>
                          <a:pt x="2" y="4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4" y="17"/>
                        </a:lnTo>
                        <a:lnTo>
                          <a:pt x="7" y="17"/>
                        </a:lnTo>
                        <a:lnTo>
                          <a:pt x="9" y="15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59" name="Freeform 1193"/>
                  <p:cNvSpPr>
                    <a:spLocks/>
                  </p:cNvSpPr>
                  <p:nvPr/>
                </p:nvSpPr>
                <p:spPr bwMode="auto">
                  <a:xfrm rot="-5400000">
                    <a:off x="3557" y="330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8" y="13"/>
                      </a:cxn>
                      <a:cxn ang="0">
                        <a:pos x="13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4" y="1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4" h="13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8" y="13"/>
                        </a:lnTo>
                        <a:lnTo>
                          <a:pt x="13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4" y="1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0" name="Freeform 1194"/>
                  <p:cNvSpPr>
                    <a:spLocks/>
                  </p:cNvSpPr>
                  <p:nvPr/>
                </p:nvSpPr>
                <p:spPr bwMode="auto">
                  <a:xfrm rot="-5400000">
                    <a:off x="3549" y="3317"/>
                    <a:ext cx="19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5" y="11"/>
                      </a:cxn>
                      <a:cxn ang="0">
                        <a:pos x="34" y="11"/>
                      </a:cxn>
                      <a:cxn ang="0">
                        <a:pos x="42" y="15"/>
                      </a:cxn>
                      <a:cxn ang="0">
                        <a:pos x="54" y="20"/>
                      </a:cxn>
                      <a:cxn ang="0">
                        <a:pos x="61" y="11"/>
                      </a:cxn>
                      <a:cxn ang="0">
                        <a:pos x="47" y="3"/>
                      </a:cxn>
                      <a:cxn ang="0">
                        <a:pos x="34" y="0"/>
                      </a:cxn>
                      <a:cxn ang="0">
                        <a:pos x="25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1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5" y="11"/>
                        </a:lnTo>
                        <a:lnTo>
                          <a:pt x="34" y="11"/>
                        </a:lnTo>
                        <a:lnTo>
                          <a:pt x="42" y="15"/>
                        </a:lnTo>
                        <a:lnTo>
                          <a:pt x="54" y="20"/>
                        </a:lnTo>
                        <a:lnTo>
                          <a:pt x="61" y="11"/>
                        </a:lnTo>
                        <a:lnTo>
                          <a:pt x="47" y="3"/>
                        </a:lnTo>
                        <a:lnTo>
                          <a:pt x="34" y="0"/>
                        </a:lnTo>
                        <a:lnTo>
                          <a:pt x="25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1" name="Freeform 1195"/>
                  <p:cNvSpPr>
                    <a:spLocks/>
                  </p:cNvSpPr>
                  <p:nvPr/>
                </p:nvSpPr>
                <p:spPr bwMode="auto">
                  <a:xfrm rot="-5400000">
                    <a:off x="3570" y="3319"/>
                    <a:ext cx="12" cy="30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1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2">
                        <a:moveTo>
                          <a:pt x="13" y="91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1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2" name="Freeform 1196"/>
                  <p:cNvSpPr>
                    <a:spLocks/>
                  </p:cNvSpPr>
                  <p:nvPr/>
                </p:nvSpPr>
                <p:spPr bwMode="auto">
                  <a:xfrm rot="-5400000">
                    <a:off x="3596" y="3325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3"/>
                      </a:cxn>
                      <a:cxn ang="0">
                        <a:pos x="27" y="53"/>
                      </a:cxn>
                      <a:cxn ang="0">
                        <a:pos x="21" y="39"/>
                      </a:cxn>
                      <a:cxn ang="0">
                        <a:pos x="18" y="25"/>
                      </a:cxn>
                      <a:cxn ang="0">
                        <a:pos x="14" y="12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3" y="15"/>
                      </a:cxn>
                      <a:cxn ang="0">
                        <a:pos x="6" y="27"/>
                      </a:cxn>
                      <a:cxn ang="0">
                        <a:pos x="10" y="41"/>
                      </a:cxn>
                      <a:cxn ang="0">
                        <a:pos x="18" y="57"/>
                      </a:cxn>
                      <a:cxn ang="0">
                        <a:pos x="16" y="57"/>
                      </a:cxn>
                      <a:cxn ang="0">
                        <a:pos x="28" y="53"/>
                      </a:cxn>
                    </a:cxnLst>
                    <a:rect l="0" t="0" r="r" b="b"/>
                    <a:pathLst>
                      <a:path w="28" h="57">
                        <a:moveTo>
                          <a:pt x="28" y="53"/>
                        </a:moveTo>
                        <a:lnTo>
                          <a:pt x="27" y="53"/>
                        </a:lnTo>
                        <a:lnTo>
                          <a:pt x="21" y="39"/>
                        </a:lnTo>
                        <a:lnTo>
                          <a:pt x="18" y="25"/>
                        </a:lnTo>
                        <a:lnTo>
                          <a:pt x="14" y="12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3" y="15"/>
                        </a:lnTo>
                        <a:lnTo>
                          <a:pt x="6" y="27"/>
                        </a:lnTo>
                        <a:lnTo>
                          <a:pt x="10" y="41"/>
                        </a:lnTo>
                        <a:lnTo>
                          <a:pt x="18" y="57"/>
                        </a:lnTo>
                        <a:lnTo>
                          <a:pt x="16" y="57"/>
                        </a:lnTo>
                        <a:lnTo>
                          <a:pt x="28" y="5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3" name="Freeform 1197"/>
                  <p:cNvSpPr>
                    <a:spLocks/>
                  </p:cNvSpPr>
                  <p:nvPr/>
                </p:nvSpPr>
                <p:spPr bwMode="auto">
                  <a:xfrm rot="-5400000">
                    <a:off x="3610" y="3322"/>
                    <a:ext cx="10" cy="13"/>
                  </a:xfrm>
                  <a:custGeom>
                    <a:avLst/>
                    <a:gdLst/>
                    <a:ahLst/>
                    <a:cxnLst>
                      <a:cxn ang="0">
                        <a:pos x="33" y="27"/>
                      </a:cxn>
                      <a:cxn ang="0">
                        <a:pos x="33" y="27"/>
                      </a:cxn>
                      <a:cxn ang="0">
                        <a:pos x="27" y="22"/>
                      </a:cxn>
                      <a:cxn ang="0">
                        <a:pos x="20" y="14"/>
                      </a:cxn>
                      <a:cxn ang="0">
                        <a:pos x="14" y="7"/>
                      </a:cxn>
                      <a:cxn ang="0">
                        <a:pos x="12" y="0"/>
                      </a:cxn>
                      <a:cxn ang="0">
                        <a:pos x="0" y="4"/>
                      </a:cxn>
                      <a:cxn ang="0">
                        <a:pos x="5" y="11"/>
                      </a:cxn>
                      <a:cxn ang="0">
                        <a:pos x="11" y="20"/>
                      </a:cxn>
                      <a:cxn ang="0">
                        <a:pos x="18" y="28"/>
                      </a:cxn>
                      <a:cxn ang="0">
                        <a:pos x="26" y="37"/>
                      </a:cxn>
                      <a:cxn ang="0">
                        <a:pos x="26" y="37"/>
                      </a:cxn>
                      <a:cxn ang="0">
                        <a:pos x="26" y="37"/>
                      </a:cxn>
                      <a:cxn ang="0">
                        <a:pos x="30" y="38"/>
                      </a:cxn>
                      <a:cxn ang="0">
                        <a:pos x="34" y="35"/>
                      </a:cxn>
                      <a:cxn ang="0">
                        <a:pos x="35" y="31"/>
                      </a:cxn>
                      <a:cxn ang="0">
                        <a:pos x="33" y="27"/>
                      </a:cxn>
                    </a:cxnLst>
                    <a:rect l="0" t="0" r="r" b="b"/>
                    <a:pathLst>
                      <a:path w="35" h="38">
                        <a:moveTo>
                          <a:pt x="33" y="27"/>
                        </a:moveTo>
                        <a:lnTo>
                          <a:pt x="33" y="27"/>
                        </a:lnTo>
                        <a:lnTo>
                          <a:pt x="27" y="22"/>
                        </a:lnTo>
                        <a:lnTo>
                          <a:pt x="20" y="14"/>
                        </a:lnTo>
                        <a:lnTo>
                          <a:pt x="14" y="7"/>
                        </a:lnTo>
                        <a:lnTo>
                          <a:pt x="12" y="0"/>
                        </a:lnTo>
                        <a:lnTo>
                          <a:pt x="0" y="4"/>
                        </a:lnTo>
                        <a:lnTo>
                          <a:pt x="5" y="11"/>
                        </a:lnTo>
                        <a:lnTo>
                          <a:pt x="11" y="20"/>
                        </a:lnTo>
                        <a:lnTo>
                          <a:pt x="18" y="28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30" y="38"/>
                        </a:lnTo>
                        <a:lnTo>
                          <a:pt x="34" y="35"/>
                        </a:lnTo>
                        <a:lnTo>
                          <a:pt x="35" y="31"/>
                        </a:lnTo>
                        <a:lnTo>
                          <a:pt x="33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4" name="Freeform 1198"/>
                  <p:cNvSpPr>
                    <a:spLocks/>
                  </p:cNvSpPr>
                  <p:nvPr/>
                </p:nvSpPr>
                <p:spPr bwMode="auto">
                  <a:xfrm rot="-5400000">
                    <a:off x="3561" y="3903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0" y="5"/>
                      </a:cxn>
                      <a:cxn ang="0">
                        <a:pos x="2" y="11"/>
                      </a:cxn>
                      <a:cxn ang="0">
                        <a:pos x="6" y="15"/>
                      </a:cxn>
                      <a:cxn ang="0">
                        <a:pos x="13" y="14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13" h="15">
                        <a:moveTo>
                          <a:pt x="4" y="0"/>
                        </a:moveTo>
                        <a:lnTo>
                          <a:pt x="0" y="5"/>
                        </a:lnTo>
                        <a:lnTo>
                          <a:pt x="2" y="11"/>
                        </a:lnTo>
                        <a:lnTo>
                          <a:pt x="6" y="15"/>
                        </a:lnTo>
                        <a:lnTo>
                          <a:pt x="13" y="14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5" name="Freeform 1199"/>
                  <p:cNvSpPr>
                    <a:spLocks/>
                  </p:cNvSpPr>
                  <p:nvPr/>
                </p:nvSpPr>
                <p:spPr bwMode="auto">
                  <a:xfrm rot="-5400000">
                    <a:off x="3545" y="3885"/>
                    <a:ext cx="28" cy="14"/>
                  </a:xfrm>
                  <a:custGeom>
                    <a:avLst/>
                    <a:gdLst/>
                    <a:ahLst/>
                    <a:cxnLst>
                      <a:cxn ang="0">
                        <a:pos x="91" y="0"/>
                      </a:cxn>
                      <a:cxn ang="0">
                        <a:pos x="91" y="0"/>
                      </a:cxn>
                      <a:cxn ang="0">
                        <a:pos x="82" y="0"/>
                      </a:cxn>
                      <a:cxn ang="0">
                        <a:pos x="71" y="0"/>
                      </a:cxn>
                      <a:cxn ang="0">
                        <a:pos x="61" y="1"/>
                      </a:cxn>
                      <a:cxn ang="0">
                        <a:pos x="51" y="4"/>
                      </a:cxn>
                      <a:cxn ang="0">
                        <a:pos x="39" y="6"/>
                      </a:cxn>
                      <a:cxn ang="0">
                        <a:pos x="26" y="12"/>
                      </a:cxn>
                      <a:cxn ang="0">
                        <a:pos x="15" y="19"/>
                      </a:cxn>
                      <a:cxn ang="0">
                        <a:pos x="0" y="27"/>
                      </a:cxn>
                      <a:cxn ang="0">
                        <a:pos x="9" y="41"/>
                      </a:cxn>
                      <a:cxn ang="0">
                        <a:pos x="22" y="32"/>
                      </a:cxn>
                      <a:cxn ang="0">
                        <a:pos x="33" y="26"/>
                      </a:cxn>
                      <a:cxn ang="0">
                        <a:pos x="44" y="22"/>
                      </a:cxn>
                      <a:cxn ang="0">
                        <a:pos x="53" y="20"/>
                      </a:cxn>
                      <a:cxn ang="0">
                        <a:pos x="63" y="18"/>
                      </a:cxn>
                      <a:cxn ang="0">
                        <a:pos x="71" y="16"/>
                      </a:cxn>
                      <a:cxn ang="0">
                        <a:pos x="82" y="16"/>
                      </a:cxn>
                      <a:cxn ang="0">
                        <a:pos x="91" y="16"/>
                      </a:cxn>
                      <a:cxn ang="0">
                        <a:pos x="91" y="16"/>
                      </a:cxn>
                      <a:cxn ang="0">
                        <a:pos x="91" y="0"/>
                      </a:cxn>
                    </a:cxnLst>
                    <a:rect l="0" t="0" r="r" b="b"/>
                    <a:pathLst>
                      <a:path w="91" h="41">
                        <a:moveTo>
                          <a:pt x="91" y="0"/>
                        </a:moveTo>
                        <a:lnTo>
                          <a:pt x="91" y="0"/>
                        </a:lnTo>
                        <a:lnTo>
                          <a:pt x="82" y="0"/>
                        </a:lnTo>
                        <a:lnTo>
                          <a:pt x="71" y="0"/>
                        </a:lnTo>
                        <a:lnTo>
                          <a:pt x="61" y="1"/>
                        </a:lnTo>
                        <a:lnTo>
                          <a:pt x="51" y="4"/>
                        </a:lnTo>
                        <a:lnTo>
                          <a:pt x="39" y="6"/>
                        </a:lnTo>
                        <a:lnTo>
                          <a:pt x="26" y="12"/>
                        </a:lnTo>
                        <a:lnTo>
                          <a:pt x="15" y="19"/>
                        </a:lnTo>
                        <a:lnTo>
                          <a:pt x="0" y="27"/>
                        </a:lnTo>
                        <a:lnTo>
                          <a:pt x="9" y="41"/>
                        </a:lnTo>
                        <a:lnTo>
                          <a:pt x="22" y="32"/>
                        </a:lnTo>
                        <a:lnTo>
                          <a:pt x="33" y="26"/>
                        </a:lnTo>
                        <a:lnTo>
                          <a:pt x="44" y="22"/>
                        </a:lnTo>
                        <a:lnTo>
                          <a:pt x="53" y="20"/>
                        </a:lnTo>
                        <a:lnTo>
                          <a:pt x="63" y="18"/>
                        </a:lnTo>
                        <a:lnTo>
                          <a:pt x="71" y="16"/>
                        </a:lnTo>
                        <a:lnTo>
                          <a:pt x="82" y="16"/>
                        </a:lnTo>
                        <a:lnTo>
                          <a:pt x="91" y="16"/>
                        </a:lnTo>
                        <a:lnTo>
                          <a:pt x="91" y="16"/>
                        </a:lnTo>
                        <a:lnTo>
                          <a:pt x="9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6" name="Freeform 1200"/>
                  <p:cNvSpPr>
                    <a:spLocks/>
                  </p:cNvSpPr>
                  <p:nvPr/>
                </p:nvSpPr>
                <p:spPr bwMode="auto">
                  <a:xfrm rot="-5400000">
                    <a:off x="3562" y="3904"/>
                    <a:ext cx="1" cy="5"/>
                  </a:xfrm>
                  <a:custGeom>
                    <a:avLst/>
                    <a:gdLst/>
                    <a:ahLst/>
                    <a:cxnLst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4" y="0"/>
                      </a:cxn>
                    </a:cxnLst>
                    <a:rect l="0" t="0" r="r" b="b"/>
                    <a:pathLst>
                      <a:path w="4" h="11">
                        <a:moveTo>
                          <a:pt x="4" y="0"/>
                        </a:move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4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7" name="Freeform 1201"/>
                  <p:cNvSpPr>
                    <a:spLocks/>
                  </p:cNvSpPr>
                  <p:nvPr/>
                </p:nvSpPr>
                <p:spPr bwMode="auto">
                  <a:xfrm rot="-5400000">
                    <a:off x="3609" y="3366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8" y="77"/>
                      </a:cxn>
                      <a:cxn ang="0">
                        <a:pos x="67" y="75"/>
                      </a:cxn>
                      <a:cxn ang="0">
                        <a:pos x="75" y="71"/>
                      </a:cxn>
                      <a:cxn ang="0">
                        <a:pos x="83" y="67"/>
                      </a:cxn>
                      <a:cxn ang="0">
                        <a:pos x="89" y="61"/>
                      </a:cxn>
                      <a:cxn ang="0">
                        <a:pos x="93" y="54"/>
                      </a:cxn>
                      <a:cxn ang="0">
                        <a:pos x="96" y="47"/>
                      </a:cxn>
                      <a:cxn ang="0">
                        <a:pos x="97" y="39"/>
                      </a:cxn>
                      <a:cxn ang="0">
                        <a:pos x="96" y="31"/>
                      </a:cxn>
                      <a:cxn ang="0">
                        <a:pos x="93" y="24"/>
                      </a:cxn>
                      <a:cxn ang="0">
                        <a:pos x="89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8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1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7" h="78">
                        <a:moveTo>
                          <a:pt x="48" y="78"/>
                        </a:moveTo>
                        <a:lnTo>
                          <a:pt x="58" y="77"/>
                        </a:lnTo>
                        <a:lnTo>
                          <a:pt x="67" y="75"/>
                        </a:lnTo>
                        <a:lnTo>
                          <a:pt x="75" y="71"/>
                        </a:lnTo>
                        <a:lnTo>
                          <a:pt x="83" y="67"/>
                        </a:lnTo>
                        <a:lnTo>
                          <a:pt x="89" y="61"/>
                        </a:lnTo>
                        <a:lnTo>
                          <a:pt x="93" y="54"/>
                        </a:lnTo>
                        <a:lnTo>
                          <a:pt x="96" y="47"/>
                        </a:lnTo>
                        <a:lnTo>
                          <a:pt x="97" y="39"/>
                        </a:lnTo>
                        <a:lnTo>
                          <a:pt x="96" y="31"/>
                        </a:lnTo>
                        <a:lnTo>
                          <a:pt x="93" y="24"/>
                        </a:lnTo>
                        <a:lnTo>
                          <a:pt x="89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8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1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8" name="Freeform 1202"/>
                  <p:cNvSpPr>
                    <a:spLocks/>
                  </p:cNvSpPr>
                  <p:nvPr/>
                </p:nvSpPr>
                <p:spPr bwMode="auto">
                  <a:xfrm rot="-5400000">
                    <a:off x="3624" y="3363"/>
                    <a:ext cx="16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1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5" y="28"/>
                      </a:cxn>
                      <a:cxn ang="0">
                        <a:pos x="18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1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1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5" y="28"/>
                        </a:lnTo>
                        <a:lnTo>
                          <a:pt x="18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1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69" name="Freeform 1203"/>
                  <p:cNvSpPr>
                    <a:spLocks/>
                  </p:cNvSpPr>
                  <p:nvPr/>
                </p:nvSpPr>
                <p:spPr bwMode="auto">
                  <a:xfrm rot="-5400000">
                    <a:off x="3609" y="3363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8" y="15"/>
                      </a:cxn>
                      <a:cxn ang="0">
                        <a:pos x="25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1" y="32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1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8" y="15"/>
                        </a:lnTo>
                        <a:lnTo>
                          <a:pt x="25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1" y="32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1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0" name="Freeform 1204"/>
                  <p:cNvSpPr>
                    <a:spLocks/>
                  </p:cNvSpPr>
                  <p:nvPr/>
                </p:nvSpPr>
                <p:spPr bwMode="auto">
                  <a:xfrm rot="-5400000">
                    <a:off x="3609" y="3380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6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6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1" name="Freeform 1205"/>
                  <p:cNvSpPr>
                    <a:spLocks/>
                  </p:cNvSpPr>
                  <p:nvPr/>
                </p:nvSpPr>
                <p:spPr bwMode="auto">
                  <a:xfrm rot="-5400000">
                    <a:off x="3624" y="3380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9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6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9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6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2" name="Freeform 1206"/>
                  <p:cNvSpPr>
                    <a:spLocks/>
                  </p:cNvSpPr>
                  <p:nvPr/>
                </p:nvSpPr>
                <p:spPr bwMode="auto">
                  <a:xfrm rot="-5400000">
                    <a:off x="3611" y="3476"/>
                    <a:ext cx="29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6" y="74"/>
                      </a:cxn>
                      <a:cxn ang="0">
                        <a:pos x="74" y="71"/>
                      </a:cxn>
                      <a:cxn ang="0">
                        <a:pos x="81" y="66"/>
                      </a:cxn>
                      <a:cxn ang="0">
                        <a:pos x="87" y="60"/>
                      </a:cxn>
                      <a:cxn ang="0">
                        <a:pos x="91" y="55"/>
                      </a:cxn>
                      <a:cxn ang="0">
                        <a:pos x="94" y="48"/>
                      </a:cxn>
                      <a:cxn ang="0">
                        <a:pos x="95" y="40"/>
                      </a:cxn>
                      <a:cxn ang="0">
                        <a:pos x="94" y="31"/>
                      </a:cxn>
                      <a:cxn ang="0">
                        <a:pos x="91" y="25"/>
                      </a:cxn>
                      <a:cxn ang="0">
                        <a:pos x="87" y="18"/>
                      </a:cxn>
                      <a:cxn ang="0">
                        <a:pos x="81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8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8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5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6" y="74"/>
                        </a:lnTo>
                        <a:lnTo>
                          <a:pt x="74" y="71"/>
                        </a:lnTo>
                        <a:lnTo>
                          <a:pt x="81" y="66"/>
                        </a:lnTo>
                        <a:lnTo>
                          <a:pt x="87" y="60"/>
                        </a:lnTo>
                        <a:lnTo>
                          <a:pt x="91" y="55"/>
                        </a:lnTo>
                        <a:lnTo>
                          <a:pt x="94" y="48"/>
                        </a:lnTo>
                        <a:lnTo>
                          <a:pt x="95" y="40"/>
                        </a:lnTo>
                        <a:lnTo>
                          <a:pt x="94" y="31"/>
                        </a:lnTo>
                        <a:lnTo>
                          <a:pt x="91" y="25"/>
                        </a:lnTo>
                        <a:lnTo>
                          <a:pt x="87" y="18"/>
                        </a:lnTo>
                        <a:lnTo>
                          <a:pt x="81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8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8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3" name="Freeform 1207"/>
                  <p:cNvSpPr>
                    <a:spLocks/>
                  </p:cNvSpPr>
                  <p:nvPr/>
                </p:nvSpPr>
                <p:spPr bwMode="auto">
                  <a:xfrm rot="-5400000">
                    <a:off x="3624" y="3473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4" y="17"/>
                      </a:cxn>
                      <a:cxn ang="0">
                        <a:pos x="29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6" y="31"/>
                      </a:cxn>
                      <a:cxn ang="0">
                        <a:pos x="43" y="24"/>
                      </a:cxn>
                      <a:cxn ang="0">
                        <a:pos x="48" y="17"/>
                      </a:cxn>
                      <a:cxn ang="0">
                        <a:pos x="51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3" h="43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4" y="17"/>
                        </a:lnTo>
                        <a:lnTo>
                          <a:pt x="29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6" y="31"/>
                        </a:lnTo>
                        <a:lnTo>
                          <a:pt x="43" y="24"/>
                        </a:lnTo>
                        <a:lnTo>
                          <a:pt x="48" y="17"/>
                        </a:lnTo>
                        <a:lnTo>
                          <a:pt x="51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4" name="Freeform 1208"/>
                  <p:cNvSpPr>
                    <a:spLocks/>
                  </p:cNvSpPr>
                  <p:nvPr/>
                </p:nvSpPr>
                <p:spPr bwMode="auto">
                  <a:xfrm rot="-5400000">
                    <a:off x="3610" y="3472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29" y="21"/>
                      </a:cxn>
                      <a:cxn ang="0">
                        <a:pos x="34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1" y="45"/>
                      </a:cxn>
                      <a:cxn ang="0">
                        <a:pos x="53" y="45"/>
                      </a:cxn>
                      <a:cxn ang="0">
                        <a:pos x="51" y="35"/>
                      </a:cxn>
                      <a:cxn ang="0">
                        <a:pos x="48" y="27"/>
                      </a:cxn>
                      <a:cxn ang="0">
                        <a:pos x="43" y="19"/>
                      </a:cxn>
                      <a:cxn ang="0">
                        <a:pos x="36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29" y="21"/>
                        </a:lnTo>
                        <a:lnTo>
                          <a:pt x="34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1" y="45"/>
                        </a:lnTo>
                        <a:lnTo>
                          <a:pt x="53" y="45"/>
                        </a:lnTo>
                        <a:lnTo>
                          <a:pt x="51" y="35"/>
                        </a:lnTo>
                        <a:lnTo>
                          <a:pt x="48" y="27"/>
                        </a:lnTo>
                        <a:lnTo>
                          <a:pt x="43" y="19"/>
                        </a:lnTo>
                        <a:lnTo>
                          <a:pt x="36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5" name="Freeform 1209"/>
                  <p:cNvSpPr>
                    <a:spLocks/>
                  </p:cNvSpPr>
                  <p:nvPr/>
                </p:nvSpPr>
                <p:spPr bwMode="auto">
                  <a:xfrm rot="-5400000">
                    <a:off x="3610" y="3491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3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28" y="17"/>
                      </a:cxn>
                      <a:cxn ang="0">
                        <a:pos x="35" y="15"/>
                      </a:cxn>
                      <a:cxn ang="0">
                        <a:pos x="44" y="12"/>
                      </a:cxn>
                      <a:cxn ang="0">
                        <a:pos x="53" y="11"/>
                      </a:cxn>
                      <a:cxn ang="0">
                        <a:pos x="53" y="0"/>
                      </a:cxn>
                      <a:cxn ang="0">
                        <a:pos x="42" y="1"/>
                      </a:cxn>
                      <a:cxn ang="0">
                        <a:pos x="33" y="3"/>
                      </a:cxn>
                      <a:cxn ang="0">
                        <a:pos x="24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4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3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3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28" y="17"/>
                        </a:lnTo>
                        <a:lnTo>
                          <a:pt x="35" y="15"/>
                        </a:lnTo>
                        <a:lnTo>
                          <a:pt x="44" y="12"/>
                        </a:lnTo>
                        <a:lnTo>
                          <a:pt x="53" y="11"/>
                        </a:lnTo>
                        <a:lnTo>
                          <a:pt x="53" y="0"/>
                        </a:lnTo>
                        <a:lnTo>
                          <a:pt x="42" y="1"/>
                        </a:lnTo>
                        <a:lnTo>
                          <a:pt x="33" y="3"/>
                        </a:lnTo>
                        <a:lnTo>
                          <a:pt x="24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4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6" name="Freeform 1210"/>
                  <p:cNvSpPr>
                    <a:spLocks/>
                  </p:cNvSpPr>
                  <p:nvPr/>
                </p:nvSpPr>
                <p:spPr bwMode="auto">
                  <a:xfrm rot="-5400000">
                    <a:off x="3625" y="3491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53" y="32"/>
                      </a:cxn>
                      <a:cxn ang="0">
                        <a:pos x="53" y="32"/>
                      </a:cxn>
                      <a:cxn ang="0">
                        <a:pos x="44" y="31"/>
                      </a:cxn>
                      <a:cxn ang="0">
                        <a:pos x="35" y="28"/>
                      </a:cxn>
                      <a:cxn ang="0">
                        <a:pos x="28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3" y="12"/>
                      </a:cxn>
                      <a:cxn ang="0">
                        <a:pos x="12" y="6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4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4" y="35"/>
                      </a:cxn>
                      <a:cxn ang="0">
                        <a:pos x="33" y="40"/>
                      </a:cxn>
                      <a:cxn ang="0">
                        <a:pos x="42" y="42"/>
                      </a:cxn>
                      <a:cxn ang="0">
                        <a:pos x="53" y="43"/>
                      </a:cxn>
                      <a:cxn ang="0">
                        <a:pos x="53" y="43"/>
                      </a:cxn>
                      <a:cxn ang="0">
                        <a:pos x="53" y="32"/>
                      </a:cxn>
                    </a:cxnLst>
                    <a:rect l="0" t="0" r="r" b="b"/>
                    <a:pathLst>
                      <a:path w="53" h="43">
                        <a:moveTo>
                          <a:pt x="53" y="32"/>
                        </a:moveTo>
                        <a:lnTo>
                          <a:pt x="53" y="32"/>
                        </a:lnTo>
                        <a:lnTo>
                          <a:pt x="44" y="31"/>
                        </a:lnTo>
                        <a:lnTo>
                          <a:pt x="35" y="28"/>
                        </a:lnTo>
                        <a:lnTo>
                          <a:pt x="28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3" y="12"/>
                        </a:lnTo>
                        <a:lnTo>
                          <a:pt x="12" y="6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4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4" y="35"/>
                        </a:lnTo>
                        <a:lnTo>
                          <a:pt x="33" y="40"/>
                        </a:lnTo>
                        <a:lnTo>
                          <a:pt x="42" y="42"/>
                        </a:lnTo>
                        <a:lnTo>
                          <a:pt x="53" y="43"/>
                        </a:lnTo>
                        <a:lnTo>
                          <a:pt x="53" y="43"/>
                        </a:lnTo>
                        <a:lnTo>
                          <a:pt x="53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7" name="Freeform 1211"/>
                  <p:cNvSpPr>
                    <a:spLocks/>
                  </p:cNvSpPr>
                  <p:nvPr/>
                </p:nvSpPr>
                <p:spPr bwMode="auto">
                  <a:xfrm rot="-5400000">
                    <a:off x="3613" y="3528"/>
                    <a:ext cx="31" cy="25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7"/>
                      </a:cxn>
                      <a:cxn ang="0">
                        <a:pos x="67" y="75"/>
                      </a:cxn>
                      <a:cxn ang="0">
                        <a:pos x="75" y="72"/>
                      </a:cxn>
                      <a:cxn ang="0">
                        <a:pos x="83" y="67"/>
                      </a:cxn>
                      <a:cxn ang="0">
                        <a:pos x="89" y="61"/>
                      </a:cxn>
                      <a:cxn ang="0">
                        <a:pos x="93" y="54"/>
                      </a:cxn>
                      <a:cxn ang="0">
                        <a:pos x="96" y="47"/>
                      </a:cxn>
                      <a:cxn ang="0">
                        <a:pos x="97" y="39"/>
                      </a:cxn>
                      <a:cxn ang="0">
                        <a:pos x="96" y="31"/>
                      </a:cxn>
                      <a:cxn ang="0">
                        <a:pos x="93" y="24"/>
                      </a:cxn>
                      <a:cxn ang="0">
                        <a:pos x="89" y="17"/>
                      </a:cxn>
                      <a:cxn ang="0">
                        <a:pos x="83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2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7" h="78">
                        <a:moveTo>
                          <a:pt x="48" y="78"/>
                        </a:moveTo>
                        <a:lnTo>
                          <a:pt x="57" y="77"/>
                        </a:lnTo>
                        <a:lnTo>
                          <a:pt x="67" y="75"/>
                        </a:lnTo>
                        <a:lnTo>
                          <a:pt x="75" y="72"/>
                        </a:lnTo>
                        <a:lnTo>
                          <a:pt x="83" y="67"/>
                        </a:lnTo>
                        <a:lnTo>
                          <a:pt x="89" y="61"/>
                        </a:lnTo>
                        <a:lnTo>
                          <a:pt x="93" y="54"/>
                        </a:lnTo>
                        <a:lnTo>
                          <a:pt x="96" y="47"/>
                        </a:lnTo>
                        <a:lnTo>
                          <a:pt x="97" y="39"/>
                        </a:lnTo>
                        <a:lnTo>
                          <a:pt x="96" y="31"/>
                        </a:lnTo>
                        <a:lnTo>
                          <a:pt x="93" y="24"/>
                        </a:lnTo>
                        <a:lnTo>
                          <a:pt x="89" y="17"/>
                        </a:lnTo>
                        <a:lnTo>
                          <a:pt x="83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2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8" name="Freeform 1212"/>
                  <p:cNvSpPr>
                    <a:spLocks/>
                  </p:cNvSpPr>
                  <p:nvPr/>
                </p:nvSpPr>
                <p:spPr bwMode="auto">
                  <a:xfrm rot="-5400000">
                    <a:off x="3627" y="3525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1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8" y="30"/>
                      </a:cxn>
                      <a:cxn ang="0">
                        <a:pos x="8" y="33"/>
                      </a:cxn>
                      <a:cxn ang="0">
                        <a:pos x="0" y="34"/>
                      </a:cxn>
                      <a:cxn ang="0">
                        <a:pos x="0" y="45"/>
                      </a:cxn>
                      <a:cxn ang="0">
                        <a:pos x="11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3"/>
                      </a:cxn>
                      <a:cxn ang="0">
                        <a:pos x="45" y="26"/>
                      </a:cxn>
                      <a:cxn ang="0">
                        <a:pos x="50" y="18"/>
                      </a:cxn>
                      <a:cxn ang="0">
                        <a:pos x="53" y="10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1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8" y="30"/>
                        </a:lnTo>
                        <a:lnTo>
                          <a:pt x="8" y="33"/>
                        </a:lnTo>
                        <a:lnTo>
                          <a:pt x="0" y="34"/>
                        </a:lnTo>
                        <a:lnTo>
                          <a:pt x="0" y="45"/>
                        </a:lnTo>
                        <a:lnTo>
                          <a:pt x="11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3"/>
                        </a:lnTo>
                        <a:lnTo>
                          <a:pt x="45" y="26"/>
                        </a:lnTo>
                        <a:lnTo>
                          <a:pt x="50" y="18"/>
                        </a:lnTo>
                        <a:lnTo>
                          <a:pt x="53" y="1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79" name="Freeform 1213"/>
                  <p:cNvSpPr>
                    <a:spLocks/>
                  </p:cNvSpPr>
                  <p:nvPr/>
                </p:nvSpPr>
                <p:spPr bwMode="auto">
                  <a:xfrm rot="-5400000">
                    <a:off x="3611" y="3525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8" y="15"/>
                      </a:cxn>
                      <a:cxn ang="0">
                        <a:pos x="24" y="18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1" y="33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1" y="2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8" y="15"/>
                        </a:lnTo>
                        <a:lnTo>
                          <a:pt x="24" y="18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1" y="33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1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0" name="Freeform 1214"/>
                  <p:cNvSpPr>
                    <a:spLocks/>
                  </p:cNvSpPr>
                  <p:nvPr/>
                </p:nvSpPr>
                <p:spPr bwMode="auto">
                  <a:xfrm rot="-5400000">
                    <a:off x="3611" y="3543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3"/>
                      </a:cxn>
                      <a:cxn ang="0">
                        <a:pos x="19" y="27"/>
                      </a:cxn>
                      <a:cxn ang="0">
                        <a:pos x="23" y="22"/>
                      </a:cxn>
                      <a:cxn ang="0">
                        <a:pos x="30" y="18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2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3"/>
                        </a:lnTo>
                        <a:lnTo>
                          <a:pt x="19" y="27"/>
                        </a:lnTo>
                        <a:lnTo>
                          <a:pt x="23" y="22"/>
                        </a:lnTo>
                        <a:lnTo>
                          <a:pt x="30" y="18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2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1" name="Freeform 1215"/>
                  <p:cNvSpPr>
                    <a:spLocks/>
                  </p:cNvSpPr>
                  <p:nvPr/>
                </p:nvSpPr>
                <p:spPr bwMode="auto">
                  <a:xfrm rot="-5400000">
                    <a:off x="3627" y="3543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4"/>
                      </a:cxn>
                      <a:cxn ang="0">
                        <a:pos x="54" y="34"/>
                      </a:cxn>
                      <a:cxn ang="0">
                        <a:pos x="46" y="33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9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10"/>
                      </a:cxn>
                      <a:cxn ang="0">
                        <a:pos x="5" y="18"/>
                      </a:cxn>
                      <a:cxn ang="0">
                        <a:pos x="9" y="26"/>
                      </a:cxn>
                      <a:cxn ang="0">
                        <a:pos x="16" y="33"/>
                      </a:cxn>
                      <a:cxn ang="0">
                        <a:pos x="25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4"/>
                      </a:cxn>
                    </a:cxnLst>
                    <a:rect l="0" t="0" r="r" b="b"/>
                    <a:pathLst>
                      <a:path w="54" h="45">
                        <a:moveTo>
                          <a:pt x="54" y="34"/>
                        </a:moveTo>
                        <a:lnTo>
                          <a:pt x="54" y="34"/>
                        </a:lnTo>
                        <a:lnTo>
                          <a:pt x="46" y="33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9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10"/>
                        </a:lnTo>
                        <a:lnTo>
                          <a:pt x="5" y="18"/>
                        </a:lnTo>
                        <a:lnTo>
                          <a:pt x="9" y="26"/>
                        </a:lnTo>
                        <a:lnTo>
                          <a:pt x="16" y="33"/>
                        </a:lnTo>
                        <a:lnTo>
                          <a:pt x="25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2" name="Freeform 1216"/>
                  <p:cNvSpPr>
                    <a:spLocks/>
                  </p:cNvSpPr>
                  <p:nvPr/>
                </p:nvSpPr>
                <p:spPr bwMode="auto">
                  <a:xfrm rot="-5400000">
                    <a:off x="3610" y="3589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9" y="78"/>
                      </a:cxn>
                      <a:cxn ang="0">
                        <a:pos x="58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3" y="66"/>
                      </a:cxn>
                      <a:cxn ang="0">
                        <a:pos x="89" y="60"/>
                      </a:cxn>
                      <a:cxn ang="0">
                        <a:pos x="93" y="55"/>
                      </a:cxn>
                      <a:cxn ang="0">
                        <a:pos x="96" y="48"/>
                      </a:cxn>
                      <a:cxn ang="0">
                        <a:pos x="97" y="40"/>
                      </a:cxn>
                      <a:cxn ang="0">
                        <a:pos x="96" y="31"/>
                      </a:cxn>
                      <a:cxn ang="0">
                        <a:pos x="93" y="25"/>
                      </a:cxn>
                      <a:cxn ang="0">
                        <a:pos x="89" y="18"/>
                      </a:cxn>
                      <a:cxn ang="0">
                        <a:pos x="83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8" y="2"/>
                      </a:cxn>
                      <a:cxn ang="0">
                        <a:pos x="49" y="0"/>
                      </a:cxn>
                      <a:cxn ang="0">
                        <a:pos x="39" y="2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2" y="71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9" y="78"/>
                      </a:cxn>
                    </a:cxnLst>
                    <a:rect l="0" t="0" r="r" b="b"/>
                    <a:pathLst>
                      <a:path w="97" h="78">
                        <a:moveTo>
                          <a:pt x="49" y="78"/>
                        </a:moveTo>
                        <a:lnTo>
                          <a:pt x="58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3" y="66"/>
                        </a:lnTo>
                        <a:lnTo>
                          <a:pt x="89" y="60"/>
                        </a:lnTo>
                        <a:lnTo>
                          <a:pt x="93" y="55"/>
                        </a:lnTo>
                        <a:lnTo>
                          <a:pt x="96" y="48"/>
                        </a:lnTo>
                        <a:lnTo>
                          <a:pt x="97" y="40"/>
                        </a:lnTo>
                        <a:lnTo>
                          <a:pt x="96" y="31"/>
                        </a:lnTo>
                        <a:lnTo>
                          <a:pt x="93" y="25"/>
                        </a:lnTo>
                        <a:lnTo>
                          <a:pt x="89" y="18"/>
                        </a:lnTo>
                        <a:lnTo>
                          <a:pt x="83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8" y="2"/>
                        </a:lnTo>
                        <a:lnTo>
                          <a:pt x="49" y="0"/>
                        </a:lnTo>
                        <a:lnTo>
                          <a:pt x="39" y="2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2" y="71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9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3" name="Freeform 1217"/>
                  <p:cNvSpPr>
                    <a:spLocks/>
                  </p:cNvSpPr>
                  <p:nvPr/>
                </p:nvSpPr>
                <p:spPr bwMode="auto">
                  <a:xfrm rot="-5400000">
                    <a:off x="3624" y="3586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2" y="0"/>
                      </a:cxn>
                      <a:cxn ang="0">
                        <a:pos x="42" y="0"/>
                      </a:cxn>
                      <a:cxn ang="0">
                        <a:pos x="41" y="6"/>
                      </a:cxn>
                      <a:cxn ang="0">
                        <a:pos x="40" y="12"/>
                      </a:cxn>
                      <a:cxn ang="0">
                        <a:pos x="35" y="17"/>
                      </a:cxn>
                      <a:cxn ang="0">
                        <a:pos x="31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8" y="31"/>
                      </a:cxn>
                      <a:cxn ang="0">
                        <a:pos x="44" y="24"/>
                      </a:cxn>
                      <a:cxn ang="0">
                        <a:pos x="49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2" y="0"/>
                      </a:cxn>
                    </a:cxnLst>
                    <a:rect l="0" t="0" r="r" b="b"/>
                    <a:pathLst>
                      <a:path w="54" h="43">
                        <a:moveTo>
                          <a:pt x="42" y="0"/>
                        </a:moveTo>
                        <a:lnTo>
                          <a:pt x="42" y="0"/>
                        </a:lnTo>
                        <a:lnTo>
                          <a:pt x="41" y="6"/>
                        </a:lnTo>
                        <a:lnTo>
                          <a:pt x="40" y="12"/>
                        </a:lnTo>
                        <a:lnTo>
                          <a:pt x="35" y="17"/>
                        </a:lnTo>
                        <a:lnTo>
                          <a:pt x="31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8" y="31"/>
                        </a:lnTo>
                        <a:lnTo>
                          <a:pt x="44" y="24"/>
                        </a:lnTo>
                        <a:lnTo>
                          <a:pt x="49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4" name="Freeform 1218"/>
                  <p:cNvSpPr>
                    <a:spLocks/>
                  </p:cNvSpPr>
                  <p:nvPr/>
                </p:nvSpPr>
                <p:spPr bwMode="auto">
                  <a:xfrm rot="-5400000">
                    <a:off x="3610" y="3585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1"/>
                      </a:cxn>
                      <a:cxn ang="0">
                        <a:pos x="35" y="26"/>
                      </a:cxn>
                      <a:cxn ang="0">
                        <a:pos x="40" y="32"/>
                      </a:cxn>
                      <a:cxn ang="0">
                        <a:pos x="41" y="38"/>
                      </a:cxn>
                      <a:cxn ang="0">
                        <a:pos x="42" y="45"/>
                      </a:cxn>
                      <a:cxn ang="0">
                        <a:pos x="54" y="45"/>
                      </a:cxn>
                      <a:cxn ang="0">
                        <a:pos x="53" y="35"/>
                      </a:cxn>
                      <a:cxn ang="0">
                        <a:pos x="49" y="27"/>
                      </a:cxn>
                      <a:cxn ang="0">
                        <a:pos x="44" y="19"/>
                      </a:cxn>
                      <a:cxn ang="0">
                        <a:pos x="38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4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1"/>
                        </a:lnTo>
                        <a:lnTo>
                          <a:pt x="35" y="26"/>
                        </a:lnTo>
                        <a:lnTo>
                          <a:pt x="40" y="32"/>
                        </a:lnTo>
                        <a:lnTo>
                          <a:pt x="41" y="38"/>
                        </a:lnTo>
                        <a:lnTo>
                          <a:pt x="42" y="45"/>
                        </a:lnTo>
                        <a:lnTo>
                          <a:pt x="54" y="45"/>
                        </a:lnTo>
                        <a:lnTo>
                          <a:pt x="53" y="35"/>
                        </a:lnTo>
                        <a:lnTo>
                          <a:pt x="49" y="27"/>
                        </a:lnTo>
                        <a:lnTo>
                          <a:pt x="44" y="19"/>
                        </a:lnTo>
                        <a:lnTo>
                          <a:pt x="38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5" name="Freeform 1219"/>
                  <p:cNvSpPr>
                    <a:spLocks/>
                  </p:cNvSpPr>
                  <p:nvPr/>
                </p:nvSpPr>
                <p:spPr bwMode="auto">
                  <a:xfrm rot="-5400000">
                    <a:off x="3610" y="3603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5" y="11"/>
                      </a:cxn>
                      <a:cxn ang="0">
                        <a:pos x="55" y="0"/>
                      </a:cxn>
                      <a:cxn ang="0">
                        <a:pos x="44" y="1"/>
                      </a:cxn>
                      <a:cxn ang="0">
                        <a:pos x="35" y="3"/>
                      </a:cxn>
                      <a:cxn ang="0">
                        <a:pos x="26" y="8"/>
                      </a:cxn>
                      <a:cxn ang="0">
                        <a:pos x="17" y="12"/>
                      </a:cxn>
                      <a:cxn ang="0">
                        <a:pos x="10" y="19"/>
                      </a:cxn>
                      <a:cxn ang="0">
                        <a:pos x="5" y="27"/>
                      </a:cxn>
                      <a:cxn ang="0">
                        <a:pos x="2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5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5" y="11"/>
                        </a:lnTo>
                        <a:lnTo>
                          <a:pt x="55" y="0"/>
                        </a:lnTo>
                        <a:lnTo>
                          <a:pt x="44" y="1"/>
                        </a:lnTo>
                        <a:lnTo>
                          <a:pt x="35" y="3"/>
                        </a:lnTo>
                        <a:lnTo>
                          <a:pt x="26" y="8"/>
                        </a:lnTo>
                        <a:lnTo>
                          <a:pt x="17" y="12"/>
                        </a:lnTo>
                        <a:lnTo>
                          <a:pt x="10" y="19"/>
                        </a:lnTo>
                        <a:lnTo>
                          <a:pt x="5" y="27"/>
                        </a:lnTo>
                        <a:lnTo>
                          <a:pt x="2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6" name="Freeform 1220"/>
                  <p:cNvSpPr>
                    <a:spLocks/>
                  </p:cNvSpPr>
                  <p:nvPr/>
                </p:nvSpPr>
                <p:spPr bwMode="auto">
                  <a:xfrm rot="-5400000">
                    <a:off x="3624" y="3604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5" y="32"/>
                      </a:cxn>
                      <a:cxn ang="0">
                        <a:pos x="55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9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2" y="9"/>
                      </a:cxn>
                      <a:cxn ang="0">
                        <a:pos x="5" y="17"/>
                      </a:cxn>
                      <a:cxn ang="0">
                        <a:pos x="10" y="24"/>
                      </a:cxn>
                      <a:cxn ang="0">
                        <a:pos x="17" y="31"/>
                      </a:cxn>
                      <a:cxn ang="0">
                        <a:pos x="26" y="35"/>
                      </a:cxn>
                      <a:cxn ang="0">
                        <a:pos x="35" y="40"/>
                      </a:cxn>
                      <a:cxn ang="0">
                        <a:pos x="44" y="42"/>
                      </a:cxn>
                      <a:cxn ang="0">
                        <a:pos x="55" y="43"/>
                      </a:cxn>
                      <a:cxn ang="0">
                        <a:pos x="55" y="43"/>
                      </a:cxn>
                      <a:cxn ang="0">
                        <a:pos x="55" y="32"/>
                      </a:cxn>
                    </a:cxnLst>
                    <a:rect l="0" t="0" r="r" b="b"/>
                    <a:pathLst>
                      <a:path w="55" h="43">
                        <a:moveTo>
                          <a:pt x="55" y="32"/>
                        </a:moveTo>
                        <a:lnTo>
                          <a:pt x="55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9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2" y="9"/>
                        </a:lnTo>
                        <a:lnTo>
                          <a:pt x="5" y="17"/>
                        </a:lnTo>
                        <a:lnTo>
                          <a:pt x="10" y="24"/>
                        </a:lnTo>
                        <a:lnTo>
                          <a:pt x="17" y="31"/>
                        </a:lnTo>
                        <a:lnTo>
                          <a:pt x="26" y="35"/>
                        </a:lnTo>
                        <a:lnTo>
                          <a:pt x="35" y="40"/>
                        </a:lnTo>
                        <a:lnTo>
                          <a:pt x="44" y="42"/>
                        </a:lnTo>
                        <a:lnTo>
                          <a:pt x="55" y="43"/>
                        </a:lnTo>
                        <a:lnTo>
                          <a:pt x="55" y="43"/>
                        </a:lnTo>
                        <a:lnTo>
                          <a:pt x="55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7" name="Freeform 1221"/>
                  <p:cNvSpPr>
                    <a:spLocks/>
                  </p:cNvSpPr>
                  <p:nvPr/>
                </p:nvSpPr>
                <p:spPr bwMode="auto">
                  <a:xfrm rot="-5400000">
                    <a:off x="3610" y="3646"/>
                    <a:ext cx="32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6" y="74"/>
                      </a:cxn>
                      <a:cxn ang="0">
                        <a:pos x="74" y="71"/>
                      </a:cxn>
                      <a:cxn ang="0">
                        <a:pos x="82" y="66"/>
                      </a:cxn>
                      <a:cxn ang="0">
                        <a:pos x="88" y="60"/>
                      </a:cxn>
                      <a:cxn ang="0">
                        <a:pos x="93" y="55"/>
                      </a:cxn>
                      <a:cxn ang="0">
                        <a:pos x="95" y="48"/>
                      </a:cxn>
                      <a:cxn ang="0">
                        <a:pos x="96" y="40"/>
                      </a:cxn>
                      <a:cxn ang="0">
                        <a:pos x="95" y="31"/>
                      </a:cxn>
                      <a:cxn ang="0">
                        <a:pos x="93" y="25"/>
                      </a:cxn>
                      <a:cxn ang="0">
                        <a:pos x="88" y="18"/>
                      </a:cxn>
                      <a:cxn ang="0">
                        <a:pos x="82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9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3" y="12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3" y="55"/>
                      </a:cxn>
                      <a:cxn ang="0">
                        <a:pos x="8" y="60"/>
                      </a:cxn>
                      <a:cxn ang="0">
                        <a:pos x="13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9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6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6" y="74"/>
                        </a:lnTo>
                        <a:lnTo>
                          <a:pt x="74" y="71"/>
                        </a:lnTo>
                        <a:lnTo>
                          <a:pt x="82" y="66"/>
                        </a:lnTo>
                        <a:lnTo>
                          <a:pt x="88" y="60"/>
                        </a:lnTo>
                        <a:lnTo>
                          <a:pt x="93" y="55"/>
                        </a:lnTo>
                        <a:lnTo>
                          <a:pt x="95" y="48"/>
                        </a:lnTo>
                        <a:lnTo>
                          <a:pt x="96" y="40"/>
                        </a:lnTo>
                        <a:lnTo>
                          <a:pt x="95" y="31"/>
                        </a:lnTo>
                        <a:lnTo>
                          <a:pt x="93" y="25"/>
                        </a:lnTo>
                        <a:lnTo>
                          <a:pt x="88" y="18"/>
                        </a:lnTo>
                        <a:lnTo>
                          <a:pt x="82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9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3" y="12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3" y="55"/>
                        </a:lnTo>
                        <a:lnTo>
                          <a:pt x="8" y="60"/>
                        </a:lnTo>
                        <a:lnTo>
                          <a:pt x="13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9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8" name="Freeform 1222"/>
                  <p:cNvSpPr>
                    <a:spLocks/>
                  </p:cNvSpPr>
                  <p:nvPr/>
                </p:nvSpPr>
                <p:spPr bwMode="auto">
                  <a:xfrm rot="-5400000">
                    <a:off x="3624" y="3642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1" y="6"/>
                      </a:cxn>
                      <a:cxn ang="0">
                        <a:pos x="40" y="12"/>
                      </a:cxn>
                      <a:cxn ang="0">
                        <a:pos x="36" y="17"/>
                      </a:cxn>
                      <a:cxn ang="0">
                        <a:pos x="31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9" y="35"/>
                      </a:cxn>
                      <a:cxn ang="0">
                        <a:pos x="38" y="31"/>
                      </a:cxn>
                      <a:cxn ang="0">
                        <a:pos x="45" y="24"/>
                      </a:cxn>
                      <a:cxn ang="0">
                        <a:pos x="49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3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1" y="6"/>
                        </a:lnTo>
                        <a:lnTo>
                          <a:pt x="40" y="12"/>
                        </a:lnTo>
                        <a:lnTo>
                          <a:pt x="36" y="17"/>
                        </a:lnTo>
                        <a:lnTo>
                          <a:pt x="31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9" y="35"/>
                        </a:lnTo>
                        <a:lnTo>
                          <a:pt x="38" y="31"/>
                        </a:lnTo>
                        <a:lnTo>
                          <a:pt x="45" y="24"/>
                        </a:lnTo>
                        <a:lnTo>
                          <a:pt x="49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89" name="Freeform 1223"/>
                  <p:cNvSpPr>
                    <a:spLocks/>
                  </p:cNvSpPr>
                  <p:nvPr/>
                </p:nvSpPr>
                <p:spPr bwMode="auto">
                  <a:xfrm rot="-5400000">
                    <a:off x="3610" y="3641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1"/>
                      </a:cxn>
                      <a:cxn ang="0">
                        <a:pos x="36" y="26"/>
                      </a:cxn>
                      <a:cxn ang="0">
                        <a:pos x="40" y="32"/>
                      </a:cxn>
                      <a:cxn ang="0">
                        <a:pos x="41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5"/>
                      </a:cxn>
                      <a:cxn ang="0">
                        <a:pos x="49" y="27"/>
                      </a:cxn>
                      <a:cxn ang="0">
                        <a:pos x="45" y="19"/>
                      </a:cxn>
                      <a:cxn ang="0">
                        <a:pos x="38" y="12"/>
                      </a:cxn>
                      <a:cxn ang="0">
                        <a:pos x="29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4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1"/>
                        </a:lnTo>
                        <a:lnTo>
                          <a:pt x="36" y="26"/>
                        </a:lnTo>
                        <a:lnTo>
                          <a:pt x="40" y="32"/>
                        </a:lnTo>
                        <a:lnTo>
                          <a:pt x="41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5"/>
                        </a:lnTo>
                        <a:lnTo>
                          <a:pt x="49" y="27"/>
                        </a:lnTo>
                        <a:lnTo>
                          <a:pt x="45" y="19"/>
                        </a:lnTo>
                        <a:lnTo>
                          <a:pt x="38" y="12"/>
                        </a:lnTo>
                        <a:lnTo>
                          <a:pt x="29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0" name="Freeform 1224"/>
                  <p:cNvSpPr>
                    <a:spLocks/>
                  </p:cNvSpPr>
                  <p:nvPr/>
                </p:nvSpPr>
                <p:spPr bwMode="auto">
                  <a:xfrm rot="-5400000">
                    <a:off x="3610" y="365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4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4" y="11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4" y="3"/>
                      </a:cxn>
                      <a:cxn ang="0">
                        <a:pos x="25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4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4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4" y="11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4" y="3"/>
                        </a:lnTo>
                        <a:lnTo>
                          <a:pt x="25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4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1" name="Freeform 1225"/>
                  <p:cNvSpPr>
                    <a:spLocks/>
                  </p:cNvSpPr>
                  <p:nvPr/>
                </p:nvSpPr>
                <p:spPr bwMode="auto">
                  <a:xfrm rot="-5400000">
                    <a:off x="3624" y="3660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4" y="32"/>
                      </a:cxn>
                      <a:cxn ang="0">
                        <a:pos x="54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4" y="12"/>
                      </a:cxn>
                      <a:cxn ang="0">
                        <a:pos x="12" y="6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4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5" y="35"/>
                      </a:cxn>
                      <a:cxn ang="0">
                        <a:pos x="34" y="40"/>
                      </a:cxn>
                      <a:cxn ang="0">
                        <a:pos x="44" y="42"/>
                      </a:cxn>
                      <a:cxn ang="0">
                        <a:pos x="54" y="43"/>
                      </a:cxn>
                      <a:cxn ang="0">
                        <a:pos x="54" y="43"/>
                      </a:cxn>
                      <a:cxn ang="0">
                        <a:pos x="54" y="32"/>
                      </a:cxn>
                    </a:cxnLst>
                    <a:rect l="0" t="0" r="r" b="b"/>
                    <a:pathLst>
                      <a:path w="54" h="43">
                        <a:moveTo>
                          <a:pt x="54" y="32"/>
                        </a:moveTo>
                        <a:lnTo>
                          <a:pt x="54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4" y="12"/>
                        </a:lnTo>
                        <a:lnTo>
                          <a:pt x="12" y="6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4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5" y="35"/>
                        </a:lnTo>
                        <a:lnTo>
                          <a:pt x="34" y="40"/>
                        </a:lnTo>
                        <a:lnTo>
                          <a:pt x="44" y="42"/>
                        </a:lnTo>
                        <a:lnTo>
                          <a:pt x="54" y="43"/>
                        </a:lnTo>
                        <a:lnTo>
                          <a:pt x="54" y="43"/>
                        </a:lnTo>
                        <a:lnTo>
                          <a:pt x="54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2" name="Freeform 1226"/>
                  <p:cNvSpPr>
                    <a:spLocks/>
                  </p:cNvSpPr>
                  <p:nvPr/>
                </p:nvSpPr>
                <p:spPr bwMode="auto">
                  <a:xfrm rot="-5400000">
                    <a:off x="3610" y="3705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9" y="78"/>
                      </a:cxn>
                      <a:cxn ang="0">
                        <a:pos x="58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2" y="66"/>
                      </a:cxn>
                      <a:cxn ang="0">
                        <a:pos x="88" y="60"/>
                      </a:cxn>
                      <a:cxn ang="0">
                        <a:pos x="92" y="55"/>
                      </a:cxn>
                      <a:cxn ang="0">
                        <a:pos x="95" y="48"/>
                      </a:cxn>
                      <a:cxn ang="0">
                        <a:pos x="96" y="40"/>
                      </a:cxn>
                      <a:cxn ang="0">
                        <a:pos x="95" y="31"/>
                      </a:cxn>
                      <a:cxn ang="0">
                        <a:pos x="92" y="25"/>
                      </a:cxn>
                      <a:cxn ang="0">
                        <a:pos x="88" y="18"/>
                      </a:cxn>
                      <a:cxn ang="0">
                        <a:pos x="82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8" y="2"/>
                      </a:cxn>
                      <a:cxn ang="0">
                        <a:pos x="49" y="0"/>
                      </a:cxn>
                      <a:cxn ang="0">
                        <a:pos x="38" y="2"/>
                      </a:cxn>
                      <a:cxn ang="0">
                        <a:pos x="29" y="4"/>
                      </a:cxn>
                      <a:cxn ang="0">
                        <a:pos x="21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4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4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1" y="71"/>
                      </a:cxn>
                      <a:cxn ang="0">
                        <a:pos x="29" y="74"/>
                      </a:cxn>
                      <a:cxn ang="0">
                        <a:pos x="38" y="76"/>
                      </a:cxn>
                      <a:cxn ang="0">
                        <a:pos x="49" y="78"/>
                      </a:cxn>
                    </a:cxnLst>
                    <a:rect l="0" t="0" r="r" b="b"/>
                    <a:pathLst>
                      <a:path w="96" h="78">
                        <a:moveTo>
                          <a:pt x="49" y="78"/>
                        </a:moveTo>
                        <a:lnTo>
                          <a:pt x="58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2" y="66"/>
                        </a:lnTo>
                        <a:lnTo>
                          <a:pt x="88" y="60"/>
                        </a:lnTo>
                        <a:lnTo>
                          <a:pt x="92" y="55"/>
                        </a:lnTo>
                        <a:lnTo>
                          <a:pt x="95" y="48"/>
                        </a:lnTo>
                        <a:lnTo>
                          <a:pt x="96" y="40"/>
                        </a:lnTo>
                        <a:lnTo>
                          <a:pt x="95" y="31"/>
                        </a:lnTo>
                        <a:lnTo>
                          <a:pt x="92" y="25"/>
                        </a:lnTo>
                        <a:lnTo>
                          <a:pt x="88" y="18"/>
                        </a:lnTo>
                        <a:lnTo>
                          <a:pt x="82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8" y="2"/>
                        </a:lnTo>
                        <a:lnTo>
                          <a:pt x="49" y="0"/>
                        </a:lnTo>
                        <a:lnTo>
                          <a:pt x="38" y="2"/>
                        </a:lnTo>
                        <a:lnTo>
                          <a:pt x="29" y="4"/>
                        </a:lnTo>
                        <a:lnTo>
                          <a:pt x="21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4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4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1" y="71"/>
                        </a:lnTo>
                        <a:lnTo>
                          <a:pt x="29" y="74"/>
                        </a:lnTo>
                        <a:lnTo>
                          <a:pt x="38" y="76"/>
                        </a:lnTo>
                        <a:lnTo>
                          <a:pt x="49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3" name="Freeform 1227"/>
                  <p:cNvSpPr>
                    <a:spLocks/>
                  </p:cNvSpPr>
                  <p:nvPr/>
                </p:nvSpPr>
                <p:spPr bwMode="auto">
                  <a:xfrm rot="-5400000">
                    <a:off x="3625" y="3703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4" y="17"/>
                      </a:cxn>
                      <a:cxn ang="0">
                        <a:pos x="30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0" y="42"/>
                      </a:cxn>
                      <a:cxn ang="0">
                        <a:pos x="19" y="40"/>
                      </a:cxn>
                      <a:cxn ang="0">
                        <a:pos x="28" y="35"/>
                      </a:cxn>
                      <a:cxn ang="0">
                        <a:pos x="36" y="31"/>
                      </a:cxn>
                      <a:cxn ang="0">
                        <a:pos x="43" y="24"/>
                      </a:cxn>
                      <a:cxn ang="0">
                        <a:pos x="48" y="17"/>
                      </a:cxn>
                      <a:cxn ang="0">
                        <a:pos x="51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3" h="43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4" y="17"/>
                        </a:lnTo>
                        <a:lnTo>
                          <a:pt x="30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0" y="42"/>
                        </a:lnTo>
                        <a:lnTo>
                          <a:pt x="19" y="40"/>
                        </a:lnTo>
                        <a:lnTo>
                          <a:pt x="28" y="35"/>
                        </a:lnTo>
                        <a:lnTo>
                          <a:pt x="36" y="31"/>
                        </a:lnTo>
                        <a:lnTo>
                          <a:pt x="43" y="24"/>
                        </a:lnTo>
                        <a:lnTo>
                          <a:pt x="48" y="17"/>
                        </a:lnTo>
                        <a:lnTo>
                          <a:pt x="51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4" name="Freeform 1228"/>
                  <p:cNvSpPr>
                    <a:spLocks/>
                  </p:cNvSpPr>
                  <p:nvPr/>
                </p:nvSpPr>
                <p:spPr bwMode="auto">
                  <a:xfrm rot="-5400000">
                    <a:off x="3610" y="3702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0" y="21"/>
                      </a:cxn>
                      <a:cxn ang="0">
                        <a:pos x="34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1" y="45"/>
                      </a:cxn>
                      <a:cxn ang="0">
                        <a:pos x="53" y="45"/>
                      </a:cxn>
                      <a:cxn ang="0">
                        <a:pos x="51" y="35"/>
                      </a:cxn>
                      <a:cxn ang="0">
                        <a:pos x="48" y="27"/>
                      </a:cxn>
                      <a:cxn ang="0">
                        <a:pos x="43" y="19"/>
                      </a:cxn>
                      <a:cxn ang="0">
                        <a:pos x="36" y="12"/>
                      </a:cxn>
                      <a:cxn ang="0">
                        <a:pos x="28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0" y="21"/>
                        </a:lnTo>
                        <a:lnTo>
                          <a:pt x="34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1" y="45"/>
                        </a:lnTo>
                        <a:lnTo>
                          <a:pt x="53" y="45"/>
                        </a:lnTo>
                        <a:lnTo>
                          <a:pt x="51" y="35"/>
                        </a:lnTo>
                        <a:lnTo>
                          <a:pt x="48" y="27"/>
                        </a:lnTo>
                        <a:lnTo>
                          <a:pt x="43" y="19"/>
                        </a:lnTo>
                        <a:lnTo>
                          <a:pt x="36" y="12"/>
                        </a:lnTo>
                        <a:lnTo>
                          <a:pt x="28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5" name="Freeform 1229"/>
                  <p:cNvSpPr>
                    <a:spLocks/>
                  </p:cNvSpPr>
                  <p:nvPr/>
                </p:nvSpPr>
                <p:spPr bwMode="auto">
                  <a:xfrm rot="-5400000">
                    <a:off x="3610" y="371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9" y="26"/>
                      </a:cxn>
                      <a:cxn ang="0">
                        <a:pos x="23" y="21"/>
                      </a:cxn>
                      <a:cxn ang="0">
                        <a:pos x="29" y="17"/>
                      </a:cxn>
                      <a:cxn ang="0">
                        <a:pos x="36" y="15"/>
                      </a:cxn>
                      <a:cxn ang="0">
                        <a:pos x="44" y="12"/>
                      </a:cxn>
                      <a:cxn ang="0">
                        <a:pos x="55" y="11"/>
                      </a:cxn>
                      <a:cxn ang="0">
                        <a:pos x="55" y="0"/>
                      </a:cxn>
                      <a:cxn ang="0">
                        <a:pos x="44" y="1"/>
                      </a:cxn>
                      <a:cxn ang="0">
                        <a:pos x="34" y="3"/>
                      </a:cxn>
                      <a:cxn ang="0">
                        <a:pos x="25" y="8"/>
                      </a:cxn>
                      <a:cxn ang="0">
                        <a:pos x="17" y="12"/>
                      </a:cxn>
                      <a:cxn ang="0">
                        <a:pos x="10" y="19"/>
                      </a:cxn>
                      <a:cxn ang="0">
                        <a:pos x="5" y="27"/>
                      </a:cxn>
                      <a:cxn ang="0">
                        <a:pos x="2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5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9" y="26"/>
                        </a:lnTo>
                        <a:lnTo>
                          <a:pt x="23" y="21"/>
                        </a:lnTo>
                        <a:lnTo>
                          <a:pt x="29" y="17"/>
                        </a:lnTo>
                        <a:lnTo>
                          <a:pt x="36" y="15"/>
                        </a:lnTo>
                        <a:lnTo>
                          <a:pt x="44" y="12"/>
                        </a:lnTo>
                        <a:lnTo>
                          <a:pt x="55" y="11"/>
                        </a:lnTo>
                        <a:lnTo>
                          <a:pt x="55" y="0"/>
                        </a:lnTo>
                        <a:lnTo>
                          <a:pt x="44" y="1"/>
                        </a:lnTo>
                        <a:lnTo>
                          <a:pt x="34" y="3"/>
                        </a:lnTo>
                        <a:lnTo>
                          <a:pt x="25" y="8"/>
                        </a:lnTo>
                        <a:lnTo>
                          <a:pt x="17" y="12"/>
                        </a:lnTo>
                        <a:lnTo>
                          <a:pt x="10" y="19"/>
                        </a:lnTo>
                        <a:lnTo>
                          <a:pt x="5" y="27"/>
                        </a:lnTo>
                        <a:lnTo>
                          <a:pt x="2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6" name="Freeform 1230"/>
                  <p:cNvSpPr>
                    <a:spLocks/>
                  </p:cNvSpPr>
                  <p:nvPr/>
                </p:nvSpPr>
                <p:spPr bwMode="auto">
                  <a:xfrm rot="-5400000">
                    <a:off x="3624" y="3720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5" y="32"/>
                      </a:cxn>
                      <a:cxn ang="0">
                        <a:pos x="55" y="32"/>
                      </a:cxn>
                      <a:cxn ang="0">
                        <a:pos x="44" y="31"/>
                      </a:cxn>
                      <a:cxn ang="0">
                        <a:pos x="36" y="28"/>
                      </a:cxn>
                      <a:cxn ang="0">
                        <a:pos x="29" y="26"/>
                      </a:cxn>
                      <a:cxn ang="0">
                        <a:pos x="23" y="21"/>
                      </a:cxn>
                      <a:cxn ang="0">
                        <a:pos x="19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2" y="9"/>
                      </a:cxn>
                      <a:cxn ang="0">
                        <a:pos x="5" y="17"/>
                      </a:cxn>
                      <a:cxn ang="0">
                        <a:pos x="10" y="24"/>
                      </a:cxn>
                      <a:cxn ang="0">
                        <a:pos x="17" y="31"/>
                      </a:cxn>
                      <a:cxn ang="0">
                        <a:pos x="25" y="35"/>
                      </a:cxn>
                      <a:cxn ang="0">
                        <a:pos x="34" y="40"/>
                      </a:cxn>
                      <a:cxn ang="0">
                        <a:pos x="44" y="42"/>
                      </a:cxn>
                      <a:cxn ang="0">
                        <a:pos x="55" y="43"/>
                      </a:cxn>
                      <a:cxn ang="0">
                        <a:pos x="55" y="43"/>
                      </a:cxn>
                      <a:cxn ang="0">
                        <a:pos x="55" y="32"/>
                      </a:cxn>
                    </a:cxnLst>
                    <a:rect l="0" t="0" r="r" b="b"/>
                    <a:pathLst>
                      <a:path w="55" h="43">
                        <a:moveTo>
                          <a:pt x="55" y="32"/>
                        </a:moveTo>
                        <a:lnTo>
                          <a:pt x="55" y="32"/>
                        </a:lnTo>
                        <a:lnTo>
                          <a:pt x="44" y="31"/>
                        </a:lnTo>
                        <a:lnTo>
                          <a:pt x="36" y="28"/>
                        </a:lnTo>
                        <a:lnTo>
                          <a:pt x="29" y="26"/>
                        </a:lnTo>
                        <a:lnTo>
                          <a:pt x="23" y="21"/>
                        </a:lnTo>
                        <a:lnTo>
                          <a:pt x="19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2" y="9"/>
                        </a:lnTo>
                        <a:lnTo>
                          <a:pt x="5" y="17"/>
                        </a:lnTo>
                        <a:lnTo>
                          <a:pt x="10" y="24"/>
                        </a:lnTo>
                        <a:lnTo>
                          <a:pt x="17" y="31"/>
                        </a:lnTo>
                        <a:lnTo>
                          <a:pt x="25" y="35"/>
                        </a:lnTo>
                        <a:lnTo>
                          <a:pt x="34" y="40"/>
                        </a:lnTo>
                        <a:lnTo>
                          <a:pt x="44" y="42"/>
                        </a:lnTo>
                        <a:lnTo>
                          <a:pt x="55" y="43"/>
                        </a:lnTo>
                        <a:lnTo>
                          <a:pt x="55" y="43"/>
                        </a:lnTo>
                        <a:lnTo>
                          <a:pt x="55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7" name="Freeform 1231"/>
                  <p:cNvSpPr>
                    <a:spLocks/>
                  </p:cNvSpPr>
                  <p:nvPr/>
                </p:nvSpPr>
                <p:spPr bwMode="auto">
                  <a:xfrm rot="-5400000">
                    <a:off x="3566" y="3682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9" y="83"/>
                      </a:cxn>
                      <a:cxn ang="0">
                        <a:pos x="41" y="131"/>
                      </a:cxn>
                      <a:cxn ang="0">
                        <a:pos x="45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3" y="238"/>
                        </a:lnTo>
                        <a:lnTo>
                          <a:pt x="111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1" y="226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1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4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9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6" y="196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9" y="83"/>
                        </a:lnTo>
                        <a:lnTo>
                          <a:pt x="42" y="111"/>
                        </a:lnTo>
                        <a:lnTo>
                          <a:pt x="41" y="131"/>
                        </a:lnTo>
                        <a:lnTo>
                          <a:pt x="42" y="142"/>
                        </a:lnTo>
                        <a:lnTo>
                          <a:pt x="45" y="156"/>
                        </a:lnTo>
                        <a:lnTo>
                          <a:pt x="48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8" name="Freeform 1232"/>
                  <p:cNvSpPr>
                    <a:spLocks/>
                  </p:cNvSpPr>
                  <p:nvPr/>
                </p:nvSpPr>
                <p:spPr bwMode="auto">
                  <a:xfrm rot="-5400000">
                    <a:off x="3612" y="3712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1"/>
                      </a:cxn>
                      <a:cxn ang="0">
                        <a:pos x="36" y="14"/>
                      </a:cxn>
                      <a:cxn ang="0">
                        <a:pos x="34" y="18"/>
                      </a:cxn>
                      <a:cxn ang="0">
                        <a:pos x="32" y="19"/>
                      </a:cxn>
                      <a:cxn ang="0">
                        <a:pos x="26" y="19"/>
                      </a:cxn>
                      <a:cxn ang="0">
                        <a:pos x="18" y="16"/>
                      </a:cxn>
                      <a:cxn ang="0">
                        <a:pos x="6" y="8"/>
                      </a:cxn>
                      <a:cxn ang="0">
                        <a:pos x="0" y="18"/>
                      </a:cxn>
                      <a:cxn ang="0">
                        <a:pos x="13" y="26"/>
                      </a:cxn>
                      <a:cxn ang="0">
                        <a:pos x="24" y="30"/>
                      </a:cxn>
                      <a:cxn ang="0">
                        <a:pos x="34" y="30"/>
                      </a:cxn>
                      <a:cxn ang="0">
                        <a:pos x="41" y="24"/>
                      </a:cxn>
                      <a:cxn ang="0">
                        <a:pos x="46" y="19"/>
                      </a:cxn>
                      <a:cxn ang="0">
                        <a:pos x="49" y="13"/>
                      </a:cxn>
                      <a:cxn ang="0">
                        <a:pos x="50" y="6"/>
                      </a:cxn>
                      <a:cxn ang="0">
                        <a:pos x="50" y="1"/>
                      </a:cxn>
                      <a:cxn ang="0">
                        <a:pos x="50" y="3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1"/>
                        </a:lnTo>
                        <a:lnTo>
                          <a:pt x="36" y="14"/>
                        </a:lnTo>
                        <a:lnTo>
                          <a:pt x="34" y="18"/>
                        </a:lnTo>
                        <a:lnTo>
                          <a:pt x="32" y="19"/>
                        </a:lnTo>
                        <a:lnTo>
                          <a:pt x="26" y="19"/>
                        </a:lnTo>
                        <a:lnTo>
                          <a:pt x="18" y="16"/>
                        </a:lnTo>
                        <a:lnTo>
                          <a:pt x="6" y="8"/>
                        </a:lnTo>
                        <a:lnTo>
                          <a:pt x="0" y="18"/>
                        </a:lnTo>
                        <a:lnTo>
                          <a:pt x="13" y="26"/>
                        </a:lnTo>
                        <a:lnTo>
                          <a:pt x="24" y="30"/>
                        </a:lnTo>
                        <a:lnTo>
                          <a:pt x="34" y="30"/>
                        </a:lnTo>
                        <a:lnTo>
                          <a:pt x="41" y="24"/>
                        </a:lnTo>
                        <a:lnTo>
                          <a:pt x="46" y="19"/>
                        </a:lnTo>
                        <a:lnTo>
                          <a:pt x="49" y="13"/>
                        </a:lnTo>
                        <a:lnTo>
                          <a:pt x="50" y="6"/>
                        </a:lnTo>
                        <a:lnTo>
                          <a:pt x="50" y="1"/>
                        </a:lnTo>
                        <a:lnTo>
                          <a:pt x="50" y="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99" name="Freeform 1233"/>
                  <p:cNvSpPr>
                    <a:spLocks/>
                  </p:cNvSpPr>
                  <p:nvPr/>
                </p:nvSpPr>
                <p:spPr bwMode="auto">
                  <a:xfrm rot="-5400000">
                    <a:off x="3613" y="3703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30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5"/>
                      </a:cxn>
                      <a:cxn ang="0">
                        <a:pos x="11" y="8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30" y="18"/>
                      </a:cxn>
                    </a:cxnLst>
                    <a:rect l="0" t="0" r="r" b="b"/>
                    <a:pathLst>
                      <a:path w="30" h="23">
                        <a:moveTo>
                          <a:pt x="30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5"/>
                        </a:lnTo>
                        <a:lnTo>
                          <a:pt x="11" y="8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30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0" name="Freeform 1234"/>
                  <p:cNvSpPr>
                    <a:spLocks/>
                  </p:cNvSpPr>
                  <p:nvPr/>
                </p:nvSpPr>
                <p:spPr bwMode="auto">
                  <a:xfrm rot="-5400000">
                    <a:off x="3620" y="3701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4" y="5"/>
                      </a:cxn>
                      <a:cxn ang="0">
                        <a:pos x="36" y="9"/>
                      </a:cxn>
                      <a:cxn ang="0">
                        <a:pos x="34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4" y="5"/>
                        </a:lnTo>
                        <a:lnTo>
                          <a:pt x="36" y="9"/>
                        </a:lnTo>
                        <a:lnTo>
                          <a:pt x="34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1" name="Freeform 1235"/>
                  <p:cNvSpPr>
                    <a:spLocks/>
                  </p:cNvSpPr>
                  <p:nvPr/>
                </p:nvSpPr>
                <p:spPr bwMode="auto">
                  <a:xfrm rot="-5400000">
                    <a:off x="3622" y="3720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9" y="2"/>
                      </a:cxn>
                      <a:cxn ang="0">
                        <a:pos x="9" y="3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9" y="2"/>
                        </a:lnTo>
                        <a:lnTo>
                          <a:pt x="9" y="3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2" name="Freeform 1236"/>
                  <p:cNvSpPr>
                    <a:spLocks/>
                  </p:cNvSpPr>
                  <p:nvPr/>
                </p:nvSpPr>
                <p:spPr bwMode="auto">
                  <a:xfrm rot="-5400000">
                    <a:off x="3560" y="3685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5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6" y="254"/>
                      </a:cxn>
                      <a:cxn ang="0">
                        <a:pos x="43" y="226"/>
                      </a:cxn>
                      <a:cxn ang="0">
                        <a:pos x="26" y="200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5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6" y="254"/>
                        </a:lnTo>
                        <a:lnTo>
                          <a:pt x="43" y="226"/>
                        </a:lnTo>
                        <a:lnTo>
                          <a:pt x="26" y="200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3" name="Freeform 1237"/>
                  <p:cNvSpPr>
                    <a:spLocks/>
                  </p:cNvSpPr>
                  <p:nvPr/>
                </p:nvSpPr>
                <p:spPr bwMode="auto">
                  <a:xfrm rot="-5400000">
                    <a:off x="3556" y="3703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4" name="Freeform 1238"/>
                  <p:cNvSpPr>
                    <a:spLocks/>
                  </p:cNvSpPr>
                  <p:nvPr/>
                </p:nvSpPr>
                <p:spPr bwMode="auto">
                  <a:xfrm rot="-5400000">
                    <a:off x="3557" y="370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2" y="9"/>
                      </a:cxn>
                      <a:cxn ang="0">
                        <a:pos x="6" y="11"/>
                      </a:cxn>
                      <a:cxn ang="0">
                        <a:pos x="10" y="13"/>
                      </a:cxn>
                      <a:cxn ang="0">
                        <a:pos x="14" y="13"/>
                      </a:cxn>
                      <a:cxn ang="0">
                        <a:pos x="25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10" y="1"/>
                      </a:cxn>
                      <a:cxn ang="0">
                        <a:pos x="8" y="0"/>
                      </a:cxn>
                      <a:cxn ang="0">
                        <a:pos x="11" y="2"/>
                      </a:cxn>
                      <a:cxn ang="0">
                        <a:pos x="10" y="1"/>
                      </a:cxn>
                      <a:cxn ang="0">
                        <a:pos x="11" y="2"/>
                      </a:cxn>
                      <a:cxn ang="0">
                        <a:pos x="7" y="0"/>
                      </a:cxn>
                      <a:cxn ang="0">
                        <a:pos x="3" y="1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25" h="13">
                        <a:moveTo>
                          <a:pt x="3" y="10"/>
                        </a:moveTo>
                        <a:lnTo>
                          <a:pt x="2" y="9"/>
                        </a:lnTo>
                        <a:lnTo>
                          <a:pt x="6" y="11"/>
                        </a:lnTo>
                        <a:lnTo>
                          <a:pt x="10" y="13"/>
                        </a:lnTo>
                        <a:lnTo>
                          <a:pt x="14" y="13"/>
                        </a:lnTo>
                        <a:lnTo>
                          <a:pt x="25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10" y="1"/>
                        </a:lnTo>
                        <a:lnTo>
                          <a:pt x="8" y="0"/>
                        </a:lnTo>
                        <a:lnTo>
                          <a:pt x="11" y="2"/>
                        </a:lnTo>
                        <a:lnTo>
                          <a:pt x="10" y="1"/>
                        </a:lnTo>
                        <a:lnTo>
                          <a:pt x="11" y="2"/>
                        </a:lnTo>
                        <a:lnTo>
                          <a:pt x="7" y="0"/>
                        </a:lnTo>
                        <a:lnTo>
                          <a:pt x="3" y="1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5" name="Freeform 1239"/>
                  <p:cNvSpPr>
                    <a:spLocks/>
                  </p:cNvSpPr>
                  <p:nvPr/>
                </p:nvSpPr>
                <p:spPr bwMode="auto">
                  <a:xfrm rot="-5400000">
                    <a:off x="3548" y="3717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10" y="23"/>
                      </a:cxn>
                      <a:cxn ang="0">
                        <a:pos x="10" y="21"/>
                      </a:cxn>
                      <a:cxn ang="0">
                        <a:pos x="11" y="21"/>
                      </a:cxn>
                      <a:cxn ang="0">
                        <a:pos x="12" y="18"/>
                      </a:cxn>
                      <a:cxn ang="0">
                        <a:pos x="17" y="16"/>
                      </a:cxn>
                      <a:cxn ang="0">
                        <a:pos x="21" y="13"/>
                      </a:cxn>
                      <a:cxn ang="0">
                        <a:pos x="27" y="11"/>
                      </a:cxn>
                      <a:cxn ang="0">
                        <a:pos x="36" y="11"/>
                      </a:cxn>
                      <a:cxn ang="0">
                        <a:pos x="44" y="15"/>
                      </a:cxn>
                      <a:cxn ang="0">
                        <a:pos x="56" y="20"/>
                      </a:cxn>
                      <a:cxn ang="0">
                        <a:pos x="63" y="11"/>
                      </a:cxn>
                      <a:cxn ang="0">
                        <a:pos x="49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7" y="2"/>
                      </a:cxn>
                      <a:cxn ang="0">
                        <a:pos x="10" y="7"/>
                      </a:cxn>
                      <a:cxn ang="0">
                        <a:pos x="5" y="11"/>
                      </a:cxn>
                      <a:cxn ang="0">
                        <a:pos x="2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4" y="24"/>
                      </a:cxn>
                      <a:cxn ang="0">
                        <a:pos x="7" y="24"/>
                      </a:cxn>
                      <a:cxn ang="0">
                        <a:pos x="10" y="21"/>
                      </a:cxn>
                      <a:cxn ang="0">
                        <a:pos x="10" y="23"/>
                      </a:cxn>
                    </a:cxnLst>
                    <a:rect l="0" t="0" r="r" b="b"/>
                    <a:pathLst>
                      <a:path w="63" h="24">
                        <a:moveTo>
                          <a:pt x="10" y="23"/>
                        </a:moveTo>
                        <a:lnTo>
                          <a:pt x="10" y="21"/>
                        </a:lnTo>
                        <a:lnTo>
                          <a:pt x="11" y="21"/>
                        </a:lnTo>
                        <a:lnTo>
                          <a:pt x="12" y="18"/>
                        </a:lnTo>
                        <a:lnTo>
                          <a:pt x="17" y="16"/>
                        </a:lnTo>
                        <a:lnTo>
                          <a:pt x="21" y="13"/>
                        </a:lnTo>
                        <a:lnTo>
                          <a:pt x="27" y="11"/>
                        </a:lnTo>
                        <a:lnTo>
                          <a:pt x="36" y="11"/>
                        </a:lnTo>
                        <a:lnTo>
                          <a:pt x="44" y="15"/>
                        </a:lnTo>
                        <a:lnTo>
                          <a:pt x="56" y="20"/>
                        </a:lnTo>
                        <a:lnTo>
                          <a:pt x="63" y="11"/>
                        </a:lnTo>
                        <a:lnTo>
                          <a:pt x="49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7" y="2"/>
                        </a:lnTo>
                        <a:lnTo>
                          <a:pt x="10" y="7"/>
                        </a:lnTo>
                        <a:lnTo>
                          <a:pt x="5" y="11"/>
                        </a:lnTo>
                        <a:lnTo>
                          <a:pt x="2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4" y="24"/>
                        </a:lnTo>
                        <a:lnTo>
                          <a:pt x="7" y="24"/>
                        </a:lnTo>
                        <a:lnTo>
                          <a:pt x="10" y="21"/>
                        </a:lnTo>
                        <a:lnTo>
                          <a:pt x="10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6" name="Freeform 1240"/>
                  <p:cNvSpPr>
                    <a:spLocks/>
                  </p:cNvSpPr>
                  <p:nvPr/>
                </p:nvSpPr>
                <p:spPr bwMode="auto">
                  <a:xfrm rot="-5400000">
                    <a:off x="3570" y="371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1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1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7" name="Freeform 1241"/>
                  <p:cNvSpPr>
                    <a:spLocks/>
                  </p:cNvSpPr>
                  <p:nvPr/>
                </p:nvSpPr>
                <p:spPr bwMode="auto">
                  <a:xfrm rot="-5400000">
                    <a:off x="3597" y="3725"/>
                    <a:ext cx="7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7" y="54"/>
                      </a:cxn>
                      <a:cxn ang="0">
                        <a:pos x="22" y="40"/>
                      </a:cxn>
                      <a:cxn ang="0">
                        <a:pos x="17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6" y="28"/>
                      </a:cxn>
                      <a:cxn ang="0">
                        <a:pos x="10" y="42"/>
                      </a:cxn>
                      <a:cxn ang="0">
                        <a:pos x="17" y="58"/>
                      </a:cxn>
                      <a:cxn ang="0">
                        <a:pos x="17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7" h="58">
                        <a:moveTo>
                          <a:pt x="27" y="54"/>
                        </a:moveTo>
                        <a:lnTo>
                          <a:pt x="27" y="54"/>
                        </a:lnTo>
                        <a:lnTo>
                          <a:pt x="22" y="40"/>
                        </a:lnTo>
                        <a:lnTo>
                          <a:pt x="17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6" y="28"/>
                        </a:lnTo>
                        <a:lnTo>
                          <a:pt x="10" y="42"/>
                        </a:lnTo>
                        <a:lnTo>
                          <a:pt x="17" y="58"/>
                        </a:lnTo>
                        <a:lnTo>
                          <a:pt x="17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8" name="Freeform 1242"/>
                  <p:cNvSpPr>
                    <a:spLocks/>
                  </p:cNvSpPr>
                  <p:nvPr/>
                </p:nvSpPr>
                <p:spPr bwMode="auto">
                  <a:xfrm rot="-5400000">
                    <a:off x="3610" y="3721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6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6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09" name="Freeform 1243"/>
                  <p:cNvSpPr>
                    <a:spLocks/>
                  </p:cNvSpPr>
                  <p:nvPr/>
                </p:nvSpPr>
                <p:spPr bwMode="auto">
                  <a:xfrm rot="-5400000">
                    <a:off x="3609" y="3766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7"/>
                      </a:cxn>
                      <a:cxn ang="0">
                        <a:pos x="67" y="75"/>
                      </a:cxn>
                      <a:cxn ang="0">
                        <a:pos x="75" y="71"/>
                      </a:cxn>
                      <a:cxn ang="0">
                        <a:pos x="83" y="67"/>
                      </a:cxn>
                      <a:cxn ang="0">
                        <a:pos x="88" y="61"/>
                      </a:cxn>
                      <a:cxn ang="0">
                        <a:pos x="93" y="54"/>
                      </a:cxn>
                      <a:cxn ang="0">
                        <a:pos x="95" y="47"/>
                      </a:cxn>
                      <a:cxn ang="0">
                        <a:pos x="96" y="39"/>
                      </a:cxn>
                      <a:cxn ang="0">
                        <a:pos x="95" y="31"/>
                      </a:cxn>
                      <a:cxn ang="0">
                        <a:pos x="93" y="24"/>
                      </a:cxn>
                      <a:cxn ang="0">
                        <a:pos x="88" y="17"/>
                      </a:cxn>
                      <a:cxn ang="0">
                        <a:pos x="83" y="11"/>
                      </a:cxn>
                      <a:cxn ang="0">
                        <a:pos x="75" y="7"/>
                      </a:cxn>
                      <a:cxn ang="0">
                        <a:pos x="67" y="3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3"/>
                      </a:cxn>
                      <a:cxn ang="0">
                        <a:pos x="22" y="7"/>
                      </a:cxn>
                      <a:cxn ang="0">
                        <a:pos x="14" y="11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4" y="67"/>
                      </a:cxn>
                      <a:cxn ang="0">
                        <a:pos x="22" y="71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6" h="78">
                        <a:moveTo>
                          <a:pt x="48" y="78"/>
                        </a:moveTo>
                        <a:lnTo>
                          <a:pt x="57" y="77"/>
                        </a:lnTo>
                        <a:lnTo>
                          <a:pt x="67" y="75"/>
                        </a:lnTo>
                        <a:lnTo>
                          <a:pt x="75" y="71"/>
                        </a:lnTo>
                        <a:lnTo>
                          <a:pt x="83" y="67"/>
                        </a:lnTo>
                        <a:lnTo>
                          <a:pt x="88" y="61"/>
                        </a:lnTo>
                        <a:lnTo>
                          <a:pt x="93" y="54"/>
                        </a:lnTo>
                        <a:lnTo>
                          <a:pt x="95" y="47"/>
                        </a:lnTo>
                        <a:lnTo>
                          <a:pt x="96" y="39"/>
                        </a:lnTo>
                        <a:lnTo>
                          <a:pt x="95" y="31"/>
                        </a:lnTo>
                        <a:lnTo>
                          <a:pt x="93" y="24"/>
                        </a:lnTo>
                        <a:lnTo>
                          <a:pt x="88" y="17"/>
                        </a:lnTo>
                        <a:lnTo>
                          <a:pt x="83" y="11"/>
                        </a:lnTo>
                        <a:lnTo>
                          <a:pt x="75" y="7"/>
                        </a:lnTo>
                        <a:lnTo>
                          <a:pt x="67" y="3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3"/>
                        </a:lnTo>
                        <a:lnTo>
                          <a:pt x="22" y="7"/>
                        </a:lnTo>
                        <a:lnTo>
                          <a:pt x="14" y="11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4" y="67"/>
                        </a:lnTo>
                        <a:lnTo>
                          <a:pt x="22" y="71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0" name="Freeform 1244"/>
                  <p:cNvSpPr>
                    <a:spLocks/>
                  </p:cNvSpPr>
                  <p:nvPr/>
                </p:nvSpPr>
                <p:spPr bwMode="auto">
                  <a:xfrm rot="-5400000">
                    <a:off x="3624" y="3762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2" y="7"/>
                      </a:cxn>
                      <a:cxn ang="0">
                        <a:pos x="40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7" y="30"/>
                      </a:cxn>
                      <a:cxn ang="0">
                        <a:pos x="8" y="32"/>
                      </a:cxn>
                      <a:cxn ang="0">
                        <a:pos x="0" y="33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2"/>
                      </a:cxn>
                      <a:cxn ang="0">
                        <a:pos x="45" y="25"/>
                      </a:cxn>
                      <a:cxn ang="0">
                        <a:pos x="50" y="17"/>
                      </a:cxn>
                      <a:cxn ang="0">
                        <a:pos x="53" y="9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2" y="7"/>
                        </a:lnTo>
                        <a:lnTo>
                          <a:pt x="40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7" y="30"/>
                        </a:lnTo>
                        <a:lnTo>
                          <a:pt x="8" y="32"/>
                        </a:lnTo>
                        <a:lnTo>
                          <a:pt x="0" y="33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2"/>
                        </a:lnTo>
                        <a:lnTo>
                          <a:pt x="45" y="25"/>
                        </a:lnTo>
                        <a:lnTo>
                          <a:pt x="50" y="17"/>
                        </a:lnTo>
                        <a:lnTo>
                          <a:pt x="53" y="9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1" name="Freeform 1245"/>
                  <p:cNvSpPr>
                    <a:spLocks/>
                  </p:cNvSpPr>
                  <p:nvPr/>
                </p:nvSpPr>
                <p:spPr bwMode="auto">
                  <a:xfrm rot="-5400000">
                    <a:off x="3609" y="3761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2"/>
                      </a:cxn>
                      <a:cxn ang="0">
                        <a:pos x="42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50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8"/>
                      </a:cxn>
                      <a:cxn ang="0">
                        <a:pos x="20" y="4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2"/>
                        </a:lnTo>
                        <a:lnTo>
                          <a:pt x="42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50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8"/>
                        </a:lnTo>
                        <a:lnTo>
                          <a:pt x="20" y="4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2" name="Freeform 1246"/>
                  <p:cNvSpPr>
                    <a:spLocks/>
                  </p:cNvSpPr>
                  <p:nvPr/>
                </p:nvSpPr>
                <p:spPr bwMode="auto">
                  <a:xfrm rot="-5400000">
                    <a:off x="3609" y="377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4"/>
                      </a:cxn>
                      <a:cxn ang="0">
                        <a:pos x="25" y="8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5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4"/>
                        </a:lnTo>
                        <a:lnTo>
                          <a:pt x="25" y="8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5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3" name="Freeform 1247"/>
                  <p:cNvSpPr>
                    <a:spLocks/>
                  </p:cNvSpPr>
                  <p:nvPr/>
                </p:nvSpPr>
                <p:spPr bwMode="auto">
                  <a:xfrm rot="-5400000">
                    <a:off x="3624" y="3780"/>
                    <a:ext cx="18" cy="15"/>
                  </a:xfrm>
                  <a:custGeom>
                    <a:avLst/>
                    <a:gdLst/>
                    <a:ahLst/>
                    <a:cxnLst>
                      <a:cxn ang="0">
                        <a:pos x="54" y="33"/>
                      </a:cxn>
                      <a:cxn ang="0">
                        <a:pos x="54" y="33"/>
                      </a:cxn>
                      <a:cxn ang="0">
                        <a:pos x="46" y="32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8" y="19"/>
                      </a:cxn>
                      <a:cxn ang="0">
                        <a:pos x="14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5"/>
                      </a:cxn>
                      <a:cxn ang="0">
                        <a:pos x="16" y="32"/>
                      </a:cxn>
                      <a:cxn ang="0">
                        <a:pos x="25" y="37"/>
                      </a:cxn>
                      <a:cxn ang="0">
                        <a:pos x="35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3"/>
                      </a:cxn>
                    </a:cxnLst>
                    <a:rect l="0" t="0" r="r" b="b"/>
                    <a:pathLst>
                      <a:path w="54" h="45">
                        <a:moveTo>
                          <a:pt x="54" y="33"/>
                        </a:moveTo>
                        <a:lnTo>
                          <a:pt x="54" y="33"/>
                        </a:lnTo>
                        <a:lnTo>
                          <a:pt x="46" y="32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8" y="19"/>
                        </a:lnTo>
                        <a:lnTo>
                          <a:pt x="14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5"/>
                        </a:lnTo>
                        <a:lnTo>
                          <a:pt x="16" y="32"/>
                        </a:lnTo>
                        <a:lnTo>
                          <a:pt x="25" y="37"/>
                        </a:lnTo>
                        <a:lnTo>
                          <a:pt x="35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4" name="Freeform 1248"/>
                  <p:cNvSpPr>
                    <a:spLocks/>
                  </p:cNvSpPr>
                  <p:nvPr/>
                </p:nvSpPr>
                <p:spPr bwMode="auto">
                  <a:xfrm rot="-5400000">
                    <a:off x="3611" y="3821"/>
                    <a:ext cx="29" cy="26"/>
                  </a:xfrm>
                  <a:custGeom>
                    <a:avLst/>
                    <a:gdLst/>
                    <a:ahLst/>
                    <a:cxnLst>
                      <a:cxn ang="0">
                        <a:pos x="48" y="79"/>
                      </a:cxn>
                      <a:cxn ang="0">
                        <a:pos x="57" y="77"/>
                      </a:cxn>
                      <a:cxn ang="0">
                        <a:pos x="66" y="75"/>
                      </a:cxn>
                      <a:cxn ang="0">
                        <a:pos x="74" y="72"/>
                      </a:cxn>
                      <a:cxn ang="0">
                        <a:pos x="82" y="67"/>
                      </a:cxn>
                      <a:cxn ang="0">
                        <a:pos x="88" y="61"/>
                      </a:cxn>
                      <a:cxn ang="0">
                        <a:pos x="93" y="54"/>
                      </a:cxn>
                      <a:cxn ang="0">
                        <a:pos x="95" y="47"/>
                      </a:cxn>
                      <a:cxn ang="0">
                        <a:pos x="96" y="39"/>
                      </a:cxn>
                      <a:cxn ang="0">
                        <a:pos x="95" y="31"/>
                      </a:cxn>
                      <a:cxn ang="0">
                        <a:pos x="93" y="24"/>
                      </a:cxn>
                      <a:cxn ang="0">
                        <a:pos x="88" y="17"/>
                      </a:cxn>
                      <a:cxn ang="0">
                        <a:pos x="82" y="12"/>
                      </a:cxn>
                      <a:cxn ang="0">
                        <a:pos x="74" y="7"/>
                      </a:cxn>
                      <a:cxn ang="0">
                        <a:pos x="66" y="4"/>
                      </a:cxn>
                      <a:cxn ang="0">
                        <a:pos x="57" y="1"/>
                      </a:cxn>
                      <a:cxn ang="0">
                        <a:pos x="48" y="0"/>
                      </a:cxn>
                      <a:cxn ang="0">
                        <a:pos x="39" y="1"/>
                      </a:cxn>
                      <a:cxn ang="0">
                        <a:pos x="30" y="4"/>
                      </a:cxn>
                      <a:cxn ang="0">
                        <a:pos x="21" y="7"/>
                      </a:cxn>
                      <a:cxn ang="0">
                        <a:pos x="13" y="12"/>
                      </a:cxn>
                      <a:cxn ang="0">
                        <a:pos x="8" y="17"/>
                      </a:cxn>
                      <a:cxn ang="0">
                        <a:pos x="3" y="24"/>
                      </a:cxn>
                      <a:cxn ang="0">
                        <a:pos x="1" y="31"/>
                      </a:cxn>
                      <a:cxn ang="0">
                        <a:pos x="0" y="39"/>
                      </a:cxn>
                      <a:cxn ang="0">
                        <a:pos x="1" y="47"/>
                      </a:cxn>
                      <a:cxn ang="0">
                        <a:pos x="3" y="54"/>
                      </a:cxn>
                      <a:cxn ang="0">
                        <a:pos x="8" y="61"/>
                      </a:cxn>
                      <a:cxn ang="0">
                        <a:pos x="13" y="67"/>
                      </a:cxn>
                      <a:cxn ang="0">
                        <a:pos x="21" y="72"/>
                      </a:cxn>
                      <a:cxn ang="0">
                        <a:pos x="30" y="75"/>
                      </a:cxn>
                      <a:cxn ang="0">
                        <a:pos x="39" y="77"/>
                      </a:cxn>
                      <a:cxn ang="0">
                        <a:pos x="48" y="79"/>
                      </a:cxn>
                    </a:cxnLst>
                    <a:rect l="0" t="0" r="r" b="b"/>
                    <a:pathLst>
                      <a:path w="96" h="79">
                        <a:moveTo>
                          <a:pt x="48" y="79"/>
                        </a:moveTo>
                        <a:lnTo>
                          <a:pt x="57" y="77"/>
                        </a:lnTo>
                        <a:lnTo>
                          <a:pt x="66" y="75"/>
                        </a:lnTo>
                        <a:lnTo>
                          <a:pt x="74" y="72"/>
                        </a:lnTo>
                        <a:lnTo>
                          <a:pt x="82" y="67"/>
                        </a:lnTo>
                        <a:lnTo>
                          <a:pt x="88" y="61"/>
                        </a:lnTo>
                        <a:lnTo>
                          <a:pt x="93" y="54"/>
                        </a:lnTo>
                        <a:lnTo>
                          <a:pt x="95" y="47"/>
                        </a:lnTo>
                        <a:lnTo>
                          <a:pt x="96" y="39"/>
                        </a:lnTo>
                        <a:lnTo>
                          <a:pt x="95" y="31"/>
                        </a:lnTo>
                        <a:lnTo>
                          <a:pt x="93" y="24"/>
                        </a:lnTo>
                        <a:lnTo>
                          <a:pt x="88" y="17"/>
                        </a:lnTo>
                        <a:lnTo>
                          <a:pt x="82" y="12"/>
                        </a:lnTo>
                        <a:lnTo>
                          <a:pt x="74" y="7"/>
                        </a:lnTo>
                        <a:lnTo>
                          <a:pt x="66" y="4"/>
                        </a:ln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39" y="1"/>
                        </a:lnTo>
                        <a:lnTo>
                          <a:pt x="30" y="4"/>
                        </a:lnTo>
                        <a:lnTo>
                          <a:pt x="21" y="7"/>
                        </a:lnTo>
                        <a:lnTo>
                          <a:pt x="13" y="12"/>
                        </a:lnTo>
                        <a:lnTo>
                          <a:pt x="8" y="17"/>
                        </a:lnTo>
                        <a:lnTo>
                          <a:pt x="3" y="24"/>
                        </a:lnTo>
                        <a:lnTo>
                          <a:pt x="1" y="31"/>
                        </a:lnTo>
                        <a:lnTo>
                          <a:pt x="0" y="39"/>
                        </a:lnTo>
                        <a:lnTo>
                          <a:pt x="1" y="47"/>
                        </a:lnTo>
                        <a:lnTo>
                          <a:pt x="3" y="54"/>
                        </a:lnTo>
                        <a:lnTo>
                          <a:pt x="8" y="61"/>
                        </a:lnTo>
                        <a:lnTo>
                          <a:pt x="13" y="67"/>
                        </a:lnTo>
                        <a:lnTo>
                          <a:pt x="21" y="72"/>
                        </a:lnTo>
                        <a:lnTo>
                          <a:pt x="30" y="75"/>
                        </a:lnTo>
                        <a:lnTo>
                          <a:pt x="39" y="77"/>
                        </a:lnTo>
                        <a:lnTo>
                          <a:pt x="48" y="79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5" name="Freeform 1249"/>
                  <p:cNvSpPr>
                    <a:spLocks/>
                  </p:cNvSpPr>
                  <p:nvPr/>
                </p:nvSpPr>
                <p:spPr bwMode="auto">
                  <a:xfrm rot="-5400000">
                    <a:off x="3625" y="3817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43" y="0"/>
                      </a:cxn>
                      <a:cxn ang="0">
                        <a:pos x="43" y="0"/>
                      </a:cxn>
                      <a:cxn ang="0">
                        <a:pos x="41" y="7"/>
                      </a:cxn>
                      <a:cxn ang="0">
                        <a:pos x="40" y="13"/>
                      </a:cxn>
                      <a:cxn ang="0">
                        <a:pos x="36" y="19"/>
                      </a:cxn>
                      <a:cxn ang="0">
                        <a:pos x="31" y="23"/>
                      </a:cxn>
                      <a:cxn ang="0">
                        <a:pos x="24" y="28"/>
                      </a:cxn>
                      <a:cxn ang="0">
                        <a:pos x="17" y="30"/>
                      </a:cxn>
                      <a:cxn ang="0">
                        <a:pos x="8" y="33"/>
                      </a:cxn>
                      <a:cxn ang="0">
                        <a:pos x="0" y="34"/>
                      </a:cxn>
                      <a:cxn ang="0">
                        <a:pos x="0" y="45"/>
                      </a:cxn>
                      <a:cxn ang="0">
                        <a:pos x="10" y="44"/>
                      </a:cxn>
                      <a:cxn ang="0">
                        <a:pos x="20" y="42"/>
                      </a:cxn>
                      <a:cxn ang="0">
                        <a:pos x="29" y="37"/>
                      </a:cxn>
                      <a:cxn ang="0">
                        <a:pos x="38" y="33"/>
                      </a:cxn>
                      <a:cxn ang="0">
                        <a:pos x="45" y="26"/>
                      </a:cxn>
                      <a:cxn ang="0">
                        <a:pos x="49" y="18"/>
                      </a:cxn>
                      <a:cxn ang="0">
                        <a:pos x="53" y="10"/>
                      </a:cxn>
                      <a:cxn ang="0">
                        <a:pos x="54" y="0"/>
                      </a:cxn>
                      <a:cxn ang="0">
                        <a:pos x="54" y="0"/>
                      </a:cxn>
                      <a:cxn ang="0">
                        <a:pos x="43" y="0"/>
                      </a:cxn>
                    </a:cxnLst>
                    <a:rect l="0" t="0" r="r" b="b"/>
                    <a:pathLst>
                      <a:path w="54" h="45">
                        <a:moveTo>
                          <a:pt x="43" y="0"/>
                        </a:moveTo>
                        <a:lnTo>
                          <a:pt x="43" y="0"/>
                        </a:lnTo>
                        <a:lnTo>
                          <a:pt x="41" y="7"/>
                        </a:lnTo>
                        <a:lnTo>
                          <a:pt x="40" y="13"/>
                        </a:lnTo>
                        <a:lnTo>
                          <a:pt x="36" y="19"/>
                        </a:lnTo>
                        <a:lnTo>
                          <a:pt x="31" y="23"/>
                        </a:lnTo>
                        <a:lnTo>
                          <a:pt x="24" y="28"/>
                        </a:lnTo>
                        <a:lnTo>
                          <a:pt x="17" y="30"/>
                        </a:lnTo>
                        <a:lnTo>
                          <a:pt x="8" y="33"/>
                        </a:lnTo>
                        <a:lnTo>
                          <a:pt x="0" y="34"/>
                        </a:lnTo>
                        <a:lnTo>
                          <a:pt x="0" y="45"/>
                        </a:lnTo>
                        <a:lnTo>
                          <a:pt x="10" y="44"/>
                        </a:lnTo>
                        <a:lnTo>
                          <a:pt x="20" y="42"/>
                        </a:lnTo>
                        <a:lnTo>
                          <a:pt x="29" y="37"/>
                        </a:lnTo>
                        <a:lnTo>
                          <a:pt x="38" y="33"/>
                        </a:lnTo>
                        <a:lnTo>
                          <a:pt x="45" y="26"/>
                        </a:lnTo>
                        <a:lnTo>
                          <a:pt x="49" y="18"/>
                        </a:lnTo>
                        <a:lnTo>
                          <a:pt x="53" y="1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43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6" name="Freeform 1250"/>
                  <p:cNvSpPr>
                    <a:spLocks/>
                  </p:cNvSpPr>
                  <p:nvPr/>
                </p:nvSpPr>
                <p:spPr bwMode="auto">
                  <a:xfrm rot="-5400000">
                    <a:off x="3610" y="3816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4" y="18"/>
                      </a:cxn>
                      <a:cxn ang="0">
                        <a:pos x="31" y="22"/>
                      </a:cxn>
                      <a:cxn ang="0">
                        <a:pos x="36" y="27"/>
                      </a:cxn>
                      <a:cxn ang="0">
                        <a:pos x="40" y="33"/>
                      </a:cxn>
                      <a:cxn ang="0">
                        <a:pos x="41" y="38"/>
                      </a:cxn>
                      <a:cxn ang="0">
                        <a:pos x="43" y="45"/>
                      </a:cxn>
                      <a:cxn ang="0">
                        <a:pos x="54" y="45"/>
                      </a:cxn>
                      <a:cxn ang="0">
                        <a:pos x="53" y="36"/>
                      </a:cxn>
                      <a:cxn ang="0">
                        <a:pos x="49" y="28"/>
                      </a:cxn>
                      <a:cxn ang="0">
                        <a:pos x="45" y="20"/>
                      </a:cxn>
                      <a:cxn ang="0">
                        <a:pos x="38" y="13"/>
                      </a:cxn>
                      <a:cxn ang="0">
                        <a:pos x="29" y="9"/>
                      </a:cxn>
                      <a:cxn ang="0">
                        <a:pos x="20" y="4"/>
                      </a:cxn>
                      <a:cxn ang="0">
                        <a:pos x="10" y="2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54" h="45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4" y="18"/>
                        </a:lnTo>
                        <a:lnTo>
                          <a:pt x="31" y="22"/>
                        </a:lnTo>
                        <a:lnTo>
                          <a:pt x="36" y="27"/>
                        </a:lnTo>
                        <a:lnTo>
                          <a:pt x="40" y="33"/>
                        </a:lnTo>
                        <a:lnTo>
                          <a:pt x="41" y="38"/>
                        </a:lnTo>
                        <a:lnTo>
                          <a:pt x="43" y="45"/>
                        </a:lnTo>
                        <a:lnTo>
                          <a:pt x="54" y="45"/>
                        </a:lnTo>
                        <a:lnTo>
                          <a:pt x="53" y="36"/>
                        </a:lnTo>
                        <a:lnTo>
                          <a:pt x="49" y="28"/>
                        </a:lnTo>
                        <a:lnTo>
                          <a:pt x="45" y="20"/>
                        </a:lnTo>
                        <a:lnTo>
                          <a:pt x="38" y="13"/>
                        </a:lnTo>
                        <a:lnTo>
                          <a:pt x="29" y="9"/>
                        </a:lnTo>
                        <a:lnTo>
                          <a:pt x="20" y="4"/>
                        </a:lnTo>
                        <a:lnTo>
                          <a:pt x="10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7" name="Freeform 1251"/>
                  <p:cNvSpPr>
                    <a:spLocks/>
                  </p:cNvSpPr>
                  <p:nvPr/>
                </p:nvSpPr>
                <p:spPr bwMode="auto">
                  <a:xfrm rot="-5400000">
                    <a:off x="3609" y="3833"/>
                    <a:ext cx="18" cy="17"/>
                  </a:xfrm>
                  <a:custGeom>
                    <a:avLst/>
                    <a:gdLst/>
                    <a:ahLst/>
                    <a:cxnLst>
                      <a:cxn ang="0">
                        <a:pos x="11" y="45"/>
                      </a:cxn>
                      <a:cxn ang="0">
                        <a:pos x="11" y="45"/>
                      </a:cxn>
                      <a:cxn ang="0">
                        <a:pos x="12" y="38"/>
                      </a:cxn>
                      <a:cxn ang="0">
                        <a:pos x="14" y="33"/>
                      </a:cxn>
                      <a:cxn ang="0">
                        <a:pos x="18" y="27"/>
                      </a:cxn>
                      <a:cxn ang="0">
                        <a:pos x="23" y="22"/>
                      </a:cxn>
                      <a:cxn ang="0">
                        <a:pos x="30" y="18"/>
                      </a:cxn>
                      <a:cxn ang="0">
                        <a:pos x="37" y="15"/>
                      </a:cxn>
                      <a:cxn ang="0">
                        <a:pos x="46" y="13"/>
                      </a:cxn>
                      <a:cxn ang="0">
                        <a:pos x="54" y="12"/>
                      </a:cxn>
                      <a:cxn ang="0">
                        <a:pos x="54" y="0"/>
                      </a:cxn>
                      <a:cxn ang="0">
                        <a:pos x="44" y="2"/>
                      </a:cxn>
                      <a:cxn ang="0">
                        <a:pos x="34" y="4"/>
                      </a:cxn>
                      <a:cxn ang="0">
                        <a:pos x="25" y="9"/>
                      </a:cxn>
                      <a:cxn ang="0">
                        <a:pos x="16" y="13"/>
                      </a:cxn>
                      <a:cxn ang="0">
                        <a:pos x="9" y="20"/>
                      </a:cxn>
                      <a:cxn ang="0">
                        <a:pos x="4" y="28"/>
                      </a:cxn>
                      <a:cxn ang="0">
                        <a:pos x="1" y="36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1" y="45"/>
                      </a:cxn>
                    </a:cxnLst>
                    <a:rect l="0" t="0" r="r" b="b"/>
                    <a:pathLst>
                      <a:path w="54" h="45">
                        <a:moveTo>
                          <a:pt x="11" y="45"/>
                        </a:moveTo>
                        <a:lnTo>
                          <a:pt x="11" y="45"/>
                        </a:lnTo>
                        <a:lnTo>
                          <a:pt x="12" y="38"/>
                        </a:lnTo>
                        <a:lnTo>
                          <a:pt x="14" y="33"/>
                        </a:lnTo>
                        <a:lnTo>
                          <a:pt x="18" y="27"/>
                        </a:lnTo>
                        <a:lnTo>
                          <a:pt x="23" y="22"/>
                        </a:lnTo>
                        <a:lnTo>
                          <a:pt x="30" y="18"/>
                        </a:lnTo>
                        <a:lnTo>
                          <a:pt x="37" y="15"/>
                        </a:lnTo>
                        <a:lnTo>
                          <a:pt x="46" y="13"/>
                        </a:lnTo>
                        <a:lnTo>
                          <a:pt x="54" y="12"/>
                        </a:lnTo>
                        <a:lnTo>
                          <a:pt x="54" y="0"/>
                        </a:lnTo>
                        <a:lnTo>
                          <a:pt x="44" y="2"/>
                        </a:lnTo>
                        <a:lnTo>
                          <a:pt x="34" y="4"/>
                        </a:lnTo>
                        <a:lnTo>
                          <a:pt x="25" y="9"/>
                        </a:lnTo>
                        <a:lnTo>
                          <a:pt x="16" y="13"/>
                        </a:lnTo>
                        <a:lnTo>
                          <a:pt x="9" y="20"/>
                        </a:lnTo>
                        <a:lnTo>
                          <a:pt x="4" y="28"/>
                        </a:lnTo>
                        <a:lnTo>
                          <a:pt x="1" y="36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1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8" name="Freeform 1252"/>
                  <p:cNvSpPr>
                    <a:spLocks/>
                  </p:cNvSpPr>
                  <p:nvPr/>
                </p:nvSpPr>
                <p:spPr bwMode="auto">
                  <a:xfrm rot="-5400000">
                    <a:off x="3624" y="3834"/>
                    <a:ext cx="18" cy="14"/>
                  </a:xfrm>
                  <a:custGeom>
                    <a:avLst/>
                    <a:gdLst/>
                    <a:ahLst/>
                    <a:cxnLst>
                      <a:cxn ang="0">
                        <a:pos x="54" y="34"/>
                      </a:cxn>
                      <a:cxn ang="0">
                        <a:pos x="54" y="34"/>
                      </a:cxn>
                      <a:cxn ang="0">
                        <a:pos x="46" y="33"/>
                      </a:cxn>
                      <a:cxn ang="0">
                        <a:pos x="37" y="30"/>
                      </a:cxn>
                      <a:cxn ang="0">
                        <a:pos x="30" y="28"/>
                      </a:cxn>
                      <a:cxn ang="0">
                        <a:pos x="23" y="23"/>
                      </a:cxn>
                      <a:cxn ang="0">
                        <a:pos x="18" y="19"/>
                      </a:cxn>
                      <a:cxn ang="0">
                        <a:pos x="14" y="13"/>
                      </a:cxn>
                      <a:cxn ang="0">
                        <a:pos x="12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10"/>
                      </a:cxn>
                      <a:cxn ang="0">
                        <a:pos x="4" y="18"/>
                      </a:cxn>
                      <a:cxn ang="0">
                        <a:pos x="9" y="26"/>
                      </a:cxn>
                      <a:cxn ang="0">
                        <a:pos x="16" y="33"/>
                      </a:cxn>
                      <a:cxn ang="0">
                        <a:pos x="25" y="37"/>
                      </a:cxn>
                      <a:cxn ang="0">
                        <a:pos x="34" y="42"/>
                      </a:cxn>
                      <a:cxn ang="0">
                        <a:pos x="44" y="44"/>
                      </a:cxn>
                      <a:cxn ang="0">
                        <a:pos x="54" y="45"/>
                      </a:cxn>
                      <a:cxn ang="0">
                        <a:pos x="54" y="45"/>
                      </a:cxn>
                      <a:cxn ang="0">
                        <a:pos x="54" y="34"/>
                      </a:cxn>
                    </a:cxnLst>
                    <a:rect l="0" t="0" r="r" b="b"/>
                    <a:pathLst>
                      <a:path w="54" h="45">
                        <a:moveTo>
                          <a:pt x="54" y="34"/>
                        </a:moveTo>
                        <a:lnTo>
                          <a:pt x="54" y="34"/>
                        </a:lnTo>
                        <a:lnTo>
                          <a:pt x="46" y="33"/>
                        </a:lnTo>
                        <a:lnTo>
                          <a:pt x="37" y="30"/>
                        </a:lnTo>
                        <a:lnTo>
                          <a:pt x="30" y="28"/>
                        </a:lnTo>
                        <a:lnTo>
                          <a:pt x="23" y="23"/>
                        </a:lnTo>
                        <a:lnTo>
                          <a:pt x="18" y="19"/>
                        </a:lnTo>
                        <a:lnTo>
                          <a:pt x="14" y="13"/>
                        </a:lnTo>
                        <a:lnTo>
                          <a:pt x="12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10"/>
                        </a:lnTo>
                        <a:lnTo>
                          <a:pt x="4" y="18"/>
                        </a:lnTo>
                        <a:lnTo>
                          <a:pt x="9" y="26"/>
                        </a:lnTo>
                        <a:lnTo>
                          <a:pt x="16" y="33"/>
                        </a:lnTo>
                        <a:lnTo>
                          <a:pt x="25" y="37"/>
                        </a:lnTo>
                        <a:lnTo>
                          <a:pt x="34" y="42"/>
                        </a:lnTo>
                        <a:lnTo>
                          <a:pt x="44" y="44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3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19" name="Freeform 1253"/>
                  <p:cNvSpPr>
                    <a:spLocks/>
                  </p:cNvSpPr>
                  <p:nvPr/>
                </p:nvSpPr>
                <p:spPr bwMode="auto">
                  <a:xfrm rot="-5400000">
                    <a:off x="3607" y="3873"/>
                    <a:ext cx="31" cy="28"/>
                  </a:xfrm>
                  <a:custGeom>
                    <a:avLst/>
                    <a:gdLst/>
                    <a:ahLst/>
                    <a:cxnLst>
                      <a:cxn ang="0">
                        <a:pos x="46" y="83"/>
                      </a:cxn>
                      <a:cxn ang="0">
                        <a:pos x="55" y="81"/>
                      </a:cxn>
                      <a:cxn ang="0">
                        <a:pos x="64" y="79"/>
                      </a:cxn>
                      <a:cxn ang="0">
                        <a:pos x="71" y="76"/>
                      </a:cxn>
                      <a:cxn ang="0">
                        <a:pos x="78" y="70"/>
                      </a:cxn>
                      <a:cxn ang="0">
                        <a:pos x="84" y="64"/>
                      </a:cxn>
                      <a:cxn ang="0">
                        <a:pos x="88" y="57"/>
                      </a:cxn>
                      <a:cxn ang="0">
                        <a:pos x="91" y="49"/>
                      </a:cxn>
                      <a:cxn ang="0">
                        <a:pos x="92" y="41"/>
                      </a:cxn>
                      <a:cxn ang="0">
                        <a:pos x="91" y="33"/>
                      </a:cxn>
                      <a:cxn ang="0">
                        <a:pos x="88" y="25"/>
                      </a:cxn>
                      <a:cxn ang="0">
                        <a:pos x="84" y="18"/>
                      </a:cxn>
                      <a:cxn ang="0">
                        <a:pos x="78" y="11"/>
                      </a:cxn>
                      <a:cxn ang="0">
                        <a:pos x="71" y="7"/>
                      </a:cxn>
                      <a:cxn ang="0">
                        <a:pos x="64" y="3"/>
                      </a:cxn>
                      <a:cxn ang="0">
                        <a:pos x="55" y="1"/>
                      </a:cxn>
                      <a:cxn ang="0">
                        <a:pos x="46" y="0"/>
                      </a:cxn>
                      <a:cxn ang="0">
                        <a:pos x="37" y="1"/>
                      </a:cxn>
                      <a:cxn ang="0">
                        <a:pos x="27" y="3"/>
                      </a:cxn>
                      <a:cxn ang="0">
                        <a:pos x="20" y="7"/>
                      </a:cxn>
                      <a:cxn ang="0">
                        <a:pos x="14" y="11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3"/>
                      </a:cxn>
                      <a:cxn ang="0">
                        <a:pos x="0" y="41"/>
                      </a:cxn>
                      <a:cxn ang="0">
                        <a:pos x="1" y="49"/>
                      </a:cxn>
                      <a:cxn ang="0">
                        <a:pos x="3" y="57"/>
                      </a:cxn>
                      <a:cxn ang="0">
                        <a:pos x="8" y="64"/>
                      </a:cxn>
                      <a:cxn ang="0">
                        <a:pos x="14" y="70"/>
                      </a:cxn>
                      <a:cxn ang="0">
                        <a:pos x="20" y="76"/>
                      </a:cxn>
                      <a:cxn ang="0">
                        <a:pos x="27" y="79"/>
                      </a:cxn>
                      <a:cxn ang="0">
                        <a:pos x="37" y="81"/>
                      </a:cxn>
                      <a:cxn ang="0">
                        <a:pos x="46" y="83"/>
                      </a:cxn>
                    </a:cxnLst>
                    <a:rect l="0" t="0" r="r" b="b"/>
                    <a:pathLst>
                      <a:path w="92" h="83">
                        <a:moveTo>
                          <a:pt x="46" y="83"/>
                        </a:moveTo>
                        <a:lnTo>
                          <a:pt x="55" y="81"/>
                        </a:lnTo>
                        <a:lnTo>
                          <a:pt x="64" y="79"/>
                        </a:lnTo>
                        <a:lnTo>
                          <a:pt x="71" y="76"/>
                        </a:lnTo>
                        <a:lnTo>
                          <a:pt x="78" y="70"/>
                        </a:lnTo>
                        <a:lnTo>
                          <a:pt x="84" y="64"/>
                        </a:lnTo>
                        <a:lnTo>
                          <a:pt x="88" y="57"/>
                        </a:lnTo>
                        <a:lnTo>
                          <a:pt x="91" y="49"/>
                        </a:lnTo>
                        <a:lnTo>
                          <a:pt x="92" y="41"/>
                        </a:lnTo>
                        <a:lnTo>
                          <a:pt x="91" y="33"/>
                        </a:lnTo>
                        <a:lnTo>
                          <a:pt x="88" y="25"/>
                        </a:lnTo>
                        <a:lnTo>
                          <a:pt x="84" y="18"/>
                        </a:lnTo>
                        <a:lnTo>
                          <a:pt x="78" y="11"/>
                        </a:lnTo>
                        <a:lnTo>
                          <a:pt x="71" y="7"/>
                        </a:lnTo>
                        <a:lnTo>
                          <a:pt x="64" y="3"/>
                        </a:lnTo>
                        <a:lnTo>
                          <a:pt x="55" y="1"/>
                        </a:lnTo>
                        <a:lnTo>
                          <a:pt x="46" y="0"/>
                        </a:lnTo>
                        <a:lnTo>
                          <a:pt x="37" y="1"/>
                        </a:lnTo>
                        <a:lnTo>
                          <a:pt x="27" y="3"/>
                        </a:lnTo>
                        <a:lnTo>
                          <a:pt x="20" y="7"/>
                        </a:lnTo>
                        <a:lnTo>
                          <a:pt x="14" y="11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3"/>
                        </a:lnTo>
                        <a:lnTo>
                          <a:pt x="0" y="41"/>
                        </a:lnTo>
                        <a:lnTo>
                          <a:pt x="1" y="49"/>
                        </a:lnTo>
                        <a:lnTo>
                          <a:pt x="3" y="57"/>
                        </a:lnTo>
                        <a:lnTo>
                          <a:pt x="8" y="64"/>
                        </a:lnTo>
                        <a:lnTo>
                          <a:pt x="14" y="70"/>
                        </a:lnTo>
                        <a:lnTo>
                          <a:pt x="20" y="76"/>
                        </a:lnTo>
                        <a:lnTo>
                          <a:pt x="27" y="79"/>
                        </a:lnTo>
                        <a:lnTo>
                          <a:pt x="37" y="81"/>
                        </a:lnTo>
                        <a:lnTo>
                          <a:pt x="46" y="83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0" name="Freeform 1254"/>
                  <p:cNvSpPr>
                    <a:spLocks/>
                  </p:cNvSpPr>
                  <p:nvPr/>
                </p:nvSpPr>
                <p:spPr bwMode="auto">
                  <a:xfrm rot="-5400000">
                    <a:off x="3622" y="3872"/>
                    <a:ext cx="16" cy="17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9" y="7"/>
                      </a:cxn>
                      <a:cxn ang="0">
                        <a:pos x="38" y="14"/>
                      </a:cxn>
                      <a:cxn ang="0">
                        <a:pos x="33" y="20"/>
                      </a:cxn>
                      <a:cxn ang="0">
                        <a:pos x="29" y="24"/>
                      </a:cxn>
                      <a:cxn ang="0">
                        <a:pos x="22" y="30"/>
                      </a:cxn>
                      <a:cxn ang="0">
                        <a:pos x="17" y="32"/>
                      </a:cxn>
                      <a:cxn ang="0">
                        <a:pos x="8" y="35"/>
                      </a:cxn>
                      <a:cxn ang="0">
                        <a:pos x="0" y="36"/>
                      </a:cxn>
                      <a:cxn ang="0">
                        <a:pos x="0" y="47"/>
                      </a:cxn>
                      <a:cxn ang="0">
                        <a:pos x="10" y="46"/>
                      </a:cxn>
                      <a:cxn ang="0">
                        <a:pos x="19" y="44"/>
                      </a:cxn>
                      <a:cxn ang="0">
                        <a:pos x="29" y="39"/>
                      </a:cxn>
                      <a:cxn ang="0">
                        <a:pos x="35" y="34"/>
                      </a:cxn>
                      <a:cxn ang="0">
                        <a:pos x="42" y="27"/>
                      </a:cxn>
                      <a:cxn ang="0">
                        <a:pos x="47" y="19"/>
                      </a:cxn>
                      <a:cxn ang="0">
                        <a:pos x="50" y="9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2" h="47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9" y="7"/>
                        </a:lnTo>
                        <a:lnTo>
                          <a:pt x="38" y="14"/>
                        </a:lnTo>
                        <a:lnTo>
                          <a:pt x="33" y="20"/>
                        </a:lnTo>
                        <a:lnTo>
                          <a:pt x="29" y="24"/>
                        </a:lnTo>
                        <a:lnTo>
                          <a:pt x="22" y="30"/>
                        </a:lnTo>
                        <a:lnTo>
                          <a:pt x="17" y="32"/>
                        </a:lnTo>
                        <a:lnTo>
                          <a:pt x="8" y="35"/>
                        </a:lnTo>
                        <a:lnTo>
                          <a:pt x="0" y="36"/>
                        </a:lnTo>
                        <a:lnTo>
                          <a:pt x="0" y="47"/>
                        </a:lnTo>
                        <a:lnTo>
                          <a:pt x="10" y="46"/>
                        </a:lnTo>
                        <a:lnTo>
                          <a:pt x="19" y="44"/>
                        </a:lnTo>
                        <a:lnTo>
                          <a:pt x="29" y="39"/>
                        </a:lnTo>
                        <a:lnTo>
                          <a:pt x="35" y="34"/>
                        </a:lnTo>
                        <a:lnTo>
                          <a:pt x="42" y="27"/>
                        </a:lnTo>
                        <a:lnTo>
                          <a:pt x="47" y="19"/>
                        </a:lnTo>
                        <a:lnTo>
                          <a:pt x="50" y="9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1" name="Freeform 1255"/>
                  <p:cNvSpPr>
                    <a:spLocks/>
                  </p:cNvSpPr>
                  <p:nvPr/>
                </p:nvSpPr>
                <p:spPr bwMode="auto">
                  <a:xfrm rot="-5400000">
                    <a:off x="3606" y="3872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3"/>
                      </a:cxn>
                      <a:cxn ang="0">
                        <a:pos x="17" y="15"/>
                      </a:cxn>
                      <a:cxn ang="0">
                        <a:pos x="23" y="17"/>
                      </a:cxn>
                      <a:cxn ang="0">
                        <a:pos x="29" y="22"/>
                      </a:cxn>
                      <a:cxn ang="0">
                        <a:pos x="33" y="28"/>
                      </a:cxn>
                      <a:cxn ang="0">
                        <a:pos x="38" y="33"/>
                      </a:cxn>
                      <a:cxn ang="0">
                        <a:pos x="39" y="40"/>
                      </a:cxn>
                      <a:cxn ang="0">
                        <a:pos x="40" y="47"/>
                      </a:cxn>
                      <a:cxn ang="0">
                        <a:pos x="52" y="47"/>
                      </a:cxn>
                      <a:cxn ang="0">
                        <a:pos x="50" y="38"/>
                      </a:cxn>
                      <a:cxn ang="0">
                        <a:pos x="47" y="29"/>
                      </a:cxn>
                      <a:cxn ang="0">
                        <a:pos x="42" y="21"/>
                      </a:cxn>
                      <a:cxn ang="0">
                        <a:pos x="35" y="13"/>
                      </a:cxn>
                      <a:cxn ang="0">
                        <a:pos x="27" y="8"/>
                      </a:cxn>
                      <a:cxn ang="0">
                        <a:pos x="19" y="3"/>
                      </a:cxn>
                      <a:cxn ang="0">
                        <a:pos x="10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2" h="47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3"/>
                        </a:lnTo>
                        <a:lnTo>
                          <a:pt x="17" y="15"/>
                        </a:lnTo>
                        <a:lnTo>
                          <a:pt x="23" y="17"/>
                        </a:lnTo>
                        <a:lnTo>
                          <a:pt x="29" y="22"/>
                        </a:lnTo>
                        <a:lnTo>
                          <a:pt x="33" y="28"/>
                        </a:lnTo>
                        <a:lnTo>
                          <a:pt x="38" y="33"/>
                        </a:lnTo>
                        <a:lnTo>
                          <a:pt x="39" y="40"/>
                        </a:lnTo>
                        <a:lnTo>
                          <a:pt x="40" y="47"/>
                        </a:lnTo>
                        <a:lnTo>
                          <a:pt x="52" y="47"/>
                        </a:lnTo>
                        <a:lnTo>
                          <a:pt x="50" y="38"/>
                        </a:lnTo>
                        <a:lnTo>
                          <a:pt x="47" y="29"/>
                        </a:lnTo>
                        <a:lnTo>
                          <a:pt x="42" y="21"/>
                        </a:lnTo>
                        <a:lnTo>
                          <a:pt x="35" y="13"/>
                        </a:lnTo>
                        <a:lnTo>
                          <a:pt x="27" y="8"/>
                        </a:lnTo>
                        <a:lnTo>
                          <a:pt x="19" y="3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2" name="Freeform 1256"/>
                  <p:cNvSpPr>
                    <a:spLocks/>
                  </p:cNvSpPr>
                  <p:nvPr/>
                </p:nvSpPr>
                <p:spPr bwMode="auto">
                  <a:xfrm rot="-5400000">
                    <a:off x="3606" y="3889"/>
                    <a:ext cx="18" cy="16"/>
                  </a:xfrm>
                  <a:custGeom>
                    <a:avLst/>
                    <a:gdLst/>
                    <a:ahLst/>
                    <a:cxnLst>
                      <a:cxn ang="0">
                        <a:pos x="11" y="47"/>
                      </a:cxn>
                      <a:cxn ang="0">
                        <a:pos x="11" y="47"/>
                      </a:cxn>
                      <a:cxn ang="0">
                        <a:pos x="13" y="40"/>
                      </a:cxn>
                      <a:cxn ang="0">
                        <a:pos x="14" y="33"/>
                      </a:cxn>
                      <a:cxn ang="0">
                        <a:pos x="18" y="28"/>
                      </a:cxn>
                      <a:cxn ang="0">
                        <a:pos x="23" y="22"/>
                      </a:cxn>
                      <a:cxn ang="0">
                        <a:pos x="29" y="17"/>
                      </a:cxn>
                      <a:cxn ang="0">
                        <a:pos x="34" y="15"/>
                      </a:cxn>
                      <a:cxn ang="0">
                        <a:pos x="44" y="13"/>
                      </a:cxn>
                      <a:cxn ang="0">
                        <a:pos x="52" y="11"/>
                      </a:cxn>
                      <a:cxn ang="0">
                        <a:pos x="52" y="0"/>
                      </a:cxn>
                      <a:cxn ang="0">
                        <a:pos x="41" y="1"/>
                      </a:cxn>
                      <a:cxn ang="0">
                        <a:pos x="32" y="3"/>
                      </a:cxn>
                      <a:cxn ang="0">
                        <a:pos x="24" y="8"/>
                      </a:cxn>
                      <a:cxn ang="0">
                        <a:pos x="16" y="13"/>
                      </a:cxn>
                      <a:cxn ang="0">
                        <a:pos x="9" y="21"/>
                      </a:cxn>
                      <a:cxn ang="0">
                        <a:pos x="5" y="29"/>
                      </a:cxn>
                      <a:cxn ang="0">
                        <a:pos x="1" y="38"/>
                      </a:cxn>
                      <a:cxn ang="0">
                        <a:pos x="0" y="47"/>
                      </a:cxn>
                      <a:cxn ang="0">
                        <a:pos x="0" y="47"/>
                      </a:cxn>
                      <a:cxn ang="0">
                        <a:pos x="11" y="47"/>
                      </a:cxn>
                    </a:cxnLst>
                    <a:rect l="0" t="0" r="r" b="b"/>
                    <a:pathLst>
                      <a:path w="52" h="47">
                        <a:moveTo>
                          <a:pt x="11" y="47"/>
                        </a:moveTo>
                        <a:lnTo>
                          <a:pt x="11" y="47"/>
                        </a:lnTo>
                        <a:lnTo>
                          <a:pt x="13" y="40"/>
                        </a:lnTo>
                        <a:lnTo>
                          <a:pt x="14" y="33"/>
                        </a:lnTo>
                        <a:lnTo>
                          <a:pt x="18" y="28"/>
                        </a:lnTo>
                        <a:lnTo>
                          <a:pt x="23" y="22"/>
                        </a:lnTo>
                        <a:lnTo>
                          <a:pt x="29" y="17"/>
                        </a:lnTo>
                        <a:lnTo>
                          <a:pt x="34" y="15"/>
                        </a:lnTo>
                        <a:lnTo>
                          <a:pt x="44" y="13"/>
                        </a:lnTo>
                        <a:lnTo>
                          <a:pt x="52" y="11"/>
                        </a:lnTo>
                        <a:lnTo>
                          <a:pt x="52" y="0"/>
                        </a:lnTo>
                        <a:lnTo>
                          <a:pt x="41" y="1"/>
                        </a:lnTo>
                        <a:lnTo>
                          <a:pt x="32" y="3"/>
                        </a:lnTo>
                        <a:lnTo>
                          <a:pt x="24" y="8"/>
                        </a:lnTo>
                        <a:lnTo>
                          <a:pt x="16" y="13"/>
                        </a:lnTo>
                        <a:lnTo>
                          <a:pt x="9" y="21"/>
                        </a:lnTo>
                        <a:lnTo>
                          <a:pt x="5" y="29"/>
                        </a:lnTo>
                        <a:lnTo>
                          <a:pt x="1" y="38"/>
                        </a:lnTo>
                        <a:lnTo>
                          <a:pt x="0" y="47"/>
                        </a:lnTo>
                        <a:lnTo>
                          <a:pt x="0" y="47"/>
                        </a:lnTo>
                        <a:lnTo>
                          <a:pt x="11" y="4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3" name="Freeform 1257"/>
                  <p:cNvSpPr>
                    <a:spLocks/>
                  </p:cNvSpPr>
                  <p:nvPr/>
                </p:nvSpPr>
                <p:spPr bwMode="auto">
                  <a:xfrm rot="-5400000">
                    <a:off x="3622" y="3889"/>
                    <a:ext cx="18" cy="17"/>
                  </a:xfrm>
                  <a:custGeom>
                    <a:avLst/>
                    <a:gdLst/>
                    <a:ahLst/>
                    <a:cxnLst>
                      <a:cxn ang="0">
                        <a:pos x="52" y="36"/>
                      </a:cxn>
                      <a:cxn ang="0">
                        <a:pos x="52" y="36"/>
                      </a:cxn>
                      <a:cxn ang="0">
                        <a:pos x="44" y="35"/>
                      </a:cxn>
                      <a:cxn ang="0">
                        <a:pos x="34" y="32"/>
                      </a:cxn>
                      <a:cxn ang="0">
                        <a:pos x="30" y="30"/>
                      </a:cxn>
                      <a:cxn ang="0">
                        <a:pos x="23" y="24"/>
                      </a:cxn>
                      <a:cxn ang="0">
                        <a:pos x="18" y="20"/>
                      </a:cxn>
                      <a:cxn ang="0">
                        <a:pos x="14" y="14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9"/>
                      </a:cxn>
                      <a:cxn ang="0">
                        <a:pos x="9" y="27"/>
                      </a:cxn>
                      <a:cxn ang="0">
                        <a:pos x="16" y="34"/>
                      </a:cxn>
                      <a:cxn ang="0">
                        <a:pos x="23" y="39"/>
                      </a:cxn>
                      <a:cxn ang="0">
                        <a:pos x="32" y="44"/>
                      </a:cxn>
                      <a:cxn ang="0">
                        <a:pos x="41" y="46"/>
                      </a:cxn>
                      <a:cxn ang="0">
                        <a:pos x="52" y="47"/>
                      </a:cxn>
                      <a:cxn ang="0">
                        <a:pos x="52" y="47"/>
                      </a:cxn>
                      <a:cxn ang="0">
                        <a:pos x="52" y="36"/>
                      </a:cxn>
                    </a:cxnLst>
                    <a:rect l="0" t="0" r="r" b="b"/>
                    <a:pathLst>
                      <a:path w="52" h="47">
                        <a:moveTo>
                          <a:pt x="52" y="36"/>
                        </a:moveTo>
                        <a:lnTo>
                          <a:pt x="52" y="36"/>
                        </a:lnTo>
                        <a:lnTo>
                          <a:pt x="44" y="35"/>
                        </a:lnTo>
                        <a:lnTo>
                          <a:pt x="34" y="32"/>
                        </a:lnTo>
                        <a:lnTo>
                          <a:pt x="30" y="30"/>
                        </a:lnTo>
                        <a:lnTo>
                          <a:pt x="23" y="24"/>
                        </a:lnTo>
                        <a:lnTo>
                          <a:pt x="18" y="20"/>
                        </a:lnTo>
                        <a:lnTo>
                          <a:pt x="14" y="14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9"/>
                        </a:lnTo>
                        <a:lnTo>
                          <a:pt x="9" y="27"/>
                        </a:lnTo>
                        <a:lnTo>
                          <a:pt x="16" y="34"/>
                        </a:lnTo>
                        <a:lnTo>
                          <a:pt x="23" y="39"/>
                        </a:lnTo>
                        <a:lnTo>
                          <a:pt x="32" y="44"/>
                        </a:lnTo>
                        <a:lnTo>
                          <a:pt x="41" y="46"/>
                        </a:lnTo>
                        <a:lnTo>
                          <a:pt x="52" y="47"/>
                        </a:lnTo>
                        <a:lnTo>
                          <a:pt x="52" y="47"/>
                        </a:lnTo>
                        <a:lnTo>
                          <a:pt x="52" y="36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4" name="Freeform 1258"/>
                  <p:cNvSpPr>
                    <a:spLocks/>
                  </p:cNvSpPr>
                  <p:nvPr/>
                </p:nvSpPr>
                <p:spPr bwMode="auto">
                  <a:xfrm rot="-5400000">
                    <a:off x="3610" y="3421"/>
                    <a:ext cx="31" cy="26"/>
                  </a:xfrm>
                  <a:custGeom>
                    <a:avLst/>
                    <a:gdLst/>
                    <a:ahLst/>
                    <a:cxnLst>
                      <a:cxn ang="0">
                        <a:pos x="48" y="78"/>
                      </a:cxn>
                      <a:cxn ang="0">
                        <a:pos x="57" y="76"/>
                      </a:cxn>
                      <a:cxn ang="0">
                        <a:pos x="67" y="74"/>
                      </a:cxn>
                      <a:cxn ang="0">
                        <a:pos x="75" y="71"/>
                      </a:cxn>
                      <a:cxn ang="0">
                        <a:pos x="82" y="66"/>
                      </a:cxn>
                      <a:cxn ang="0">
                        <a:pos x="87" y="60"/>
                      </a:cxn>
                      <a:cxn ang="0">
                        <a:pos x="92" y="55"/>
                      </a:cxn>
                      <a:cxn ang="0">
                        <a:pos x="94" y="48"/>
                      </a:cxn>
                      <a:cxn ang="0">
                        <a:pos x="95" y="40"/>
                      </a:cxn>
                      <a:cxn ang="0">
                        <a:pos x="94" y="31"/>
                      </a:cxn>
                      <a:cxn ang="0">
                        <a:pos x="92" y="25"/>
                      </a:cxn>
                      <a:cxn ang="0">
                        <a:pos x="87" y="18"/>
                      </a:cxn>
                      <a:cxn ang="0">
                        <a:pos x="82" y="12"/>
                      </a:cxn>
                      <a:cxn ang="0">
                        <a:pos x="75" y="7"/>
                      </a:cxn>
                      <a:cxn ang="0">
                        <a:pos x="67" y="4"/>
                      </a:cxn>
                      <a:cxn ang="0">
                        <a:pos x="57" y="2"/>
                      </a:cxn>
                      <a:cxn ang="0">
                        <a:pos x="48" y="0"/>
                      </a:cxn>
                      <a:cxn ang="0">
                        <a:pos x="39" y="2"/>
                      </a:cxn>
                      <a:cxn ang="0">
                        <a:pos x="30" y="4"/>
                      </a:cxn>
                      <a:cxn ang="0">
                        <a:pos x="22" y="7"/>
                      </a:cxn>
                      <a:cxn ang="0">
                        <a:pos x="14" y="12"/>
                      </a:cxn>
                      <a:cxn ang="0">
                        <a:pos x="8" y="18"/>
                      </a:cxn>
                      <a:cxn ang="0">
                        <a:pos x="3" y="25"/>
                      </a:cxn>
                      <a:cxn ang="0">
                        <a:pos x="1" y="31"/>
                      </a:cxn>
                      <a:cxn ang="0">
                        <a:pos x="0" y="40"/>
                      </a:cxn>
                      <a:cxn ang="0">
                        <a:pos x="1" y="48"/>
                      </a:cxn>
                      <a:cxn ang="0">
                        <a:pos x="3" y="55"/>
                      </a:cxn>
                      <a:cxn ang="0">
                        <a:pos x="8" y="60"/>
                      </a:cxn>
                      <a:cxn ang="0">
                        <a:pos x="14" y="66"/>
                      </a:cxn>
                      <a:cxn ang="0">
                        <a:pos x="22" y="71"/>
                      </a:cxn>
                      <a:cxn ang="0">
                        <a:pos x="30" y="74"/>
                      </a:cxn>
                      <a:cxn ang="0">
                        <a:pos x="39" y="76"/>
                      </a:cxn>
                      <a:cxn ang="0">
                        <a:pos x="48" y="78"/>
                      </a:cxn>
                    </a:cxnLst>
                    <a:rect l="0" t="0" r="r" b="b"/>
                    <a:pathLst>
                      <a:path w="95" h="78">
                        <a:moveTo>
                          <a:pt x="48" y="78"/>
                        </a:moveTo>
                        <a:lnTo>
                          <a:pt x="57" y="76"/>
                        </a:lnTo>
                        <a:lnTo>
                          <a:pt x="67" y="74"/>
                        </a:lnTo>
                        <a:lnTo>
                          <a:pt x="75" y="71"/>
                        </a:lnTo>
                        <a:lnTo>
                          <a:pt x="82" y="66"/>
                        </a:lnTo>
                        <a:lnTo>
                          <a:pt x="87" y="60"/>
                        </a:lnTo>
                        <a:lnTo>
                          <a:pt x="92" y="55"/>
                        </a:lnTo>
                        <a:lnTo>
                          <a:pt x="94" y="48"/>
                        </a:lnTo>
                        <a:lnTo>
                          <a:pt x="95" y="40"/>
                        </a:lnTo>
                        <a:lnTo>
                          <a:pt x="94" y="31"/>
                        </a:lnTo>
                        <a:lnTo>
                          <a:pt x="92" y="25"/>
                        </a:lnTo>
                        <a:lnTo>
                          <a:pt x="87" y="18"/>
                        </a:lnTo>
                        <a:lnTo>
                          <a:pt x="82" y="12"/>
                        </a:lnTo>
                        <a:lnTo>
                          <a:pt x="75" y="7"/>
                        </a:lnTo>
                        <a:lnTo>
                          <a:pt x="67" y="4"/>
                        </a:lnTo>
                        <a:lnTo>
                          <a:pt x="57" y="2"/>
                        </a:lnTo>
                        <a:lnTo>
                          <a:pt x="48" y="0"/>
                        </a:lnTo>
                        <a:lnTo>
                          <a:pt x="39" y="2"/>
                        </a:lnTo>
                        <a:lnTo>
                          <a:pt x="30" y="4"/>
                        </a:lnTo>
                        <a:lnTo>
                          <a:pt x="22" y="7"/>
                        </a:lnTo>
                        <a:lnTo>
                          <a:pt x="14" y="12"/>
                        </a:lnTo>
                        <a:lnTo>
                          <a:pt x="8" y="18"/>
                        </a:lnTo>
                        <a:lnTo>
                          <a:pt x="3" y="25"/>
                        </a:lnTo>
                        <a:lnTo>
                          <a:pt x="1" y="31"/>
                        </a:lnTo>
                        <a:lnTo>
                          <a:pt x="0" y="40"/>
                        </a:lnTo>
                        <a:lnTo>
                          <a:pt x="1" y="48"/>
                        </a:lnTo>
                        <a:lnTo>
                          <a:pt x="3" y="55"/>
                        </a:lnTo>
                        <a:lnTo>
                          <a:pt x="8" y="60"/>
                        </a:lnTo>
                        <a:lnTo>
                          <a:pt x="14" y="66"/>
                        </a:lnTo>
                        <a:lnTo>
                          <a:pt x="22" y="71"/>
                        </a:lnTo>
                        <a:lnTo>
                          <a:pt x="30" y="74"/>
                        </a:lnTo>
                        <a:lnTo>
                          <a:pt x="39" y="76"/>
                        </a:lnTo>
                        <a:lnTo>
                          <a:pt x="48" y="78"/>
                        </a:lnTo>
                        <a:close/>
                      </a:path>
                    </a:pathLst>
                  </a:custGeom>
                  <a:solidFill>
                    <a:srgbClr val="D8BF5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5" name="Freeform 1259"/>
                  <p:cNvSpPr>
                    <a:spLocks/>
                  </p:cNvSpPr>
                  <p:nvPr/>
                </p:nvSpPr>
                <p:spPr bwMode="auto">
                  <a:xfrm rot="-5400000">
                    <a:off x="3623" y="3418"/>
                    <a:ext cx="19" cy="14"/>
                  </a:xfrm>
                  <a:custGeom>
                    <a:avLst/>
                    <a:gdLst/>
                    <a:ahLst/>
                    <a:cxnLst>
                      <a:cxn ang="0">
                        <a:pos x="42" y="0"/>
                      </a:cxn>
                      <a:cxn ang="0">
                        <a:pos x="42" y="0"/>
                      </a:cxn>
                      <a:cxn ang="0">
                        <a:pos x="40" y="6"/>
                      </a:cxn>
                      <a:cxn ang="0">
                        <a:pos x="39" y="12"/>
                      </a:cxn>
                      <a:cxn ang="0">
                        <a:pos x="35" y="17"/>
                      </a:cxn>
                      <a:cxn ang="0">
                        <a:pos x="30" y="21"/>
                      </a:cxn>
                      <a:cxn ang="0">
                        <a:pos x="24" y="26"/>
                      </a:cxn>
                      <a:cxn ang="0">
                        <a:pos x="17" y="28"/>
                      </a:cxn>
                      <a:cxn ang="0">
                        <a:pos x="8" y="31"/>
                      </a:cxn>
                      <a:cxn ang="0">
                        <a:pos x="0" y="32"/>
                      </a:cxn>
                      <a:cxn ang="0">
                        <a:pos x="0" y="43"/>
                      </a:cxn>
                      <a:cxn ang="0">
                        <a:pos x="11" y="42"/>
                      </a:cxn>
                      <a:cxn ang="0">
                        <a:pos x="20" y="40"/>
                      </a:cxn>
                      <a:cxn ang="0">
                        <a:pos x="29" y="35"/>
                      </a:cxn>
                      <a:cxn ang="0">
                        <a:pos x="37" y="31"/>
                      </a:cxn>
                      <a:cxn ang="0">
                        <a:pos x="44" y="24"/>
                      </a:cxn>
                      <a:cxn ang="0">
                        <a:pos x="49" y="17"/>
                      </a:cxn>
                      <a:cxn ang="0">
                        <a:pos x="52" y="9"/>
                      </a:cxn>
                      <a:cxn ang="0">
                        <a:pos x="53" y="0"/>
                      </a:cxn>
                      <a:cxn ang="0">
                        <a:pos x="53" y="0"/>
                      </a:cxn>
                      <a:cxn ang="0">
                        <a:pos x="42" y="0"/>
                      </a:cxn>
                    </a:cxnLst>
                    <a:rect l="0" t="0" r="r" b="b"/>
                    <a:pathLst>
                      <a:path w="53" h="43">
                        <a:moveTo>
                          <a:pt x="42" y="0"/>
                        </a:moveTo>
                        <a:lnTo>
                          <a:pt x="42" y="0"/>
                        </a:lnTo>
                        <a:lnTo>
                          <a:pt x="40" y="6"/>
                        </a:lnTo>
                        <a:lnTo>
                          <a:pt x="39" y="12"/>
                        </a:lnTo>
                        <a:lnTo>
                          <a:pt x="35" y="17"/>
                        </a:lnTo>
                        <a:lnTo>
                          <a:pt x="30" y="21"/>
                        </a:lnTo>
                        <a:lnTo>
                          <a:pt x="24" y="26"/>
                        </a:lnTo>
                        <a:lnTo>
                          <a:pt x="17" y="28"/>
                        </a:lnTo>
                        <a:lnTo>
                          <a:pt x="8" y="31"/>
                        </a:lnTo>
                        <a:lnTo>
                          <a:pt x="0" y="32"/>
                        </a:lnTo>
                        <a:lnTo>
                          <a:pt x="0" y="43"/>
                        </a:lnTo>
                        <a:lnTo>
                          <a:pt x="11" y="42"/>
                        </a:lnTo>
                        <a:lnTo>
                          <a:pt x="20" y="40"/>
                        </a:lnTo>
                        <a:lnTo>
                          <a:pt x="29" y="35"/>
                        </a:lnTo>
                        <a:lnTo>
                          <a:pt x="37" y="31"/>
                        </a:lnTo>
                        <a:lnTo>
                          <a:pt x="44" y="24"/>
                        </a:lnTo>
                        <a:lnTo>
                          <a:pt x="49" y="17"/>
                        </a:lnTo>
                        <a:lnTo>
                          <a:pt x="52" y="9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42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6" name="Freeform 1260"/>
                  <p:cNvSpPr>
                    <a:spLocks/>
                  </p:cNvSpPr>
                  <p:nvPr/>
                </p:nvSpPr>
                <p:spPr bwMode="auto">
                  <a:xfrm rot="-5400000">
                    <a:off x="3609" y="3417"/>
                    <a:ext cx="19" cy="16"/>
                  </a:xfrm>
                  <a:custGeom>
                    <a:avLst/>
                    <a:gdLst/>
                    <a:ahLst/>
                    <a:cxnLst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8" y="12"/>
                      </a:cxn>
                      <a:cxn ang="0">
                        <a:pos x="17" y="15"/>
                      </a:cxn>
                      <a:cxn ang="0">
                        <a:pos x="24" y="17"/>
                      </a:cxn>
                      <a:cxn ang="0">
                        <a:pos x="30" y="21"/>
                      </a:cxn>
                      <a:cxn ang="0">
                        <a:pos x="35" y="26"/>
                      </a:cxn>
                      <a:cxn ang="0">
                        <a:pos x="39" y="32"/>
                      </a:cxn>
                      <a:cxn ang="0">
                        <a:pos x="40" y="38"/>
                      </a:cxn>
                      <a:cxn ang="0">
                        <a:pos x="42" y="45"/>
                      </a:cxn>
                      <a:cxn ang="0">
                        <a:pos x="53" y="45"/>
                      </a:cxn>
                      <a:cxn ang="0">
                        <a:pos x="52" y="35"/>
                      </a:cxn>
                      <a:cxn ang="0">
                        <a:pos x="49" y="27"/>
                      </a:cxn>
                      <a:cxn ang="0">
                        <a:pos x="44" y="19"/>
                      </a:cxn>
                      <a:cxn ang="0">
                        <a:pos x="37" y="12"/>
                      </a:cxn>
                      <a:cxn ang="0">
                        <a:pos x="29" y="8"/>
                      </a:cxn>
                      <a:cxn ang="0">
                        <a:pos x="20" y="3"/>
                      </a:cxn>
                      <a:cxn ang="0">
                        <a:pos x="11" y="1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11"/>
                      </a:cxn>
                    </a:cxnLst>
                    <a:rect l="0" t="0" r="r" b="b"/>
                    <a:pathLst>
                      <a:path w="53" h="45">
                        <a:moveTo>
                          <a:pt x="0" y="11"/>
                        </a:moveTo>
                        <a:lnTo>
                          <a:pt x="0" y="11"/>
                        </a:lnTo>
                        <a:lnTo>
                          <a:pt x="8" y="12"/>
                        </a:lnTo>
                        <a:lnTo>
                          <a:pt x="17" y="15"/>
                        </a:lnTo>
                        <a:lnTo>
                          <a:pt x="24" y="17"/>
                        </a:lnTo>
                        <a:lnTo>
                          <a:pt x="30" y="21"/>
                        </a:lnTo>
                        <a:lnTo>
                          <a:pt x="35" y="26"/>
                        </a:lnTo>
                        <a:lnTo>
                          <a:pt x="39" y="32"/>
                        </a:lnTo>
                        <a:lnTo>
                          <a:pt x="40" y="38"/>
                        </a:lnTo>
                        <a:lnTo>
                          <a:pt x="42" y="45"/>
                        </a:lnTo>
                        <a:lnTo>
                          <a:pt x="53" y="45"/>
                        </a:lnTo>
                        <a:lnTo>
                          <a:pt x="52" y="35"/>
                        </a:lnTo>
                        <a:lnTo>
                          <a:pt x="49" y="27"/>
                        </a:lnTo>
                        <a:lnTo>
                          <a:pt x="44" y="19"/>
                        </a:lnTo>
                        <a:lnTo>
                          <a:pt x="37" y="12"/>
                        </a:lnTo>
                        <a:lnTo>
                          <a:pt x="29" y="8"/>
                        </a:lnTo>
                        <a:lnTo>
                          <a:pt x="20" y="3"/>
                        </a:lnTo>
                        <a:lnTo>
                          <a:pt x="11" y="1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7" name="Freeform 1261"/>
                  <p:cNvSpPr>
                    <a:spLocks/>
                  </p:cNvSpPr>
                  <p:nvPr/>
                </p:nvSpPr>
                <p:spPr bwMode="auto">
                  <a:xfrm rot="-5400000">
                    <a:off x="3610" y="3435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12" y="45"/>
                      </a:cxn>
                      <a:cxn ang="0">
                        <a:pos x="12" y="45"/>
                      </a:cxn>
                      <a:cxn ang="0">
                        <a:pos x="13" y="38"/>
                      </a:cxn>
                      <a:cxn ang="0">
                        <a:pos x="14" y="32"/>
                      </a:cxn>
                      <a:cxn ang="0">
                        <a:pos x="18" y="26"/>
                      </a:cxn>
                      <a:cxn ang="0">
                        <a:pos x="23" y="21"/>
                      </a:cxn>
                      <a:cxn ang="0">
                        <a:pos x="30" y="17"/>
                      </a:cxn>
                      <a:cxn ang="0">
                        <a:pos x="37" y="15"/>
                      </a:cxn>
                      <a:cxn ang="0">
                        <a:pos x="46" y="12"/>
                      </a:cxn>
                      <a:cxn ang="0">
                        <a:pos x="54" y="11"/>
                      </a:cxn>
                      <a:cxn ang="0">
                        <a:pos x="54" y="0"/>
                      </a:cxn>
                      <a:cxn ang="0">
                        <a:pos x="44" y="1"/>
                      </a:cxn>
                      <a:cxn ang="0">
                        <a:pos x="35" y="3"/>
                      </a:cxn>
                      <a:cxn ang="0">
                        <a:pos x="25" y="8"/>
                      </a:cxn>
                      <a:cxn ang="0">
                        <a:pos x="16" y="12"/>
                      </a:cxn>
                      <a:cxn ang="0">
                        <a:pos x="9" y="19"/>
                      </a:cxn>
                      <a:cxn ang="0">
                        <a:pos x="5" y="27"/>
                      </a:cxn>
                      <a:cxn ang="0">
                        <a:pos x="1" y="35"/>
                      </a:cxn>
                      <a:cxn ang="0">
                        <a:pos x="0" y="45"/>
                      </a:cxn>
                      <a:cxn ang="0">
                        <a:pos x="0" y="45"/>
                      </a:cxn>
                      <a:cxn ang="0">
                        <a:pos x="12" y="45"/>
                      </a:cxn>
                    </a:cxnLst>
                    <a:rect l="0" t="0" r="r" b="b"/>
                    <a:pathLst>
                      <a:path w="54" h="45">
                        <a:moveTo>
                          <a:pt x="12" y="45"/>
                        </a:moveTo>
                        <a:lnTo>
                          <a:pt x="12" y="45"/>
                        </a:lnTo>
                        <a:lnTo>
                          <a:pt x="13" y="38"/>
                        </a:lnTo>
                        <a:lnTo>
                          <a:pt x="14" y="32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30" y="17"/>
                        </a:lnTo>
                        <a:lnTo>
                          <a:pt x="37" y="15"/>
                        </a:lnTo>
                        <a:lnTo>
                          <a:pt x="46" y="12"/>
                        </a:lnTo>
                        <a:lnTo>
                          <a:pt x="54" y="11"/>
                        </a:lnTo>
                        <a:lnTo>
                          <a:pt x="54" y="0"/>
                        </a:lnTo>
                        <a:lnTo>
                          <a:pt x="44" y="1"/>
                        </a:lnTo>
                        <a:lnTo>
                          <a:pt x="35" y="3"/>
                        </a:lnTo>
                        <a:lnTo>
                          <a:pt x="25" y="8"/>
                        </a:lnTo>
                        <a:lnTo>
                          <a:pt x="16" y="12"/>
                        </a:lnTo>
                        <a:lnTo>
                          <a:pt x="9" y="19"/>
                        </a:lnTo>
                        <a:lnTo>
                          <a:pt x="5" y="27"/>
                        </a:lnTo>
                        <a:lnTo>
                          <a:pt x="1" y="35"/>
                        </a:lnTo>
                        <a:lnTo>
                          <a:pt x="0" y="45"/>
                        </a:lnTo>
                        <a:lnTo>
                          <a:pt x="0" y="45"/>
                        </a:lnTo>
                        <a:lnTo>
                          <a:pt x="12" y="4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8" name="Freeform 1262"/>
                  <p:cNvSpPr>
                    <a:spLocks/>
                  </p:cNvSpPr>
                  <p:nvPr/>
                </p:nvSpPr>
                <p:spPr bwMode="auto">
                  <a:xfrm rot="-5400000">
                    <a:off x="3625" y="3436"/>
                    <a:ext cx="16" cy="14"/>
                  </a:xfrm>
                  <a:custGeom>
                    <a:avLst/>
                    <a:gdLst/>
                    <a:ahLst/>
                    <a:cxnLst>
                      <a:cxn ang="0">
                        <a:pos x="54" y="32"/>
                      </a:cxn>
                      <a:cxn ang="0">
                        <a:pos x="54" y="32"/>
                      </a:cxn>
                      <a:cxn ang="0">
                        <a:pos x="46" y="31"/>
                      </a:cxn>
                      <a:cxn ang="0">
                        <a:pos x="37" y="28"/>
                      </a:cxn>
                      <a:cxn ang="0">
                        <a:pos x="30" y="26"/>
                      </a:cxn>
                      <a:cxn ang="0">
                        <a:pos x="23" y="21"/>
                      </a:cxn>
                      <a:cxn ang="0">
                        <a:pos x="18" y="17"/>
                      </a:cxn>
                      <a:cxn ang="0">
                        <a:pos x="14" y="12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0" y="0"/>
                      </a:cxn>
                      <a:cxn ang="0">
                        <a:pos x="1" y="9"/>
                      </a:cxn>
                      <a:cxn ang="0">
                        <a:pos x="5" y="17"/>
                      </a:cxn>
                      <a:cxn ang="0">
                        <a:pos x="9" y="24"/>
                      </a:cxn>
                      <a:cxn ang="0">
                        <a:pos x="16" y="31"/>
                      </a:cxn>
                      <a:cxn ang="0">
                        <a:pos x="25" y="35"/>
                      </a:cxn>
                      <a:cxn ang="0">
                        <a:pos x="35" y="40"/>
                      </a:cxn>
                      <a:cxn ang="0">
                        <a:pos x="44" y="42"/>
                      </a:cxn>
                      <a:cxn ang="0">
                        <a:pos x="54" y="43"/>
                      </a:cxn>
                      <a:cxn ang="0">
                        <a:pos x="54" y="43"/>
                      </a:cxn>
                      <a:cxn ang="0">
                        <a:pos x="54" y="32"/>
                      </a:cxn>
                    </a:cxnLst>
                    <a:rect l="0" t="0" r="r" b="b"/>
                    <a:pathLst>
                      <a:path w="54" h="43">
                        <a:moveTo>
                          <a:pt x="54" y="32"/>
                        </a:moveTo>
                        <a:lnTo>
                          <a:pt x="54" y="32"/>
                        </a:lnTo>
                        <a:lnTo>
                          <a:pt x="46" y="31"/>
                        </a:lnTo>
                        <a:lnTo>
                          <a:pt x="37" y="28"/>
                        </a:lnTo>
                        <a:lnTo>
                          <a:pt x="30" y="26"/>
                        </a:lnTo>
                        <a:lnTo>
                          <a:pt x="23" y="21"/>
                        </a:lnTo>
                        <a:lnTo>
                          <a:pt x="18" y="17"/>
                        </a:lnTo>
                        <a:lnTo>
                          <a:pt x="14" y="12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0" y="0"/>
                        </a:lnTo>
                        <a:lnTo>
                          <a:pt x="1" y="9"/>
                        </a:lnTo>
                        <a:lnTo>
                          <a:pt x="5" y="17"/>
                        </a:lnTo>
                        <a:lnTo>
                          <a:pt x="9" y="24"/>
                        </a:lnTo>
                        <a:lnTo>
                          <a:pt x="16" y="31"/>
                        </a:lnTo>
                        <a:lnTo>
                          <a:pt x="25" y="35"/>
                        </a:lnTo>
                        <a:lnTo>
                          <a:pt x="35" y="40"/>
                        </a:lnTo>
                        <a:lnTo>
                          <a:pt x="44" y="42"/>
                        </a:lnTo>
                        <a:lnTo>
                          <a:pt x="54" y="43"/>
                        </a:lnTo>
                        <a:lnTo>
                          <a:pt x="54" y="43"/>
                        </a:lnTo>
                        <a:lnTo>
                          <a:pt x="54" y="3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29" name="Freeform 1263"/>
                  <p:cNvSpPr>
                    <a:spLocks/>
                  </p:cNvSpPr>
                  <p:nvPr/>
                </p:nvSpPr>
                <p:spPr bwMode="auto">
                  <a:xfrm rot="-5400000">
                    <a:off x="3563" y="3852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8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3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4" y="271"/>
                      </a:cxn>
                      <a:cxn ang="0">
                        <a:pos x="93" y="267"/>
                      </a:cxn>
                      <a:cxn ang="0">
                        <a:pos x="75" y="261"/>
                      </a:cxn>
                      <a:cxn ang="0">
                        <a:pos x="64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0" y="64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6" y="1"/>
                      </a:cxn>
                      <a:cxn ang="0">
                        <a:pos x="128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7" y="40"/>
                      </a:cxn>
                      <a:cxn ang="0">
                        <a:pos x="73" y="46"/>
                      </a:cxn>
                      <a:cxn ang="0">
                        <a:pos x="67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5" y="155"/>
                      </a:cxn>
                      <a:cxn ang="0">
                        <a:pos x="52" y="182"/>
                      </a:cxn>
                      <a:cxn ang="0">
                        <a:pos x="61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3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19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3" y="268"/>
                        </a:lnTo>
                        <a:lnTo>
                          <a:pt x="114" y="271"/>
                        </a:lnTo>
                        <a:lnTo>
                          <a:pt x="103" y="270"/>
                        </a:lnTo>
                        <a:lnTo>
                          <a:pt x="93" y="267"/>
                        </a:lnTo>
                        <a:lnTo>
                          <a:pt x="83" y="265"/>
                        </a:lnTo>
                        <a:lnTo>
                          <a:pt x="75" y="261"/>
                        </a:lnTo>
                        <a:lnTo>
                          <a:pt x="69" y="258"/>
                        </a:lnTo>
                        <a:lnTo>
                          <a:pt x="64" y="256"/>
                        </a:lnTo>
                        <a:lnTo>
                          <a:pt x="60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4"/>
                        </a:lnTo>
                        <a:lnTo>
                          <a:pt x="20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0" y="0"/>
                        </a:lnTo>
                        <a:lnTo>
                          <a:pt x="96" y="1"/>
                        </a:lnTo>
                        <a:lnTo>
                          <a:pt x="113" y="8"/>
                        </a:lnTo>
                        <a:lnTo>
                          <a:pt x="128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19" y="51"/>
                        </a:lnTo>
                        <a:lnTo>
                          <a:pt x="107" y="44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5" y="155"/>
                        </a:lnTo>
                        <a:lnTo>
                          <a:pt x="47" y="168"/>
                        </a:lnTo>
                        <a:lnTo>
                          <a:pt x="52" y="182"/>
                        </a:lnTo>
                        <a:lnTo>
                          <a:pt x="57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0" name="Freeform 1264"/>
                  <p:cNvSpPr>
                    <a:spLocks/>
                  </p:cNvSpPr>
                  <p:nvPr/>
                </p:nvSpPr>
                <p:spPr bwMode="auto">
                  <a:xfrm rot="-5400000">
                    <a:off x="3609" y="3881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4" y="15"/>
                      </a:cxn>
                      <a:cxn ang="0">
                        <a:pos x="31" y="18"/>
                      </a:cxn>
                      <a:cxn ang="0">
                        <a:pos x="26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3" y="29"/>
                      </a:cxn>
                      <a:cxn ang="0">
                        <a:pos x="41" y="25"/>
                      </a:cxn>
                      <a:cxn ang="0">
                        <a:pos x="46" y="18"/>
                      </a:cxn>
                      <a:cxn ang="0">
                        <a:pos x="48" y="12"/>
                      </a:cxn>
                      <a:cxn ang="0">
                        <a:pos x="49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4" y="15"/>
                        </a:lnTo>
                        <a:lnTo>
                          <a:pt x="31" y="18"/>
                        </a:lnTo>
                        <a:lnTo>
                          <a:pt x="26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3" y="29"/>
                        </a:lnTo>
                        <a:lnTo>
                          <a:pt x="41" y="25"/>
                        </a:lnTo>
                        <a:lnTo>
                          <a:pt x="46" y="18"/>
                        </a:lnTo>
                        <a:lnTo>
                          <a:pt x="48" y="12"/>
                        </a:lnTo>
                        <a:lnTo>
                          <a:pt x="49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1" name="Freeform 1265"/>
                  <p:cNvSpPr>
                    <a:spLocks/>
                  </p:cNvSpPr>
                  <p:nvPr/>
                </p:nvSpPr>
                <p:spPr bwMode="auto">
                  <a:xfrm rot="-5400000">
                    <a:off x="3610" y="3872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9"/>
                      </a:cxn>
                      <a:cxn ang="0">
                        <a:pos x="30" y="19"/>
                      </a:cxn>
                      <a:cxn ang="0">
                        <a:pos x="24" y="11"/>
                      </a:cxn>
                      <a:cxn ang="0">
                        <a:pos x="17" y="4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2" y="7"/>
                      </a:cxn>
                      <a:cxn ang="0">
                        <a:pos x="8" y="12"/>
                      </a:cxn>
                      <a:cxn ang="0">
                        <a:pos x="10" y="13"/>
                      </a:cxn>
                      <a:cxn ang="0">
                        <a:pos x="15" y="18"/>
                      </a:cxn>
                      <a:cxn ang="0">
                        <a:pos x="18" y="23"/>
                      </a:cxn>
                      <a:cxn ang="0">
                        <a:pos x="20" y="23"/>
                      </a:cxn>
                      <a:cxn ang="0">
                        <a:pos x="29" y="19"/>
                      </a:cxn>
                    </a:cxnLst>
                    <a:rect l="0" t="0" r="r" b="b"/>
                    <a:pathLst>
                      <a:path w="30" h="23">
                        <a:moveTo>
                          <a:pt x="29" y="19"/>
                        </a:moveTo>
                        <a:lnTo>
                          <a:pt x="30" y="19"/>
                        </a:lnTo>
                        <a:lnTo>
                          <a:pt x="24" y="11"/>
                        </a:lnTo>
                        <a:lnTo>
                          <a:pt x="17" y="4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2" y="7"/>
                        </a:lnTo>
                        <a:lnTo>
                          <a:pt x="8" y="12"/>
                        </a:lnTo>
                        <a:lnTo>
                          <a:pt x="10" y="13"/>
                        </a:lnTo>
                        <a:lnTo>
                          <a:pt x="15" y="18"/>
                        </a:lnTo>
                        <a:lnTo>
                          <a:pt x="18" y="23"/>
                        </a:lnTo>
                        <a:lnTo>
                          <a:pt x="20" y="23"/>
                        </a:lnTo>
                        <a:lnTo>
                          <a:pt x="29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2" name="Freeform 1266"/>
                  <p:cNvSpPr>
                    <a:spLocks/>
                  </p:cNvSpPr>
                  <p:nvPr/>
                </p:nvSpPr>
                <p:spPr bwMode="auto">
                  <a:xfrm rot="-5400000">
                    <a:off x="3618" y="3869"/>
                    <a:ext cx="13" cy="19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6"/>
                      </a:cxn>
                      <a:cxn ang="0">
                        <a:pos x="46" y="16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5" y="16"/>
                      </a:cxn>
                      <a:cxn ang="0">
                        <a:pos x="34" y="22"/>
                      </a:cxn>
                      <a:cxn ang="0">
                        <a:pos x="29" y="28"/>
                      </a:cxn>
                      <a:cxn ang="0">
                        <a:pos x="24" y="32"/>
                      </a:cxn>
                      <a:cxn ang="0">
                        <a:pos x="19" y="36"/>
                      </a:cxn>
                      <a:cxn ang="0">
                        <a:pos x="12" y="38"/>
                      </a:cxn>
                      <a:cxn ang="0">
                        <a:pos x="3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6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6"/>
                        </a:lnTo>
                        <a:lnTo>
                          <a:pt x="46" y="16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5" y="16"/>
                        </a:lnTo>
                        <a:lnTo>
                          <a:pt x="34" y="22"/>
                        </a:lnTo>
                        <a:lnTo>
                          <a:pt x="29" y="28"/>
                        </a:lnTo>
                        <a:lnTo>
                          <a:pt x="24" y="32"/>
                        </a:lnTo>
                        <a:lnTo>
                          <a:pt x="19" y="36"/>
                        </a:lnTo>
                        <a:lnTo>
                          <a:pt x="12" y="38"/>
                        </a:lnTo>
                        <a:lnTo>
                          <a:pt x="3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3" name="Freeform 1267"/>
                  <p:cNvSpPr>
                    <a:spLocks/>
                  </p:cNvSpPr>
                  <p:nvPr/>
                </p:nvSpPr>
                <p:spPr bwMode="auto">
                  <a:xfrm rot="-5400000">
                    <a:off x="3621" y="3889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11"/>
                      </a:cxn>
                      <a:cxn ang="0">
                        <a:pos x="3" y="11"/>
                      </a:cxn>
                      <a:cxn ang="0">
                        <a:pos x="5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0" y="21"/>
                      </a:cxn>
                      <a:cxn ang="0">
                        <a:pos x="29" y="26"/>
                      </a:cxn>
                      <a:cxn ang="0">
                        <a:pos x="40" y="28"/>
                      </a:cxn>
                      <a:cxn ang="0">
                        <a:pos x="51" y="30"/>
                      </a:cxn>
                      <a:cxn ang="0">
                        <a:pos x="51" y="19"/>
                      </a:cxn>
                      <a:cxn ang="0">
                        <a:pos x="42" y="16"/>
                      </a:cxn>
                      <a:cxn ang="0">
                        <a:pos x="32" y="14"/>
                      </a:cxn>
                      <a:cxn ang="0">
                        <a:pos x="25" y="12"/>
                      </a:cxn>
                      <a:cxn ang="0">
                        <a:pos x="19" y="8"/>
                      </a:cxn>
                      <a:cxn ang="0">
                        <a:pos x="15" y="6"/>
                      </a:cxn>
                      <a:cxn ang="0">
                        <a:pos x="10" y="4"/>
                      </a:cxn>
                      <a:cxn ang="0">
                        <a:pos x="10" y="4"/>
                      </a:cxn>
                      <a:cxn ang="0">
                        <a:pos x="9" y="1"/>
                      </a:cxn>
                      <a:cxn ang="0">
                        <a:pos x="9" y="3"/>
                      </a:cxn>
                      <a:cxn ang="0">
                        <a:pos x="9" y="1"/>
                      </a:cxn>
                      <a:cxn ang="0">
                        <a:pos x="4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2" y="11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51" h="30">
                        <a:moveTo>
                          <a:pt x="2" y="10"/>
                        </a:moveTo>
                        <a:lnTo>
                          <a:pt x="2" y="11"/>
                        </a:lnTo>
                        <a:lnTo>
                          <a:pt x="3" y="11"/>
                        </a:lnTo>
                        <a:lnTo>
                          <a:pt x="5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0" y="21"/>
                        </a:lnTo>
                        <a:lnTo>
                          <a:pt x="29" y="26"/>
                        </a:lnTo>
                        <a:lnTo>
                          <a:pt x="40" y="28"/>
                        </a:lnTo>
                        <a:lnTo>
                          <a:pt x="51" y="30"/>
                        </a:lnTo>
                        <a:lnTo>
                          <a:pt x="51" y="19"/>
                        </a:lnTo>
                        <a:lnTo>
                          <a:pt x="42" y="16"/>
                        </a:lnTo>
                        <a:lnTo>
                          <a:pt x="32" y="14"/>
                        </a:lnTo>
                        <a:lnTo>
                          <a:pt x="25" y="12"/>
                        </a:lnTo>
                        <a:lnTo>
                          <a:pt x="19" y="8"/>
                        </a:lnTo>
                        <a:lnTo>
                          <a:pt x="15" y="6"/>
                        </a:lnTo>
                        <a:lnTo>
                          <a:pt x="10" y="4"/>
                        </a:lnTo>
                        <a:lnTo>
                          <a:pt x="10" y="4"/>
                        </a:lnTo>
                        <a:lnTo>
                          <a:pt x="9" y="1"/>
                        </a:lnTo>
                        <a:lnTo>
                          <a:pt x="9" y="3"/>
                        </a:lnTo>
                        <a:lnTo>
                          <a:pt x="9" y="1"/>
                        </a:lnTo>
                        <a:lnTo>
                          <a:pt x="4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2" y="11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4" name="Freeform 1268"/>
                  <p:cNvSpPr>
                    <a:spLocks/>
                  </p:cNvSpPr>
                  <p:nvPr/>
                </p:nvSpPr>
                <p:spPr bwMode="auto">
                  <a:xfrm rot="-5400000">
                    <a:off x="3558" y="3853"/>
                    <a:ext cx="50" cy="87"/>
                  </a:xfrm>
                  <a:custGeom>
                    <a:avLst/>
                    <a:gdLst/>
                    <a:ahLst/>
                    <a:cxnLst>
                      <a:cxn ang="0">
                        <a:pos x="150" y="43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6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4" y="30"/>
                      </a:cxn>
                      <a:cxn ang="0">
                        <a:pos x="22" y="49"/>
                      </a:cxn>
                      <a:cxn ang="0">
                        <a:pos x="10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6" y="199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6" y="12"/>
                      </a:cxn>
                      <a:cxn ang="0">
                        <a:pos x="101" y="13"/>
                      </a:cxn>
                      <a:cxn ang="0">
                        <a:pos x="116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3" y="50"/>
                      </a:cxn>
                      <a:cxn ang="0">
                        <a:pos x="150" y="43"/>
                      </a:cxn>
                    </a:cxnLst>
                    <a:rect l="0" t="0" r="r" b="b"/>
                    <a:pathLst>
                      <a:path w="151" h="261">
                        <a:moveTo>
                          <a:pt x="150" y="43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6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4" y="30"/>
                        </a:lnTo>
                        <a:lnTo>
                          <a:pt x="22" y="49"/>
                        </a:lnTo>
                        <a:lnTo>
                          <a:pt x="10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6" y="199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6" y="12"/>
                        </a:lnTo>
                        <a:lnTo>
                          <a:pt x="101" y="13"/>
                        </a:lnTo>
                        <a:lnTo>
                          <a:pt x="116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3" y="50"/>
                        </a:lnTo>
                        <a:lnTo>
                          <a:pt x="150" y="4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5" name="Freeform 1269"/>
                  <p:cNvSpPr>
                    <a:spLocks/>
                  </p:cNvSpPr>
                  <p:nvPr/>
                </p:nvSpPr>
                <p:spPr bwMode="auto">
                  <a:xfrm rot="-5400000">
                    <a:off x="3554" y="3871"/>
                    <a:ext cx="4" cy="7"/>
                  </a:xfrm>
                  <a:custGeom>
                    <a:avLst/>
                    <a:gdLst/>
                    <a:ahLst/>
                    <a:cxnLst>
                      <a:cxn ang="0">
                        <a:pos x="7" y="19"/>
                      </a:cxn>
                      <a:cxn ang="0">
                        <a:pos x="10" y="17"/>
                      </a:cxn>
                      <a:cxn ang="0">
                        <a:pos x="12" y="15"/>
                      </a:cxn>
                      <a:cxn ang="0">
                        <a:pos x="14" y="10"/>
                      </a:cxn>
                      <a:cxn ang="0">
                        <a:pos x="15" y="7"/>
                      </a:cxn>
                      <a:cxn ang="0">
                        <a:pos x="13" y="0"/>
                      </a:cxn>
                      <a:cxn ang="0">
                        <a:pos x="6" y="7"/>
                      </a:cxn>
                      <a:cxn ang="0">
                        <a:pos x="3" y="4"/>
                      </a:cxn>
                      <a:cxn ang="0">
                        <a:pos x="2" y="8"/>
                      </a:cxn>
                      <a:cxn ang="0">
                        <a:pos x="2" y="10"/>
                      </a:cxn>
                      <a:cxn ang="0">
                        <a:pos x="1" y="10"/>
                      </a:cxn>
                      <a:cxn ang="0">
                        <a:pos x="5" y="8"/>
                      </a:cxn>
                      <a:cxn ang="0">
                        <a:pos x="1" y="10"/>
                      </a:cxn>
                      <a:cxn ang="0">
                        <a:pos x="0" y="15"/>
                      </a:cxn>
                      <a:cxn ang="0">
                        <a:pos x="2" y="18"/>
                      </a:cxn>
                      <a:cxn ang="0">
                        <a:pos x="7" y="19"/>
                      </a:cxn>
                      <a:cxn ang="0">
                        <a:pos x="10" y="17"/>
                      </a:cxn>
                      <a:cxn ang="0">
                        <a:pos x="7" y="19"/>
                      </a:cxn>
                    </a:cxnLst>
                    <a:rect l="0" t="0" r="r" b="b"/>
                    <a:pathLst>
                      <a:path w="15" h="19">
                        <a:moveTo>
                          <a:pt x="7" y="19"/>
                        </a:moveTo>
                        <a:lnTo>
                          <a:pt x="10" y="17"/>
                        </a:lnTo>
                        <a:lnTo>
                          <a:pt x="12" y="15"/>
                        </a:lnTo>
                        <a:lnTo>
                          <a:pt x="14" y="10"/>
                        </a:lnTo>
                        <a:lnTo>
                          <a:pt x="15" y="7"/>
                        </a:lnTo>
                        <a:lnTo>
                          <a:pt x="13" y="0"/>
                        </a:lnTo>
                        <a:lnTo>
                          <a:pt x="6" y="7"/>
                        </a:lnTo>
                        <a:lnTo>
                          <a:pt x="3" y="4"/>
                        </a:lnTo>
                        <a:lnTo>
                          <a:pt x="2" y="8"/>
                        </a:lnTo>
                        <a:lnTo>
                          <a:pt x="2" y="10"/>
                        </a:lnTo>
                        <a:lnTo>
                          <a:pt x="1" y="10"/>
                        </a:lnTo>
                        <a:lnTo>
                          <a:pt x="5" y="8"/>
                        </a:lnTo>
                        <a:lnTo>
                          <a:pt x="1" y="10"/>
                        </a:lnTo>
                        <a:lnTo>
                          <a:pt x="0" y="15"/>
                        </a:lnTo>
                        <a:lnTo>
                          <a:pt x="2" y="18"/>
                        </a:lnTo>
                        <a:lnTo>
                          <a:pt x="7" y="19"/>
                        </a:lnTo>
                        <a:lnTo>
                          <a:pt x="10" y="17"/>
                        </a:lnTo>
                        <a:lnTo>
                          <a:pt x="7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6" name="Freeform 1270"/>
                  <p:cNvSpPr>
                    <a:spLocks/>
                  </p:cNvSpPr>
                  <p:nvPr/>
                </p:nvSpPr>
                <p:spPr bwMode="auto">
                  <a:xfrm rot="-5400000">
                    <a:off x="3554" y="3877"/>
                    <a:ext cx="9" cy="5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7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7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7" name="Freeform 1271"/>
                  <p:cNvSpPr>
                    <a:spLocks/>
                  </p:cNvSpPr>
                  <p:nvPr/>
                </p:nvSpPr>
                <p:spPr bwMode="auto">
                  <a:xfrm rot="-5400000">
                    <a:off x="3546" y="3886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6" y="11"/>
                      </a:cxn>
                      <a:cxn ang="0">
                        <a:pos x="35" y="11"/>
                      </a:cxn>
                      <a:cxn ang="0">
                        <a:pos x="44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6" y="2"/>
                      </a:cxn>
                      <a:cxn ang="0">
                        <a:pos x="9" y="6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6" y="11"/>
                        </a:lnTo>
                        <a:lnTo>
                          <a:pt x="35" y="11"/>
                        </a:lnTo>
                        <a:lnTo>
                          <a:pt x="44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6" y="2"/>
                        </a:lnTo>
                        <a:lnTo>
                          <a:pt x="9" y="6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8" name="Freeform 1272"/>
                  <p:cNvSpPr>
                    <a:spLocks/>
                  </p:cNvSpPr>
                  <p:nvPr/>
                </p:nvSpPr>
                <p:spPr bwMode="auto">
                  <a:xfrm rot="-5400000">
                    <a:off x="3567" y="3887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89"/>
                      </a:cxn>
                      <a:cxn ang="0">
                        <a:pos x="13" y="89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89"/>
                      </a:cxn>
                    </a:cxnLst>
                    <a:rect l="0" t="0" r="r" b="b"/>
                    <a:pathLst>
                      <a:path w="36" h="92">
                        <a:moveTo>
                          <a:pt x="13" y="89"/>
                        </a:moveTo>
                        <a:lnTo>
                          <a:pt x="13" y="89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8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39" name="Freeform 1273"/>
                  <p:cNvSpPr>
                    <a:spLocks/>
                  </p:cNvSpPr>
                  <p:nvPr/>
                </p:nvSpPr>
                <p:spPr bwMode="auto">
                  <a:xfrm rot="-5400000">
                    <a:off x="3593" y="3895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5"/>
                      </a:cxn>
                      <a:cxn ang="0">
                        <a:pos x="27" y="55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4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4" y="17"/>
                      </a:cxn>
                      <a:cxn ang="0">
                        <a:pos x="6" y="29"/>
                      </a:cxn>
                      <a:cxn ang="0">
                        <a:pos x="11" y="43"/>
                      </a:cxn>
                      <a:cxn ang="0">
                        <a:pos x="18" y="59"/>
                      </a:cxn>
                      <a:cxn ang="0">
                        <a:pos x="17" y="59"/>
                      </a:cxn>
                      <a:cxn ang="0">
                        <a:pos x="28" y="55"/>
                      </a:cxn>
                    </a:cxnLst>
                    <a:rect l="0" t="0" r="r" b="b"/>
                    <a:pathLst>
                      <a:path w="28" h="59">
                        <a:moveTo>
                          <a:pt x="28" y="55"/>
                        </a:moveTo>
                        <a:lnTo>
                          <a:pt x="27" y="55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4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4" y="17"/>
                        </a:lnTo>
                        <a:lnTo>
                          <a:pt x="6" y="29"/>
                        </a:lnTo>
                        <a:lnTo>
                          <a:pt x="11" y="43"/>
                        </a:lnTo>
                        <a:lnTo>
                          <a:pt x="18" y="59"/>
                        </a:lnTo>
                        <a:lnTo>
                          <a:pt x="17" y="59"/>
                        </a:lnTo>
                        <a:lnTo>
                          <a:pt x="28" y="55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0" name="Freeform 1274"/>
                  <p:cNvSpPr>
                    <a:spLocks/>
                  </p:cNvSpPr>
                  <p:nvPr/>
                </p:nvSpPr>
                <p:spPr bwMode="auto">
                  <a:xfrm rot="-5400000">
                    <a:off x="3607" y="3890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19" y="13"/>
                      </a:cxn>
                      <a:cxn ang="0">
                        <a:pos x="13" y="7"/>
                      </a:cxn>
                      <a:cxn ang="0">
                        <a:pos x="11" y="0"/>
                      </a:cxn>
                      <a:cxn ang="0">
                        <a:pos x="0" y="4"/>
                      </a:cxn>
                      <a:cxn ang="0">
                        <a:pos x="4" y="11"/>
                      </a:cxn>
                      <a:cxn ang="0">
                        <a:pos x="10" y="20"/>
                      </a:cxn>
                      <a:cxn ang="0">
                        <a:pos x="17" y="28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19" y="13"/>
                        </a:lnTo>
                        <a:lnTo>
                          <a:pt x="13" y="7"/>
                        </a:lnTo>
                        <a:lnTo>
                          <a:pt x="11" y="0"/>
                        </a:lnTo>
                        <a:lnTo>
                          <a:pt x="0" y="4"/>
                        </a:lnTo>
                        <a:lnTo>
                          <a:pt x="4" y="11"/>
                        </a:lnTo>
                        <a:lnTo>
                          <a:pt x="10" y="20"/>
                        </a:lnTo>
                        <a:lnTo>
                          <a:pt x="17" y="28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1" name="Freeform 1275"/>
                  <p:cNvSpPr>
                    <a:spLocks/>
                  </p:cNvSpPr>
                  <p:nvPr/>
                </p:nvSpPr>
                <p:spPr bwMode="auto">
                  <a:xfrm rot="-5400000">
                    <a:off x="3565" y="3797"/>
                    <a:ext cx="47" cy="91"/>
                  </a:xfrm>
                  <a:custGeom>
                    <a:avLst/>
                    <a:gdLst/>
                    <a:ahLst/>
                    <a:cxnLst>
                      <a:cxn ang="0">
                        <a:pos x="93" y="234"/>
                      </a:cxn>
                      <a:cxn ang="0">
                        <a:pos x="110" y="238"/>
                      </a:cxn>
                      <a:cxn ang="0">
                        <a:pos x="118" y="230"/>
                      </a:cxn>
                      <a:cxn ang="0">
                        <a:pos x="122" y="220"/>
                      </a:cxn>
                      <a:cxn ang="0">
                        <a:pos x="124" y="214"/>
                      </a:cxn>
                      <a:cxn ang="0">
                        <a:pos x="136" y="221"/>
                      </a:cxn>
                      <a:cxn ang="0">
                        <a:pos x="144" y="236"/>
                      </a:cxn>
                      <a:cxn ang="0">
                        <a:pos x="140" y="251"/>
                      </a:cxn>
                      <a:cxn ang="0">
                        <a:pos x="131" y="264"/>
                      </a:cxn>
                      <a:cxn ang="0">
                        <a:pos x="114" y="269"/>
                      </a:cxn>
                      <a:cxn ang="0">
                        <a:pos x="93" y="267"/>
                      </a:cxn>
                      <a:cxn ang="0">
                        <a:pos x="75" y="260"/>
                      </a:cxn>
                      <a:cxn ang="0">
                        <a:pos x="64" y="254"/>
                      </a:cxn>
                      <a:cxn ang="0">
                        <a:pos x="58" y="251"/>
                      </a:cxn>
                      <a:cxn ang="0">
                        <a:pos x="33" y="222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1" y="64"/>
                      </a:cxn>
                      <a:cxn ang="0">
                        <a:pos x="34" y="27"/>
                      </a:cxn>
                      <a:cxn ang="0">
                        <a:pos x="65" y="4"/>
                      </a:cxn>
                      <a:cxn ang="0">
                        <a:pos x="98" y="1"/>
                      </a:cxn>
                      <a:cxn ang="0">
                        <a:pos x="129" y="20"/>
                      </a:cxn>
                      <a:cxn ang="0">
                        <a:pos x="141" y="42"/>
                      </a:cxn>
                      <a:cxn ang="0">
                        <a:pos x="138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7" y="40"/>
                      </a:cxn>
                      <a:cxn ang="0">
                        <a:pos x="73" y="45"/>
                      </a:cxn>
                      <a:cxn ang="0">
                        <a:pos x="67" y="52"/>
                      </a:cxn>
                      <a:cxn ang="0">
                        <a:pos x="48" y="82"/>
                      </a:cxn>
                      <a:cxn ang="0">
                        <a:pos x="40" y="131"/>
                      </a:cxn>
                      <a:cxn ang="0">
                        <a:pos x="45" y="154"/>
                      </a:cxn>
                      <a:cxn ang="0">
                        <a:pos x="52" y="182"/>
                      </a:cxn>
                      <a:cxn ang="0">
                        <a:pos x="62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4" h="269">
                        <a:moveTo>
                          <a:pt x="80" y="225"/>
                        </a:moveTo>
                        <a:lnTo>
                          <a:pt x="93" y="234"/>
                        </a:lnTo>
                        <a:lnTo>
                          <a:pt x="102" y="237"/>
                        </a:lnTo>
                        <a:lnTo>
                          <a:pt x="110" y="238"/>
                        </a:lnTo>
                        <a:lnTo>
                          <a:pt x="115" y="235"/>
                        </a:lnTo>
                        <a:lnTo>
                          <a:pt x="118" y="230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1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7" y="258"/>
                        </a:lnTo>
                        <a:lnTo>
                          <a:pt x="131" y="264"/>
                        </a:lnTo>
                        <a:lnTo>
                          <a:pt x="123" y="267"/>
                        </a:lnTo>
                        <a:lnTo>
                          <a:pt x="114" y="269"/>
                        </a:lnTo>
                        <a:lnTo>
                          <a:pt x="103" y="269"/>
                        </a:lnTo>
                        <a:lnTo>
                          <a:pt x="93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4" y="254"/>
                        </a:lnTo>
                        <a:lnTo>
                          <a:pt x="60" y="252"/>
                        </a:lnTo>
                        <a:lnTo>
                          <a:pt x="58" y="251"/>
                        </a:lnTo>
                        <a:lnTo>
                          <a:pt x="57" y="250"/>
                        </a:lnTo>
                        <a:lnTo>
                          <a:pt x="33" y="222"/>
                        </a:lnTo>
                        <a:lnTo>
                          <a:pt x="16" y="194"/>
                        </a:lnTo>
                        <a:lnTo>
                          <a:pt x="5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7"/>
                        </a:lnTo>
                        <a:lnTo>
                          <a:pt x="11" y="64"/>
                        </a:lnTo>
                        <a:lnTo>
                          <a:pt x="22" y="45"/>
                        </a:lnTo>
                        <a:lnTo>
                          <a:pt x="34" y="27"/>
                        </a:lnTo>
                        <a:lnTo>
                          <a:pt x="49" y="14"/>
                        </a:lnTo>
                        <a:lnTo>
                          <a:pt x="65" y="4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0"/>
                        </a:lnTo>
                        <a:lnTo>
                          <a:pt x="141" y="40"/>
                        </a:lnTo>
                        <a:lnTo>
                          <a:pt x="141" y="42"/>
                        </a:lnTo>
                        <a:lnTo>
                          <a:pt x="139" y="46"/>
                        </a:lnTo>
                        <a:lnTo>
                          <a:pt x="138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1"/>
                        </a:lnTo>
                        <a:lnTo>
                          <a:pt x="73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5" y="53"/>
                        </a:lnTo>
                        <a:lnTo>
                          <a:pt x="48" y="82"/>
                        </a:lnTo>
                        <a:lnTo>
                          <a:pt x="41" y="109"/>
                        </a:lnTo>
                        <a:lnTo>
                          <a:pt x="40" y="131"/>
                        </a:lnTo>
                        <a:lnTo>
                          <a:pt x="41" y="141"/>
                        </a:lnTo>
                        <a:lnTo>
                          <a:pt x="45" y="154"/>
                        </a:lnTo>
                        <a:lnTo>
                          <a:pt x="47" y="168"/>
                        </a:lnTo>
                        <a:lnTo>
                          <a:pt x="52" y="182"/>
                        </a:lnTo>
                        <a:lnTo>
                          <a:pt x="57" y="197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3" y="220"/>
                        </a:lnTo>
                        <a:lnTo>
                          <a:pt x="80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2" name="Freeform 1276"/>
                  <p:cNvSpPr>
                    <a:spLocks/>
                  </p:cNvSpPr>
                  <p:nvPr/>
                </p:nvSpPr>
                <p:spPr bwMode="auto">
                  <a:xfrm rot="-5400000">
                    <a:off x="3612" y="3828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0"/>
                      </a:cxn>
                      <a:cxn ang="0">
                        <a:pos x="37" y="14"/>
                      </a:cxn>
                      <a:cxn ang="0">
                        <a:pos x="34" y="17"/>
                      </a:cxn>
                      <a:cxn ang="0">
                        <a:pos x="33" y="18"/>
                      </a:cxn>
                      <a:cxn ang="0">
                        <a:pos x="26" y="17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4"/>
                      </a:cxn>
                      <a:cxn ang="0">
                        <a:pos x="24" y="29"/>
                      </a:cxn>
                      <a:cxn ang="0">
                        <a:pos x="33" y="30"/>
                      </a:cxn>
                      <a:cxn ang="0">
                        <a:pos x="41" y="24"/>
                      </a:cxn>
                      <a:cxn ang="0">
                        <a:pos x="46" y="18"/>
                      </a:cxn>
                      <a:cxn ang="0">
                        <a:pos x="49" y="13"/>
                      </a:cxn>
                      <a:cxn ang="0">
                        <a:pos x="51" y="6"/>
                      </a:cxn>
                      <a:cxn ang="0">
                        <a:pos x="51" y="1"/>
                      </a:cxn>
                      <a:cxn ang="0">
                        <a:pos x="51" y="2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0"/>
                        </a:lnTo>
                        <a:lnTo>
                          <a:pt x="37" y="14"/>
                        </a:lnTo>
                        <a:lnTo>
                          <a:pt x="34" y="17"/>
                        </a:lnTo>
                        <a:lnTo>
                          <a:pt x="33" y="18"/>
                        </a:lnTo>
                        <a:lnTo>
                          <a:pt x="26" y="17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4"/>
                        </a:lnTo>
                        <a:lnTo>
                          <a:pt x="24" y="29"/>
                        </a:lnTo>
                        <a:lnTo>
                          <a:pt x="33" y="30"/>
                        </a:lnTo>
                        <a:lnTo>
                          <a:pt x="41" y="24"/>
                        </a:lnTo>
                        <a:lnTo>
                          <a:pt x="46" y="18"/>
                        </a:lnTo>
                        <a:lnTo>
                          <a:pt x="49" y="13"/>
                        </a:lnTo>
                        <a:lnTo>
                          <a:pt x="51" y="6"/>
                        </a:lnTo>
                        <a:lnTo>
                          <a:pt x="51" y="1"/>
                        </a:lnTo>
                        <a:lnTo>
                          <a:pt x="51" y="2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3" name="Freeform 1277"/>
                  <p:cNvSpPr>
                    <a:spLocks/>
                  </p:cNvSpPr>
                  <p:nvPr/>
                </p:nvSpPr>
                <p:spPr bwMode="auto">
                  <a:xfrm rot="-5400000">
                    <a:off x="3612" y="3819"/>
                    <a:ext cx="9" cy="9"/>
                  </a:xfrm>
                  <a:custGeom>
                    <a:avLst/>
                    <a:gdLst/>
                    <a:ahLst/>
                    <a:cxnLst>
                      <a:cxn ang="0">
                        <a:pos x="30" y="19"/>
                      </a:cxn>
                      <a:cxn ang="0">
                        <a:pos x="30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8"/>
                      </a:cxn>
                      <a:cxn ang="0">
                        <a:pos x="8" y="12"/>
                      </a:cxn>
                      <a:cxn ang="0">
                        <a:pos x="12" y="13"/>
                      </a:cxn>
                      <a:cxn ang="0">
                        <a:pos x="15" y="16"/>
                      </a:cxn>
                      <a:cxn ang="0">
                        <a:pos x="21" y="23"/>
                      </a:cxn>
                      <a:cxn ang="0">
                        <a:pos x="21" y="23"/>
                      </a:cxn>
                      <a:cxn ang="0">
                        <a:pos x="30" y="19"/>
                      </a:cxn>
                    </a:cxnLst>
                    <a:rect l="0" t="0" r="r" b="b"/>
                    <a:pathLst>
                      <a:path w="30" h="23">
                        <a:moveTo>
                          <a:pt x="30" y="19"/>
                        </a:moveTo>
                        <a:lnTo>
                          <a:pt x="30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8"/>
                        </a:lnTo>
                        <a:lnTo>
                          <a:pt x="8" y="12"/>
                        </a:lnTo>
                        <a:lnTo>
                          <a:pt x="12" y="13"/>
                        </a:lnTo>
                        <a:lnTo>
                          <a:pt x="15" y="16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30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4" name="Freeform 1278"/>
                  <p:cNvSpPr>
                    <a:spLocks/>
                  </p:cNvSpPr>
                  <p:nvPr/>
                </p:nvSpPr>
                <p:spPr bwMode="auto">
                  <a:xfrm rot="-5400000">
                    <a:off x="3620" y="3816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0" y="48"/>
                      </a:cxn>
                      <a:cxn ang="0">
                        <a:pos x="11" y="48"/>
                      </a:cxn>
                      <a:cxn ang="0">
                        <a:pos x="21" y="46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5"/>
                      </a:cxn>
                      <a:cxn ang="0">
                        <a:pos x="45" y="17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4" y="15"/>
                      </a:cxn>
                      <a:cxn ang="0">
                        <a:pos x="31" y="23"/>
                      </a:cxn>
                      <a:cxn ang="0">
                        <a:pos x="29" y="27"/>
                      </a:cxn>
                      <a:cxn ang="0">
                        <a:pos x="25" y="32"/>
                      </a:cxn>
                      <a:cxn ang="0">
                        <a:pos x="19" y="34"/>
                      </a:cxn>
                      <a:cxn ang="0">
                        <a:pos x="11" y="37"/>
                      </a:cxn>
                      <a:cxn ang="0">
                        <a:pos x="0" y="37"/>
                      </a:cxn>
                      <a:cxn ang="0">
                        <a:pos x="0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6" h="48">
                        <a:moveTo>
                          <a:pt x="0" y="48"/>
                        </a:moveTo>
                        <a:lnTo>
                          <a:pt x="0" y="48"/>
                        </a:lnTo>
                        <a:lnTo>
                          <a:pt x="11" y="48"/>
                        </a:lnTo>
                        <a:lnTo>
                          <a:pt x="21" y="46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5"/>
                        </a:lnTo>
                        <a:lnTo>
                          <a:pt x="45" y="17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4" y="15"/>
                        </a:lnTo>
                        <a:lnTo>
                          <a:pt x="31" y="23"/>
                        </a:lnTo>
                        <a:lnTo>
                          <a:pt x="29" y="27"/>
                        </a:lnTo>
                        <a:lnTo>
                          <a:pt x="25" y="32"/>
                        </a:lnTo>
                        <a:lnTo>
                          <a:pt x="19" y="34"/>
                        </a:lnTo>
                        <a:lnTo>
                          <a:pt x="11" y="37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5" name="Freeform 1279"/>
                  <p:cNvSpPr>
                    <a:spLocks/>
                  </p:cNvSpPr>
                  <p:nvPr/>
                </p:nvSpPr>
                <p:spPr bwMode="auto">
                  <a:xfrm rot="-5400000">
                    <a:off x="3622" y="3836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3" y="10"/>
                      </a:cxn>
                      <a:cxn ang="0">
                        <a:pos x="5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0" y="22"/>
                      </a:cxn>
                      <a:cxn ang="0">
                        <a:pos x="30" y="25"/>
                      </a:cxn>
                      <a:cxn ang="0">
                        <a:pos x="40" y="29"/>
                      </a:cxn>
                      <a:cxn ang="0">
                        <a:pos x="51" y="31"/>
                      </a:cxn>
                      <a:cxn ang="0">
                        <a:pos x="51" y="20"/>
                      </a:cxn>
                      <a:cxn ang="0">
                        <a:pos x="42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19" y="9"/>
                      </a:cxn>
                      <a:cxn ang="0">
                        <a:pos x="15" y="6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4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1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3" y="10"/>
                        </a:lnTo>
                        <a:lnTo>
                          <a:pt x="5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0" y="22"/>
                        </a:lnTo>
                        <a:lnTo>
                          <a:pt x="30" y="25"/>
                        </a:lnTo>
                        <a:lnTo>
                          <a:pt x="40" y="29"/>
                        </a:lnTo>
                        <a:lnTo>
                          <a:pt x="51" y="31"/>
                        </a:lnTo>
                        <a:lnTo>
                          <a:pt x="51" y="20"/>
                        </a:lnTo>
                        <a:lnTo>
                          <a:pt x="42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19" y="9"/>
                        </a:lnTo>
                        <a:lnTo>
                          <a:pt x="15" y="6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4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6" name="Freeform 1280"/>
                  <p:cNvSpPr>
                    <a:spLocks/>
                  </p:cNvSpPr>
                  <p:nvPr/>
                </p:nvSpPr>
                <p:spPr bwMode="auto">
                  <a:xfrm rot="-5400000">
                    <a:off x="3560" y="3800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8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6" y="30"/>
                      </a:cxn>
                      <a:cxn ang="0">
                        <a:pos x="23" y="48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3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5"/>
                      </a:cxn>
                      <a:cxn ang="0">
                        <a:pos x="26" y="198"/>
                      </a:cxn>
                      <a:cxn ang="0">
                        <a:pos x="17" y="172"/>
                      </a:cxn>
                      <a:cxn ang="0">
                        <a:pos x="11" y="145"/>
                      </a:cxn>
                      <a:cxn ang="0">
                        <a:pos x="11" y="119"/>
                      </a:cxn>
                      <a:cxn ang="0">
                        <a:pos x="15" y="94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4" y="16"/>
                      </a:cxn>
                      <a:cxn ang="0">
                        <a:pos x="88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30" y="30"/>
                      </a:cxn>
                      <a:cxn ang="0">
                        <a:pos x="143" y="48"/>
                      </a:cxn>
                      <a:cxn ang="0">
                        <a:pos x="143" y="48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59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8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6" y="30"/>
                        </a:lnTo>
                        <a:lnTo>
                          <a:pt x="23" y="48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3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5"/>
                        </a:lnTo>
                        <a:lnTo>
                          <a:pt x="26" y="198"/>
                        </a:lnTo>
                        <a:lnTo>
                          <a:pt x="17" y="172"/>
                        </a:lnTo>
                        <a:lnTo>
                          <a:pt x="11" y="145"/>
                        </a:lnTo>
                        <a:lnTo>
                          <a:pt x="11" y="119"/>
                        </a:lnTo>
                        <a:lnTo>
                          <a:pt x="15" y="94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4" y="16"/>
                        </a:lnTo>
                        <a:lnTo>
                          <a:pt x="88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30" y="30"/>
                        </a:lnTo>
                        <a:lnTo>
                          <a:pt x="143" y="48"/>
                        </a:lnTo>
                        <a:lnTo>
                          <a:pt x="143" y="48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7" name="Freeform 1281"/>
                  <p:cNvSpPr>
                    <a:spLocks/>
                  </p:cNvSpPr>
                  <p:nvPr/>
                </p:nvSpPr>
                <p:spPr bwMode="auto">
                  <a:xfrm rot="-5400000">
                    <a:off x="3557" y="3818"/>
                    <a:ext cx="3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10" y="16"/>
                      </a:cxn>
                      <a:cxn ang="0">
                        <a:pos x="12" y="14"/>
                      </a:cxn>
                      <a:cxn ang="0">
                        <a:pos x="13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4"/>
                      </a:cxn>
                      <a:cxn ang="0">
                        <a:pos x="5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6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6" h="18">
                        <a:moveTo>
                          <a:pt x="6" y="18"/>
                        </a:moveTo>
                        <a:lnTo>
                          <a:pt x="10" y="16"/>
                        </a:lnTo>
                        <a:lnTo>
                          <a:pt x="12" y="14"/>
                        </a:lnTo>
                        <a:lnTo>
                          <a:pt x="13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4"/>
                        </a:lnTo>
                        <a:lnTo>
                          <a:pt x="5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6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8" name="Freeform 1282"/>
                  <p:cNvSpPr>
                    <a:spLocks/>
                  </p:cNvSpPr>
                  <p:nvPr/>
                </p:nvSpPr>
                <p:spPr bwMode="auto">
                  <a:xfrm rot="-5400000">
                    <a:off x="3557" y="3823"/>
                    <a:ext cx="6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8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5" y="1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2" h="12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8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5" y="1"/>
                        </a:lnTo>
                        <a:lnTo>
                          <a:pt x="1" y="2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49" name="Freeform 1283"/>
                  <p:cNvSpPr>
                    <a:spLocks/>
                  </p:cNvSpPr>
                  <p:nvPr/>
                </p:nvSpPr>
                <p:spPr bwMode="auto">
                  <a:xfrm rot="-5400000">
                    <a:off x="3548" y="3832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9" y="22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5"/>
                      </a:cxn>
                      <a:cxn ang="0">
                        <a:pos x="19" y="13"/>
                      </a:cxn>
                      <a:cxn ang="0">
                        <a:pos x="26" y="12"/>
                      </a:cxn>
                      <a:cxn ang="0">
                        <a:pos x="35" y="12"/>
                      </a:cxn>
                      <a:cxn ang="0">
                        <a:pos x="44" y="14"/>
                      </a:cxn>
                      <a:cxn ang="0">
                        <a:pos x="55" y="21"/>
                      </a:cxn>
                      <a:cxn ang="0">
                        <a:pos x="62" y="12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7" y="1"/>
                      </a:cxn>
                      <a:cxn ang="0">
                        <a:pos x="9" y="6"/>
                      </a:cxn>
                      <a:cxn ang="0">
                        <a:pos x="4" y="11"/>
                      </a:cxn>
                      <a:cxn ang="0">
                        <a:pos x="1" y="14"/>
                      </a:cxn>
                      <a:cxn ang="0">
                        <a:pos x="0" y="16"/>
                      </a:cxn>
                      <a:cxn ang="0">
                        <a:pos x="0" y="15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3" y="23"/>
                      </a:cxn>
                      <a:cxn ang="0">
                        <a:pos x="7" y="23"/>
                      </a:cxn>
                      <a:cxn ang="0">
                        <a:pos x="9" y="21"/>
                      </a:cxn>
                      <a:cxn ang="0">
                        <a:pos x="9" y="22"/>
                      </a:cxn>
                    </a:cxnLst>
                    <a:rect l="0" t="0" r="r" b="b"/>
                    <a:pathLst>
                      <a:path w="62" h="23">
                        <a:moveTo>
                          <a:pt x="9" y="22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5"/>
                        </a:lnTo>
                        <a:lnTo>
                          <a:pt x="19" y="13"/>
                        </a:lnTo>
                        <a:lnTo>
                          <a:pt x="26" y="12"/>
                        </a:lnTo>
                        <a:lnTo>
                          <a:pt x="35" y="12"/>
                        </a:lnTo>
                        <a:lnTo>
                          <a:pt x="44" y="14"/>
                        </a:lnTo>
                        <a:lnTo>
                          <a:pt x="55" y="21"/>
                        </a:lnTo>
                        <a:lnTo>
                          <a:pt x="62" y="12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7" y="1"/>
                        </a:lnTo>
                        <a:lnTo>
                          <a:pt x="9" y="6"/>
                        </a:lnTo>
                        <a:lnTo>
                          <a:pt x="4" y="11"/>
                        </a:lnTo>
                        <a:lnTo>
                          <a:pt x="1" y="14"/>
                        </a:lnTo>
                        <a:lnTo>
                          <a:pt x="0" y="16"/>
                        </a:lnTo>
                        <a:lnTo>
                          <a:pt x="0" y="15"/>
                        </a:lnTo>
                        <a:lnTo>
                          <a:pt x="0" y="16"/>
                        </a:lnTo>
                        <a:lnTo>
                          <a:pt x="0" y="20"/>
                        </a:lnTo>
                        <a:lnTo>
                          <a:pt x="3" y="23"/>
                        </a:lnTo>
                        <a:lnTo>
                          <a:pt x="7" y="23"/>
                        </a:lnTo>
                        <a:lnTo>
                          <a:pt x="9" y="21"/>
                        </a:lnTo>
                        <a:lnTo>
                          <a:pt x="9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0" name="Freeform 1284"/>
                  <p:cNvSpPr>
                    <a:spLocks/>
                  </p:cNvSpPr>
                  <p:nvPr/>
                </p:nvSpPr>
                <p:spPr bwMode="auto">
                  <a:xfrm rot="-5400000">
                    <a:off x="3569" y="3833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1"/>
                      </a:cxn>
                      <a:cxn ang="0">
                        <a:pos x="12" y="82"/>
                      </a:cxn>
                      <a:cxn ang="0">
                        <a:pos x="13" y="60"/>
                      </a:cxn>
                      <a:cxn ang="0">
                        <a:pos x="20" y="35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4">
                        <a:moveTo>
                          <a:pt x="13" y="91"/>
                        </a:moveTo>
                        <a:lnTo>
                          <a:pt x="13" y="91"/>
                        </a:lnTo>
                        <a:lnTo>
                          <a:pt x="12" y="82"/>
                        </a:lnTo>
                        <a:lnTo>
                          <a:pt x="13" y="60"/>
                        </a:lnTo>
                        <a:lnTo>
                          <a:pt x="20" y="35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1" name="Freeform 1285"/>
                  <p:cNvSpPr>
                    <a:spLocks/>
                  </p:cNvSpPr>
                  <p:nvPr/>
                </p:nvSpPr>
                <p:spPr bwMode="auto">
                  <a:xfrm rot="-5400000">
                    <a:off x="3596" y="3839"/>
                    <a:ext cx="7" cy="20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7" y="54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4" y="15"/>
                      </a:cxn>
                      <a:cxn ang="0">
                        <a:pos x="6" y="29"/>
                      </a:cxn>
                      <a:cxn ang="0">
                        <a:pos x="11" y="43"/>
                      </a:cxn>
                      <a:cxn ang="0">
                        <a:pos x="18" y="59"/>
                      </a:cxn>
                      <a:cxn ang="0">
                        <a:pos x="18" y="59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7" h="59">
                        <a:moveTo>
                          <a:pt x="27" y="54"/>
                        </a:moveTo>
                        <a:lnTo>
                          <a:pt x="27" y="54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4" y="15"/>
                        </a:lnTo>
                        <a:lnTo>
                          <a:pt x="6" y="29"/>
                        </a:lnTo>
                        <a:lnTo>
                          <a:pt x="11" y="43"/>
                        </a:lnTo>
                        <a:lnTo>
                          <a:pt x="18" y="59"/>
                        </a:lnTo>
                        <a:lnTo>
                          <a:pt x="18" y="59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2" name="Freeform 1286"/>
                  <p:cNvSpPr>
                    <a:spLocks/>
                  </p:cNvSpPr>
                  <p:nvPr/>
                </p:nvSpPr>
                <p:spPr bwMode="auto">
                  <a:xfrm rot="-5400000">
                    <a:off x="3609" y="3836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5" y="22"/>
                      </a:cxn>
                      <a:cxn ang="0">
                        <a:pos x="19" y="14"/>
                      </a:cxn>
                      <a:cxn ang="0">
                        <a:pos x="14" y="6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4" y="13"/>
                      </a:cxn>
                      <a:cxn ang="0">
                        <a:pos x="10" y="21"/>
                      </a:cxn>
                      <a:cxn ang="0">
                        <a:pos x="16" y="29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9" y="37"/>
                      </a:cxn>
                      <a:cxn ang="0">
                        <a:pos x="32" y="35"/>
                      </a:cxn>
                      <a:cxn ang="0">
                        <a:pos x="33" y="30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3" h="37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5" y="22"/>
                        </a:lnTo>
                        <a:lnTo>
                          <a:pt x="19" y="14"/>
                        </a:lnTo>
                        <a:lnTo>
                          <a:pt x="14" y="6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4" y="13"/>
                        </a:lnTo>
                        <a:lnTo>
                          <a:pt x="10" y="21"/>
                        </a:lnTo>
                        <a:lnTo>
                          <a:pt x="16" y="29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9" y="37"/>
                        </a:lnTo>
                        <a:lnTo>
                          <a:pt x="32" y="35"/>
                        </a:lnTo>
                        <a:lnTo>
                          <a:pt x="33" y="30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3" name="Freeform 1287"/>
                  <p:cNvSpPr>
                    <a:spLocks/>
                  </p:cNvSpPr>
                  <p:nvPr/>
                </p:nvSpPr>
                <p:spPr bwMode="auto">
                  <a:xfrm rot="-5400000">
                    <a:off x="3566" y="3742"/>
                    <a:ext cx="46" cy="91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0" y="238"/>
                      </a:cxn>
                      <a:cxn ang="0">
                        <a:pos x="119" y="230"/>
                      </a:cxn>
                      <a:cxn ang="0">
                        <a:pos x="121" y="220"/>
                      </a:cxn>
                      <a:cxn ang="0">
                        <a:pos x="125" y="214"/>
                      </a:cxn>
                      <a:cxn ang="0">
                        <a:pos x="136" y="221"/>
                      </a:cxn>
                      <a:cxn ang="0">
                        <a:pos x="143" y="236"/>
                      </a:cxn>
                      <a:cxn ang="0">
                        <a:pos x="141" y="251"/>
                      </a:cxn>
                      <a:cxn ang="0">
                        <a:pos x="130" y="264"/>
                      </a:cxn>
                      <a:cxn ang="0">
                        <a:pos x="113" y="269"/>
                      </a:cxn>
                      <a:cxn ang="0">
                        <a:pos x="92" y="267"/>
                      </a:cxn>
                      <a:cxn ang="0">
                        <a:pos x="75" y="260"/>
                      </a:cxn>
                      <a:cxn ang="0">
                        <a:pos x="64" y="254"/>
                      </a:cxn>
                      <a:cxn ang="0">
                        <a:pos x="59" y="251"/>
                      </a:cxn>
                      <a:cxn ang="0">
                        <a:pos x="34" y="222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1" y="64"/>
                      </a:cxn>
                      <a:cxn ang="0">
                        <a:pos x="34" y="27"/>
                      </a:cxn>
                      <a:cxn ang="0">
                        <a:pos x="65" y="4"/>
                      </a:cxn>
                      <a:cxn ang="0">
                        <a:pos x="97" y="1"/>
                      </a:cxn>
                      <a:cxn ang="0">
                        <a:pos x="128" y="20"/>
                      </a:cxn>
                      <a:cxn ang="0">
                        <a:pos x="141" y="42"/>
                      </a:cxn>
                      <a:cxn ang="0">
                        <a:pos x="138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4" y="154"/>
                      </a:cxn>
                      <a:cxn ang="0">
                        <a:pos x="51" y="182"/>
                      </a:cxn>
                      <a:cxn ang="0">
                        <a:pos x="61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3" h="269">
                        <a:moveTo>
                          <a:pt x="81" y="225"/>
                        </a:moveTo>
                        <a:lnTo>
                          <a:pt x="94" y="234"/>
                        </a:lnTo>
                        <a:lnTo>
                          <a:pt x="103" y="237"/>
                        </a:lnTo>
                        <a:lnTo>
                          <a:pt x="110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0" y="225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1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7"/>
                        </a:lnTo>
                        <a:lnTo>
                          <a:pt x="113" y="269"/>
                        </a:lnTo>
                        <a:lnTo>
                          <a:pt x="103" y="269"/>
                        </a:lnTo>
                        <a:lnTo>
                          <a:pt x="92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4" y="254"/>
                        </a:lnTo>
                        <a:lnTo>
                          <a:pt x="60" y="252"/>
                        </a:lnTo>
                        <a:lnTo>
                          <a:pt x="59" y="251"/>
                        </a:lnTo>
                        <a:lnTo>
                          <a:pt x="58" y="250"/>
                        </a:lnTo>
                        <a:lnTo>
                          <a:pt x="34" y="222"/>
                        </a:lnTo>
                        <a:lnTo>
                          <a:pt x="16" y="194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4" y="87"/>
                        </a:lnTo>
                        <a:lnTo>
                          <a:pt x="11" y="64"/>
                        </a:lnTo>
                        <a:lnTo>
                          <a:pt x="21" y="45"/>
                        </a:lnTo>
                        <a:lnTo>
                          <a:pt x="34" y="27"/>
                        </a:lnTo>
                        <a:lnTo>
                          <a:pt x="49" y="14"/>
                        </a:lnTo>
                        <a:lnTo>
                          <a:pt x="65" y="4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3" y="8"/>
                        </a:lnTo>
                        <a:lnTo>
                          <a:pt x="128" y="20"/>
                        </a:lnTo>
                        <a:lnTo>
                          <a:pt x="141" y="40"/>
                        </a:lnTo>
                        <a:lnTo>
                          <a:pt x="141" y="42"/>
                        </a:lnTo>
                        <a:lnTo>
                          <a:pt x="140" y="46"/>
                        </a:lnTo>
                        <a:lnTo>
                          <a:pt x="138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1"/>
                        </a:lnTo>
                        <a:lnTo>
                          <a:pt x="74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09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4" y="154"/>
                        </a:lnTo>
                        <a:lnTo>
                          <a:pt x="47" y="168"/>
                        </a:lnTo>
                        <a:lnTo>
                          <a:pt x="51" y="182"/>
                        </a:lnTo>
                        <a:lnTo>
                          <a:pt x="58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4" y="220"/>
                        </a:lnTo>
                        <a:lnTo>
                          <a:pt x="81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4" name="Freeform 1288"/>
                  <p:cNvSpPr>
                    <a:spLocks/>
                  </p:cNvSpPr>
                  <p:nvPr/>
                </p:nvSpPr>
                <p:spPr bwMode="auto">
                  <a:xfrm rot="-5400000">
                    <a:off x="3613" y="3772"/>
                    <a:ext cx="15" cy="10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8" y="4"/>
                      </a:cxn>
                      <a:cxn ang="0">
                        <a:pos x="37" y="9"/>
                      </a:cxn>
                      <a:cxn ang="0">
                        <a:pos x="37" y="13"/>
                      </a:cxn>
                      <a:cxn ang="0">
                        <a:pos x="35" y="15"/>
                      </a:cxn>
                      <a:cxn ang="0">
                        <a:pos x="33" y="17"/>
                      </a:cxn>
                      <a:cxn ang="0">
                        <a:pos x="27" y="16"/>
                      </a:cxn>
                      <a:cxn ang="0">
                        <a:pos x="19" y="14"/>
                      </a:cxn>
                      <a:cxn ang="0">
                        <a:pos x="7" y="6"/>
                      </a:cxn>
                      <a:cxn ang="0">
                        <a:pos x="0" y="15"/>
                      </a:cxn>
                      <a:cxn ang="0">
                        <a:pos x="14" y="23"/>
                      </a:cxn>
                      <a:cxn ang="0">
                        <a:pos x="25" y="28"/>
                      </a:cxn>
                      <a:cxn ang="0">
                        <a:pos x="33" y="29"/>
                      </a:cxn>
                      <a:cxn ang="0">
                        <a:pos x="42" y="24"/>
                      </a:cxn>
                      <a:cxn ang="0">
                        <a:pos x="46" y="17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1" h="29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8" y="4"/>
                        </a:lnTo>
                        <a:lnTo>
                          <a:pt x="37" y="9"/>
                        </a:lnTo>
                        <a:lnTo>
                          <a:pt x="37" y="13"/>
                        </a:lnTo>
                        <a:lnTo>
                          <a:pt x="35" y="15"/>
                        </a:lnTo>
                        <a:lnTo>
                          <a:pt x="33" y="17"/>
                        </a:lnTo>
                        <a:lnTo>
                          <a:pt x="27" y="16"/>
                        </a:lnTo>
                        <a:lnTo>
                          <a:pt x="19" y="14"/>
                        </a:lnTo>
                        <a:lnTo>
                          <a:pt x="7" y="6"/>
                        </a:lnTo>
                        <a:lnTo>
                          <a:pt x="0" y="15"/>
                        </a:lnTo>
                        <a:lnTo>
                          <a:pt x="14" y="23"/>
                        </a:lnTo>
                        <a:lnTo>
                          <a:pt x="25" y="28"/>
                        </a:lnTo>
                        <a:lnTo>
                          <a:pt x="33" y="29"/>
                        </a:lnTo>
                        <a:lnTo>
                          <a:pt x="42" y="24"/>
                        </a:lnTo>
                        <a:lnTo>
                          <a:pt x="46" y="17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5" name="Freeform 1289"/>
                  <p:cNvSpPr>
                    <a:spLocks/>
                  </p:cNvSpPr>
                  <p:nvPr/>
                </p:nvSpPr>
                <p:spPr bwMode="auto">
                  <a:xfrm rot="-5400000">
                    <a:off x="3612" y="3763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28" y="19"/>
                      </a:cxn>
                      <a:cxn ang="0">
                        <a:pos x="29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1" y="7"/>
                      </a:cxn>
                      <a:cxn ang="0">
                        <a:pos x="8" y="12"/>
                      </a:cxn>
                      <a:cxn ang="0">
                        <a:pos x="11" y="13"/>
                      </a:cxn>
                      <a:cxn ang="0">
                        <a:pos x="15" y="16"/>
                      </a:cxn>
                      <a:cxn ang="0">
                        <a:pos x="18" y="23"/>
                      </a:cxn>
                      <a:cxn ang="0">
                        <a:pos x="19" y="23"/>
                      </a:cxn>
                      <a:cxn ang="0">
                        <a:pos x="28" y="19"/>
                      </a:cxn>
                    </a:cxnLst>
                    <a:rect l="0" t="0" r="r" b="b"/>
                    <a:pathLst>
                      <a:path w="29" h="23">
                        <a:moveTo>
                          <a:pt x="28" y="19"/>
                        </a:moveTo>
                        <a:lnTo>
                          <a:pt x="29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1" y="7"/>
                        </a:lnTo>
                        <a:lnTo>
                          <a:pt x="8" y="12"/>
                        </a:lnTo>
                        <a:lnTo>
                          <a:pt x="11" y="13"/>
                        </a:lnTo>
                        <a:lnTo>
                          <a:pt x="15" y="16"/>
                        </a:lnTo>
                        <a:lnTo>
                          <a:pt x="18" y="23"/>
                        </a:lnTo>
                        <a:lnTo>
                          <a:pt x="19" y="23"/>
                        </a:lnTo>
                        <a:lnTo>
                          <a:pt x="28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6" name="Freeform 1290"/>
                  <p:cNvSpPr>
                    <a:spLocks/>
                  </p:cNvSpPr>
                  <p:nvPr/>
                </p:nvSpPr>
                <p:spPr bwMode="auto">
                  <a:xfrm rot="-5400000">
                    <a:off x="3620" y="3761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1" y="48"/>
                      </a:cxn>
                      <a:cxn ang="0">
                        <a:pos x="11" y="48"/>
                      </a:cxn>
                      <a:cxn ang="0">
                        <a:pos x="21" y="46"/>
                      </a:cxn>
                      <a:cxn ang="0">
                        <a:pos x="32" y="41"/>
                      </a:cxn>
                      <a:cxn ang="0">
                        <a:pos x="39" y="34"/>
                      </a:cxn>
                      <a:cxn ang="0">
                        <a:pos x="43" y="26"/>
                      </a:cxn>
                      <a:cxn ang="0">
                        <a:pos x="47" y="16"/>
                      </a:cxn>
                      <a:cxn ang="0">
                        <a:pos x="47" y="9"/>
                      </a:cxn>
                      <a:cxn ang="0">
                        <a:pos x="43" y="0"/>
                      </a:cxn>
                      <a:cxn ang="0">
                        <a:pos x="34" y="4"/>
                      </a:cxn>
                      <a:cxn ang="0">
                        <a:pos x="35" y="9"/>
                      </a:cxn>
                      <a:cxn ang="0">
                        <a:pos x="35" y="16"/>
                      </a:cxn>
                      <a:cxn ang="0">
                        <a:pos x="34" y="22"/>
                      </a:cxn>
                      <a:cxn ang="0">
                        <a:pos x="30" y="27"/>
                      </a:cxn>
                      <a:cxn ang="0">
                        <a:pos x="25" y="32"/>
                      </a:cxn>
                      <a:cxn ang="0">
                        <a:pos x="19" y="34"/>
                      </a:cxn>
                      <a:cxn ang="0">
                        <a:pos x="11" y="37"/>
                      </a:cxn>
                      <a:cxn ang="0">
                        <a:pos x="1" y="37"/>
                      </a:cxn>
                      <a:cxn ang="0">
                        <a:pos x="2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7" h="48">
                        <a:moveTo>
                          <a:pt x="0" y="48"/>
                        </a:moveTo>
                        <a:lnTo>
                          <a:pt x="1" y="48"/>
                        </a:lnTo>
                        <a:lnTo>
                          <a:pt x="11" y="48"/>
                        </a:lnTo>
                        <a:lnTo>
                          <a:pt x="21" y="46"/>
                        </a:lnTo>
                        <a:lnTo>
                          <a:pt x="32" y="41"/>
                        </a:lnTo>
                        <a:lnTo>
                          <a:pt x="39" y="34"/>
                        </a:lnTo>
                        <a:lnTo>
                          <a:pt x="43" y="26"/>
                        </a:lnTo>
                        <a:lnTo>
                          <a:pt x="47" y="16"/>
                        </a:lnTo>
                        <a:lnTo>
                          <a:pt x="47" y="9"/>
                        </a:lnTo>
                        <a:lnTo>
                          <a:pt x="43" y="0"/>
                        </a:lnTo>
                        <a:lnTo>
                          <a:pt x="34" y="4"/>
                        </a:lnTo>
                        <a:lnTo>
                          <a:pt x="35" y="9"/>
                        </a:lnTo>
                        <a:lnTo>
                          <a:pt x="35" y="16"/>
                        </a:lnTo>
                        <a:lnTo>
                          <a:pt x="34" y="22"/>
                        </a:lnTo>
                        <a:lnTo>
                          <a:pt x="30" y="27"/>
                        </a:lnTo>
                        <a:lnTo>
                          <a:pt x="25" y="32"/>
                        </a:lnTo>
                        <a:lnTo>
                          <a:pt x="19" y="34"/>
                        </a:lnTo>
                        <a:lnTo>
                          <a:pt x="11" y="37"/>
                        </a:lnTo>
                        <a:lnTo>
                          <a:pt x="1" y="37"/>
                        </a:lnTo>
                        <a:lnTo>
                          <a:pt x="2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7" name="Freeform 1291"/>
                  <p:cNvSpPr>
                    <a:spLocks/>
                  </p:cNvSpPr>
                  <p:nvPr/>
                </p:nvSpPr>
                <p:spPr bwMode="auto">
                  <a:xfrm rot="-5400000">
                    <a:off x="3621" y="3780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3" y="10"/>
                      </a:cxn>
                      <a:cxn ang="0">
                        <a:pos x="5" y="13"/>
                      </a:cxn>
                      <a:cxn ang="0">
                        <a:pos x="9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29" y="25"/>
                      </a:cxn>
                      <a:cxn ang="0">
                        <a:pos x="39" y="29"/>
                      </a:cxn>
                      <a:cxn ang="0">
                        <a:pos x="50" y="31"/>
                      </a:cxn>
                      <a:cxn ang="0">
                        <a:pos x="52" y="20"/>
                      </a:cxn>
                      <a:cxn ang="0">
                        <a:pos x="42" y="17"/>
                      </a:cxn>
                      <a:cxn ang="0">
                        <a:pos x="33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4" y="6"/>
                      </a:cxn>
                      <a:cxn ang="0">
                        <a:pos x="12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3" y="10"/>
                        </a:lnTo>
                        <a:lnTo>
                          <a:pt x="5" y="13"/>
                        </a:lnTo>
                        <a:lnTo>
                          <a:pt x="9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29" y="25"/>
                        </a:lnTo>
                        <a:lnTo>
                          <a:pt x="39" y="29"/>
                        </a:lnTo>
                        <a:lnTo>
                          <a:pt x="50" y="31"/>
                        </a:lnTo>
                        <a:lnTo>
                          <a:pt x="52" y="20"/>
                        </a:lnTo>
                        <a:lnTo>
                          <a:pt x="42" y="17"/>
                        </a:lnTo>
                        <a:lnTo>
                          <a:pt x="33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4" y="6"/>
                        </a:lnTo>
                        <a:lnTo>
                          <a:pt x="12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8" name="Freeform 1292"/>
                  <p:cNvSpPr>
                    <a:spLocks/>
                  </p:cNvSpPr>
                  <p:nvPr/>
                </p:nvSpPr>
                <p:spPr bwMode="auto">
                  <a:xfrm rot="-5400000">
                    <a:off x="3560" y="3744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9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2" y="48"/>
                      </a:cxn>
                      <a:cxn ang="0">
                        <a:pos x="11" y="68"/>
                      </a:cxn>
                      <a:cxn ang="0">
                        <a:pos x="4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8" y="203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5"/>
                      </a:cxn>
                      <a:cxn ang="0">
                        <a:pos x="27" y="198"/>
                      </a:cxn>
                      <a:cxn ang="0">
                        <a:pos x="18" y="172"/>
                      </a:cxn>
                      <a:cxn ang="0">
                        <a:pos x="12" y="145"/>
                      </a:cxn>
                      <a:cxn ang="0">
                        <a:pos x="12" y="119"/>
                      </a:cxn>
                      <a:cxn ang="0">
                        <a:pos x="15" y="94"/>
                      </a:cxn>
                      <a:cxn ang="0">
                        <a:pos x="22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29" y="30"/>
                      </a:cxn>
                      <a:cxn ang="0">
                        <a:pos x="142" y="48"/>
                      </a:cxn>
                      <a:cxn ang="0">
                        <a:pos x="142" y="48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59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9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2" y="48"/>
                        </a:lnTo>
                        <a:lnTo>
                          <a:pt x="11" y="68"/>
                        </a:lnTo>
                        <a:lnTo>
                          <a:pt x="4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8" y="203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5"/>
                        </a:lnTo>
                        <a:lnTo>
                          <a:pt x="27" y="198"/>
                        </a:lnTo>
                        <a:lnTo>
                          <a:pt x="18" y="172"/>
                        </a:lnTo>
                        <a:lnTo>
                          <a:pt x="12" y="145"/>
                        </a:lnTo>
                        <a:lnTo>
                          <a:pt x="12" y="119"/>
                        </a:lnTo>
                        <a:lnTo>
                          <a:pt x="15" y="94"/>
                        </a:lnTo>
                        <a:lnTo>
                          <a:pt x="22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29" y="30"/>
                        </a:lnTo>
                        <a:lnTo>
                          <a:pt x="142" y="48"/>
                        </a:lnTo>
                        <a:lnTo>
                          <a:pt x="142" y="48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59" name="Freeform 1293"/>
                  <p:cNvSpPr>
                    <a:spLocks/>
                  </p:cNvSpPr>
                  <p:nvPr/>
                </p:nvSpPr>
                <p:spPr bwMode="auto">
                  <a:xfrm rot="-5400000">
                    <a:off x="3556" y="3762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4" y="18"/>
                      </a:cxn>
                      <a:cxn ang="0">
                        <a:pos x="9" y="15"/>
                      </a:cxn>
                      <a:cxn ang="0">
                        <a:pos x="10" y="14"/>
                      </a:cxn>
                      <a:cxn ang="0">
                        <a:pos x="12" y="9"/>
                      </a:cxn>
                      <a:cxn ang="0">
                        <a:pos x="13" y="6"/>
                      </a:cxn>
                      <a:cxn ang="0">
                        <a:pos x="12" y="0"/>
                      </a:cxn>
                      <a:cxn ang="0">
                        <a:pos x="3" y="4"/>
                      </a:cxn>
                      <a:cxn ang="0">
                        <a:pos x="2" y="3"/>
                      </a:cxn>
                      <a:cxn ang="0">
                        <a:pos x="1" y="7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3" y="17"/>
                      </a:cxn>
                      <a:cxn ang="0">
                        <a:pos x="7" y="17"/>
                      </a:cxn>
                      <a:cxn ang="0">
                        <a:pos x="9" y="15"/>
                      </a:cxn>
                      <a:cxn ang="0">
                        <a:pos x="4" y="18"/>
                      </a:cxn>
                    </a:cxnLst>
                    <a:rect l="0" t="0" r="r" b="b"/>
                    <a:pathLst>
                      <a:path w="13" h="18">
                        <a:moveTo>
                          <a:pt x="4" y="18"/>
                        </a:moveTo>
                        <a:lnTo>
                          <a:pt x="9" y="15"/>
                        </a:lnTo>
                        <a:lnTo>
                          <a:pt x="10" y="14"/>
                        </a:lnTo>
                        <a:lnTo>
                          <a:pt x="12" y="9"/>
                        </a:lnTo>
                        <a:lnTo>
                          <a:pt x="13" y="6"/>
                        </a:lnTo>
                        <a:lnTo>
                          <a:pt x="12" y="0"/>
                        </a:lnTo>
                        <a:lnTo>
                          <a:pt x="3" y="4"/>
                        </a:lnTo>
                        <a:lnTo>
                          <a:pt x="2" y="3"/>
                        </a:lnTo>
                        <a:lnTo>
                          <a:pt x="1" y="7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3" y="17"/>
                        </a:lnTo>
                        <a:lnTo>
                          <a:pt x="7" y="17"/>
                        </a:lnTo>
                        <a:lnTo>
                          <a:pt x="9" y="15"/>
                        </a:lnTo>
                        <a:lnTo>
                          <a:pt x="4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0" name="Freeform 1294"/>
                  <p:cNvSpPr>
                    <a:spLocks/>
                  </p:cNvSpPr>
                  <p:nvPr/>
                </p:nvSpPr>
                <p:spPr bwMode="auto">
                  <a:xfrm rot="-5400000">
                    <a:off x="3556" y="3767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8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2" h="12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8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1" name="Freeform 1295"/>
                  <p:cNvSpPr>
                    <a:spLocks/>
                  </p:cNvSpPr>
                  <p:nvPr/>
                </p:nvSpPr>
                <p:spPr bwMode="auto">
                  <a:xfrm rot="-5400000">
                    <a:off x="3548" y="3776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9" y="22"/>
                      </a:cxn>
                      <a:cxn ang="0">
                        <a:pos x="9" y="21"/>
                      </a:cxn>
                      <a:cxn ang="0">
                        <a:pos x="11" y="21"/>
                      </a:cxn>
                      <a:cxn ang="0">
                        <a:pos x="12" y="18"/>
                      </a:cxn>
                      <a:cxn ang="0">
                        <a:pos x="16" y="15"/>
                      </a:cxn>
                      <a:cxn ang="0">
                        <a:pos x="20" y="13"/>
                      </a:cxn>
                      <a:cxn ang="0">
                        <a:pos x="27" y="12"/>
                      </a:cxn>
                      <a:cxn ang="0">
                        <a:pos x="36" y="12"/>
                      </a:cxn>
                      <a:cxn ang="0">
                        <a:pos x="44" y="14"/>
                      </a:cxn>
                      <a:cxn ang="0">
                        <a:pos x="56" y="21"/>
                      </a:cxn>
                      <a:cxn ang="0">
                        <a:pos x="62" y="12"/>
                      </a:cxn>
                      <a:cxn ang="0">
                        <a:pos x="49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8" y="1"/>
                      </a:cxn>
                      <a:cxn ang="0">
                        <a:pos x="9" y="6"/>
                      </a:cxn>
                      <a:cxn ang="0">
                        <a:pos x="5" y="11"/>
                      </a:cxn>
                      <a:cxn ang="0">
                        <a:pos x="1" y="14"/>
                      </a:cxn>
                      <a:cxn ang="0">
                        <a:pos x="0" y="16"/>
                      </a:cxn>
                      <a:cxn ang="0">
                        <a:pos x="0" y="15"/>
                      </a:cxn>
                      <a:cxn ang="0">
                        <a:pos x="0" y="16"/>
                      </a:cxn>
                      <a:cxn ang="0">
                        <a:pos x="0" y="20"/>
                      </a:cxn>
                      <a:cxn ang="0">
                        <a:pos x="4" y="23"/>
                      </a:cxn>
                      <a:cxn ang="0">
                        <a:pos x="7" y="23"/>
                      </a:cxn>
                      <a:cxn ang="0">
                        <a:pos x="9" y="21"/>
                      </a:cxn>
                      <a:cxn ang="0">
                        <a:pos x="9" y="22"/>
                      </a:cxn>
                    </a:cxnLst>
                    <a:rect l="0" t="0" r="r" b="b"/>
                    <a:pathLst>
                      <a:path w="62" h="23">
                        <a:moveTo>
                          <a:pt x="9" y="22"/>
                        </a:moveTo>
                        <a:lnTo>
                          <a:pt x="9" y="21"/>
                        </a:lnTo>
                        <a:lnTo>
                          <a:pt x="11" y="21"/>
                        </a:lnTo>
                        <a:lnTo>
                          <a:pt x="12" y="18"/>
                        </a:lnTo>
                        <a:lnTo>
                          <a:pt x="16" y="15"/>
                        </a:lnTo>
                        <a:lnTo>
                          <a:pt x="20" y="13"/>
                        </a:lnTo>
                        <a:lnTo>
                          <a:pt x="27" y="12"/>
                        </a:lnTo>
                        <a:lnTo>
                          <a:pt x="36" y="12"/>
                        </a:lnTo>
                        <a:lnTo>
                          <a:pt x="44" y="14"/>
                        </a:lnTo>
                        <a:lnTo>
                          <a:pt x="56" y="21"/>
                        </a:lnTo>
                        <a:lnTo>
                          <a:pt x="62" y="12"/>
                        </a:lnTo>
                        <a:lnTo>
                          <a:pt x="49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8" y="1"/>
                        </a:lnTo>
                        <a:lnTo>
                          <a:pt x="9" y="6"/>
                        </a:lnTo>
                        <a:lnTo>
                          <a:pt x="5" y="11"/>
                        </a:lnTo>
                        <a:lnTo>
                          <a:pt x="1" y="14"/>
                        </a:lnTo>
                        <a:lnTo>
                          <a:pt x="0" y="16"/>
                        </a:lnTo>
                        <a:lnTo>
                          <a:pt x="0" y="15"/>
                        </a:lnTo>
                        <a:lnTo>
                          <a:pt x="0" y="16"/>
                        </a:lnTo>
                        <a:lnTo>
                          <a:pt x="0" y="20"/>
                        </a:lnTo>
                        <a:lnTo>
                          <a:pt x="4" y="23"/>
                        </a:lnTo>
                        <a:lnTo>
                          <a:pt x="7" y="23"/>
                        </a:lnTo>
                        <a:lnTo>
                          <a:pt x="9" y="21"/>
                        </a:lnTo>
                        <a:lnTo>
                          <a:pt x="9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2" name="Freeform 1296"/>
                  <p:cNvSpPr>
                    <a:spLocks/>
                  </p:cNvSpPr>
                  <p:nvPr/>
                </p:nvSpPr>
                <p:spPr bwMode="auto">
                  <a:xfrm rot="-5400000">
                    <a:off x="3569" y="3779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2" y="91"/>
                      </a:cxn>
                      <a:cxn ang="0">
                        <a:pos x="12" y="91"/>
                      </a:cxn>
                      <a:cxn ang="0">
                        <a:pos x="11" y="82"/>
                      </a:cxn>
                      <a:cxn ang="0">
                        <a:pos x="12" y="60"/>
                      </a:cxn>
                      <a:cxn ang="0">
                        <a:pos x="19" y="35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2" y="91"/>
                      </a:cxn>
                    </a:cxnLst>
                    <a:rect l="0" t="0" r="r" b="b"/>
                    <a:pathLst>
                      <a:path w="35" h="94">
                        <a:moveTo>
                          <a:pt x="12" y="91"/>
                        </a:moveTo>
                        <a:lnTo>
                          <a:pt x="12" y="91"/>
                        </a:lnTo>
                        <a:lnTo>
                          <a:pt x="11" y="82"/>
                        </a:lnTo>
                        <a:lnTo>
                          <a:pt x="12" y="60"/>
                        </a:lnTo>
                        <a:lnTo>
                          <a:pt x="19" y="35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2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3" name="Freeform 1297"/>
                  <p:cNvSpPr>
                    <a:spLocks/>
                  </p:cNvSpPr>
                  <p:nvPr/>
                </p:nvSpPr>
                <p:spPr bwMode="auto">
                  <a:xfrm rot="-5400000">
                    <a:off x="3595" y="3784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8" y="54"/>
                      </a:cxn>
                      <a:cxn ang="0">
                        <a:pos x="26" y="54"/>
                      </a:cxn>
                      <a:cxn ang="0">
                        <a:pos x="21" y="41"/>
                      </a:cxn>
                      <a:cxn ang="0">
                        <a:pos x="17" y="27"/>
                      </a:cxn>
                      <a:cxn ang="0">
                        <a:pos x="14" y="13"/>
                      </a:cxn>
                      <a:cxn ang="0">
                        <a:pos x="11" y="0"/>
                      </a:cxn>
                      <a:cxn ang="0">
                        <a:pos x="0" y="3"/>
                      </a:cxn>
                      <a:cxn ang="0">
                        <a:pos x="2" y="15"/>
                      </a:cxn>
                      <a:cxn ang="0">
                        <a:pos x="6" y="29"/>
                      </a:cxn>
                      <a:cxn ang="0">
                        <a:pos x="9" y="43"/>
                      </a:cxn>
                      <a:cxn ang="0">
                        <a:pos x="17" y="59"/>
                      </a:cxn>
                      <a:cxn ang="0">
                        <a:pos x="16" y="59"/>
                      </a:cxn>
                      <a:cxn ang="0">
                        <a:pos x="28" y="54"/>
                      </a:cxn>
                    </a:cxnLst>
                    <a:rect l="0" t="0" r="r" b="b"/>
                    <a:pathLst>
                      <a:path w="28" h="59">
                        <a:moveTo>
                          <a:pt x="28" y="54"/>
                        </a:moveTo>
                        <a:lnTo>
                          <a:pt x="26" y="54"/>
                        </a:lnTo>
                        <a:lnTo>
                          <a:pt x="21" y="41"/>
                        </a:lnTo>
                        <a:lnTo>
                          <a:pt x="17" y="27"/>
                        </a:lnTo>
                        <a:lnTo>
                          <a:pt x="14" y="13"/>
                        </a:lnTo>
                        <a:lnTo>
                          <a:pt x="11" y="0"/>
                        </a:lnTo>
                        <a:lnTo>
                          <a:pt x="0" y="3"/>
                        </a:lnTo>
                        <a:lnTo>
                          <a:pt x="2" y="15"/>
                        </a:lnTo>
                        <a:lnTo>
                          <a:pt x="6" y="29"/>
                        </a:lnTo>
                        <a:lnTo>
                          <a:pt x="9" y="43"/>
                        </a:lnTo>
                        <a:lnTo>
                          <a:pt x="17" y="59"/>
                        </a:lnTo>
                        <a:lnTo>
                          <a:pt x="16" y="59"/>
                        </a:lnTo>
                        <a:lnTo>
                          <a:pt x="28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4" name="Freeform 1298"/>
                  <p:cNvSpPr>
                    <a:spLocks/>
                  </p:cNvSpPr>
                  <p:nvPr/>
                </p:nvSpPr>
                <p:spPr bwMode="auto">
                  <a:xfrm rot="-5400000">
                    <a:off x="3609" y="3781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5" y="22"/>
                      </a:cxn>
                      <a:cxn ang="0">
                        <a:pos x="20" y="14"/>
                      </a:cxn>
                      <a:cxn ang="0">
                        <a:pos x="14" y="7"/>
                      </a:cxn>
                      <a:cxn ang="0">
                        <a:pos x="12" y="0"/>
                      </a:cxn>
                      <a:cxn ang="0">
                        <a:pos x="0" y="5"/>
                      </a:cxn>
                      <a:cxn ang="0">
                        <a:pos x="5" y="12"/>
                      </a:cxn>
                      <a:cxn ang="0">
                        <a:pos x="10" y="21"/>
                      </a:cxn>
                      <a:cxn ang="0">
                        <a:pos x="18" y="29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25" y="36"/>
                      </a:cxn>
                      <a:cxn ang="0">
                        <a:pos x="30" y="37"/>
                      </a:cxn>
                      <a:cxn ang="0">
                        <a:pos x="33" y="35"/>
                      </a:cxn>
                      <a:cxn ang="0">
                        <a:pos x="35" y="30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5" h="37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5" y="22"/>
                        </a:lnTo>
                        <a:lnTo>
                          <a:pt x="20" y="14"/>
                        </a:lnTo>
                        <a:lnTo>
                          <a:pt x="14" y="7"/>
                        </a:lnTo>
                        <a:lnTo>
                          <a:pt x="12" y="0"/>
                        </a:lnTo>
                        <a:lnTo>
                          <a:pt x="0" y="5"/>
                        </a:lnTo>
                        <a:lnTo>
                          <a:pt x="5" y="12"/>
                        </a:lnTo>
                        <a:lnTo>
                          <a:pt x="10" y="21"/>
                        </a:lnTo>
                        <a:lnTo>
                          <a:pt x="18" y="29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30" y="37"/>
                        </a:lnTo>
                        <a:lnTo>
                          <a:pt x="33" y="35"/>
                        </a:lnTo>
                        <a:lnTo>
                          <a:pt x="35" y="30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5" name="Freeform 1299"/>
                  <p:cNvSpPr>
                    <a:spLocks/>
                  </p:cNvSpPr>
                  <p:nvPr/>
                </p:nvSpPr>
                <p:spPr bwMode="auto">
                  <a:xfrm rot="-5400000">
                    <a:off x="3565" y="3624"/>
                    <a:ext cx="48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10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5" y="222"/>
                      </a:cxn>
                      <a:cxn ang="0">
                        <a:pos x="144" y="236"/>
                      </a:cxn>
                      <a:cxn ang="0">
                        <a:pos x="140" y="251"/>
                      </a:cxn>
                      <a:cxn ang="0">
                        <a:pos x="131" y="264"/>
                      </a:cxn>
                      <a:cxn ang="0">
                        <a:pos x="114" y="271"/>
                      </a:cxn>
                      <a:cxn ang="0">
                        <a:pos x="93" y="267"/>
                      </a:cxn>
                      <a:cxn ang="0">
                        <a:pos x="74" y="262"/>
                      </a:cxn>
                      <a:cxn ang="0">
                        <a:pos x="64" y="256"/>
                      </a:cxn>
                      <a:cxn ang="0">
                        <a:pos x="58" y="252"/>
                      </a:cxn>
                      <a:cxn ang="0">
                        <a:pos x="33" y="223"/>
                      </a:cxn>
                      <a:cxn ang="0">
                        <a:pos x="5" y="167"/>
                      </a:cxn>
                      <a:cxn ang="0">
                        <a:pos x="0" y="113"/>
                      </a:cxn>
                      <a:cxn ang="0">
                        <a:pos x="11" y="65"/>
                      </a:cxn>
                      <a:cxn ang="0">
                        <a:pos x="34" y="28"/>
                      </a:cxn>
                      <a:cxn ang="0">
                        <a:pos x="65" y="5"/>
                      </a:cxn>
                      <a:cxn ang="0">
                        <a:pos x="97" y="1"/>
                      </a:cxn>
                      <a:cxn ang="0">
                        <a:pos x="129" y="21"/>
                      </a:cxn>
                      <a:cxn ang="0">
                        <a:pos x="141" y="43"/>
                      </a:cxn>
                      <a:cxn ang="0">
                        <a:pos x="138" y="50"/>
                      </a:cxn>
                      <a:cxn ang="0">
                        <a:pos x="129" y="52"/>
                      </a:cxn>
                      <a:cxn ang="0">
                        <a:pos x="120" y="51"/>
                      </a:cxn>
                      <a:cxn ang="0">
                        <a:pos x="107" y="44"/>
                      </a:cxn>
                      <a:cxn ang="0">
                        <a:pos x="87" y="40"/>
                      </a:cxn>
                      <a:cxn ang="0">
                        <a:pos x="73" y="46"/>
                      </a:cxn>
                      <a:cxn ang="0">
                        <a:pos x="66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4" y="156"/>
                      </a:cxn>
                      <a:cxn ang="0">
                        <a:pos x="51" y="182"/>
                      </a:cxn>
                      <a:cxn ang="0">
                        <a:pos x="62" y="204"/>
                      </a:cxn>
                      <a:cxn ang="0">
                        <a:pos x="73" y="220"/>
                      </a:cxn>
                    </a:cxnLst>
                    <a:rect l="0" t="0" r="r" b="b"/>
                    <a:pathLst>
                      <a:path w="144" h="271">
                        <a:moveTo>
                          <a:pt x="80" y="227"/>
                        </a:moveTo>
                        <a:lnTo>
                          <a:pt x="93" y="235"/>
                        </a:lnTo>
                        <a:lnTo>
                          <a:pt x="103" y="238"/>
                        </a:lnTo>
                        <a:lnTo>
                          <a:pt x="110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0" y="226"/>
                        </a:lnTo>
                        <a:lnTo>
                          <a:pt x="122" y="220"/>
                        </a:lnTo>
                        <a:lnTo>
                          <a:pt x="123" y="215"/>
                        </a:lnTo>
                        <a:lnTo>
                          <a:pt x="125" y="214"/>
                        </a:lnTo>
                        <a:lnTo>
                          <a:pt x="130" y="217"/>
                        </a:lnTo>
                        <a:lnTo>
                          <a:pt x="135" y="222"/>
                        </a:lnTo>
                        <a:lnTo>
                          <a:pt x="141" y="229"/>
                        </a:lnTo>
                        <a:lnTo>
                          <a:pt x="144" y="236"/>
                        </a:lnTo>
                        <a:lnTo>
                          <a:pt x="142" y="243"/>
                        </a:lnTo>
                        <a:lnTo>
                          <a:pt x="140" y="251"/>
                        </a:lnTo>
                        <a:lnTo>
                          <a:pt x="137" y="258"/>
                        </a:lnTo>
                        <a:lnTo>
                          <a:pt x="131" y="264"/>
                        </a:lnTo>
                        <a:lnTo>
                          <a:pt x="123" y="268"/>
                        </a:lnTo>
                        <a:lnTo>
                          <a:pt x="114" y="271"/>
                        </a:lnTo>
                        <a:lnTo>
                          <a:pt x="103" y="270"/>
                        </a:lnTo>
                        <a:lnTo>
                          <a:pt x="93" y="267"/>
                        </a:lnTo>
                        <a:lnTo>
                          <a:pt x="82" y="265"/>
                        </a:lnTo>
                        <a:lnTo>
                          <a:pt x="74" y="262"/>
                        </a:lnTo>
                        <a:lnTo>
                          <a:pt x="69" y="258"/>
                        </a:lnTo>
                        <a:lnTo>
                          <a:pt x="64" y="256"/>
                        </a:lnTo>
                        <a:lnTo>
                          <a:pt x="59" y="253"/>
                        </a:lnTo>
                        <a:lnTo>
                          <a:pt x="58" y="252"/>
                        </a:lnTo>
                        <a:lnTo>
                          <a:pt x="57" y="251"/>
                        </a:lnTo>
                        <a:lnTo>
                          <a:pt x="33" y="223"/>
                        </a:lnTo>
                        <a:lnTo>
                          <a:pt x="17" y="196"/>
                        </a:lnTo>
                        <a:lnTo>
                          <a:pt x="5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1" y="65"/>
                        </a:lnTo>
                        <a:lnTo>
                          <a:pt x="21" y="45"/>
                        </a:lnTo>
                        <a:lnTo>
                          <a:pt x="34" y="28"/>
                        </a:lnTo>
                        <a:lnTo>
                          <a:pt x="49" y="14"/>
                        </a:lnTo>
                        <a:lnTo>
                          <a:pt x="65" y="5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1" y="40"/>
                        </a:lnTo>
                        <a:lnTo>
                          <a:pt x="141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9" y="52"/>
                        </a:lnTo>
                        <a:lnTo>
                          <a:pt x="123" y="52"/>
                        </a:lnTo>
                        <a:lnTo>
                          <a:pt x="120" y="51"/>
                        </a:lnTo>
                        <a:lnTo>
                          <a:pt x="119" y="51"/>
                        </a:lnTo>
                        <a:lnTo>
                          <a:pt x="107" y="44"/>
                        </a:lnTo>
                        <a:lnTo>
                          <a:pt x="96" y="40"/>
                        </a:lnTo>
                        <a:lnTo>
                          <a:pt x="87" y="40"/>
                        </a:lnTo>
                        <a:lnTo>
                          <a:pt x="79" y="43"/>
                        </a:lnTo>
                        <a:lnTo>
                          <a:pt x="73" y="46"/>
                        </a:lnTo>
                        <a:lnTo>
                          <a:pt x="69" y="50"/>
                        </a:lnTo>
                        <a:lnTo>
                          <a:pt x="66" y="53"/>
                        </a:lnTo>
                        <a:lnTo>
                          <a:pt x="65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4" y="156"/>
                        </a:lnTo>
                        <a:lnTo>
                          <a:pt x="48" y="168"/>
                        </a:lnTo>
                        <a:lnTo>
                          <a:pt x="51" y="182"/>
                        </a:lnTo>
                        <a:lnTo>
                          <a:pt x="57" y="197"/>
                        </a:lnTo>
                        <a:lnTo>
                          <a:pt x="62" y="204"/>
                        </a:lnTo>
                        <a:lnTo>
                          <a:pt x="67" y="212"/>
                        </a:lnTo>
                        <a:lnTo>
                          <a:pt x="73" y="220"/>
                        </a:lnTo>
                        <a:lnTo>
                          <a:pt x="80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6" name="Freeform 1300"/>
                  <p:cNvSpPr>
                    <a:spLocks/>
                  </p:cNvSpPr>
                  <p:nvPr/>
                </p:nvSpPr>
                <p:spPr bwMode="auto">
                  <a:xfrm rot="-5400000">
                    <a:off x="3612" y="365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0"/>
                      </a:cxn>
                      <a:cxn ang="0">
                        <a:pos x="39" y="4"/>
                      </a:cxn>
                      <a:cxn ang="0">
                        <a:pos x="38" y="10"/>
                      </a:cxn>
                      <a:cxn ang="0">
                        <a:pos x="38" y="13"/>
                      </a:cxn>
                      <a:cxn ang="0">
                        <a:pos x="35" y="15"/>
                      </a:cxn>
                      <a:cxn ang="0">
                        <a:pos x="32" y="18"/>
                      </a:cxn>
                      <a:cxn ang="0">
                        <a:pos x="27" y="18"/>
                      </a:cxn>
                      <a:cxn ang="0">
                        <a:pos x="18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5" y="29"/>
                      </a:cxn>
                      <a:cxn ang="0">
                        <a:pos x="34" y="29"/>
                      </a:cxn>
                      <a:cxn ang="0">
                        <a:pos x="42" y="25"/>
                      </a:cxn>
                      <a:cxn ang="0">
                        <a:pos x="47" y="18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2" h="29">
                        <a:moveTo>
                          <a:pt x="40" y="0"/>
                        </a:moveTo>
                        <a:lnTo>
                          <a:pt x="40" y="0"/>
                        </a:lnTo>
                        <a:lnTo>
                          <a:pt x="39" y="4"/>
                        </a:lnTo>
                        <a:lnTo>
                          <a:pt x="38" y="10"/>
                        </a:lnTo>
                        <a:lnTo>
                          <a:pt x="38" y="13"/>
                        </a:lnTo>
                        <a:lnTo>
                          <a:pt x="35" y="15"/>
                        </a:lnTo>
                        <a:lnTo>
                          <a:pt x="32" y="18"/>
                        </a:lnTo>
                        <a:lnTo>
                          <a:pt x="27" y="18"/>
                        </a:lnTo>
                        <a:lnTo>
                          <a:pt x="18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5" y="29"/>
                        </a:lnTo>
                        <a:lnTo>
                          <a:pt x="34" y="29"/>
                        </a:lnTo>
                        <a:lnTo>
                          <a:pt x="42" y="25"/>
                        </a:lnTo>
                        <a:lnTo>
                          <a:pt x="47" y="18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7" name="Freeform 1301"/>
                  <p:cNvSpPr>
                    <a:spLocks/>
                  </p:cNvSpPr>
                  <p:nvPr/>
                </p:nvSpPr>
                <p:spPr bwMode="auto">
                  <a:xfrm rot="-5400000">
                    <a:off x="3613" y="3644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29" y="18"/>
                      </a:cxn>
                      <a:cxn ang="0">
                        <a:pos x="23" y="10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6"/>
                      </a:cxn>
                      <a:cxn ang="0">
                        <a:pos x="8" y="11"/>
                      </a:cxn>
                      <a:cxn ang="0">
                        <a:pos x="9" y="12"/>
                      </a:cxn>
                      <a:cxn ang="0">
                        <a:pos x="14" y="17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29" h="23">
                        <a:moveTo>
                          <a:pt x="29" y="18"/>
                        </a:moveTo>
                        <a:lnTo>
                          <a:pt x="29" y="18"/>
                        </a:lnTo>
                        <a:lnTo>
                          <a:pt x="23" y="10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6"/>
                        </a:lnTo>
                        <a:lnTo>
                          <a:pt x="8" y="11"/>
                        </a:lnTo>
                        <a:lnTo>
                          <a:pt x="9" y="12"/>
                        </a:lnTo>
                        <a:lnTo>
                          <a:pt x="14" y="17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8" name="Freeform 1302"/>
                  <p:cNvSpPr>
                    <a:spLocks/>
                  </p:cNvSpPr>
                  <p:nvPr/>
                </p:nvSpPr>
                <p:spPr bwMode="auto">
                  <a:xfrm rot="-5400000">
                    <a:off x="3620" y="3642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5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2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5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2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69" name="Freeform 1303"/>
                  <p:cNvSpPr>
                    <a:spLocks/>
                  </p:cNvSpPr>
                  <p:nvPr/>
                </p:nvSpPr>
                <p:spPr bwMode="auto">
                  <a:xfrm rot="-5400000">
                    <a:off x="3622" y="3662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3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10" y="2"/>
                      </a:cxn>
                      <a:cxn ang="0">
                        <a:pos x="10" y="3"/>
                      </a:cxn>
                      <a:cxn ang="0">
                        <a:pos x="10" y="2"/>
                      </a:cxn>
                      <a:cxn ang="0">
                        <a:pos x="5" y="0"/>
                      </a:cxn>
                      <a:cxn ang="0">
                        <a:pos x="2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3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0" y="2"/>
                        </a:lnTo>
                        <a:lnTo>
                          <a:pt x="5" y="0"/>
                        </a:lnTo>
                        <a:lnTo>
                          <a:pt x="2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0" name="Freeform 1304"/>
                  <p:cNvSpPr>
                    <a:spLocks/>
                  </p:cNvSpPr>
                  <p:nvPr/>
                </p:nvSpPr>
                <p:spPr bwMode="auto">
                  <a:xfrm rot="-5400000">
                    <a:off x="3561" y="3626"/>
                    <a:ext cx="48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6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3" y="49"/>
                      </a:cxn>
                      <a:cxn ang="0">
                        <a:pos x="143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6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3" y="49"/>
                        </a:lnTo>
                        <a:lnTo>
                          <a:pt x="143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1" name="Freeform 1305"/>
                  <p:cNvSpPr>
                    <a:spLocks/>
                  </p:cNvSpPr>
                  <p:nvPr/>
                </p:nvSpPr>
                <p:spPr bwMode="auto">
                  <a:xfrm rot="-5400000">
                    <a:off x="3556" y="3643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3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3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2" name="Freeform 1306"/>
                  <p:cNvSpPr>
                    <a:spLocks/>
                  </p:cNvSpPr>
                  <p:nvPr/>
                </p:nvSpPr>
                <p:spPr bwMode="auto">
                  <a:xfrm rot="-5400000">
                    <a:off x="3557" y="3648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1" y="10"/>
                      </a:cxn>
                      <a:cxn ang="0">
                        <a:pos x="1" y="9"/>
                      </a:cxn>
                      <a:cxn ang="0">
                        <a:pos x="4" y="11"/>
                      </a:cxn>
                      <a:cxn ang="0">
                        <a:pos x="8" y="13"/>
                      </a:cxn>
                      <a:cxn ang="0">
                        <a:pos x="14" y="13"/>
                      </a:cxn>
                      <a:cxn ang="0">
                        <a:pos x="23" y="11"/>
                      </a:cxn>
                      <a:cxn ang="0">
                        <a:pos x="20" y="0"/>
                      </a:cxn>
                      <a:cxn ang="0">
                        <a:pos x="14" y="1"/>
                      </a:cxn>
                      <a:cxn ang="0">
                        <a:pos x="8" y="1"/>
                      </a:cxn>
                      <a:cxn ang="0">
                        <a:pos x="7" y="0"/>
                      </a:cxn>
                      <a:cxn ang="0">
                        <a:pos x="8" y="2"/>
                      </a:cxn>
                      <a:cxn ang="0">
                        <a:pos x="8" y="1"/>
                      </a:cxn>
                      <a:cxn ang="0">
                        <a:pos x="8" y="2"/>
                      </a:cxn>
                      <a:cxn ang="0">
                        <a:pos x="4" y="1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1" y="9"/>
                      </a:cxn>
                      <a:cxn ang="0">
                        <a:pos x="1" y="10"/>
                      </a:cxn>
                    </a:cxnLst>
                    <a:rect l="0" t="0" r="r" b="b"/>
                    <a:pathLst>
                      <a:path w="23" h="13">
                        <a:moveTo>
                          <a:pt x="1" y="10"/>
                        </a:moveTo>
                        <a:lnTo>
                          <a:pt x="1" y="9"/>
                        </a:lnTo>
                        <a:lnTo>
                          <a:pt x="4" y="11"/>
                        </a:lnTo>
                        <a:lnTo>
                          <a:pt x="8" y="13"/>
                        </a:lnTo>
                        <a:lnTo>
                          <a:pt x="14" y="13"/>
                        </a:lnTo>
                        <a:lnTo>
                          <a:pt x="23" y="11"/>
                        </a:lnTo>
                        <a:lnTo>
                          <a:pt x="20" y="0"/>
                        </a:lnTo>
                        <a:lnTo>
                          <a:pt x="14" y="1"/>
                        </a:lnTo>
                        <a:lnTo>
                          <a:pt x="8" y="1"/>
                        </a:lnTo>
                        <a:lnTo>
                          <a:pt x="7" y="0"/>
                        </a:lnTo>
                        <a:lnTo>
                          <a:pt x="8" y="2"/>
                        </a:lnTo>
                        <a:lnTo>
                          <a:pt x="8" y="1"/>
                        </a:lnTo>
                        <a:lnTo>
                          <a:pt x="8" y="2"/>
                        </a:lnTo>
                        <a:lnTo>
                          <a:pt x="4" y="1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1" y="9"/>
                        </a:lnTo>
                        <a:lnTo>
                          <a:pt x="1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3" name="Freeform 1307"/>
                  <p:cNvSpPr>
                    <a:spLocks/>
                  </p:cNvSpPr>
                  <p:nvPr/>
                </p:nvSpPr>
                <p:spPr bwMode="auto">
                  <a:xfrm rot="-5400000">
                    <a:off x="3549" y="3658"/>
                    <a:ext cx="21" cy="9"/>
                  </a:xfrm>
                  <a:custGeom>
                    <a:avLst/>
                    <a:gdLst/>
                    <a:ahLst/>
                    <a:cxnLst>
                      <a:cxn ang="0">
                        <a:pos x="11" y="23"/>
                      </a:cxn>
                      <a:cxn ang="0">
                        <a:pos x="11" y="23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8" y="16"/>
                      </a:cxn>
                      <a:cxn ang="0">
                        <a:pos x="22" y="13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5"/>
                      </a:cxn>
                      <a:cxn ang="0">
                        <a:pos x="57" y="20"/>
                      </a:cxn>
                      <a:cxn ang="0">
                        <a:pos x="64" y="11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8" y="2"/>
                      </a:cxn>
                      <a:cxn ang="0">
                        <a:pos x="11" y="7"/>
                      </a:cxn>
                      <a:cxn ang="0">
                        <a:pos x="6" y="11"/>
                      </a:cxn>
                      <a:cxn ang="0">
                        <a:pos x="3" y="15"/>
                      </a:cxn>
                      <a:cxn ang="0">
                        <a:pos x="2" y="16"/>
                      </a:cxn>
                      <a:cxn ang="0">
                        <a:pos x="2" y="16"/>
                      </a:cxn>
                      <a:cxn ang="0">
                        <a:pos x="2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5"/>
                      </a:cxn>
                      <a:cxn ang="0">
                        <a:pos x="11" y="23"/>
                      </a:cxn>
                    </a:cxnLst>
                    <a:rect l="0" t="0" r="r" b="b"/>
                    <a:pathLst>
                      <a:path w="64" h="25">
                        <a:moveTo>
                          <a:pt x="11" y="23"/>
                        </a:moveTo>
                        <a:lnTo>
                          <a:pt x="11" y="23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8" y="16"/>
                        </a:lnTo>
                        <a:lnTo>
                          <a:pt x="22" y="13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5"/>
                        </a:lnTo>
                        <a:lnTo>
                          <a:pt x="57" y="20"/>
                        </a:lnTo>
                        <a:lnTo>
                          <a:pt x="64" y="11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8" y="2"/>
                        </a:lnTo>
                        <a:lnTo>
                          <a:pt x="11" y="7"/>
                        </a:lnTo>
                        <a:lnTo>
                          <a:pt x="6" y="11"/>
                        </a:lnTo>
                        <a:lnTo>
                          <a:pt x="3" y="15"/>
                        </a:lnTo>
                        <a:lnTo>
                          <a:pt x="2" y="16"/>
                        </a:lnTo>
                        <a:lnTo>
                          <a:pt x="2" y="16"/>
                        </a:lnTo>
                        <a:lnTo>
                          <a:pt x="2" y="16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5"/>
                        </a:lnTo>
                        <a:lnTo>
                          <a:pt x="1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4" name="Freeform 1308"/>
                  <p:cNvSpPr>
                    <a:spLocks/>
                  </p:cNvSpPr>
                  <p:nvPr/>
                </p:nvSpPr>
                <p:spPr bwMode="auto">
                  <a:xfrm rot="-5400000">
                    <a:off x="3570" y="365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6" y="7"/>
                      </a:cxn>
                      <a:cxn ang="0">
                        <a:pos x="27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6" y="7"/>
                        </a:lnTo>
                        <a:lnTo>
                          <a:pt x="27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5" name="Freeform 1309"/>
                  <p:cNvSpPr>
                    <a:spLocks/>
                  </p:cNvSpPr>
                  <p:nvPr/>
                </p:nvSpPr>
                <p:spPr bwMode="auto">
                  <a:xfrm rot="-5400000">
                    <a:off x="3596" y="3667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9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7" y="28"/>
                      </a:cxn>
                      <a:cxn ang="0">
                        <a:pos x="11" y="42"/>
                      </a:cxn>
                      <a:cxn ang="0">
                        <a:pos x="16" y="58"/>
                      </a:cxn>
                      <a:cxn ang="0">
                        <a:pos x="18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8" h="58">
                        <a:moveTo>
                          <a:pt x="27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9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7" y="28"/>
                        </a:lnTo>
                        <a:lnTo>
                          <a:pt x="11" y="42"/>
                        </a:lnTo>
                        <a:lnTo>
                          <a:pt x="16" y="58"/>
                        </a:lnTo>
                        <a:lnTo>
                          <a:pt x="18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6" name="Freeform 1310"/>
                  <p:cNvSpPr>
                    <a:spLocks/>
                  </p:cNvSpPr>
                  <p:nvPr/>
                </p:nvSpPr>
                <p:spPr bwMode="auto">
                  <a:xfrm rot="-5400000">
                    <a:off x="3610" y="3663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5" y="22"/>
                      </a:cxn>
                      <a:cxn ang="0">
                        <a:pos x="19" y="14"/>
                      </a:cxn>
                      <a:cxn ang="0">
                        <a:pos x="13" y="5"/>
                      </a:cxn>
                      <a:cxn ang="0">
                        <a:pos x="9" y="0"/>
                      </a:cxn>
                      <a:cxn ang="0">
                        <a:pos x="0" y="4"/>
                      </a:cxn>
                      <a:cxn ang="0">
                        <a:pos x="4" y="12"/>
                      </a:cxn>
                      <a:cxn ang="0">
                        <a:pos x="10" y="20"/>
                      </a:cxn>
                      <a:cxn ang="0">
                        <a:pos x="16" y="28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8" y="38"/>
                      </a:cxn>
                      <a:cxn ang="0">
                        <a:pos x="32" y="35"/>
                      </a:cxn>
                      <a:cxn ang="0">
                        <a:pos x="33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3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5" y="22"/>
                        </a:lnTo>
                        <a:lnTo>
                          <a:pt x="19" y="14"/>
                        </a:lnTo>
                        <a:lnTo>
                          <a:pt x="13" y="5"/>
                        </a:lnTo>
                        <a:lnTo>
                          <a:pt x="9" y="0"/>
                        </a:lnTo>
                        <a:lnTo>
                          <a:pt x="0" y="4"/>
                        </a:lnTo>
                        <a:lnTo>
                          <a:pt x="4" y="12"/>
                        </a:lnTo>
                        <a:lnTo>
                          <a:pt x="10" y="20"/>
                        </a:lnTo>
                        <a:lnTo>
                          <a:pt x="16" y="28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8" y="38"/>
                        </a:lnTo>
                        <a:lnTo>
                          <a:pt x="32" y="35"/>
                        </a:lnTo>
                        <a:lnTo>
                          <a:pt x="33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7" name="Freeform 1311"/>
                  <p:cNvSpPr>
                    <a:spLocks/>
                  </p:cNvSpPr>
                  <p:nvPr/>
                </p:nvSpPr>
                <p:spPr bwMode="auto">
                  <a:xfrm rot="-5400000">
                    <a:off x="3565" y="3567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20" y="230"/>
                      </a:cxn>
                      <a:cxn ang="0">
                        <a:pos x="122" y="220"/>
                      </a:cxn>
                      <a:cxn ang="0">
                        <a:pos x="126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9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9" y="83"/>
                      </a:cxn>
                      <a:cxn ang="0">
                        <a:pos x="41" y="131"/>
                      </a:cxn>
                      <a:cxn ang="0">
                        <a:pos x="45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4" y="238"/>
                        </a:lnTo>
                        <a:lnTo>
                          <a:pt x="111" y="238"/>
                        </a:lnTo>
                        <a:lnTo>
                          <a:pt x="117" y="235"/>
                        </a:lnTo>
                        <a:lnTo>
                          <a:pt x="120" y="230"/>
                        </a:lnTo>
                        <a:lnTo>
                          <a:pt x="121" y="226"/>
                        </a:lnTo>
                        <a:lnTo>
                          <a:pt x="122" y="220"/>
                        </a:lnTo>
                        <a:lnTo>
                          <a:pt x="124" y="215"/>
                        </a:lnTo>
                        <a:lnTo>
                          <a:pt x="126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4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9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8" y="196"/>
                        </a:lnTo>
                        <a:lnTo>
                          <a:pt x="6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7" y="51"/>
                        </a:lnTo>
                        <a:lnTo>
                          <a:pt x="129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9" y="83"/>
                        </a:lnTo>
                        <a:lnTo>
                          <a:pt x="42" y="111"/>
                        </a:lnTo>
                        <a:lnTo>
                          <a:pt x="41" y="131"/>
                        </a:lnTo>
                        <a:lnTo>
                          <a:pt x="42" y="142"/>
                        </a:lnTo>
                        <a:lnTo>
                          <a:pt x="45" y="156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8" name="Freeform 1312"/>
                  <p:cNvSpPr>
                    <a:spLocks/>
                  </p:cNvSpPr>
                  <p:nvPr/>
                </p:nvSpPr>
                <p:spPr bwMode="auto">
                  <a:xfrm rot="-5400000">
                    <a:off x="3611" y="3597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4"/>
                      </a:cxn>
                      <a:cxn ang="0">
                        <a:pos x="38" y="10"/>
                      </a:cxn>
                      <a:cxn ang="0">
                        <a:pos x="38" y="13"/>
                      </a:cxn>
                      <a:cxn ang="0">
                        <a:pos x="36" y="15"/>
                      </a:cxn>
                      <a:cxn ang="0">
                        <a:pos x="33" y="18"/>
                      </a:cxn>
                      <a:cxn ang="0">
                        <a:pos x="28" y="18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6" y="29"/>
                      </a:cxn>
                      <a:cxn ang="0">
                        <a:pos x="35" y="29"/>
                      </a:cxn>
                      <a:cxn ang="0">
                        <a:pos x="43" y="25"/>
                      </a:cxn>
                      <a:cxn ang="0">
                        <a:pos x="48" y="18"/>
                      </a:cxn>
                      <a:cxn ang="0">
                        <a:pos x="50" y="12"/>
                      </a:cxn>
                      <a:cxn ang="0">
                        <a:pos x="51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2" h="29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4"/>
                        </a:lnTo>
                        <a:lnTo>
                          <a:pt x="38" y="10"/>
                        </a:lnTo>
                        <a:lnTo>
                          <a:pt x="38" y="13"/>
                        </a:lnTo>
                        <a:lnTo>
                          <a:pt x="36" y="15"/>
                        </a:lnTo>
                        <a:lnTo>
                          <a:pt x="33" y="18"/>
                        </a:lnTo>
                        <a:lnTo>
                          <a:pt x="28" y="18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6" y="29"/>
                        </a:lnTo>
                        <a:lnTo>
                          <a:pt x="35" y="29"/>
                        </a:lnTo>
                        <a:lnTo>
                          <a:pt x="43" y="25"/>
                        </a:lnTo>
                        <a:lnTo>
                          <a:pt x="48" y="18"/>
                        </a:lnTo>
                        <a:lnTo>
                          <a:pt x="50" y="12"/>
                        </a:lnTo>
                        <a:lnTo>
                          <a:pt x="51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79" name="Freeform 1313"/>
                  <p:cNvSpPr>
                    <a:spLocks/>
                  </p:cNvSpPr>
                  <p:nvPr/>
                </p:nvSpPr>
                <p:spPr bwMode="auto">
                  <a:xfrm rot="-5400000">
                    <a:off x="3613" y="3587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29" y="18"/>
                      </a:cxn>
                      <a:cxn ang="0">
                        <a:pos x="23" y="10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6"/>
                      </a:cxn>
                      <a:cxn ang="0">
                        <a:pos x="8" y="11"/>
                      </a:cxn>
                      <a:cxn ang="0">
                        <a:pos x="9" y="12"/>
                      </a:cxn>
                      <a:cxn ang="0">
                        <a:pos x="14" y="17"/>
                      </a:cxn>
                      <a:cxn ang="0">
                        <a:pos x="19" y="23"/>
                      </a:cxn>
                      <a:cxn ang="0">
                        <a:pos x="19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29" h="23">
                        <a:moveTo>
                          <a:pt x="29" y="18"/>
                        </a:moveTo>
                        <a:lnTo>
                          <a:pt x="29" y="18"/>
                        </a:lnTo>
                        <a:lnTo>
                          <a:pt x="23" y="10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6"/>
                        </a:lnTo>
                        <a:lnTo>
                          <a:pt x="8" y="11"/>
                        </a:lnTo>
                        <a:lnTo>
                          <a:pt x="9" y="12"/>
                        </a:lnTo>
                        <a:lnTo>
                          <a:pt x="14" y="17"/>
                        </a:lnTo>
                        <a:lnTo>
                          <a:pt x="19" y="23"/>
                        </a:lnTo>
                        <a:lnTo>
                          <a:pt x="19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0" name="Freeform 1314"/>
                  <p:cNvSpPr>
                    <a:spLocks/>
                  </p:cNvSpPr>
                  <p:nvPr/>
                </p:nvSpPr>
                <p:spPr bwMode="auto">
                  <a:xfrm rot="-5400000">
                    <a:off x="3620" y="3586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1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4" y="5"/>
                      </a:cxn>
                      <a:cxn ang="0">
                        <a:pos x="36" y="9"/>
                      </a:cxn>
                      <a:cxn ang="0">
                        <a:pos x="34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1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1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4" y="5"/>
                        </a:lnTo>
                        <a:lnTo>
                          <a:pt x="36" y="9"/>
                        </a:lnTo>
                        <a:lnTo>
                          <a:pt x="34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1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1" name="Freeform 1315"/>
                  <p:cNvSpPr>
                    <a:spLocks/>
                  </p:cNvSpPr>
                  <p:nvPr/>
                </p:nvSpPr>
                <p:spPr bwMode="auto">
                  <a:xfrm rot="-5400000">
                    <a:off x="3623" y="3605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0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9" y="2"/>
                      </a:cxn>
                      <a:cxn ang="0">
                        <a:pos x="9" y="3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2" y="11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52" h="30">
                        <a:moveTo>
                          <a:pt x="2" y="10"/>
                        </a:moveTo>
                        <a:lnTo>
                          <a:pt x="2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0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9" y="2"/>
                        </a:lnTo>
                        <a:lnTo>
                          <a:pt x="9" y="3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2" y="11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2" name="Freeform 1316"/>
                  <p:cNvSpPr>
                    <a:spLocks/>
                  </p:cNvSpPr>
                  <p:nvPr/>
                </p:nvSpPr>
                <p:spPr bwMode="auto">
                  <a:xfrm rot="-5400000">
                    <a:off x="3560" y="3569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59" y="261"/>
                      </a:cxn>
                      <a:cxn ang="0">
                        <a:pos x="66" y="254"/>
                      </a:cxn>
                      <a:cxn ang="0">
                        <a:pos x="43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59" y="261"/>
                        </a:lnTo>
                        <a:lnTo>
                          <a:pt x="66" y="254"/>
                        </a:lnTo>
                        <a:lnTo>
                          <a:pt x="43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3" name="Freeform 1317"/>
                  <p:cNvSpPr>
                    <a:spLocks/>
                  </p:cNvSpPr>
                  <p:nvPr/>
                </p:nvSpPr>
                <p:spPr bwMode="auto">
                  <a:xfrm rot="-5400000">
                    <a:off x="3556" y="3587"/>
                    <a:ext cx="6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4" name="Freeform 1318"/>
                  <p:cNvSpPr>
                    <a:spLocks/>
                  </p:cNvSpPr>
                  <p:nvPr/>
                </p:nvSpPr>
                <p:spPr bwMode="auto">
                  <a:xfrm rot="-5400000">
                    <a:off x="3556" y="3593"/>
                    <a:ext cx="9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1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6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1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6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5" name="Freeform 1319"/>
                  <p:cNvSpPr>
                    <a:spLocks/>
                  </p:cNvSpPr>
                  <p:nvPr/>
                </p:nvSpPr>
                <p:spPr bwMode="auto">
                  <a:xfrm rot="-5400000">
                    <a:off x="3549" y="3600"/>
                    <a:ext cx="21" cy="9"/>
                  </a:xfrm>
                  <a:custGeom>
                    <a:avLst/>
                    <a:gdLst/>
                    <a:ahLst/>
                    <a:cxnLst>
                      <a:cxn ang="0">
                        <a:pos x="11" y="23"/>
                      </a:cxn>
                      <a:cxn ang="0">
                        <a:pos x="11" y="23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7" y="16"/>
                      </a:cxn>
                      <a:cxn ang="0">
                        <a:pos x="22" y="13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5"/>
                      </a:cxn>
                      <a:cxn ang="0">
                        <a:pos x="57" y="20"/>
                      </a:cxn>
                      <a:cxn ang="0">
                        <a:pos x="64" y="11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7" y="2"/>
                      </a:cxn>
                      <a:cxn ang="0">
                        <a:pos x="11" y="7"/>
                      </a:cxn>
                      <a:cxn ang="0">
                        <a:pos x="6" y="11"/>
                      </a:cxn>
                      <a:cxn ang="0">
                        <a:pos x="3" y="15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5"/>
                      </a:cxn>
                      <a:cxn ang="0">
                        <a:pos x="11" y="23"/>
                      </a:cxn>
                    </a:cxnLst>
                    <a:rect l="0" t="0" r="r" b="b"/>
                    <a:pathLst>
                      <a:path w="64" h="25">
                        <a:moveTo>
                          <a:pt x="11" y="23"/>
                        </a:moveTo>
                        <a:lnTo>
                          <a:pt x="11" y="23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7" y="16"/>
                        </a:lnTo>
                        <a:lnTo>
                          <a:pt x="22" y="13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5"/>
                        </a:lnTo>
                        <a:lnTo>
                          <a:pt x="57" y="20"/>
                        </a:lnTo>
                        <a:lnTo>
                          <a:pt x="64" y="11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7" y="2"/>
                        </a:lnTo>
                        <a:lnTo>
                          <a:pt x="11" y="7"/>
                        </a:lnTo>
                        <a:lnTo>
                          <a:pt x="6" y="11"/>
                        </a:lnTo>
                        <a:lnTo>
                          <a:pt x="3" y="15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5"/>
                        </a:lnTo>
                        <a:lnTo>
                          <a:pt x="11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6" name="Freeform 1320"/>
                  <p:cNvSpPr>
                    <a:spLocks/>
                  </p:cNvSpPr>
                  <p:nvPr/>
                </p:nvSpPr>
                <p:spPr bwMode="auto">
                  <a:xfrm rot="-5400000">
                    <a:off x="3570" y="3602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1" y="80"/>
                      </a:cxn>
                      <a:cxn ang="0">
                        <a:pos x="13" y="60"/>
                      </a:cxn>
                      <a:cxn ang="0">
                        <a:pos x="19" y="34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6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1" y="80"/>
                        </a:lnTo>
                        <a:lnTo>
                          <a:pt x="13" y="60"/>
                        </a:lnTo>
                        <a:lnTo>
                          <a:pt x="19" y="34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7" name="Freeform 1321"/>
                  <p:cNvSpPr>
                    <a:spLocks/>
                  </p:cNvSpPr>
                  <p:nvPr/>
                </p:nvSpPr>
                <p:spPr bwMode="auto">
                  <a:xfrm rot="-5400000">
                    <a:off x="3595" y="3609"/>
                    <a:ext cx="10" cy="19"/>
                  </a:xfrm>
                  <a:custGeom>
                    <a:avLst/>
                    <a:gdLst/>
                    <a:ahLst/>
                    <a:cxnLst>
                      <a:cxn ang="0">
                        <a:pos x="27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8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3" y="16"/>
                      </a:cxn>
                      <a:cxn ang="0">
                        <a:pos x="7" y="28"/>
                      </a:cxn>
                      <a:cxn ang="0">
                        <a:pos x="10" y="42"/>
                      </a:cxn>
                      <a:cxn ang="0">
                        <a:pos x="16" y="58"/>
                      </a:cxn>
                      <a:cxn ang="0">
                        <a:pos x="17" y="58"/>
                      </a:cxn>
                      <a:cxn ang="0">
                        <a:pos x="27" y="54"/>
                      </a:cxn>
                    </a:cxnLst>
                    <a:rect l="0" t="0" r="r" b="b"/>
                    <a:pathLst>
                      <a:path w="28" h="58">
                        <a:moveTo>
                          <a:pt x="27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8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3" y="16"/>
                        </a:lnTo>
                        <a:lnTo>
                          <a:pt x="7" y="28"/>
                        </a:lnTo>
                        <a:lnTo>
                          <a:pt x="10" y="42"/>
                        </a:lnTo>
                        <a:lnTo>
                          <a:pt x="16" y="58"/>
                        </a:lnTo>
                        <a:lnTo>
                          <a:pt x="17" y="58"/>
                        </a:lnTo>
                        <a:lnTo>
                          <a:pt x="27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8" name="Freeform 1322"/>
                  <p:cNvSpPr>
                    <a:spLocks/>
                  </p:cNvSpPr>
                  <p:nvPr/>
                </p:nvSpPr>
                <p:spPr bwMode="auto">
                  <a:xfrm rot="-5400000">
                    <a:off x="3610" y="3605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6" y="28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8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6" y="28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89" name="Freeform 1323"/>
                  <p:cNvSpPr>
                    <a:spLocks/>
                  </p:cNvSpPr>
                  <p:nvPr/>
                </p:nvSpPr>
                <p:spPr bwMode="auto">
                  <a:xfrm rot="-5400000">
                    <a:off x="3566" y="3505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1" y="238"/>
                      </a:cxn>
                      <a:cxn ang="0">
                        <a:pos x="120" y="231"/>
                      </a:cxn>
                      <a:cxn ang="0">
                        <a:pos x="122" y="220"/>
                      </a:cxn>
                      <a:cxn ang="0">
                        <a:pos x="126" y="215"/>
                      </a:cxn>
                      <a:cxn ang="0">
                        <a:pos x="136" y="222"/>
                      </a:cxn>
                      <a:cxn ang="0">
                        <a:pos x="144" y="235"/>
                      </a:cxn>
                      <a:cxn ang="0">
                        <a:pos x="141" y="250"/>
                      </a:cxn>
                      <a:cxn ang="0">
                        <a:pos x="132" y="263"/>
                      </a:cxn>
                      <a:cxn ang="0">
                        <a:pos x="114" y="270"/>
                      </a:cxn>
                      <a:cxn ang="0">
                        <a:pos x="94" y="268"/>
                      </a:cxn>
                      <a:cxn ang="0">
                        <a:pos x="75" y="261"/>
                      </a:cxn>
                      <a:cxn ang="0">
                        <a:pos x="65" y="255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8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0"/>
                      </a:cxn>
                      <a:cxn ang="0">
                        <a:pos x="129" y="20"/>
                      </a:cxn>
                      <a:cxn ang="0">
                        <a:pos x="142" y="43"/>
                      </a:cxn>
                      <a:cxn ang="0">
                        <a:pos x="140" y="50"/>
                      </a:cxn>
                      <a:cxn ang="0">
                        <a:pos x="129" y="52"/>
                      </a:cxn>
                      <a:cxn ang="0">
                        <a:pos x="121" y="51"/>
                      </a:cxn>
                      <a:cxn ang="0">
                        <a:pos x="107" y="43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5" y="155"/>
                      </a:cxn>
                      <a:cxn ang="0">
                        <a:pos x="52" y="181"/>
                      </a:cxn>
                      <a:cxn ang="0">
                        <a:pos x="62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0">
                        <a:moveTo>
                          <a:pt x="81" y="226"/>
                        </a:moveTo>
                        <a:lnTo>
                          <a:pt x="94" y="234"/>
                        </a:lnTo>
                        <a:lnTo>
                          <a:pt x="104" y="238"/>
                        </a:lnTo>
                        <a:lnTo>
                          <a:pt x="111" y="238"/>
                        </a:lnTo>
                        <a:lnTo>
                          <a:pt x="117" y="235"/>
                        </a:lnTo>
                        <a:lnTo>
                          <a:pt x="120" y="231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3" y="216"/>
                        </a:lnTo>
                        <a:lnTo>
                          <a:pt x="126" y="215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5"/>
                        </a:lnTo>
                        <a:lnTo>
                          <a:pt x="143" y="244"/>
                        </a:lnTo>
                        <a:lnTo>
                          <a:pt x="141" y="250"/>
                        </a:lnTo>
                        <a:lnTo>
                          <a:pt x="137" y="257"/>
                        </a:lnTo>
                        <a:lnTo>
                          <a:pt x="132" y="263"/>
                        </a:lnTo>
                        <a:lnTo>
                          <a:pt x="123" y="268"/>
                        </a:lnTo>
                        <a:lnTo>
                          <a:pt x="114" y="270"/>
                        </a:lnTo>
                        <a:lnTo>
                          <a:pt x="104" y="270"/>
                        </a:lnTo>
                        <a:lnTo>
                          <a:pt x="94" y="268"/>
                        </a:lnTo>
                        <a:lnTo>
                          <a:pt x="83" y="264"/>
                        </a:lnTo>
                        <a:lnTo>
                          <a:pt x="75" y="261"/>
                        </a:lnTo>
                        <a:lnTo>
                          <a:pt x="69" y="259"/>
                        </a:lnTo>
                        <a:lnTo>
                          <a:pt x="65" y="255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0"/>
                        </a:lnTo>
                        <a:lnTo>
                          <a:pt x="34" y="223"/>
                        </a:lnTo>
                        <a:lnTo>
                          <a:pt x="17" y="195"/>
                        </a:lnTo>
                        <a:lnTo>
                          <a:pt x="6" y="168"/>
                        </a:lnTo>
                        <a:lnTo>
                          <a:pt x="1" y="140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4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0"/>
                        </a:lnTo>
                        <a:lnTo>
                          <a:pt x="114" y="7"/>
                        </a:lnTo>
                        <a:lnTo>
                          <a:pt x="129" y="20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1" y="47"/>
                        </a:lnTo>
                        <a:lnTo>
                          <a:pt x="140" y="50"/>
                        </a:lnTo>
                        <a:lnTo>
                          <a:pt x="138" y="51"/>
                        </a:lnTo>
                        <a:lnTo>
                          <a:pt x="129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3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2"/>
                        </a:lnTo>
                        <a:lnTo>
                          <a:pt x="74" y="45"/>
                        </a:lnTo>
                        <a:lnTo>
                          <a:pt x="69" y="49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10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5" y="155"/>
                        </a:lnTo>
                        <a:lnTo>
                          <a:pt x="49" y="168"/>
                        </a:lnTo>
                        <a:lnTo>
                          <a:pt x="52" y="181"/>
                        </a:lnTo>
                        <a:lnTo>
                          <a:pt x="58" y="196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6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0" name="Freeform 1324"/>
                  <p:cNvSpPr>
                    <a:spLocks/>
                  </p:cNvSpPr>
                  <p:nvPr/>
                </p:nvSpPr>
                <p:spPr bwMode="auto">
                  <a:xfrm rot="-5400000">
                    <a:off x="3613" y="3536"/>
                    <a:ext cx="16" cy="11"/>
                  </a:xfrm>
                  <a:custGeom>
                    <a:avLst/>
                    <a:gdLst/>
                    <a:ahLst/>
                    <a:cxnLst>
                      <a:cxn ang="0">
                        <a:pos x="41" y="0"/>
                      </a:cxn>
                      <a:cxn ang="0">
                        <a:pos x="41" y="0"/>
                      </a:cxn>
                      <a:cxn ang="0">
                        <a:pos x="40" y="3"/>
                      </a:cxn>
                      <a:cxn ang="0">
                        <a:pos x="38" y="8"/>
                      </a:cxn>
                      <a:cxn ang="0">
                        <a:pos x="37" y="13"/>
                      </a:cxn>
                      <a:cxn ang="0">
                        <a:pos x="36" y="15"/>
                      </a:cxn>
                      <a:cxn ang="0">
                        <a:pos x="34" y="16"/>
                      </a:cxn>
                      <a:cxn ang="0">
                        <a:pos x="28" y="16"/>
                      </a:cxn>
                      <a:cxn ang="0">
                        <a:pos x="19" y="14"/>
                      </a:cxn>
                      <a:cxn ang="0">
                        <a:pos x="7" y="6"/>
                      </a:cxn>
                      <a:cxn ang="0">
                        <a:pos x="0" y="15"/>
                      </a:cxn>
                      <a:cxn ang="0">
                        <a:pos x="14" y="23"/>
                      </a:cxn>
                      <a:cxn ang="0">
                        <a:pos x="26" y="28"/>
                      </a:cxn>
                      <a:cxn ang="0">
                        <a:pos x="34" y="28"/>
                      </a:cxn>
                      <a:cxn ang="0">
                        <a:pos x="43" y="24"/>
                      </a:cxn>
                      <a:cxn ang="0">
                        <a:pos x="49" y="17"/>
                      </a:cxn>
                      <a:cxn ang="0">
                        <a:pos x="50" y="10"/>
                      </a:cxn>
                      <a:cxn ang="0">
                        <a:pos x="51" y="6"/>
                      </a:cxn>
                      <a:cxn ang="0">
                        <a:pos x="52" y="0"/>
                      </a:cxn>
                      <a:cxn ang="0">
                        <a:pos x="52" y="0"/>
                      </a:cxn>
                      <a:cxn ang="0">
                        <a:pos x="41" y="0"/>
                      </a:cxn>
                    </a:cxnLst>
                    <a:rect l="0" t="0" r="r" b="b"/>
                    <a:pathLst>
                      <a:path w="52" h="28">
                        <a:moveTo>
                          <a:pt x="41" y="0"/>
                        </a:moveTo>
                        <a:lnTo>
                          <a:pt x="41" y="0"/>
                        </a:lnTo>
                        <a:lnTo>
                          <a:pt x="40" y="3"/>
                        </a:lnTo>
                        <a:lnTo>
                          <a:pt x="38" y="8"/>
                        </a:lnTo>
                        <a:lnTo>
                          <a:pt x="37" y="13"/>
                        </a:lnTo>
                        <a:lnTo>
                          <a:pt x="36" y="15"/>
                        </a:lnTo>
                        <a:lnTo>
                          <a:pt x="34" y="16"/>
                        </a:lnTo>
                        <a:lnTo>
                          <a:pt x="28" y="16"/>
                        </a:lnTo>
                        <a:lnTo>
                          <a:pt x="19" y="14"/>
                        </a:lnTo>
                        <a:lnTo>
                          <a:pt x="7" y="6"/>
                        </a:lnTo>
                        <a:lnTo>
                          <a:pt x="0" y="15"/>
                        </a:lnTo>
                        <a:lnTo>
                          <a:pt x="14" y="23"/>
                        </a:lnTo>
                        <a:lnTo>
                          <a:pt x="26" y="28"/>
                        </a:lnTo>
                        <a:lnTo>
                          <a:pt x="34" y="28"/>
                        </a:lnTo>
                        <a:lnTo>
                          <a:pt x="43" y="24"/>
                        </a:lnTo>
                        <a:lnTo>
                          <a:pt x="49" y="17"/>
                        </a:lnTo>
                        <a:lnTo>
                          <a:pt x="50" y="10"/>
                        </a:lnTo>
                        <a:lnTo>
                          <a:pt x="51" y="6"/>
                        </a:lnTo>
                        <a:lnTo>
                          <a:pt x="52" y="0"/>
                        </a:lnTo>
                        <a:lnTo>
                          <a:pt x="52" y="0"/>
                        </a:lnTo>
                        <a:lnTo>
                          <a:pt x="41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1" name="Freeform 1325"/>
                  <p:cNvSpPr>
                    <a:spLocks/>
                  </p:cNvSpPr>
                  <p:nvPr/>
                </p:nvSpPr>
                <p:spPr bwMode="auto">
                  <a:xfrm rot="-5400000">
                    <a:off x="3614" y="3527"/>
                    <a:ext cx="9" cy="8"/>
                  </a:xfrm>
                  <a:custGeom>
                    <a:avLst/>
                    <a:gdLst/>
                    <a:ahLst/>
                    <a:cxnLst>
                      <a:cxn ang="0">
                        <a:pos x="29" y="17"/>
                      </a:cxn>
                      <a:cxn ang="0">
                        <a:pos x="29" y="17"/>
                      </a:cxn>
                      <a:cxn ang="0">
                        <a:pos x="22" y="9"/>
                      </a:cxn>
                      <a:cxn ang="0">
                        <a:pos x="16" y="3"/>
                      </a:cxn>
                      <a:cxn ang="0">
                        <a:pos x="8" y="0"/>
                      </a:cxn>
                      <a:cxn ang="0">
                        <a:pos x="0" y="7"/>
                      </a:cxn>
                      <a:cxn ang="0">
                        <a:pos x="11" y="7"/>
                      </a:cxn>
                      <a:cxn ang="0">
                        <a:pos x="8" y="11"/>
                      </a:cxn>
                      <a:cxn ang="0">
                        <a:pos x="9" y="13"/>
                      </a:cxn>
                      <a:cxn ang="0">
                        <a:pos x="15" y="16"/>
                      </a:cxn>
                      <a:cxn ang="0">
                        <a:pos x="19" y="22"/>
                      </a:cxn>
                      <a:cxn ang="0">
                        <a:pos x="19" y="22"/>
                      </a:cxn>
                      <a:cxn ang="0">
                        <a:pos x="29" y="17"/>
                      </a:cxn>
                    </a:cxnLst>
                    <a:rect l="0" t="0" r="r" b="b"/>
                    <a:pathLst>
                      <a:path w="29" h="22">
                        <a:moveTo>
                          <a:pt x="29" y="17"/>
                        </a:moveTo>
                        <a:lnTo>
                          <a:pt x="29" y="17"/>
                        </a:lnTo>
                        <a:lnTo>
                          <a:pt x="22" y="9"/>
                        </a:lnTo>
                        <a:lnTo>
                          <a:pt x="16" y="3"/>
                        </a:lnTo>
                        <a:lnTo>
                          <a:pt x="8" y="0"/>
                        </a:lnTo>
                        <a:lnTo>
                          <a:pt x="0" y="7"/>
                        </a:lnTo>
                        <a:lnTo>
                          <a:pt x="11" y="7"/>
                        </a:lnTo>
                        <a:lnTo>
                          <a:pt x="8" y="11"/>
                        </a:lnTo>
                        <a:lnTo>
                          <a:pt x="9" y="13"/>
                        </a:lnTo>
                        <a:lnTo>
                          <a:pt x="15" y="16"/>
                        </a:lnTo>
                        <a:lnTo>
                          <a:pt x="19" y="22"/>
                        </a:lnTo>
                        <a:lnTo>
                          <a:pt x="19" y="22"/>
                        </a:lnTo>
                        <a:lnTo>
                          <a:pt x="29" y="1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2" name="Freeform 1326"/>
                  <p:cNvSpPr>
                    <a:spLocks/>
                  </p:cNvSpPr>
                  <p:nvPr/>
                </p:nvSpPr>
                <p:spPr bwMode="auto">
                  <a:xfrm rot="-5400000">
                    <a:off x="3621" y="3524"/>
                    <a:ext cx="16" cy="16"/>
                  </a:xfrm>
                  <a:custGeom>
                    <a:avLst/>
                    <a:gdLst/>
                    <a:ahLst/>
                    <a:cxnLst>
                      <a:cxn ang="0">
                        <a:pos x="0" y="50"/>
                      </a:cxn>
                      <a:cxn ang="0">
                        <a:pos x="0" y="50"/>
                      </a:cxn>
                      <a:cxn ang="0">
                        <a:pos x="10" y="50"/>
                      </a:cxn>
                      <a:cxn ang="0">
                        <a:pos x="22" y="47"/>
                      </a:cxn>
                      <a:cxn ang="0">
                        <a:pos x="31" y="42"/>
                      </a:cxn>
                      <a:cxn ang="0">
                        <a:pos x="38" y="35"/>
                      </a:cxn>
                      <a:cxn ang="0">
                        <a:pos x="43" y="27"/>
                      </a:cxn>
                      <a:cxn ang="0">
                        <a:pos x="45" y="19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3" y="5"/>
                      </a:cxn>
                      <a:cxn ang="0">
                        <a:pos x="34" y="9"/>
                      </a:cxn>
                      <a:cxn ang="0">
                        <a:pos x="33" y="16"/>
                      </a:cxn>
                      <a:cxn ang="0">
                        <a:pos x="31" y="22"/>
                      </a:cxn>
                      <a:cxn ang="0">
                        <a:pos x="29" y="28"/>
                      </a:cxn>
                      <a:cxn ang="0">
                        <a:pos x="24" y="33"/>
                      </a:cxn>
                      <a:cxn ang="0">
                        <a:pos x="17" y="36"/>
                      </a:cxn>
                      <a:cxn ang="0">
                        <a:pos x="10" y="38"/>
                      </a:cxn>
                      <a:cxn ang="0">
                        <a:pos x="0" y="38"/>
                      </a:cxn>
                      <a:cxn ang="0">
                        <a:pos x="0" y="38"/>
                      </a:cxn>
                      <a:cxn ang="0">
                        <a:pos x="0" y="50"/>
                      </a:cxn>
                    </a:cxnLst>
                    <a:rect l="0" t="0" r="r" b="b"/>
                    <a:pathLst>
                      <a:path w="46" h="50">
                        <a:moveTo>
                          <a:pt x="0" y="50"/>
                        </a:moveTo>
                        <a:lnTo>
                          <a:pt x="0" y="50"/>
                        </a:lnTo>
                        <a:lnTo>
                          <a:pt x="10" y="50"/>
                        </a:lnTo>
                        <a:lnTo>
                          <a:pt x="22" y="47"/>
                        </a:lnTo>
                        <a:lnTo>
                          <a:pt x="31" y="42"/>
                        </a:lnTo>
                        <a:lnTo>
                          <a:pt x="38" y="35"/>
                        </a:lnTo>
                        <a:lnTo>
                          <a:pt x="43" y="27"/>
                        </a:lnTo>
                        <a:lnTo>
                          <a:pt x="45" y="19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3" y="5"/>
                        </a:lnTo>
                        <a:lnTo>
                          <a:pt x="34" y="9"/>
                        </a:lnTo>
                        <a:lnTo>
                          <a:pt x="33" y="16"/>
                        </a:lnTo>
                        <a:lnTo>
                          <a:pt x="31" y="22"/>
                        </a:lnTo>
                        <a:lnTo>
                          <a:pt x="29" y="28"/>
                        </a:lnTo>
                        <a:lnTo>
                          <a:pt x="24" y="33"/>
                        </a:lnTo>
                        <a:lnTo>
                          <a:pt x="17" y="36"/>
                        </a:lnTo>
                        <a:lnTo>
                          <a:pt x="10" y="38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5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3" name="Freeform 1327"/>
                  <p:cNvSpPr>
                    <a:spLocks/>
                  </p:cNvSpPr>
                  <p:nvPr/>
                </p:nvSpPr>
                <p:spPr bwMode="auto">
                  <a:xfrm rot="-5400000">
                    <a:off x="3624" y="354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4" y="10"/>
                      </a:cxn>
                      <a:cxn ang="0">
                        <a:pos x="6" y="12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30" y="25"/>
                      </a:cxn>
                      <a:cxn ang="0">
                        <a:pos x="40" y="28"/>
                      </a:cxn>
                      <a:cxn ang="0">
                        <a:pos x="52" y="31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5" y="5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5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4" y="10"/>
                        </a:lnTo>
                        <a:lnTo>
                          <a:pt x="6" y="12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30" y="25"/>
                        </a:lnTo>
                        <a:lnTo>
                          <a:pt x="40" y="28"/>
                        </a:lnTo>
                        <a:lnTo>
                          <a:pt x="52" y="31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5" y="5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5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4" name="Freeform 1328"/>
                  <p:cNvSpPr>
                    <a:spLocks/>
                  </p:cNvSpPr>
                  <p:nvPr/>
                </p:nvSpPr>
                <p:spPr bwMode="auto">
                  <a:xfrm rot="-5400000">
                    <a:off x="3561" y="3507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4" y="44"/>
                      </a:cxn>
                      <a:cxn ang="0">
                        <a:pos x="153" y="42"/>
                      </a:cxn>
                      <a:cxn ang="0">
                        <a:pos x="140" y="22"/>
                      </a:cxn>
                      <a:cxn ang="0">
                        <a:pos x="123" y="8"/>
                      </a:cxn>
                      <a:cxn ang="0">
                        <a:pos x="105" y="0"/>
                      </a:cxn>
                      <a:cxn ang="0">
                        <a:pos x="88" y="0"/>
                      </a:cxn>
                      <a:cxn ang="0">
                        <a:pos x="70" y="4"/>
                      </a:cxn>
                      <a:cxn ang="0">
                        <a:pos x="52" y="15"/>
                      </a:cxn>
                      <a:cxn ang="0">
                        <a:pos x="36" y="30"/>
                      </a:cxn>
                      <a:cxn ang="0">
                        <a:pos x="23" y="47"/>
                      </a:cxn>
                      <a:cxn ang="0">
                        <a:pos x="12" y="68"/>
                      </a:cxn>
                      <a:cxn ang="0">
                        <a:pos x="4" y="92"/>
                      </a:cxn>
                      <a:cxn ang="0">
                        <a:pos x="0" y="118"/>
                      </a:cxn>
                      <a:cxn ang="0">
                        <a:pos x="2" y="145"/>
                      </a:cxn>
                      <a:cxn ang="0">
                        <a:pos x="6" y="174"/>
                      </a:cxn>
                      <a:cxn ang="0">
                        <a:pos x="19" y="202"/>
                      </a:cxn>
                      <a:cxn ang="0">
                        <a:pos x="35" y="231"/>
                      </a:cxn>
                      <a:cxn ang="0">
                        <a:pos x="60" y="259"/>
                      </a:cxn>
                      <a:cxn ang="0">
                        <a:pos x="67" y="252"/>
                      </a:cxn>
                      <a:cxn ang="0">
                        <a:pos x="44" y="224"/>
                      </a:cxn>
                      <a:cxn ang="0">
                        <a:pos x="28" y="198"/>
                      </a:cxn>
                      <a:cxn ang="0">
                        <a:pos x="18" y="171"/>
                      </a:cxn>
                      <a:cxn ang="0">
                        <a:pos x="13" y="145"/>
                      </a:cxn>
                      <a:cxn ang="0">
                        <a:pos x="12" y="118"/>
                      </a:cxn>
                      <a:cxn ang="0">
                        <a:pos x="15" y="94"/>
                      </a:cxn>
                      <a:cxn ang="0">
                        <a:pos x="23" y="72"/>
                      </a:cxn>
                      <a:cxn ang="0">
                        <a:pos x="33" y="52"/>
                      </a:cxn>
                      <a:cxn ang="0">
                        <a:pos x="45" y="37"/>
                      </a:cxn>
                      <a:cxn ang="0">
                        <a:pos x="59" y="24"/>
                      </a:cxn>
                      <a:cxn ang="0">
                        <a:pos x="74" y="16"/>
                      </a:cxn>
                      <a:cxn ang="0">
                        <a:pos x="88" y="11"/>
                      </a:cxn>
                      <a:cxn ang="0">
                        <a:pos x="103" y="11"/>
                      </a:cxn>
                      <a:cxn ang="0">
                        <a:pos x="118" y="17"/>
                      </a:cxn>
                      <a:cxn ang="0">
                        <a:pos x="131" y="29"/>
                      </a:cxn>
                      <a:cxn ang="0">
                        <a:pos x="143" y="47"/>
                      </a:cxn>
                      <a:cxn ang="0">
                        <a:pos x="142" y="46"/>
                      </a:cxn>
                      <a:cxn ang="0">
                        <a:pos x="154" y="44"/>
                      </a:cxn>
                    </a:cxnLst>
                    <a:rect l="0" t="0" r="r" b="b"/>
                    <a:pathLst>
                      <a:path w="154" h="259">
                        <a:moveTo>
                          <a:pt x="154" y="44"/>
                        </a:moveTo>
                        <a:lnTo>
                          <a:pt x="153" y="42"/>
                        </a:lnTo>
                        <a:lnTo>
                          <a:pt x="140" y="22"/>
                        </a:lnTo>
                        <a:lnTo>
                          <a:pt x="123" y="8"/>
                        </a:lnTo>
                        <a:lnTo>
                          <a:pt x="105" y="0"/>
                        </a:lnTo>
                        <a:lnTo>
                          <a:pt x="88" y="0"/>
                        </a:lnTo>
                        <a:lnTo>
                          <a:pt x="70" y="4"/>
                        </a:lnTo>
                        <a:lnTo>
                          <a:pt x="52" y="15"/>
                        </a:lnTo>
                        <a:lnTo>
                          <a:pt x="36" y="30"/>
                        </a:lnTo>
                        <a:lnTo>
                          <a:pt x="23" y="47"/>
                        </a:lnTo>
                        <a:lnTo>
                          <a:pt x="12" y="68"/>
                        </a:lnTo>
                        <a:lnTo>
                          <a:pt x="4" y="92"/>
                        </a:lnTo>
                        <a:lnTo>
                          <a:pt x="0" y="118"/>
                        </a:lnTo>
                        <a:lnTo>
                          <a:pt x="2" y="145"/>
                        </a:lnTo>
                        <a:lnTo>
                          <a:pt x="6" y="174"/>
                        </a:lnTo>
                        <a:lnTo>
                          <a:pt x="19" y="202"/>
                        </a:lnTo>
                        <a:lnTo>
                          <a:pt x="35" y="231"/>
                        </a:lnTo>
                        <a:lnTo>
                          <a:pt x="60" y="259"/>
                        </a:lnTo>
                        <a:lnTo>
                          <a:pt x="67" y="252"/>
                        </a:lnTo>
                        <a:lnTo>
                          <a:pt x="44" y="224"/>
                        </a:lnTo>
                        <a:lnTo>
                          <a:pt x="28" y="198"/>
                        </a:lnTo>
                        <a:lnTo>
                          <a:pt x="18" y="171"/>
                        </a:lnTo>
                        <a:lnTo>
                          <a:pt x="13" y="145"/>
                        </a:lnTo>
                        <a:lnTo>
                          <a:pt x="12" y="118"/>
                        </a:lnTo>
                        <a:lnTo>
                          <a:pt x="15" y="94"/>
                        </a:lnTo>
                        <a:lnTo>
                          <a:pt x="23" y="72"/>
                        </a:lnTo>
                        <a:lnTo>
                          <a:pt x="33" y="52"/>
                        </a:lnTo>
                        <a:lnTo>
                          <a:pt x="45" y="37"/>
                        </a:lnTo>
                        <a:lnTo>
                          <a:pt x="59" y="24"/>
                        </a:lnTo>
                        <a:lnTo>
                          <a:pt x="74" y="16"/>
                        </a:lnTo>
                        <a:lnTo>
                          <a:pt x="88" y="11"/>
                        </a:lnTo>
                        <a:lnTo>
                          <a:pt x="103" y="11"/>
                        </a:lnTo>
                        <a:lnTo>
                          <a:pt x="118" y="17"/>
                        </a:lnTo>
                        <a:lnTo>
                          <a:pt x="131" y="29"/>
                        </a:lnTo>
                        <a:lnTo>
                          <a:pt x="143" y="47"/>
                        </a:lnTo>
                        <a:lnTo>
                          <a:pt x="142" y="46"/>
                        </a:lnTo>
                        <a:lnTo>
                          <a:pt x="154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5" name="Freeform 1329"/>
                  <p:cNvSpPr>
                    <a:spLocks/>
                  </p:cNvSpPr>
                  <p:nvPr/>
                </p:nvSpPr>
                <p:spPr bwMode="auto">
                  <a:xfrm rot="-5400000">
                    <a:off x="3558" y="3525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4" y="18"/>
                      </a:cxn>
                      <a:cxn ang="0">
                        <a:pos x="9" y="14"/>
                      </a:cxn>
                      <a:cxn ang="0">
                        <a:pos x="10" y="13"/>
                      </a:cxn>
                      <a:cxn ang="0">
                        <a:pos x="13" y="9"/>
                      </a:cxn>
                      <a:cxn ang="0">
                        <a:pos x="14" y="4"/>
                      </a:cxn>
                      <a:cxn ang="0">
                        <a:pos x="14" y="0"/>
                      </a:cxn>
                      <a:cxn ang="0">
                        <a:pos x="2" y="2"/>
                      </a:cxn>
                      <a:cxn ang="0">
                        <a:pos x="2" y="4"/>
                      </a:cxn>
                      <a:cxn ang="0">
                        <a:pos x="1" y="6"/>
                      </a:cxn>
                      <a:cxn ang="0">
                        <a:pos x="1" y="9"/>
                      </a:cxn>
                      <a:cxn ang="0">
                        <a:pos x="0" y="10"/>
                      </a:cxn>
                      <a:cxn ang="0">
                        <a:pos x="4" y="6"/>
                      </a:cxn>
                      <a:cxn ang="0">
                        <a:pos x="0" y="10"/>
                      </a:cxn>
                      <a:cxn ang="0">
                        <a:pos x="0" y="13"/>
                      </a:cxn>
                      <a:cxn ang="0">
                        <a:pos x="3" y="17"/>
                      </a:cxn>
                      <a:cxn ang="0">
                        <a:pos x="7" y="17"/>
                      </a:cxn>
                      <a:cxn ang="0">
                        <a:pos x="9" y="14"/>
                      </a:cxn>
                      <a:cxn ang="0">
                        <a:pos x="4" y="18"/>
                      </a:cxn>
                    </a:cxnLst>
                    <a:rect l="0" t="0" r="r" b="b"/>
                    <a:pathLst>
                      <a:path w="14" h="18">
                        <a:moveTo>
                          <a:pt x="4" y="18"/>
                        </a:moveTo>
                        <a:lnTo>
                          <a:pt x="9" y="14"/>
                        </a:lnTo>
                        <a:lnTo>
                          <a:pt x="10" y="13"/>
                        </a:lnTo>
                        <a:lnTo>
                          <a:pt x="13" y="9"/>
                        </a:lnTo>
                        <a:lnTo>
                          <a:pt x="14" y="4"/>
                        </a:lnTo>
                        <a:lnTo>
                          <a:pt x="14" y="0"/>
                        </a:lnTo>
                        <a:lnTo>
                          <a:pt x="2" y="2"/>
                        </a:lnTo>
                        <a:lnTo>
                          <a:pt x="2" y="4"/>
                        </a:lnTo>
                        <a:lnTo>
                          <a:pt x="1" y="6"/>
                        </a:lnTo>
                        <a:lnTo>
                          <a:pt x="1" y="9"/>
                        </a:lnTo>
                        <a:lnTo>
                          <a:pt x="0" y="10"/>
                        </a:lnTo>
                        <a:lnTo>
                          <a:pt x="4" y="6"/>
                        </a:lnTo>
                        <a:lnTo>
                          <a:pt x="0" y="10"/>
                        </a:lnTo>
                        <a:lnTo>
                          <a:pt x="0" y="13"/>
                        </a:lnTo>
                        <a:lnTo>
                          <a:pt x="3" y="17"/>
                        </a:lnTo>
                        <a:lnTo>
                          <a:pt x="7" y="17"/>
                        </a:lnTo>
                        <a:lnTo>
                          <a:pt x="9" y="14"/>
                        </a:lnTo>
                        <a:lnTo>
                          <a:pt x="4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6" name="Freeform 1330"/>
                  <p:cNvSpPr>
                    <a:spLocks/>
                  </p:cNvSpPr>
                  <p:nvPr/>
                </p:nvSpPr>
                <p:spPr bwMode="auto">
                  <a:xfrm rot="-5400000">
                    <a:off x="3559" y="3531"/>
                    <a:ext cx="7" cy="6"/>
                  </a:xfrm>
                  <a:custGeom>
                    <a:avLst/>
                    <a:gdLst/>
                    <a:ahLst/>
                    <a:cxnLst>
                      <a:cxn ang="0">
                        <a:pos x="3" y="11"/>
                      </a:cxn>
                      <a:cxn ang="0">
                        <a:pos x="3" y="11"/>
                      </a:cxn>
                      <a:cxn ang="0">
                        <a:pos x="6" y="12"/>
                      </a:cxn>
                      <a:cxn ang="0">
                        <a:pos x="9" y="13"/>
                      </a:cxn>
                      <a:cxn ang="0">
                        <a:pos x="15" y="13"/>
                      </a:cxn>
                      <a:cxn ang="0">
                        <a:pos x="24" y="12"/>
                      </a:cxn>
                      <a:cxn ang="0">
                        <a:pos x="24" y="0"/>
                      </a:cxn>
                      <a:cxn ang="0">
                        <a:pos x="15" y="2"/>
                      </a:cxn>
                      <a:cxn ang="0">
                        <a:pos x="9" y="2"/>
                      </a:cxn>
                      <a:cxn ang="0">
                        <a:pos x="8" y="0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</a:cxnLst>
                    <a:rect l="0" t="0" r="r" b="b"/>
                    <a:pathLst>
                      <a:path w="24" h="13">
                        <a:moveTo>
                          <a:pt x="3" y="11"/>
                        </a:moveTo>
                        <a:lnTo>
                          <a:pt x="3" y="11"/>
                        </a:lnTo>
                        <a:lnTo>
                          <a:pt x="6" y="12"/>
                        </a:lnTo>
                        <a:lnTo>
                          <a:pt x="9" y="13"/>
                        </a:lnTo>
                        <a:lnTo>
                          <a:pt x="15" y="13"/>
                        </a:lnTo>
                        <a:lnTo>
                          <a:pt x="24" y="12"/>
                        </a:lnTo>
                        <a:lnTo>
                          <a:pt x="24" y="0"/>
                        </a:lnTo>
                        <a:lnTo>
                          <a:pt x="15" y="2"/>
                        </a:lnTo>
                        <a:lnTo>
                          <a:pt x="9" y="2"/>
                        </a:lnTo>
                        <a:lnTo>
                          <a:pt x="8" y="0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7" name="Freeform 1331"/>
                  <p:cNvSpPr>
                    <a:spLocks/>
                  </p:cNvSpPr>
                  <p:nvPr/>
                </p:nvSpPr>
                <p:spPr bwMode="auto">
                  <a:xfrm rot="-5400000">
                    <a:off x="3550" y="3540"/>
                    <a:ext cx="21" cy="10"/>
                  </a:xfrm>
                  <a:custGeom>
                    <a:avLst/>
                    <a:gdLst/>
                    <a:ahLst/>
                    <a:cxnLst>
                      <a:cxn ang="0">
                        <a:pos x="10" y="23"/>
                      </a:cxn>
                      <a:cxn ang="0">
                        <a:pos x="10" y="23"/>
                      </a:cxn>
                      <a:cxn ang="0">
                        <a:pos x="12" y="22"/>
                      </a:cxn>
                      <a:cxn ang="0">
                        <a:pos x="13" y="18"/>
                      </a:cxn>
                      <a:cxn ang="0">
                        <a:pos x="17" y="16"/>
                      </a:cxn>
                      <a:cxn ang="0">
                        <a:pos x="22" y="14"/>
                      </a:cxn>
                      <a:cxn ang="0">
                        <a:pos x="28" y="11"/>
                      </a:cxn>
                      <a:cxn ang="0">
                        <a:pos x="37" y="11"/>
                      </a:cxn>
                      <a:cxn ang="0">
                        <a:pos x="45" y="14"/>
                      </a:cxn>
                      <a:cxn ang="0">
                        <a:pos x="57" y="22"/>
                      </a:cxn>
                      <a:cxn ang="0">
                        <a:pos x="63" y="13"/>
                      </a:cxn>
                      <a:cxn ang="0">
                        <a:pos x="50" y="5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7" y="2"/>
                      </a:cxn>
                      <a:cxn ang="0">
                        <a:pos x="10" y="7"/>
                      </a:cxn>
                      <a:cxn ang="0">
                        <a:pos x="6" y="11"/>
                      </a:cxn>
                      <a:cxn ang="0">
                        <a:pos x="2" y="15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1" y="16"/>
                      </a:cxn>
                      <a:cxn ang="0">
                        <a:pos x="0" y="21"/>
                      </a:cxn>
                      <a:cxn ang="0">
                        <a:pos x="2" y="24"/>
                      </a:cxn>
                      <a:cxn ang="0">
                        <a:pos x="7" y="25"/>
                      </a:cxn>
                      <a:cxn ang="0">
                        <a:pos x="10" y="23"/>
                      </a:cxn>
                    </a:cxnLst>
                    <a:rect l="0" t="0" r="r" b="b"/>
                    <a:pathLst>
                      <a:path w="63" h="25">
                        <a:moveTo>
                          <a:pt x="10" y="23"/>
                        </a:moveTo>
                        <a:lnTo>
                          <a:pt x="10" y="23"/>
                        </a:lnTo>
                        <a:lnTo>
                          <a:pt x="12" y="22"/>
                        </a:lnTo>
                        <a:lnTo>
                          <a:pt x="13" y="18"/>
                        </a:lnTo>
                        <a:lnTo>
                          <a:pt x="17" y="16"/>
                        </a:lnTo>
                        <a:lnTo>
                          <a:pt x="22" y="14"/>
                        </a:lnTo>
                        <a:lnTo>
                          <a:pt x="28" y="11"/>
                        </a:lnTo>
                        <a:lnTo>
                          <a:pt x="37" y="11"/>
                        </a:lnTo>
                        <a:lnTo>
                          <a:pt x="45" y="14"/>
                        </a:lnTo>
                        <a:lnTo>
                          <a:pt x="57" y="22"/>
                        </a:lnTo>
                        <a:lnTo>
                          <a:pt x="63" y="13"/>
                        </a:lnTo>
                        <a:lnTo>
                          <a:pt x="50" y="5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7" y="2"/>
                        </a:lnTo>
                        <a:lnTo>
                          <a:pt x="10" y="7"/>
                        </a:lnTo>
                        <a:lnTo>
                          <a:pt x="6" y="11"/>
                        </a:lnTo>
                        <a:lnTo>
                          <a:pt x="2" y="15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1" y="16"/>
                        </a:lnTo>
                        <a:lnTo>
                          <a:pt x="0" y="21"/>
                        </a:lnTo>
                        <a:lnTo>
                          <a:pt x="2" y="24"/>
                        </a:lnTo>
                        <a:lnTo>
                          <a:pt x="7" y="25"/>
                        </a:lnTo>
                        <a:lnTo>
                          <a:pt x="10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8" name="Freeform 1332"/>
                  <p:cNvSpPr>
                    <a:spLocks/>
                  </p:cNvSpPr>
                  <p:nvPr/>
                </p:nvSpPr>
                <p:spPr bwMode="auto">
                  <a:xfrm rot="-5400000">
                    <a:off x="3571" y="3541"/>
                    <a:ext cx="12" cy="30"/>
                  </a:xfrm>
                  <a:custGeom>
                    <a:avLst/>
                    <a:gdLst/>
                    <a:ahLst/>
                    <a:cxnLst>
                      <a:cxn ang="0">
                        <a:pos x="12" y="90"/>
                      </a:cxn>
                      <a:cxn ang="0">
                        <a:pos x="12" y="90"/>
                      </a:cxn>
                      <a:cxn ang="0">
                        <a:pos x="11" y="81"/>
                      </a:cxn>
                      <a:cxn ang="0">
                        <a:pos x="12" y="60"/>
                      </a:cxn>
                      <a:cxn ang="0">
                        <a:pos x="19" y="35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1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2" y="90"/>
                      </a:cxn>
                    </a:cxnLst>
                    <a:rect l="0" t="0" r="r" b="b"/>
                    <a:pathLst>
                      <a:path w="35" h="92">
                        <a:moveTo>
                          <a:pt x="12" y="90"/>
                        </a:moveTo>
                        <a:lnTo>
                          <a:pt x="12" y="90"/>
                        </a:lnTo>
                        <a:lnTo>
                          <a:pt x="11" y="81"/>
                        </a:lnTo>
                        <a:lnTo>
                          <a:pt x="12" y="60"/>
                        </a:lnTo>
                        <a:lnTo>
                          <a:pt x="19" y="35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1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2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399" name="Freeform 1333"/>
                  <p:cNvSpPr>
                    <a:spLocks/>
                  </p:cNvSpPr>
                  <p:nvPr/>
                </p:nvSpPr>
                <p:spPr bwMode="auto">
                  <a:xfrm rot="-5400000">
                    <a:off x="3597" y="3548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8" y="54"/>
                      </a:cxn>
                      <a:cxn ang="0">
                        <a:pos x="22" y="40"/>
                      </a:cxn>
                      <a:cxn ang="0">
                        <a:pos x="18" y="26"/>
                      </a:cxn>
                      <a:cxn ang="0">
                        <a:pos x="15" y="14"/>
                      </a:cxn>
                      <a:cxn ang="0">
                        <a:pos x="11" y="0"/>
                      </a:cxn>
                      <a:cxn ang="0">
                        <a:pos x="0" y="2"/>
                      </a:cxn>
                      <a:cxn ang="0">
                        <a:pos x="3" y="16"/>
                      </a:cxn>
                      <a:cxn ang="0">
                        <a:pos x="7" y="29"/>
                      </a:cxn>
                      <a:cxn ang="0">
                        <a:pos x="10" y="42"/>
                      </a:cxn>
                      <a:cxn ang="0">
                        <a:pos x="16" y="59"/>
                      </a:cxn>
                      <a:cxn ang="0">
                        <a:pos x="17" y="59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8" h="59">
                        <a:moveTo>
                          <a:pt x="26" y="54"/>
                        </a:moveTo>
                        <a:lnTo>
                          <a:pt x="28" y="54"/>
                        </a:lnTo>
                        <a:lnTo>
                          <a:pt x="22" y="40"/>
                        </a:lnTo>
                        <a:lnTo>
                          <a:pt x="18" y="26"/>
                        </a:lnTo>
                        <a:lnTo>
                          <a:pt x="15" y="14"/>
                        </a:lnTo>
                        <a:lnTo>
                          <a:pt x="11" y="0"/>
                        </a:lnTo>
                        <a:lnTo>
                          <a:pt x="0" y="2"/>
                        </a:lnTo>
                        <a:lnTo>
                          <a:pt x="3" y="16"/>
                        </a:lnTo>
                        <a:lnTo>
                          <a:pt x="7" y="29"/>
                        </a:lnTo>
                        <a:lnTo>
                          <a:pt x="10" y="42"/>
                        </a:lnTo>
                        <a:lnTo>
                          <a:pt x="16" y="59"/>
                        </a:lnTo>
                        <a:lnTo>
                          <a:pt x="17" y="59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0" name="Freeform 1334"/>
                  <p:cNvSpPr>
                    <a:spLocks/>
                  </p:cNvSpPr>
                  <p:nvPr/>
                </p:nvSpPr>
                <p:spPr bwMode="auto">
                  <a:xfrm rot="-5400000">
                    <a:off x="3611" y="3545"/>
                    <a:ext cx="10" cy="13"/>
                  </a:xfrm>
                  <a:custGeom>
                    <a:avLst/>
                    <a:gdLst/>
                    <a:ahLst/>
                    <a:cxnLst>
                      <a:cxn ang="0">
                        <a:pos x="31" y="28"/>
                      </a:cxn>
                      <a:cxn ang="0">
                        <a:pos x="31" y="28"/>
                      </a:cxn>
                      <a:cxn ang="0">
                        <a:pos x="26" y="23"/>
                      </a:cxn>
                      <a:cxn ang="0">
                        <a:pos x="20" y="15"/>
                      </a:cxn>
                      <a:cxn ang="0">
                        <a:pos x="14" y="8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5" y="13"/>
                      </a:cxn>
                      <a:cxn ang="0">
                        <a:pos x="11" y="22"/>
                      </a:cxn>
                      <a:cxn ang="0">
                        <a:pos x="16" y="30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4" y="37"/>
                      </a:cxn>
                      <a:cxn ang="0">
                        <a:pos x="29" y="38"/>
                      </a:cxn>
                      <a:cxn ang="0">
                        <a:pos x="32" y="36"/>
                      </a:cxn>
                      <a:cxn ang="0">
                        <a:pos x="34" y="31"/>
                      </a:cxn>
                      <a:cxn ang="0">
                        <a:pos x="31" y="28"/>
                      </a:cxn>
                    </a:cxnLst>
                    <a:rect l="0" t="0" r="r" b="b"/>
                    <a:pathLst>
                      <a:path w="34" h="38">
                        <a:moveTo>
                          <a:pt x="31" y="28"/>
                        </a:moveTo>
                        <a:lnTo>
                          <a:pt x="31" y="28"/>
                        </a:lnTo>
                        <a:lnTo>
                          <a:pt x="26" y="23"/>
                        </a:lnTo>
                        <a:lnTo>
                          <a:pt x="20" y="15"/>
                        </a:lnTo>
                        <a:lnTo>
                          <a:pt x="14" y="8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5" y="13"/>
                        </a:lnTo>
                        <a:lnTo>
                          <a:pt x="11" y="22"/>
                        </a:lnTo>
                        <a:lnTo>
                          <a:pt x="16" y="30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4" y="37"/>
                        </a:lnTo>
                        <a:lnTo>
                          <a:pt x="29" y="38"/>
                        </a:lnTo>
                        <a:lnTo>
                          <a:pt x="32" y="36"/>
                        </a:lnTo>
                        <a:lnTo>
                          <a:pt x="34" y="31"/>
                        </a:lnTo>
                        <a:lnTo>
                          <a:pt x="31" y="2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1" name="Freeform 1335"/>
                  <p:cNvSpPr>
                    <a:spLocks/>
                  </p:cNvSpPr>
                  <p:nvPr/>
                </p:nvSpPr>
                <p:spPr bwMode="auto">
                  <a:xfrm rot="-5400000">
                    <a:off x="3565" y="3453"/>
                    <a:ext cx="47" cy="90"/>
                  </a:xfrm>
                  <a:custGeom>
                    <a:avLst/>
                    <a:gdLst/>
                    <a:ahLst/>
                    <a:cxnLst>
                      <a:cxn ang="0">
                        <a:pos x="94" y="235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3" y="220"/>
                      </a:cxn>
                      <a:cxn ang="0">
                        <a:pos x="125" y="214"/>
                      </a:cxn>
                      <a:cxn ang="0">
                        <a:pos x="136" y="222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5" y="271"/>
                      </a:cxn>
                      <a:cxn ang="0">
                        <a:pos x="94" y="267"/>
                      </a:cxn>
                      <a:cxn ang="0">
                        <a:pos x="75" y="262"/>
                      </a:cxn>
                      <a:cxn ang="0">
                        <a:pos x="65" y="256"/>
                      </a:cxn>
                      <a:cxn ang="0">
                        <a:pos x="59" y="252"/>
                      </a:cxn>
                      <a:cxn ang="0">
                        <a:pos x="34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5"/>
                      </a:cxn>
                      <a:cxn ang="0">
                        <a:pos x="35" y="28"/>
                      </a:cxn>
                      <a:cxn ang="0">
                        <a:pos x="66" y="5"/>
                      </a:cxn>
                      <a:cxn ang="0">
                        <a:pos x="98" y="1"/>
                      </a:cxn>
                      <a:cxn ang="0">
                        <a:pos x="129" y="21"/>
                      </a:cxn>
                      <a:cxn ang="0">
                        <a:pos x="142" y="43"/>
                      </a:cxn>
                      <a:cxn ang="0">
                        <a:pos x="139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8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50" y="83"/>
                      </a:cxn>
                      <a:cxn ang="0">
                        <a:pos x="42" y="131"/>
                      </a:cxn>
                      <a:cxn ang="0">
                        <a:pos x="47" y="156"/>
                      </a:cxn>
                      <a:cxn ang="0">
                        <a:pos x="52" y="182"/>
                      </a:cxn>
                      <a:cxn ang="0">
                        <a:pos x="63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71">
                        <a:moveTo>
                          <a:pt x="81" y="227"/>
                        </a:moveTo>
                        <a:lnTo>
                          <a:pt x="94" y="235"/>
                        </a:lnTo>
                        <a:lnTo>
                          <a:pt x="103" y="238"/>
                        </a:lnTo>
                        <a:lnTo>
                          <a:pt x="111" y="238"/>
                        </a:lnTo>
                        <a:lnTo>
                          <a:pt x="116" y="235"/>
                        </a:lnTo>
                        <a:lnTo>
                          <a:pt x="119" y="230"/>
                        </a:lnTo>
                        <a:lnTo>
                          <a:pt x="121" y="226"/>
                        </a:lnTo>
                        <a:lnTo>
                          <a:pt x="123" y="220"/>
                        </a:lnTo>
                        <a:lnTo>
                          <a:pt x="123" y="215"/>
                        </a:lnTo>
                        <a:lnTo>
                          <a:pt x="125" y="214"/>
                        </a:lnTo>
                        <a:lnTo>
                          <a:pt x="131" y="217"/>
                        </a:lnTo>
                        <a:lnTo>
                          <a:pt x="136" y="222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8" y="258"/>
                        </a:lnTo>
                        <a:lnTo>
                          <a:pt x="132" y="264"/>
                        </a:lnTo>
                        <a:lnTo>
                          <a:pt x="124" y="268"/>
                        </a:lnTo>
                        <a:lnTo>
                          <a:pt x="115" y="271"/>
                        </a:lnTo>
                        <a:lnTo>
                          <a:pt x="104" y="270"/>
                        </a:lnTo>
                        <a:lnTo>
                          <a:pt x="94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70" y="258"/>
                        </a:lnTo>
                        <a:lnTo>
                          <a:pt x="65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4" y="223"/>
                        </a:lnTo>
                        <a:lnTo>
                          <a:pt x="18" y="196"/>
                        </a:lnTo>
                        <a:lnTo>
                          <a:pt x="6" y="167"/>
                        </a:lnTo>
                        <a:lnTo>
                          <a:pt x="2" y="139"/>
                        </a:lnTo>
                        <a:lnTo>
                          <a:pt x="0" y="113"/>
                        </a:lnTo>
                        <a:lnTo>
                          <a:pt x="4" y="88"/>
                        </a:lnTo>
                        <a:lnTo>
                          <a:pt x="12" y="65"/>
                        </a:lnTo>
                        <a:lnTo>
                          <a:pt x="22" y="45"/>
                        </a:lnTo>
                        <a:lnTo>
                          <a:pt x="35" y="28"/>
                        </a:lnTo>
                        <a:lnTo>
                          <a:pt x="50" y="14"/>
                        </a:lnTo>
                        <a:lnTo>
                          <a:pt x="66" y="5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5" y="8"/>
                        </a:lnTo>
                        <a:lnTo>
                          <a:pt x="129" y="21"/>
                        </a:lnTo>
                        <a:lnTo>
                          <a:pt x="142" y="40"/>
                        </a:lnTo>
                        <a:lnTo>
                          <a:pt x="142" y="43"/>
                        </a:lnTo>
                        <a:lnTo>
                          <a:pt x="140" y="46"/>
                        </a:lnTo>
                        <a:lnTo>
                          <a:pt x="139" y="50"/>
                        </a:lnTo>
                        <a:lnTo>
                          <a:pt x="138" y="51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8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3"/>
                        </a:lnTo>
                        <a:lnTo>
                          <a:pt x="74" y="46"/>
                        </a:lnTo>
                        <a:lnTo>
                          <a:pt x="70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50" y="83"/>
                        </a:lnTo>
                        <a:lnTo>
                          <a:pt x="43" y="111"/>
                        </a:lnTo>
                        <a:lnTo>
                          <a:pt x="42" y="131"/>
                        </a:lnTo>
                        <a:lnTo>
                          <a:pt x="43" y="142"/>
                        </a:lnTo>
                        <a:lnTo>
                          <a:pt x="47" y="156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3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2" name="Freeform 1336"/>
                  <p:cNvSpPr>
                    <a:spLocks/>
                  </p:cNvSpPr>
                  <p:nvPr/>
                </p:nvSpPr>
                <p:spPr bwMode="auto">
                  <a:xfrm rot="-5400000">
                    <a:off x="3612" y="3483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1"/>
                      </a:cxn>
                      <a:cxn ang="0">
                        <a:pos x="39" y="6"/>
                      </a:cxn>
                      <a:cxn ang="0">
                        <a:pos x="38" y="11"/>
                      </a:cxn>
                      <a:cxn ang="0">
                        <a:pos x="37" y="14"/>
                      </a:cxn>
                      <a:cxn ang="0">
                        <a:pos x="34" y="18"/>
                      </a:cxn>
                      <a:cxn ang="0">
                        <a:pos x="32" y="19"/>
                      </a:cxn>
                      <a:cxn ang="0">
                        <a:pos x="26" y="19"/>
                      </a:cxn>
                      <a:cxn ang="0">
                        <a:pos x="18" y="16"/>
                      </a:cxn>
                      <a:cxn ang="0">
                        <a:pos x="7" y="8"/>
                      </a:cxn>
                      <a:cxn ang="0">
                        <a:pos x="0" y="18"/>
                      </a:cxn>
                      <a:cxn ang="0">
                        <a:pos x="13" y="26"/>
                      </a:cxn>
                      <a:cxn ang="0">
                        <a:pos x="24" y="30"/>
                      </a:cxn>
                      <a:cxn ang="0">
                        <a:pos x="34" y="30"/>
                      </a:cxn>
                      <a:cxn ang="0">
                        <a:pos x="41" y="24"/>
                      </a:cxn>
                      <a:cxn ang="0">
                        <a:pos x="46" y="19"/>
                      </a:cxn>
                      <a:cxn ang="0">
                        <a:pos x="49" y="13"/>
                      </a:cxn>
                      <a:cxn ang="0">
                        <a:pos x="50" y="6"/>
                      </a:cxn>
                      <a:cxn ang="0">
                        <a:pos x="50" y="1"/>
                      </a:cxn>
                      <a:cxn ang="0">
                        <a:pos x="50" y="3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0" h="30">
                        <a:moveTo>
                          <a:pt x="39" y="0"/>
                        </a:moveTo>
                        <a:lnTo>
                          <a:pt x="39" y="1"/>
                        </a:lnTo>
                        <a:lnTo>
                          <a:pt x="39" y="6"/>
                        </a:lnTo>
                        <a:lnTo>
                          <a:pt x="38" y="11"/>
                        </a:lnTo>
                        <a:lnTo>
                          <a:pt x="37" y="14"/>
                        </a:lnTo>
                        <a:lnTo>
                          <a:pt x="34" y="18"/>
                        </a:lnTo>
                        <a:lnTo>
                          <a:pt x="32" y="19"/>
                        </a:lnTo>
                        <a:lnTo>
                          <a:pt x="26" y="19"/>
                        </a:lnTo>
                        <a:lnTo>
                          <a:pt x="18" y="16"/>
                        </a:lnTo>
                        <a:lnTo>
                          <a:pt x="7" y="8"/>
                        </a:lnTo>
                        <a:lnTo>
                          <a:pt x="0" y="18"/>
                        </a:lnTo>
                        <a:lnTo>
                          <a:pt x="13" y="26"/>
                        </a:lnTo>
                        <a:lnTo>
                          <a:pt x="24" y="30"/>
                        </a:lnTo>
                        <a:lnTo>
                          <a:pt x="34" y="30"/>
                        </a:lnTo>
                        <a:lnTo>
                          <a:pt x="41" y="24"/>
                        </a:lnTo>
                        <a:lnTo>
                          <a:pt x="46" y="19"/>
                        </a:lnTo>
                        <a:lnTo>
                          <a:pt x="49" y="13"/>
                        </a:lnTo>
                        <a:lnTo>
                          <a:pt x="50" y="6"/>
                        </a:lnTo>
                        <a:lnTo>
                          <a:pt x="50" y="1"/>
                        </a:lnTo>
                        <a:lnTo>
                          <a:pt x="50" y="3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3" name="Freeform 1337"/>
                  <p:cNvSpPr>
                    <a:spLocks/>
                  </p:cNvSpPr>
                  <p:nvPr/>
                </p:nvSpPr>
                <p:spPr bwMode="auto">
                  <a:xfrm rot="-5400000">
                    <a:off x="3612" y="3474"/>
                    <a:ext cx="10" cy="10"/>
                  </a:xfrm>
                  <a:custGeom>
                    <a:avLst/>
                    <a:gdLst/>
                    <a:ahLst/>
                    <a:cxnLst>
                      <a:cxn ang="0">
                        <a:pos x="30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7" y="3"/>
                      </a:cxn>
                      <a:cxn ang="0">
                        <a:pos x="8" y="0"/>
                      </a:cxn>
                      <a:cxn ang="0">
                        <a:pos x="0" y="5"/>
                      </a:cxn>
                      <a:cxn ang="0">
                        <a:pos x="11" y="8"/>
                      </a:cxn>
                      <a:cxn ang="0">
                        <a:pos x="8" y="11"/>
                      </a:cxn>
                      <a:cxn ang="0">
                        <a:pos x="10" y="12"/>
                      </a:cxn>
                      <a:cxn ang="0">
                        <a:pos x="15" y="17"/>
                      </a:cxn>
                      <a:cxn ang="0">
                        <a:pos x="21" y="23"/>
                      </a:cxn>
                      <a:cxn ang="0">
                        <a:pos x="21" y="23"/>
                      </a:cxn>
                      <a:cxn ang="0">
                        <a:pos x="30" y="18"/>
                      </a:cxn>
                    </a:cxnLst>
                    <a:rect l="0" t="0" r="r" b="b"/>
                    <a:pathLst>
                      <a:path w="30" h="23">
                        <a:moveTo>
                          <a:pt x="30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7" y="3"/>
                        </a:lnTo>
                        <a:lnTo>
                          <a:pt x="8" y="0"/>
                        </a:lnTo>
                        <a:lnTo>
                          <a:pt x="0" y="5"/>
                        </a:lnTo>
                        <a:lnTo>
                          <a:pt x="11" y="8"/>
                        </a:lnTo>
                        <a:lnTo>
                          <a:pt x="8" y="11"/>
                        </a:lnTo>
                        <a:lnTo>
                          <a:pt x="10" y="12"/>
                        </a:lnTo>
                        <a:lnTo>
                          <a:pt x="15" y="17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30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4" name="Freeform 1338"/>
                  <p:cNvSpPr>
                    <a:spLocks/>
                  </p:cNvSpPr>
                  <p:nvPr/>
                </p:nvSpPr>
                <p:spPr bwMode="auto">
                  <a:xfrm rot="-5400000">
                    <a:off x="3620" y="3472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2" y="41"/>
                      </a:cxn>
                      <a:cxn ang="0">
                        <a:pos x="39" y="35"/>
                      </a:cxn>
                      <a:cxn ang="0">
                        <a:pos x="44" y="25"/>
                      </a:cxn>
                      <a:cxn ang="0">
                        <a:pos x="46" y="17"/>
                      </a:cxn>
                      <a:cxn ang="0">
                        <a:pos x="47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5" y="15"/>
                      </a:cxn>
                      <a:cxn ang="0">
                        <a:pos x="32" y="23"/>
                      </a:cxn>
                      <a:cxn ang="0">
                        <a:pos x="30" y="28"/>
                      </a:cxn>
                      <a:cxn ang="0">
                        <a:pos x="25" y="32"/>
                      </a:cxn>
                      <a:cxn ang="0">
                        <a:pos x="18" y="36"/>
                      </a:cxn>
                      <a:cxn ang="0">
                        <a:pos x="12" y="38"/>
                      </a:cxn>
                      <a:cxn ang="0">
                        <a:pos x="2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7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2" y="41"/>
                        </a:lnTo>
                        <a:lnTo>
                          <a:pt x="39" y="35"/>
                        </a:lnTo>
                        <a:lnTo>
                          <a:pt x="44" y="25"/>
                        </a:lnTo>
                        <a:lnTo>
                          <a:pt x="46" y="17"/>
                        </a:lnTo>
                        <a:lnTo>
                          <a:pt x="47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5" y="15"/>
                        </a:lnTo>
                        <a:lnTo>
                          <a:pt x="32" y="23"/>
                        </a:lnTo>
                        <a:lnTo>
                          <a:pt x="30" y="28"/>
                        </a:lnTo>
                        <a:lnTo>
                          <a:pt x="25" y="32"/>
                        </a:lnTo>
                        <a:lnTo>
                          <a:pt x="18" y="36"/>
                        </a:lnTo>
                        <a:lnTo>
                          <a:pt x="12" y="38"/>
                        </a:lnTo>
                        <a:lnTo>
                          <a:pt x="2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5" name="Freeform 1339"/>
                  <p:cNvSpPr>
                    <a:spLocks/>
                  </p:cNvSpPr>
                  <p:nvPr/>
                </p:nvSpPr>
                <p:spPr bwMode="auto">
                  <a:xfrm rot="-5400000">
                    <a:off x="3622" y="3491"/>
                    <a:ext cx="18" cy="10"/>
                  </a:xfrm>
                  <a:custGeom>
                    <a:avLst/>
                    <a:gdLst/>
                    <a:ahLst/>
                    <a:cxnLst>
                      <a:cxn ang="0">
                        <a:pos x="3" y="10"/>
                      </a:cxn>
                      <a:cxn ang="0">
                        <a:pos x="3" y="11"/>
                      </a:cxn>
                      <a:cxn ang="0">
                        <a:pos x="4" y="11"/>
                      </a:cxn>
                      <a:cxn ang="0">
                        <a:pos x="6" y="13"/>
                      </a:cxn>
                      <a:cxn ang="0">
                        <a:pos x="11" y="15"/>
                      </a:cxn>
                      <a:cxn ang="0">
                        <a:pos x="15" y="18"/>
                      </a:cxn>
                      <a:cxn ang="0">
                        <a:pos x="21" y="21"/>
                      </a:cxn>
                      <a:cxn ang="0">
                        <a:pos x="30" y="26"/>
                      </a:cxn>
                      <a:cxn ang="0">
                        <a:pos x="41" y="28"/>
                      </a:cxn>
                      <a:cxn ang="0">
                        <a:pos x="52" y="30"/>
                      </a:cxn>
                      <a:cxn ang="0">
                        <a:pos x="52" y="19"/>
                      </a:cxn>
                      <a:cxn ang="0">
                        <a:pos x="43" y="17"/>
                      </a:cxn>
                      <a:cxn ang="0">
                        <a:pos x="33" y="14"/>
                      </a:cxn>
                      <a:cxn ang="0">
                        <a:pos x="26" y="12"/>
                      </a:cxn>
                      <a:cxn ang="0">
                        <a:pos x="20" y="8"/>
                      </a:cxn>
                      <a:cxn ang="0">
                        <a:pos x="15" y="6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10" y="2"/>
                      </a:cxn>
                      <a:cxn ang="0">
                        <a:pos x="10" y="3"/>
                      </a:cxn>
                      <a:cxn ang="0">
                        <a:pos x="10" y="2"/>
                      </a:cxn>
                      <a:cxn ang="0">
                        <a:pos x="5" y="0"/>
                      </a:cxn>
                      <a:cxn ang="0">
                        <a:pos x="1" y="3"/>
                      </a:cxn>
                      <a:cxn ang="0">
                        <a:pos x="0" y="6"/>
                      </a:cxn>
                      <a:cxn ang="0">
                        <a:pos x="3" y="11"/>
                      </a:cxn>
                      <a:cxn ang="0">
                        <a:pos x="3" y="10"/>
                      </a:cxn>
                    </a:cxnLst>
                    <a:rect l="0" t="0" r="r" b="b"/>
                    <a:pathLst>
                      <a:path w="52" h="30">
                        <a:moveTo>
                          <a:pt x="3" y="10"/>
                        </a:moveTo>
                        <a:lnTo>
                          <a:pt x="3" y="11"/>
                        </a:lnTo>
                        <a:lnTo>
                          <a:pt x="4" y="11"/>
                        </a:lnTo>
                        <a:lnTo>
                          <a:pt x="6" y="13"/>
                        </a:lnTo>
                        <a:lnTo>
                          <a:pt x="11" y="15"/>
                        </a:lnTo>
                        <a:lnTo>
                          <a:pt x="15" y="18"/>
                        </a:lnTo>
                        <a:lnTo>
                          <a:pt x="21" y="21"/>
                        </a:lnTo>
                        <a:lnTo>
                          <a:pt x="30" y="26"/>
                        </a:lnTo>
                        <a:lnTo>
                          <a:pt x="41" y="28"/>
                        </a:lnTo>
                        <a:lnTo>
                          <a:pt x="52" y="30"/>
                        </a:lnTo>
                        <a:lnTo>
                          <a:pt x="52" y="19"/>
                        </a:lnTo>
                        <a:lnTo>
                          <a:pt x="43" y="17"/>
                        </a:lnTo>
                        <a:lnTo>
                          <a:pt x="33" y="14"/>
                        </a:lnTo>
                        <a:lnTo>
                          <a:pt x="26" y="12"/>
                        </a:lnTo>
                        <a:lnTo>
                          <a:pt x="20" y="8"/>
                        </a:lnTo>
                        <a:lnTo>
                          <a:pt x="15" y="6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10" y="2"/>
                        </a:lnTo>
                        <a:lnTo>
                          <a:pt x="10" y="3"/>
                        </a:lnTo>
                        <a:lnTo>
                          <a:pt x="10" y="2"/>
                        </a:lnTo>
                        <a:lnTo>
                          <a:pt x="5" y="0"/>
                        </a:lnTo>
                        <a:lnTo>
                          <a:pt x="1" y="3"/>
                        </a:lnTo>
                        <a:lnTo>
                          <a:pt x="0" y="6"/>
                        </a:lnTo>
                        <a:lnTo>
                          <a:pt x="3" y="11"/>
                        </a:lnTo>
                        <a:lnTo>
                          <a:pt x="3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6" name="Freeform 1340"/>
                  <p:cNvSpPr>
                    <a:spLocks/>
                  </p:cNvSpPr>
                  <p:nvPr/>
                </p:nvSpPr>
                <p:spPr bwMode="auto">
                  <a:xfrm rot="-5400000">
                    <a:off x="3560" y="3456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5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2" y="15"/>
                      </a:cxn>
                      <a:cxn ang="0">
                        <a:pos x="35" y="30"/>
                      </a:cxn>
                      <a:cxn ang="0">
                        <a:pos x="23" y="49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4"/>
                      </a:cxn>
                      <a:cxn ang="0">
                        <a:pos x="34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3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5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5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30" y="30"/>
                      </a:cxn>
                      <a:cxn ang="0">
                        <a:pos x="143" y="49"/>
                      </a:cxn>
                      <a:cxn ang="0">
                        <a:pos x="143" y="49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61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5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2" y="15"/>
                        </a:lnTo>
                        <a:lnTo>
                          <a:pt x="35" y="30"/>
                        </a:lnTo>
                        <a:lnTo>
                          <a:pt x="23" y="49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4"/>
                        </a:lnTo>
                        <a:lnTo>
                          <a:pt x="34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3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5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5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30" y="30"/>
                        </a:lnTo>
                        <a:lnTo>
                          <a:pt x="143" y="49"/>
                        </a:lnTo>
                        <a:lnTo>
                          <a:pt x="143" y="49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7" name="Freeform 1341"/>
                  <p:cNvSpPr>
                    <a:spLocks/>
                  </p:cNvSpPr>
                  <p:nvPr/>
                </p:nvSpPr>
                <p:spPr bwMode="auto">
                  <a:xfrm rot="-5400000">
                    <a:off x="3556" y="3473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6" y="5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4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7" y="18"/>
                      </a:cxn>
                    </a:cxnLst>
                    <a:rect l="0" t="0" r="r" b="b"/>
                    <a:pathLst>
                      <a:path w="16" h="18">
                        <a:moveTo>
                          <a:pt x="7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6" y="5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4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7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8" name="Freeform 1342"/>
                  <p:cNvSpPr>
                    <a:spLocks/>
                  </p:cNvSpPr>
                  <p:nvPr/>
                </p:nvSpPr>
                <p:spPr bwMode="auto">
                  <a:xfrm rot="-5400000">
                    <a:off x="3557" y="3479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5" y="11"/>
                      </a:cxn>
                      <a:cxn ang="0">
                        <a:pos x="9" y="13"/>
                      </a:cxn>
                      <a:cxn ang="0">
                        <a:pos x="13" y="13"/>
                      </a:cxn>
                      <a:cxn ang="0">
                        <a:pos x="24" y="11"/>
                      </a:cxn>
                      <a:cxn ang="0">
                        <a:pos x="21" y="0"/>
                      </a:cxn>
                      <a:cxn ang="0">
                        <a:pos x="13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6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5" y="11"/>
                        </a:lnTo>
                        <a:lnTo>
                          <a:pt x="9" y="13"/>
                        </a:lnTo>
                        <a:lnTo>
                          <a:pt x="13" y="13"/>
                        </a:lnTo>
                        <a:lnTo>
                          <a:pt x="24" y="11"/>
                        </a:lnTo>
                        <a:lnTo>
                          <a:pt x="21" y="0"/>
                        </a:lnTo>
                        <a:lnTo>
                          <a:pt x="13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6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09" name="Freeform 1343"/>
                  <p:cNvSpPr>
                    <a:spLocks/>
                  </p:cNvSpPr>
                  <p:nvPr/>
                </p:nvSpPr>
                <p:spPr bwMode="auto">
                  <a:xfrm rot="-5400000">
                    <a:off x="3548" y="3488"/>
                    <a:ext cx="21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1" y="18"/>
                      </a:cxn>
                      <a:cxn ang="0">
                        <a:pos x="16" y="16"/>
                      </a:cxn>
                      <a:cxn ang="0">
                        <a:pos x="20" y="13"/>
                      </a:cxn>
                      <a:cxn ang="0">
                        <a:pos x="26" y="11"/>
                      </a:cxn>
                      <a:cxn ang="0">
                        <a:pos x="35" y="11"/>
                      </a:cxn>
                      <a:cxn ang="0">
                        <a:pos x="43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5" y="0"/>
                      </a:cxn>
                      <a:cxn ang="0">
                        <a:pos x="26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4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6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1" y="18"/>
                        </a:lnTo>
                        <a:lnTo>
                          <a:pt x="16" y="16"/>
                        </a:lnTo>
                        <a:lnTo>
                          <a:pt x="20" y="13"/>
                        </a:lnTo>
                        <a:lnTo>
                          <a:pt x="26" y="11"/>
                        </a:lnTo>
                        <a:lnTo>
                          <a:pt x="35" y="11"/>
                        </a:lnTo>
                        <a:lnTo>
                          <a:pt x="43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5" y="0"/>
                        </a:lnTo>
                        <a:lnTo>
                          <a:pt x="26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4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6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0" name="Freeform 1344"/>
                  <p:cNvSpPr>
                    <a:spLocks/>
                  </p:cNvSpPr>
                  <p:nvPr/>
                </p:nvSpPr>
                <p:spPr bwMode="auto">
                  <a:xfrm rot="-5400000">
                    <a:off x="3570" y="3488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0"/>
                      </a:cxn>
                      <a:cxn ang="0">
                        <a:pos x="13" y="90"/>
                      </a:cxn>
                      <a:cxn ang="0">
                        <a:pos x="12" y="80"/>
                      </a:cxn>
                      <a:cxn ang="0">
                        <a:pos x="13" y="60"/>
                      </a:cxn>
                      <a:cxn ang="0">
                        <a:pos x="20" y="34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2"/>
                      </a:cxn>
                      <a:cxn ang="0">
                        <a:pos x="13" y="90"/>
                      </a:cxn>
                    </a:cxnLst>
                    <a:rect l="0" t="0" r="r" b="b"/>
                    <a:pathLst>
                      <a:path w="35" h="92">
                        <a:moveTo>
                          <a:pt x="13" y="90"/>
                        </a:moveTo>
                        <a:lnTo>
                          <a:pt x="13" y="90"/>
                        </a:lnTo>
                        <a:lnTo>
                          <a:pt x="12" y="80"/>
                        </a:lnTo>
                        <a:lnTo>
                          <a:pt x="13" y="60"/>
                        </a:lnTo>
                        <a:lnTo>
                          <a:pt x="20" y="34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2"/>
                        </a:lnTo>
                        <a:lnTo>
                          <a:pt x="13" y="9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1" name="Freeform 1345"/>
                  <p:cNvSpPr>
                    <a:spLocks/>
                  </p:cNvSpPr>
                  <p:nvPr/>
                </p:nvSpPr>
                <p:spPr bwMode="auto">
                  <a:xfrm rot="-5400000">
                    <a:off x="3596" y="3496"/>
                    <a:ext cx="9" cy="19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7" y="54"/>
                      </a:cxn>
                      <a:cxn ang="0">
                        <a:pos x="21" y="40"/>
                      </a:cxn>
                      <a:cxn ang="0">
                        <a:pos x="18" y="26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2"/>
                      </a:cxn>
                      <a:cxn ang="0">
                        <a:pos x="4" y="16"/>
                      </a:cxn>
                      <a:cxn ang="0">
                        <a:pos x="6" y="28"/>
                      </a:cxn>
                      <a:cxn ang="0">
                        <a:pos x="10" y="42"/>
                      </a:cxn>
                      <a:cxn ang="0">
                        <a:pos x="15" y="58"/>
                      </a:cxn>
                      <a:cxn ang="0">
                        <a:pos x="16" y="58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7" h="58">
                        <a:moveTo>
                          <a:pt x="26" y="54"/>
                        </a:moveTo>
                        <a:lnTo>
                          <a:pt x="27" y="54"/>
                        </a:lnTo>
                        <a:lnTo>
                          <a:pt x="21" y="40"/>
                        </a:lnTo>
                        <a:lnTo>
                          <a:pt x="18" y="26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2"/>
                        </a:lnTo>
                        <a:lnTo>
                          <a:pt x="4" y="16"/>
                        </a:lnTo>
                        <a:lnTo>
                          <a:pt x="6" y="28"/>
                        </a:lnTo>
                        <a:lnTo>
                          <a:pt x="10" y="42"/>
                        </a:lnTo>
                        <a:lnTo>
                          <a:pt x="15" y="58"/>
                        </a:lnTo>
                        <a:lnTo>
                          <a:pt x="16" y="58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2" name="Freeform 1346"/>
                  <p:cNvSpPr>
                    <a:spLocks/>
                  </p:cNvSpPr>
                  <p:nvPr/>
                </p:nvSpPr>
                <p:spPr bwMode="auto">
                  <a:xfrm rot="-5400000">
                    <a:off x="3610" y="3491"/>
                    <a:ext cx="10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5"/>
                      </a:cxn>
                      <a:cxn ang="0">
                        <a:pos x="10" y="0"/>
                      </a:cxn>
                      <a:cxn ang="0">
                        <a:pos x="0" y="4"/>
                      </a:cxn>
                      <a:cxn ang="0">
                        <a:pos x="5" y="12"/>
                      </a:cxn>
                      <a:cxn ang="0">
                        <a:pos x="11" y="20"/>
                      </a:cxn>
                      <a:cxn ang="0">
                        <a:pos x="17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9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5"/>
                        </a:lnTo>
                        <a:lnTo>
                          <a:pt x="10" y="0"/>
                        </a:lnTo>
                        <a:lnTo>
                          <a:pt x="0" y="4"/>
                        </a:lnTo>
                        <a:lnTo>
                          <a:pt x="5" y="12"/>
                        </a:lnTo>
                        <a:lnTo>
                          <a:pt x="11" y="20"/>
                        </a:lnTo>
                        <a:lnTo>
                          <a:pt x="17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9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3" name="Freeform 1347"/>
                  <p:cNvSpPr>
                    <a:spLocks/>
                  </p:cNvSpPr>
                  <p:nvPr/>
                </p:nvSpPr>
                <p:spPr bwMode="auto">
                  <a:xfrm rot="-5400000">
                    <a:off x="3566" y="3397"/>
                    <a:ext cx="46" cy="90"/>
                  </a:xfrm>
                  <a:custGeom>
                    <a:avLst/>
                    <a:gdLst/>
                    <a:ahLst/>
                    <a:cxnLst>
                      <a:cxn ang="0">
                        <a:pos x="93" y="235"/>
                      </a:cxn>
                      <a:cxn ang="0">
                        <a:pos x="109" y="238"/>
                      </a:cxn>
                      <a:cxn ang="0">
                        <a:pos x="119" y="230"/>
                      </a:cxn>
                      <a:cxn ang="0">
                        <a:pos x="121" y="220"/>
                      </a:cxn>
                      <a:cxn ang="0">
                        <a:pos x="124" y="214"/>
                      </a:cxn>
                      <a:cxn ang="0">
                        <a:pos x="136" y="222"/>
                      </a:cxn>
                      <a:cxn ang="0">
                        <a:pos x="143" y="236"/>
                      </a:cxn>
                      <a:cxn ang="0">
                        <a:pos x="140" y="251"/>
                      </a:cxn>
                      <a:cxn ang="0">
                        <a:pos x="130" y="264"/>
                      </a:cxn>
                      <a:cxn ang="0">
                        <a:pos x="113" y="271"/>
                      </a:cxn>
                      <a:cxn ang="0">
                        <a:pos x="92" y="267"/>
                      </a:cxn>
                      <a:cxn ang="0">
                        <a:pos x="75" y="262"/>
                      </a:cxn>
                      <a:cxn ang="0">
                        <a:pos x="63" y="256"/>
                      </a:cxn>
                      <a:cxn ang="0">
                        <a:pos x="59" y="252"/>
                      </a:cxn>
                      <a:cxn ang="0">
                        <a:pos x="33" y="223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0" y="65"/>
                      </a:cxn>
                      <a:cxn ang="0">
                        <a:pos x="33" y="28"/>
                      </a:cxn>
                      <a:cxn ang="0">
                        <a:pos x="64" y="5"/>
                      </a:cxn>
                      <a:cxn ang="0">
                        <a:pos x="97" y="1"/>
                      </a:cxn>
                      <a:cxn ang="0">
                        <a:pos x="128" y="21"/>
                      </a:cxn>
                      <a:cxn ang="0">
                        <a:pos x="140" y="43"/>
                      </a:cxn>
                      <a:cxn ang="0">
                        <a:pos x="138" y="50"/>
                      </a:cxn>
                      <a:cxn ang="0">
                        <a:pos x="128" y="52"/>
                      </a:cxn>
                      <a:cxn ang="0">
                        <a:pos x="121" y="51"/>
                      </a:cxn>
                      <a:cxn ang="0">
                        <a:pos x="107" y="44"/>
                      </a:cxn>
                      <a:cxn ang="0">
                        <a:pos x="88" y="40"/>
                      </a:cxn>
                      <a:cxn ang="0">
                        <a:pos x="74" y="46"/>
                      </a:cxn>
                      <a:cxn ang="0">
                        <a:pos x="67" y="53"/>
                      </a:cxn>
                      <a:cxn ang="0">
                        <a:pos x="48" y="83"/>
                      </a:cxn>
                      <a:cxn ang="0">
                        <a:pos x="40" y="131"/>
                      </a:cxn>
                      <a:cxn ang="0">
                        <a:pos x="44" y="156"/>
                      </a:cxn>
                      <a:cxn ang="0">
                        <a:pos x="51" y="182"/>
                      </a:cxn>
                      <a:cxn ang="0">
                        <a:pos x="61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3" h="271">
                        <a:moveTo>
                          <a:pt x="81" y="227"/>
                        </a:moveTo>
                        <a:lnTo>
                          <a:pt x="93" y="235"/>
                        </a:lnTo>
                        <a:lnTo>
                          <a:pt x="102" y="238"/>
                        </a:lnTo>
                        <a:lnTo>
                          <a:pt x="109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0" y="226"/>
                        </a:lnTo>
                        <a:lnTo>
                          <a:pt x="121" y="220"/>
                        </a:lnTo>
                        <a:lnTo>
                          <a:pt x="122" y="215"/>
                        </a:lnTo>
                        <a:lnTo>
                          <a:pt x="124" y="214"/>
                        </a:lnTo>
                        <a:lnTo>
                          <a:pt x="130" y="217"/>
                        </a:lnTo>
                        <a:lnTo>
                          <a:pt x="136" y="222"/>
                        </a:lnTo>
                        <a:lnTo>
                          <a:pt x="140" y="229"/>
                        </a:lnTo>
                        <a:lnTo>
                          <a:pt x="143" y="236"/>
                        </a:lnTo>
                        <a:lnTo>
                          <a:pt x="143" y="243"/>
                        </a:lnTo>
                        <a:lnTo>
                          <a:pt x="140" y="251"/>
                        </a:lnTo>
                        <a:lnTo>
                          <a:pt x="136" y="258"/>
                        </a:lnTo>
                        <a:lnTo>
                          <a:pt x="130" y="264"/>
                        </a:lnTo>
                        <a:lnTo>
                          <a:pt x="122" y="268"/>
                        </a:lnTo>
                        <a:lnTo>
                          <a:pt x="113" y="271"/>
                        </a:lnTo>
                        <a:lnTo>
                          <a:pt x="102" y="270"/>
                        </a:lnTo>
                        <a:lnTo>
                          <a:pt x="92" y="267"/>
                        </a:lnTo>
                        <a:lnTo>
                          <a:pt x="83" y="265"/>
                        </a:lnTo>
                        <a:lnTo>
                          <a:pt x="75" y="262"/>
                        </a:lnTo>
                        <a:lnTo>
                          <a:pt x="68" y="258"/>
                        </a:lnTo>
                        <a:lnTo>
                          <a:pt x="63" y="256"/>
                        </a:lnTo>
                        <a:lnTo>
                          <a:pt x="60" y="253"/>
                        </a:lnTo>
                        <a:lnTo>
                          <a:pt x="59" y="252"/>
                        </a:lnTo>
                        <a:lnTo>
                          <a:pt x="58" y="251"/>
                        </a:lnTo>
                        <a:lnTo>
                          <a:pt x="33" y="223"/>
                        </a:lnTo>
                        <a:lnTo>
                          <a:pt x="16" y="196"/>
                        </a:lnTo>
                        <a:lnTo>
                          <a:pt x="6" y="167"/>
                        </a:lnTo>
                        <a:lnTo>
                          <a:pt x="0" y="139"/>
                        </a:lnTo>
                        <a:lnTo>
                          <a:pt x="0" y="113"/>
                        </a:lnTo>
                        <a:lnTo>
                          <a:pt x="3" y="88"/>
                        </a:lnTo>
                        <a:lnTo>
                          <a:pt x="10" y="65"/>
                        </a:lnTo>
                        <a:lnTo>
                          <a:pt x="21" y="45"/>
                        </a:lnTo>
                        <a:lnTo>
                          <a:pt x="33" y="28"/>
                        </a:lnTo>
                        <a:lnTo>
                          <a:pt x="48" y="14"/>
                        </a:lnTo>
                        <a:lnTo>
                          <a:pt x="64" y="5"/>
                        </a:lnTo>
                        <a:lnTo>
                          <a:pt x="81" y="0"/>
                        </a:lnTo>
                        <a:lnTo>
                          <a:pt x="97" y="1"/>
                        </a:lnTo>
                        <a:lnTo>
                          <a:pt x="113" y="8"/>
                        </a:lnTo>
                        <a:lnTo>
                          <a:pt x="128" y="21"/>
                        </a:lnTo>
                        <a:lnTo>
                          <a:pt x="140" y="40"/>
                        </a:lnTo>
                        <a:lnTo>
                          <a:pt x="140" y="43"/>
                        </a:lnTo>
                        <a:lnTo>
                          <a:pt x="139" y="46"/>
                        </a:lnTo>
                        <a:lnTo>
                          <a:pt x="138" y="50"/>
                        </a:lnTo>
                        <a:lnTo>
                          <a:pt x="137" y="51"/>
                        </a:lnTo>
                        <a:lnTo>
                          <a:pt x="128" y="52"/>
                        </a:lnTo>
                        <a:lnTo>
                          <a:pt x="123" y="52"/>
                        </a:lnTo>
                        <a:lnTo>
                          <a:pt x="121" y="51"/>
                        </a:lnTo>
                        <a:lnTo>
                          <a:pt x="120" y="51"/>
                        </a:lnTo>
                        <a:lnTo>
                          <a:pt x="107" y="44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79" y="43"/>
                        </a:lnTo>
                        <a:lnTo>
                          <a:pt x="74" y="46"/>
                        </a:lnTo>
                        <a:lnTo>
                          <a:pt x="69" y="50"/>
                        </a:lnTo>
                        <a:lnTo>
                          <a:pt x="67" y="53"/>
                        </a:lnTo>
                        <a:lnTo>
                          <a:pt x="66" y="54"/>
                        </a:lnTo>
                        <a:lnTo>
                          <a:pt x="48" y="83"/>
                        </a:lnTo>
                        <a:lnTo>
                          <a:pt x="41" y="111"/>
                        </a:lnTo>
                        <a:lnTo>
                          <a:pt x="40" y="131"/>
                        </a:lnTo>
                        <a:lnTo>
                          <a:pt x="41" y="142"/>
                        </a:lnTo>
                        <a:lnTo>
                          <a:pt x="44" y="156"/>
                        </a:lnTo>
                        <a:lnTo>
                          <a:pt x="47" y="168"/>
                        </a:lnTo>
                        <a:lnTo>
                          <a:pt x="51" y="182"/>
                        </a:lnTo>
                        <a:lnTo>
                          <a:pt x="58" y="197"/>
                        </a:lnTo>
                        <a:lnTo>
                          <a:pt x="61" y="204"/>
                        </a:lnTo>
                        <a:lnTo>
                          <a:pt x="67" y="212"/>
                        </a:lnTo>
                        <a:lnTo>
                          <a:pt x="74" y="220"/>
                        </a:lnTo>
                        <a:lnTo>
                          <a:pt x="81" y="227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4" name="Freeform 1348"/>
                  <p:cNvSpPr>
                    <a:spLocks/>
                  </p:cNvSpPr>
                  <p:nvPr/>
                </p:nvSpPr>
                <p:spPr bwMode="auto">
                  <a:xfrm rot="-5400000">
                    <a:off x="3612" y="3427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39" y="0"/>
                      </a:cxn>
                      <a:cxn ang="0">
                        <a:pos x="39" y="0"/>
                      </a:cxn>
                      <a:cxn ang="0">
                        <a:pos x="38" y="4"/>
                      </a:cxn>
                      <a:cxn ang="0">
                        <a:pos x="37" y="10"/>
                      </a:cxn>
                      <a:cxn ang="0">
                        <a:pos x="37" y="13"/>
                      </a:cxn>
                      <a:cxn ang="0">
                        <a:pos x="35" y="15"/>
                      </a:cxn>
                      <a:cxn ang="0">
                        <a:pos x="31" y="18"/>
                      </a:cxn>
                      <a:cxn ang="0">
                        <a:pos x="27" y="18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7"/>
                      </a:cxn>
                      <a:cxn ang="0">
                        <a:pos x="14" y="25"/>
                      </a:cxn>
                      <a:cxn ang="0">
                        <a:pos x="24" y="29"/>
                      </a:cxn>
                      <a:cxn ang="0">
                        <a:pos x="34" y="29"/>
                      </a:cxn>
                      <a:cxn ang="0">
                        <a:pos x="42" y="25"/>
                      </a:cxn>
                      <a:cxn ang="0">
                        <a:pos x="46" y="18"/>
                      </a:cxn>
                      <a:cxn ang="0">
                        <a:pos x="49" y="12"/>
                      </a:cxn>
                      <a:cxn ang="0">
                        <a:pos x="50" y="6"/>
                      </a:cxn>
                      <a:cxn ang="0">
                        <a:pos x="51" y="0"/>
                      </a:cxn>
                      <a:cxn ang="0">
                        <a:pos x="51" y="0"/>
                      </a:cxn>
                      <a:cxn ang="0">
                        <a:pos x="39" y="0"/>
                      </a:cxn>
                    </a:cxnLst>
                    <a:rect l="0" t="0" r="r" b="b"/>
                    <a:pathLst>
                      <a:path w="51" h="29">
                        <a:moveTo>
                          <a:pt x="39" y="0"/>
                        </a:moveTo>
                        <a:lnTo>
                          <a:pt x="39" y="0"/>
                        </a:lnTo>
                        <a:lnTo>
                          <a:pt x="38" y="4"/>
                        </a:lnTo>
                        <a:lnTo>
                          <a:pt x="37" y="10"/>
                        </a:lnTo>
                        <a:lnTo>
                          <a:pt x="37" y="13"/>
                        </a:lnTo>
                        <a:lnTo>
                          <a:pt x="35" y="15"/>
                        </a:lnTo>
                        <a:lnTo>
                          <a:pt x="31" y="18"/>
                        </a:lnTo>
                        <a:lnTo>
                          <a:pt x="27" y="18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7"/>
                        </a:lnTo>
                        <a:lnTo>
                          <a:pt x="14" y="25"/>
                        </a:lnTo>
                        <a:lnTo>
                          <a:pt x="24" y="29"/>
                        </a:lnTo>
                        <a:lnTo>
                          <a:pt x="34" y="29"/>
                        </a:lnTo>
                        <a:lnTo>
                          <a:pt x="42" y="25"/>
                        </a:lnTo>
                        <a:lnTo>
                          <a:pt x="46" y="18"/>
                        </a:lnTo>
                        <a:lnTo>
                          <a:pt x="49" y="12"/>
                        </a:lnTo>
                        <a:lnTo>
                          <a:pt x="50" y="6"/>
                        </a:lnTo>
                        <a:lnTo>
                          <a:pt x="51" y="0"/>
                        </a:lnTo>
                        <a:lnTo>
                          <a:pt x="51" y="0"/>
                        </a:lnTo>
                        <a:lnTo>
                          <a:pt x="39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5" name="Freeform 1349"/>
                  <p:cNvSpPr>
                    <a:spLocks/>
                  </p:cNvSpPr>
                  <p:nvPr/>
                </p:nvSpPr>
                <p:spPr bwMode="auto">
                  <a:xfrm rot="-5400000">
                    <a:off x="3613" y="3418"/>
                    <a:ext cx="9" cy="10"/>
                  </a:xfrm>
                  <a:custGeom>
                    <a:avLst/>
                    <a:gdLst/>
                    <a:ahLst/>
                    <a:cxnLst>
                      <a:cxn ang="0">
                        <a:pos x="29" y="18"/>
                      </a:cxn>
                      <a:cxn ang="0">
                        <a:pos x="30" y="18"/>
                      </a:cxn>
                      <a:cxn ang="0">
                        <a:pos x="24" y="10"/>
                      </a:cxn>
                      <a:cxn ang="0">
                        <a:pos x="18" y="3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2" y="6"/>
                      </a:cxn>
                      <a:cxn ang="0">
                        <a:pos x="8" y="11"/>
                      </a:cxn>
                      <a:cxn ang="0">
                        <a:pos x="11" y="12"/>
                      </a:cxn>
                      <a:cxn ang="0">
                        <a:pos x="15" y="17"/>
                      </a:cxn>
                      <a:cxn ang="0">
                        <a:pos x="19" y="23"/>
                      </a:cxn>
                      <a:cxn ang="0">
                        <a:pos x="20" y="23"/>
                      </a:cxn>
                      <a:cxn ang="0">
                        <a:pos x="29" y="18"/>
                      </a:cxn>
                    </a:cxnLst>
                    <a:rect l="0" t="0" r="r" b="b"/>
                    <a:pathLst>
                      <a:path w="30" h="23">
                        <a:moveTo>
                          <a:pt x="29" y="18"/>
                        </a:moveTo>
                        <a:lnTo>
                          <a:pt x="30" y="18"/>
                        </a:lnTo>
                        <a:lnTo>
                          <a:pt x="24" y="10"/>
                        </a:lnTo>
                        <a:lnTo>
                          <a:pt x="18" y="3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2" y="6"/>
                        </a:lnTo>
                        <a:lnTo>
                          <a:pt x="8" y="11"/>
                        </a:lnTo>
                        <a:lnTo>
                          <a:pt x="11" y="12"/>
                        </a:lnTo>
                        <a:lnTo>
                          <a:pt x="15" y="17"/>
                        </a:lnTo>
                        <a:lnTo>
                          <a:pt x="19" y="23"/>
                        </a:lnTo>
                        <a:lnTo>
                          <a:pt x="20" y="23"/>
                        </a:lnTo>
                        <a:lnTo>
                          <a:pt x="29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6" name="Freeform 1350"/>
                  <p:cNvSpPr>
                    <a:spLocks/>
                  </p:cNvSpPr>
                  <p:nvPr/>
                </p:nvSpPr>
                <p:spPr bwMode="auto">
                  <a:xfrm rot="-5400000">
                    <a:off x="3620" y="3417"/>
                    <a:ext cx="15" cy="17"/>
                  </a:xfrm>
                  <a:custGeom>
                    <a:avLst/>
                    <a:gdLst/>
                    <a:ahLst/>
                    <a:cxnLst>
                      <a:cxn ang="0">
                        <a:pos x="1" y="48"/>
                      </a:cxn>
                      <a:cxn ang="0">
                        <a:pos x="0" y="48"/>
                      </a:cxn>
                      <a:cxn ang="0">
                        <a:pos x="12" y="49"/>
                      </a:cxn>
                      <a:cxn ang="0">
                        <a:pos x="23" y="47"/>
                      </a:cxn>
                      <a:cxn ang="0">
                        <a:pos x="33" y="41"/>
                      </a:cxn>
                      <a:cxn ang="0">
                        <a:pos x="39" y="35"/>
                      </a:cxn>
                      <a:cxn ang="0">
                        <a:pos x="44" y="26"/>
                      </a:cxn>
                      <a:cxn ang="0">
                        <a:pos x="48" y="16"/>
                      </a:cxn>
                      <a:cxn ang="0">
                        <a:pos x="48" y="9"/>
                      </a:cxn>
                      <a:cxn ang="0">
                        <a:pos x="44" y="0"/>
                      </a:cxn>
                      <a:cxn ang="0">
                        <a:pos x="35" y="5"/>
                      </a:cxn>
                      <a:cxn ang="0">
                        <a:pos x="36" y="9"/>
                      </a:cxn>
                      <a:cxn ang="0">
                        <a:pos x="36" y="16"/>
                      </a:cxn>
                      <a:cxn ang="0">
                        <a:pos x="35" y="22"/>
                      </a:cxn>
                      <a:cxn ang="0">
                        <a:pos x="30" y="28"/>
                      </a:cxn>
                      <a:cxn ang="0">
                        <a:pos x="26" y="32"/>
                      </a:cxn>
                      <a:cxn ang="0">
                        <a:pos x="19" y="36"/>
                      </a:cxn>
                      <a:cxn ang="0">
                        <a:pos x="12" y="38"/>
                      </a:cxn>
                      <a:cxn ang="0">
                        <a:pos x="3" y="37"/>
                      </a:cxn>
                      <a:cxn ang="0">
                        <a:pos x="1" y="37"/>
                      </a:cxn>
                      <a:cxn ang="0">
                        <a:pos x="1" y="48"/>
                      </a:cxn>
                    </a:cxnLst>
                    <a:rect l="0" t="0" r="r" b="b"/>
                    <a:pathLst>
                      <a:path w="48" h="49">
                        <a:moveTo>
                          <a:pt x="1" y="48"/>
                        </a:moveTo>
                        <a:lnTo>
                          <a:pt x="0" y="48"/>
                        </a:lnTo>
                        <a:lnTo>
                          <a:pt x="12" y="49"/>
                        </a:lnTo>
                        <a:lnTo>
                          <a:pt x="23" y="47"/>
                        </a:lnTo>
                        <a:lnTo>
                          <a:pt x="33" y="41"/>
                        </a:lnTo>
                        <a:lnTo>
                          <a:pt x="39" y="35"/>
                        </a:lnTo>
                        <a:lnTo>
                          <a:pt x="44" y="26"/>
                        </a:lnTo>
                        <a:lnTo>
                          <a:pt x="48" y="16"/>
                        </a:lnTo>
                        <a:lnTo>
                          <a:pt x="48" y="9"/>
                        </a:lnTo>
                        <a:lnTo>
                          <a:pt x="44" y="0"/>
                        </a:lnTo>
                        <a:lnTo>
                          <a:pt x="35" y="5"/>
                        </a:lnTo>
                        <a:lnTo>
                          <a:pt x="36" y="9"/>
                        </a:lnTo>
                        <a:lnTo>
                          <a:pt x="36" y="16"/>
                        </a:lnTo>
                        <a:lnTo>
                          <a:pt x="35" y="22"/>
                        </a:lnTo>
                        <a:lnTo>
                          <a:pt x="30" y="28"/>
                        </a:lnTo>
                        <a:lnTo>
                          <a:pt x="26" y="32"/>
                        </a:lnTo>
                        <a:lnTo>
                          <a:pt x="19" y="36"/>
                        </a:lnTo>
                        <a:lnTo>
                          <a:pt x="12" y="38"/>
                        </a:lnTo>
                        <a:lnTo>
                          <a:pt x="3" y="37"/>
                        </a:lnTo>
                        <a:lnTo>
                          <a:pt x="1" y="37"/>
                        </a:lnTo>
                        <a:lnTo>
                          <a:pt x="1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7" name="Freeform 1351"/>
                  <p:cNvSpPr>
                    <a:spLocks/>
                  </p:cNvSpPr>
                  <p:nvPr/>
                </p:nvSpPr>
                <p:spPr bwMode="auto">
                  <a:xfrm rot="-5400000">
                    <a:off x="3623" y="3436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1" y="8"/>
                      </a:cxn>
                      <a:cxn ang="0">
                        <a:pos x="1" y="8"/>
                      </a:cxn>
                      <a:cxn ang="0">
                        <a:pos x="2" y="9"/>
                      </a:cxn>
                      <a:cxn ang="0">
                        <a:pos x="3" y="11"/>
                      </a:cxn>
                      <a:cxn ang="0">
                        <a:pos x="8" y="13"/>
                      </a:cxn>
                      <a:cxn ang="0">
                        <a:pos x="13" y="16"/>
                      </a:cxn>
                      <a:cxn ang="0">
                        <a:pos x="20" y="19"/>
                      </a:cxn>
                      <a:cxn ang="0">
                        <a:pos x="29" y="24"/>
                      </a:cxn>
                      <a:cxn ang="0">
                        <a:pos x="38" y="26"/>
                      </a:cxn>
                      <a:cxn ang="0">
                        <a:pos x="49" y="28"/>
                      </a:cxn>
                      <a:cxn ang="0">
                        <a:pos x="49" y="17"/>
                      </a:cxn>
                      <a:cxn ang="0">
                        <a:pos x="40" y="15"/>
                      </a:cxn>
                      <a:cxn ang="0">
                        <a:pos x="31" y="12"/>
                      </a:cxn>
                      <a:cxn ang="0">
                        <a:pos x="24" y="10"/>
                      </a:cxn>
                      <a:cxn ang="0">
                        <a:pos x="17" y="6"/>
                      </a:cxn>
                      <a:cxn ang="0">
                        <a:pos x="13" y="4"/>
                      </a:cxn>
                      <a:cxn ang="0">
                        <a:pos x="10" y="2"/>
                      </a:cxn>
                      <a:cxn ang="0">
                        <a:pos x="9" y="2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8" y="1"/>
                      </a:cxn>
                      <a:cxn ang="0">
                        <a:pos x="5" y="0"/>
                      </a:cxn>
                      <a:cxn ang="0">
                        <a:pos x="1" y="1"/>
                      </a:cxn>
                      <a:cxn ang="0">
                        <a:pos x="0" y="4"/>
                      </a:cxn>
                      <a:cxn ang="0">
                        <a:pos x="1" y="8"/>
                      </a:cxn>
                    </a:cxnLst>
                    <a:rect l="0" t="0" r="r" b="b"/>
                    <a:pathLst>
                      <a:path w="49" h="28">
                        <a:moveTo>
                          <a:pt x="1" y="8"/>
                        </a:moveTo>
                        <a:lnTo>
                          <a:pt x="1" y="8"/>
                        </a:lnTo>
                        <a:lnTo>
                          <a:pt x="2" y="9"/>
                        </a:lnTo>
                        <a:lnTo>
                          <a:pt x="3" y="11"/>
                        </a:lnTo>
                        <a:lnTo>
                          <a:pt x="8" y="13"/>
                        </a:lnTo>
                        <a:lnTo>
                          <a:pt x="13" y="16"/>
                        </a:lnTo>
                        <a:lnTo>
                          <a:pt x="20" y="19"/>
                        </a:lnTo>
                        <a:lnTo>
                          <a:pt x="29" y="24"/>
                        </a:lnTo>
                        <a:lnTo>
                          <a:pt x="38" y="26"/>
                        </a:lnTo>
                        <a:lnTo>
                          <a:pt x="49" y="28"/>
                        </a:lnTo>
                        <a:lnTo>
                          <a:pt x="49" y="17"/>
                        </a:lnTo>
                        <a:lnTo>
                          <a:pt x="40" y="15"/>
                        </a:lnTo>
                        <a:lnTo>
                          <a:pt x="31" y="12"/>
                        </a:lnTo>
                        <a:lnTo>
                          <a:pt x="24" y="10"/>
                        </a:lnTo>
                        <a:lnTo>
                          <a:pt x="17" y="6"/>
                        </a:lnTo>
                        <a:lnTo>
                          <a:pt x="13" y="4"/>
                        </a:lnTo>
                        <a:lnTo>
                          <a:pt x="10" y="2"/>
                        </a:lnTo>
                        <a:lnTo>
                          <a:pt x="9" y="2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8" y="1"/>
                        </a:lnTo>
                        <a:lnTo>
                          <a:pt x="5" y="0"/>
                        </a:lnTo>
                        <a:lnTo>
                          <a:pt x="1" y="1"/>
                        </a:lnTo>
                        <a:lnTo>
                          <a:pt x="0" y="4"/>
                        </a:lnTo>
                        <a:lnTo>
                          <a:pt x="1" y="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8" name="Freeform 1352"/>
                  <p:cNvSpPr>
                    <a:spLocks/>
                  </p:cNvSpPr>
                  <p:nvPr/>
                </p:nvSpPr>
                <p:spPr bwMode="auto">
                  <a:xfrm rot="-5400000">
                    <a:off x="3560" y="3400"/>
                    <a:ext cx="50" cy="86"/>
                  </a:xfrm>
                  <a:custGeom>
                    <a:avLst/>
                    <a:gdLst/>
                    <a:ahLst/>
                    <a:cxnLst>
                      <a:cxn ang="0">
                        <a:pos x="151" y="44"/>
                      </a:cxn>
                      <a:cxn ang="0">
                        <a:pos x="151" y="44"/>
                      </a:cxn>
                      <a:cxn ang="0">
                        <a:pos x="138" y="23"/>
                      </a:cxn>
                      <a:cxn ang="0">
                        <a:pos x="121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8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2" y="49"/>
                      </a:cxn>
                      <a:cxn ang="0">
                        <a:pos x="11" y="68"/>
                      </a:cxn>
                      <a:cxn ang="0">
                        <a:pos x="4" y="92"/>
                      </a:cxn>
                      <a:cxn ang="0">
                        <a:pos x="0" y="119"/>
                      </a:cxn>
                      <a:cxn ang="0">
                        <a:pos x="0" y="145"/>
                      </a:cxn>
                      <a:cxn ang="0">
                        <a:pos x="6" y="174"/>
                      </a:cxn>
                      <a:cxn ang="0">
                        <a:pos x="17" y="204"/>
                      </a:cxn>
                      <a:cxn ang="0">
                        <a:pos x="35" y="233"/>
                      </a:cxn>
                      <a:cxn ang="0">
                        <a:pos x="60" y="261"/>
                      </a:cxn>
                      <a:cxn ang="0">
                        <a:pos x="67" y="254"/>
                      </a:cxn>
                      <a:cxn ang="0">
                        <a:pos x="44" y="226"/>
                      </a:cxn>
                      <a:cxn ang="0">
                        <a:pos x="27" y="200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2" y="119"/>
                      </a:cxn>
                      <a:cxn ang="0">
                        <a:pos x="15" y="95"/>
                      </a:cxn>
                      <a:cxn ang="0">
                        <a:pos x="22" y="73"/>
                      </a:cxn>
                      <a:cxn ang="0">
                        <a:pos x="31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2"/>
                      </a:cxn>
                      <a:cxn ang="0">
                        <a:pos x="102" y="13"/>
                      </a:cxn>
                      <a:cxn ang="0">
                        <a:pos x="117" y="19"/>
                      </a:cxn>
                      <a:cxn ang="0">
                        <a:pos x="129" y="30"/>
                      </a:cxn>
                      <a:cxn ang="0">
                        <a:pos x="142" y="49"/>
                      </a:cxn>
                      <a:cxn ang="0">
                        <a:pos x="142" y="49"/>
                      </a:cxn>
                      <a:cxn ang="0">
                        <a:pos x="151" y="44"/>
                      </a:cxn>
                    </a:cxnLst>
                    <a:rect l="0" t="0" r="r" b="b"/>
                    <a:pathLst>
                      <a:path w="151" h="261">
                        <a:moveTo>
                          <a:pt x="151" y="44"/>
                        </a:moveTo>
                        <a:lnTo>
                          <a:pt x="151" y="44"/>
                        </a:lnTo>
                        <a:lnTo>
                          <a:pt x="138" y="23"/>
                        </a:lnTo>
                        <a:lnTo>
                          <a:pt x="121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8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2" y="49"/>
                        </a:lnTo>
                        <a:lnTo>
                          <a:pt x="11" y="68"/>
                        </a:lnTo>
                        <a:lnTo>
                          <a:pt x="4" y="92"/>
                        </a:lnTo>
                        <a:lnTo>
                          <a:pt x="0" y="119"/>
                        </a:lnTo>
                        <a:lnTo>
                          <a:pt x="0" y="145"/>
                        </a:lnTo>
                        <a:lnTo>
                          <a:pt x="6" y="174"/>
                        </a:lnTo>
                        <a:lnTo>
                          <a:pt x="17" y="204"/>
                        </a:lnTo>
                        <a:lnTo>
                          <a:pt x="35" y="233"/>
                        </a:lnTo>
                        <a:lnTo>
                          <a:pt x="60" y="261"/>
                        </a:lnTo>
                        <a:lnTo>
                          <a:pt x="67" y="254"/>
                        </a:lnTo>
                        <a:lnTo>
                          <a:pt x="44" y="226"/>
                        </a:lnTo>
                        <a:lnTo>
                          <a:pt x="27" y="200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2" y="119"/>
                        </a:lnTo>
                        <a:lnTo>
                          <a:pt x="15" y="95"/>
                        </a:lnTo>
                        <a:lnTo>
                          <a:pt x="22" y="73"/>
                        </a:lnTo>
                        <a:lnTo>
                          <a:pt x="31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2"/>
                        </a:lnTo>
                        <a:lnTo>
                          <a:pt x="102" y="13"/>
                        </a:lnTo>
                        <a:lnTo>
                          <a:pt x="117" y="19"/>
                        </a:lnTo>
                        <a:lnTo>
                          <a:pt x="129" y="30"/>
                        </a:lnTo>
                        <a:lnTo>
                          <a:pt x="142" y="49"/>
                        </a:lnTo>
                        <a:lnTo>
                          <a:pt x="142" y="49"/>
                        </a:lnTo>
                        <a:lnTo>
                          <a:pt x="151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19" name="Freeform 1353"/>
                  <p:cNvSpPr>
                    <a:spLocks/>
                  </p:cNvSpPr>
                  <p:nvPr/>
                </p:nvSpPr>
                <p:spPr bwMode="auto">
                  <a:xfrm rot="-5400000">
                    <a:off x="3556" y="3418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6" y="18"/>
                      </a:cxn>
                      <a:cxn ang="0">
                        <a:pos x="10" y="15"/>
                      </a:cxn>
                      <a:cxn ang="0">
                        <a:pos x="11" y="14"/>
                      </a:cxn>
                      <a:cxn ang="0">
                        <a:pos x="13" y="9"/>
                      </a:cxn>
                      <a:cxn ang="0">
                        <a:pos x="14" y="6"/>
                      </a:cxn>
                      <a:cxn ang="0">
                        <a:pos x="13" y="0"/>
                      </a:cxn>
                      <a:cxn ang="0">
                        <a:pos x="4" y="5"/>
                      </a:cxn>
                      <a:cxn ang="0">
                        <a:pos x="3" y="4"/>
                      </a:cxn>
                      <a:cxn ang="0">
                        <a:pos x="2" y="7"/>
                      </a:cxn>
                      <a:cxn ang="0">
                        <a:pos x="2" y="9"/>
                      </a:cxn>
                      <a:cxn ang="0">
                        <a:pos x="0" y="10"/>
                      </a:cxn>
                      <a:cxn ang="0">
                        <a:pos x="4" y="7"/>
                      </a:cxn>
                      <a:cxn ang="0">
                        <a:pos x="0" y="10"/>
                      </a:cxn>
                      <a:cxn ang="0">
                        <a:pos x="0" y="14"/>
                      </a:cxn>
                      <a:cxn ang="0">
                        <a:pos x="4" y="17"/>
                      </a:cxn>
                      <a:cxn ang="0">
                        <a:pos x="7" y="17"/>
                      </a:cxn>
                      <a:cxn ang="0">
                        <a:pos x="10" y="15"/>
                      </a:cxn>
                      <a:cxn ang="0">
                        <a:pos x="6" y="18"/>
                      </a:cxn>
                    </a:cxnLst>
                    <a:rect l="0" t="0" r="r" b="b"/>
                    <a:pathLst>
                      <a:path w="14" h="18">
                        <a:moveTo>
                          <a:pt x="6" y="18"/>
                        </a:moveTo>
                        <a:lnTo>
                          <a:pt x="10" y="15"/>
                        </a:lnTo>
                        <a:lnTo>
                          <a:pt x="11" y="14"/>
                        </a:lnTo>
                        <a:lnTo>
                          <a:pt x="13" y="9"/>
                        </a:lnTo>
                        <a:lnTo>
                          <a:pt x="14" y="6"/>
                        </a:lnTo>
                        <a:lnTo>
                          <a:pt x="13" y="0"/>
                        </a:lnTo>
                        <a:lnTo>
                          <a:pt x="4" y="5"/>
                        </a:lnTo>
                        <a:lnTo>
                          <a:pt x="3" y="4"/>
                        </a:lnTo>
                        <a:lnTo>
                          <a:pt x="2" y="7"/>
                        </a:lnTo>
                        <a:lnTo>
                          <a:pt x="2" y="9"/>
                        </a:lnTo>
                        <a:lnTo>
                          <a:pt x="0" y="10"/>
                        </a:lnTo>
                        <a:lnTo>
                          <a:pt x="4" y="7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4" y="17"/>
                        </a:lnTo>
                        <a:lnTo>
                          <a:pt x="7" y="17"/>
                        </a:lnTo>
                        <a:lnTo>
                          <a:pt x="10" y="15"/>
                        </a:lnTo>
                        <a:lnTo>
                          <a:pt x="6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0" name="Freeform 1354"/>
                  <p:cNvSpPr>
                    <a:spLocks/>
                  </p:cNvSpPr>
                  <p:nvPr/>
                </p:nvSpPr>
                <p:spPr bwMode="auto">
                  <a:xfrm rot="-5400000">
                    <a:off x="3556" y="3424"/>
                    <a:ext cx="9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1" y="9"/>
                      </a:cxn>
                      <a:cxn ang="0">
                        <a:pos x="6" y="11"/>
                      </a:cxn>
                      <a:cxn ang="0">
                        <a:pos x="9" y="13"/>
                      </a:cxn>
                      <a:cxn ang="0">
                        <a:pos x="14" y="13"/>
                      </a:cxn>
                      <a:cxn ang="0">
                        <a:pos x="24" y="11"/>
                      </a:cxn>
                      <a:cxn ang="0">
                        <a:pos x="22" y="0"/>
                      </a:cxn>
                      <a:cxn ang="0">
                        <a:pos x="14" y="1"/>
                      </a:cxn>
                      <a:cxn ang="0">
                        <a:pos x="9" y="1"/>
                      </a:cxn>
                      <a:cxn ang="0">
                        <a:pos x="8" y="0"/>
                      </a:cxn>
                      <a:cxn ang="0">
                        <a:pos x="10" y="2"/>
                      </a:cxn>
                      <a:cxn ang="0">
                        <a:pos x="9" y="1"/>
                      </a:cxn>
                      <a:cxn ang="0">
                        <a:pos x="10" y="2"/>
                      </a:cxn>
                      <a:cxn ang="0">
                        <a:pos x="7" y="0"/>
                      </a:cxn>
                      <a:cxn ang="0">
                        <a:pos x="2" y="1"/>
                      </a:cxn>
                      <a:cxn ang="0">
                        <a:pos x="0" y="5"/>
                      </a:cxn>
                      <a:cxn ang="0">
                        <a:pos x="1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4" h="13">
                        <a:moveTo>
                          <a:pt x="2" y="10"/>
                        </a:moveTo>
                        <a:lnTo>
                          <a:pt x="1" y="9"/>
                        </a:lnTo>
                        <a:lnTo>
                          <a:pt x="6" y="11"/>
                        </a:lnTo>
                        <a:lnTo>
                          <a:pt x="9" y="13"/>
                        </a:lnTo>
                        <a:lnTo>
                          <a:pt x="14" y="13"/>
                        </a:lnTo>
                        <a:lnTo>
                          <a:pt x="24" y="11"/>
                        </a:lnTo>
                        <a:lnTo>
                          <a:pt x="22" y="0"/>
                        </a:lnTo>
                        <a:lnTo>
                          <a:pt x="14" y="1"/>
                        </a:lnTo>
                        <a:lnTo>
                          <a:pt x="9" y="1"/>
                        </a:lnTo>
                        <a:lnTo>
                          <a:pt x="8" y="0"/>
                        </a:lnTo>
                        <a:lnTo>
                          <a:pt x="10" y="2"/>
                        </a:lnTo>
                        <a:lnTo>
                          <a:pt x="9" y="1"/>
                        </a:lnTo>
                        <a:lnTo>
                          <a:pt x="10" y="2"/>
                        </a:lnTo>
                        <a:lnTo>
                          <a:pt x="7" y="0"/>
                        </a:lnTo>
                        <a:lnTo>
                          <a:pt x="2" y="1"/>
                        </a:lnTo>
                        <a:lnTo>
                          <a:pt x="0" y="5"/>
                        </a:lnTo>
                        <a:lnTo>
                          <a:pt x="1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1" name="Freeform 1355"/>
                  <p:cNvSpPr>
                    <a:spLocks/>
                  </p:cNvSpPr>
                  <p:nvPr/>
                </p:nvSpPr>
                <p:spPr bwMode="auto">
                  <a:xfrm rot="-5400000">
                    <a:off x="3548" y="3431"/>
                    <a:ext cx="22" cy="8"/>
                  </a:xfrm>
                  <a:custGeom>
                    <a:avLst/>
                    <a:gdLst/>
                    <a:ahLst/>
                    <a:cxnLst>
                      <a:cxn ang="0">
                        <a:pos x="9" y="23"/>
                      </a:cxn>
                      <a:cxn ang="0">
                        <a:pos x="9" y="21"/>
                      </a:cxn>
                      <a:cxn ang="0">
                        <a:pos x="10" y="21"/>
                      </a:cxn>
                      <a:cxn ang="0">
                        <a:pos x="12" y="18"/>
                      </a:cxn>
                      <a:cxn ang="0">
                        <a:pos x="16" y="16"/>
                      </a:cxn>
                      <a:cxn ang="0">
                        <a:pos x="21" y="13"/>
                      </a:cxn>
                      <a:cxn ang="0">
                        <a:pos x="27" y="11"/>
                      </a:cxn>
                      <a:cxn ang="0">
                        <a:pos x="36" y="11"/>
                      </a:cxn>
                      <a:cxn ang="0">
                        <a:pos x="44" y="15"/>
                      </a:cxn>
                      <a:cxn ang="0">
                        <a:pos x="55" y="20"/>
                      </a:cxn>
                      <a:cxn ang="0">
                        <a:pos x="62" y="11"/>
                      </a:cxn>
                      <a:cxn ang="0">
                        <a:pos x="48" y="3"/>
                      </a:cxn>
                      <a:cxn ang="0">
                        <a:pos x="36" y="0"/>
                      </a:cxn>
                      <a:cxn ang="0">
                        <a:pos x="27" y="0"/>
                      </a:cxn>
                      <a:cxn ang="0">
                        <a:pos x="16" y="2"/>
                      </a:cxn>
                      <a:cxn ang="0">
                        <a:pos x="9" y="7"/>
                      </a:cxn>
                      <a:cxn ang="0">
                        <a:pos x="5" y="11"/>
                      </a:cxn>
                      <a:cxn ang="0">
                        <a:pos x="1" y="15"/>
                      </a:cxn>
                      <a:cxn ang="0">
                        <a:pos x="0" y="17"/>
                      </a:cxn>
                      <a:cxn ang="0">
                        <a:pos x="0" y="16"/>
                      </a:cxn>
                      <a:cxn ang="0">
                        <a:pos x="0" y="17"/>
                      </a:cxn>
                      <a:cxn ang="0">
                        <a:pos x="0" y="20"/>
                      </a:cxn>
                      <a:cxn ang="0">
                        <a:pos x="3" y="24"/>
                      </a:cxn>
                      <a:cxn ang="0">
                        <a:pos x="7" y="24"/>
                      </a:cxn>
                      <a:cxn ang="0">
                        <a:pos x="9" y="21"/>
                      </a:cxn>
                      <a:cxn ang="0">
                        <a:pos x="9" y="23"/>
                      </a:cxn>
                    </a:cxnLst>
                    <a:rect l="0" t="0" r="r" b="b"/>
                    <a:pathLst>
                      <a:path w="62" h="24">
                        <a:moveTo>
                          <a:pt x="9" y="23"/>
                        </a:moveTo>
                        <a:lnTo>
                          <a:pt x="9" y="21"/>
                        </a:lnTo>
                        <a:lnTo>
                          <a:pt x="10" y="21"/>
                        </a:lnTo>
                        <a:lnTo>
                          <a:pt x="12" y="18"/>
                        </a:lnTo>
                        <a:lnTo>
                          <a:pt x="16" y="16"/>
                        </a:lnTo>
                        <a:lnTo>
                          <a:pt x="21" y="13"/>
                        </a:lnTo>
                        <a:lnTo>
                          <a:pt x="27" y="11"/>
                        </a:lnTo>
                        <a:lnTo>
                          <a:pt x="36" y="11"/>
                        </a:lnTo>
                        <a:lnTo>
                          <a:pt x="44" y="15"/>
                        </a:lnTo>
                        <a:lnTo>
                          <a:pt x="55" y="20"/>
                        </a:lnTo>
                        <a:lnTo>
                          <a:pt x="62" y="11"/>
                        </a:lnTo>
                        <a:lnTo>
                          <a:pt x="48" y="3"/>
                        </a:lnTo>
                        <a:lnTo>
                          <a:pt x="36" y="0"/>
                        </a:lnTo>
                        <a:lnTo>
                          <a:pt x="27" y="0"/>
                        </a:lnTo>
                        <a:lnTo>
                          <a:pt x="16" y="2"/>
                        </a:lnTo>
                        <a:lnTo>
                          <a:pt x="9" y="7"/>
                        </a:lnTo>
                        <a:lnTo>
                          <a:pt x="5" y="11"/>
                        </a:lnTo>
                        <a:lnTo>
                          <a:pt x="1" y="15"/>
                        </a:lnTo>
                        <a:lnTo>
                          <a:pt x="0" y="17"/>
                        </a:lnTo>
                        <a:lnTo>
                          <a:pt x="0" y="16"/>
                        </a:lnTo>
                        <a:lnTo>
                          <a:pt x="0" y="17"/>
                        </a:lnTo>
                        <a:lnTo>
                          <a:pt x="0" y="20"/>
                        </a:lnTo>
                        <a:lnTo>
                          <a:pt x="3" y="24"/>
                        </a:lnTo>
                        <a:lnTo>
                          <a:pt x="7" y="24"/>
                        </a:lnTo>
                        <a:lnTo>
                          <a:pt x="9" y="21"/>
                        </a:lnTo>
                        <a:lnTo>
                          <a:pt x="9" y="2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2" name="Freeform 1356"/>
                  <p:cNvSpPr>
                    <a:spLocks/>
                  </p:cNvSpPr>
                  <p:nvPr/>
                </p:nvSpPr>
                <p:spPr bwMode="auto">
                  <a:xfrm rot="-5400000">
                    <a:off x="3570" y="3433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2" y="91"/>
                      </a:cxn>
                      <a:cxn ang="0">
                        <a:pos x="12" y="90"/>
                      </a:cxn>
                      <a:cxn ang="0">
                        <a:pos x="11" y="80"/>
                      </a:cxn>
                      <a:cxn ang="0">
                        <a:pos x="12" y="60"/>
                      </a:cxn>
                      <a:cxn ang="0">
                        <a:pos x="19" y="34"/>
                      </a:cxn>
                      <a:cxn ang="0">
                        <a:pos x="35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0"/>
                      </a:cxn>
                      <a:cxn ang="0">
                        <a:pos x="1" y="92"/>
                      </a:cxn>
                      <a:cxn ang="0">
                        <a:pos x="1" y="91"/>
                      </a:cxn>
                      <a:cxn ang="0">
                        <a:pos x="12" y="91"/>
                      </a:cxn>
                    </a:cxnLst>
                    <a:rect l="0" t="0" r="r" b="b"/>
                    <a:pathLst>
                      <a:path w="35" h="92">
                        <a:moveTo>
                          <a:pt x="12" y="91"/>
                        </a:moveTo>
                        <a:lnTo>
                          <a:pt x="12" y="90"/>
                        </a:lnTo>
                        <a:lnTo>
                          <a:pt x="11" y="80"/>
                        </a:lnTo>
                        <a:lnTo>
                          <a:pt x="12" y="60"/>
                        </a:lnTo>
                        <a:lnTo>
                          <a:pt x="19" y="34"/>
                        </a:lnTo>
                        <a:lnTo>
                          <a:pt x="35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0"/>
                        </a:lnTo>
                        <a:lnTo>
                          <a:pt x="1" y="92"/>
                        </a:lnTo>
                        <a:lnTo>
                          <a:pt x="1" y="91"/>
                        </a:lnTo>
                        <a:lnTo>
                          <a:pt x="12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3" name="Freeform 1357"/>
                  <p:cNvSpPr>
                    <a:spLocks/>
                  </p:cNvSpPr>
                  <p:nvPr/>
                </p:nvSpPr>
                <p:spPr bwMode="auto">
                  <a:xfrm rot="-5400000">
                    <a:off x="3596" y="3442"/>
                    <a:ext cx="9" cy="18"/>
                  </a:xfrm>
                  <a:custGeom>
                    <a:avLst/>
                    <a:gdLst/>
                    <a:ahLst/>
                    <a:cxnLst>
                      <a:cxn ang="0">
                        <a:pos x="27" y="53"/>
                      </a:cxn>
                      <a:cxn ang="0">
                        <a:pos x="26" y="53"/>
                      </a:cxn>
                      <a:cxn ang="0">
                        <a:pos x="20" y="39"/>
                      </a:cxn>
                      <a:cxn ang="0">
                        <a:pos x="17" y="25"/>
                      </a:cxn>
                      <a:cxn ang="0">
                        <a:pos x="13" y="12"/>
                      </a:cxn>
                      <a:cxn ang="0">
                        <a:pos x="11" y="0"/>
                      </a:cxn>
                      <a:cxn ang="0">
                        <a:pos x="0" y="0"/>
                      </a:cxn>
                      <a:cxn ang="0">
                        <a:pos x="2" y="15"/>
                      </a:cxn>
                      <a:cxn ang="0">
                        <a:pos x="5" y="27"/>
                      </a:cxn>
                      <a:cxn ang="0">
                        <a:pos x="9" y="41"/>
                      </a:cxn>
                      <a:cxn ang="0">
                        <a:pos x="17" y="57"/>
                      </a:cxn>
                      <a:cxn ang="0">
                        <a:pos x="16" y="57"/>
                      </a:cxn>
                      <a:cxn ang="0">
                        <a:pos x="27" y="53"/>
                      </a:cxn>
                    </a:cxnLst>
                    <a:rect l="0" t="0" r="r" b="b"/>
                    <a:pathLst>
                      <a:path w="27" h="57">
                        <a:moveTo>
                          <a:pt x="27" y="53"/>
                        </a:moveTo>
                        <a:lnTo>
                          <a:pt x="26" y="53"/>
                        </a:lnTo>
                        <a:lnTo>
                          <a:pt x="20" y="39"/>
                        </a:lnTo>
                        <a:lnTo>
                          <a:pt x="17" y="25"/>
                        </a:lnTo>
                        <a:lnTo>
                          <a:pt x="13" y="12"/>
                        </a:lnTo>
                        <a:lnTo>
                          <a:pt x="11" y="0"/>
                        </a:lnTo>
                        <a:lnTo>
                          <a:pt x="0" y="0"/>
                        </a:lnTo>
                        <a:lnTo>
                          <a:pt x="2" y="15"/>
                        </a:lnTo>
                        <a:lnTo>
                          <a:pt x="5" y="27"/>
                        </a:lnTo>
                        <a:lnTo>
                          <a:pt x="9" y="41"/>
                        </a:lnTo>
                        <a:lnTo>
                          <a:pt x="17" y="57"/>
                        </a:lnTo>
                        <a:lnTo>
                          <a:pt x="16" y="57"/>
                        </a:lnTo>
                        <a:lnTo>
                          <a:pt x="27" y="53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4" name="Freeform 1358"/>
                  <p:cNvSpPr>
                    <a:spLocks/>
                  </p:cNvSpPr>
                  <p:nvPr/>
                </p:nvSpPr>
                <p:spPr bwMode="auto">
                  <a:xfrm rot="-5400000">
                    <a:off x="3610" y="3436"/>
                    <a:ext cx="12" cy="14"/>
                  </a:xfrm>
                  <a:custGeom>
                    <a:avLst/>
                    <a:gdLst/>
                    <a:ahLst/>
                    <a:cxnLst>
                      <a:cxn ang="0">
                        <a:pos x="32" y="27"/>
                      </a:cxn>
                      <a:cxn ang="0">
                        <a:pos x="32" y="27"/>
                      </a:cxn>
                      <a:cxn ang="0">
                        <a:pos x="26" y="22"/>
                      </a:cxn>
                      <a:cxn ang="0">
                        <a:pos x="19" y="14"/>
                      </a:cxn>
                      <a:cxn ang="0">
                        <a:pos x="14" y="7"/>
                      </a:cxn>
                      <a:cxn ang="0">
                        <a:pos x="11" y="0"/>
                      </a:cxn>
                      <a:cxn ang="0">
                        <a:pos x="0" y="4"/>
                      </a:cxn>
                      <a:cxn ang="0">
                        <a:pos x="4" y="11"/>
                      </a:cxn>
                      <a:cxn ang="0">
                        <a:pos x="10" y="20"/>
                      </a:cxn>
                      <a:cxn ang="0">
                        <a:pos x="17" y="28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25" y="37"/>
                      </a:cxn>
                      <a:cxn ang="0">
                        <a:pos x="30" y="38"/>
                      </a:cxn>
                      <a:cxn ang="0">
                        <a:pos x="33" y="35"/>
                      </a:cxn>
                      <a:cxn ang="0">
                        <a:pos x="34" y="31"/>
                      </a:cxn>
                      <a:cxn ang="0">
                        <a:pos x="32" y="27"/>
                      </a:cxn>
                    </a:cxnLst>
                    <a:rect l="0" t="0" r="r" b="b"/>
                    <a:pathLst>
                      <a:path w="34" h="38">
                        <a:moveTo>
                          <a:pt x="32" y="27"/>
                        </a:moveTo>
                        <a:lnTo>
                          <a:pt x="32" y="27"/>
                        </a:lnTo>
                        <a:lnTo>
                          <a:pt x="26" y="22"/>
                        </a:lnTo>
                        <a:lnTo>
                          <a:pt x="19" y="14"/>
                        </a:lnTo>
                        <a:lnTo>
                          <a:pt x="14" y="7"/>
                        </a:lnTo>
                        <a:lnTo>
                          <a:pt x="11" y="0"/>
                        </a:lnTo>
                        <a:lnTo>
                          <a:pt x="0" y="4"/>
                        </a:lnTo>
                        <a:lnTo>
                          <a:pt x="4" y="11"/>
                        </a:lnTo>
                        <a:lnTo>
                          <a:pt x="10" y="20"/>
                        </a:lnTo>
                        <a:lnTo>
                          <a:pt x="17" y="28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25" y="37"/>
                        </a:lnTo>
                        <a:lnTo>
                          <a:pt x="30" y="38"/>
                        </a:lnTo>
                        <a:lnTo>
                          <a:pt x="33" y="35"/>
                        </a:lnTo>
                        <a:lnTo>
                          <a:pt x="34" y="31"/>
                        </a:lnTo>
                        <a:lnTo>
                          <a:pt x="32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5" name="Freeform 1359"/>
                  <p:cNvSpPr>
                    <a:spLocks/>
                  </p:cNvSpPr>
                  <p:nvPr/>
                </p:nvSpPr>
                <p:spPr bwMode="auto">
                  <a:xfrm rot="-5400000">
                    <a:off x="3566" y="3343"/>
                    <a:ext cx="46" cy="91"/>
                  </a:xfrm>
                  <a:custGeom>
                    <a:avLst/>
                    <a:gdLst/>
                    <a:ahLst/>
                    <a:cxnLst>
                      <a:cxn ang="0">
                        <a:pos x="94" y="234"/>
                      </a:cxn>
                      <a:cxn ang="0">
                        <a:pos x="111" y="238"/>
                      </a:cxn>
                      <a:cxn ang="0">
                        <a:pos x="119" y="230"/>
                      </a:cxn>
                      <a:cxn ang="0">
                        <a:pos x="122" y="220"/>
                      </a:cxn>
                      <a:cxn ang="0">
                        <a:pos x="125" y="214"/>
                      </a:cxn>
                      <a:cxn ang="0">
                        <a:pos x="136" y="221"/>
                      </a:cxn>
                      <a:cxn ang="0">
                        <a:pos x="144" y="236"/>
                      </a:cxn>
                      <a:cxn ang="0">
                        <a:pos x="141" y="251"/>
                      </a:cxn>
                      <a:cxn ang="0">
                        <a:pos x="132" y="264"/>
                      </a:cxn>
                      <a:cxn ang="0">
                        <a:pos x="114" y="269"/>
                      </a:cxn>
                      <a:cxn ang="0">
                        <a:pos x="94" y="267"/>
                      </a:cxn>
                      <a:cxn ang="0">
                        <a:pos x="75" y="260"/>
                      </a:cxn>
                      <a:cxn ang="0">
                        <a:pos x="65" y="254"/>
                      </a:cxn>
                      <a:cxn ang="0">
                        <a:pos x="59" y="251"/>
                      </a:cxn>
                      <a:cxn ang="0">
                        <a:pos x="34" y="222"/>
                      </a:cxn>
                      <a:cxn ang="0">
                        <a:pos x="6" y="167"/>
                      </a:cxn>
                      <a:cxn ang="0">
                        <a:pos x="0" y="113"/>
                      </a:cxn>
                      <a:cxn ang="0">
                        <a:pos x="12" y="64"/>
                      </a:cxn>
                      <a:cxn ang="0">
                        <a:pos x="35" y="27"/>
                      </a:cxn>
                      <a:cxn ang="0">
                        <a:pos x="66" y="4"/>
                      </a:cxn>
                      <a:cxn ang="0">
                        <a:pos x="98" y="1"/>
                      </a:cxn>
                      <a:cxn ang="0">
                        <a:pos x="129" y="20"/>
                      </a:cxn>
                      <a:cxn ang="0">
                        <a:pos x="142" y="42"/>
                      </a:cxn>
                      <a:cxn ang="0">
                        <a:pos x="139" y="49"/>
                      </a:cxn>
                      <a:cxn ang="0">
                        <a:pos x="128" y="52"/>
                      </a:cxn>
                      <a:cxn ang="0">
                        <a:pos x="121" y="50"/>
                      </a:cxn>
                      <a:cxn ang="0">
                        <a:pos x="107" y="42"/>
                      </a:cxn>
                      <a:cxn ang="0">
                        <a:pos x="88" y="40"/>
                      </a:cxn>
                      <a:cxn ang="0">
                        <a:pos x="74" y="45"/>
                      </a:cxn>
                      <a:cxn ang="0">
                        <a:pos x="67" y="52"/>
                      </a:cxn>
                      <a:cxn ang="0">
                        <a:pos x="49" y="82"/>
                      </a:cxn>
                      <a:cxn ang="0">
                        <a:pos x="41" y="131"/>
                      </a:cxn>
                      <a:cxn ang="0">
                        <a:pos x="45" y="154"/>
                      </a:cxn>
                      <a:cxn ang="0">
                        <a:pos x="52" y="182"/>
                      </a:cxn>
                      <a:cxn ang="0">
                        <a:pos x="62" y="204"/>
                      </a:cxn>
                      <a:cxn ang="0">
                        <a:pos x="74" y="220"/>
                      </a:cxn>
                    </a:cxnLst>
                    <a:rect l="0" t="0" r="r" b="b"/>
                    <a:pathLst>
                      <a:path w="144" h="269">
                        <a:moveTo>
                          <a:pt x="81" y="225"/>
                        </a:moveTo>
                        <a:lnTo>
                          <a:pt x="94" y="234"/>
                        </a:lnTo>
                        <a:lnTo>
                          <a:pt x="104" y="237"/>
                        </a:lnTo>
                        <a:lnTo>
                          <a:pt x="111" y="238"/>
                        </a:lnTo>
                        <a:lnTo>
                          <a:pt x="115" y="235"/>
                        </a:lnTo>
                        <a:lnTo>
                          <a:pt x="119" y="230"/>
                        </a:lnTo>
                        <a:lnTo>
                          <a:pt x="121" y="225"/>
                        </a:lnTo>
                        <a:lnTo>
                          <a:pt x="122" y="220"/>
                        </a:lnTo>
                        <a:lnTo>
                          <a:pt x="122" y="215"/>
                        </a:lnTo>
                        <a:lnTo>
                          <a:pt x="125" y="214"/>
                        </a:lnTo>
                        <a:lnTo>
                          <a:pt x="130" y="216"/>
                        </a:lnTo>
                        <a:lnTo>
                          <a:pt x="136" y="221"/>
                        </a:lnTo>
                        <a:lnTo>
                          <a:pt x="142" y="229"/>
                        </a:lnTo>
                        <a:lnTo>
                          <a:pt x="144" y="236"/>
                        </a:lnTo>
                        <a:lnTo>
                          <a:pt x="143" y="243"/>
                        </a:lnTo>
                        <a:lnTo>
                          <a:pt x="141" y="251"/>
                        </a:lnTo>
                        <a:lnTo>
                          <a:pt x="137" y="258"/>
                        </a:lnTo>
                        <a:lnTo>
                          <a:pt x="132" y="264"/>
                        </a:lnTo>
                        <a:lnTo>
                          <a:pt x="124" y="267"/>
                        </a:lnTo>
                        <a:lnTo>
                          <a:pt x="114" y="269"/>
                        </a:lnTo>
                        <a:lnTo>
                          <a:pt x="104" y="269"/>
                        </a:lnTo>
                        <a:lnTo>
                          <a:pt x="94" y="267"/>
                        </a:lnTo>
                        <a:lnTo>
                          <a:pt x="83" y="264"/>
                        </a:lnTo>
                        <a:lnTo>
                          <a:pt x="75" y="260"/>
                        </a:lnTo>
                        <a:lnTo>
                          <a:pt x="69" y="258"/>
                        </a:lnTo>
                        <a:lnTo>
                          <a:pt x="65" y="254"/>
                        </a:lnTo>
                        <a:lnTo>
                          <a:pt x="60" y="252"/>
                        </a:lnTo>
                        <a:lnTo>
                          <a:pt x="59" y="251"/>
                        </a:lnTo>
                        <a:lnTo>
                          <a:pt x="58" y="250"/>
                        </a:lnTo>
                        <a:lnTo>
                          <a:pt x="34" y="222"/>
                        </a:lnTo>
                        <a:lnTo>
                          <a:pt x="18" y="194"/>
                        </a:lnTo>
                        <a:lnTo>
                          <a:pt x="6" y="167"/>
                        </a:lnTo>
                        <a:lnTo>
                          <a:pt x="1" y="139"/>
                        </a:lnTo>
                        <a:lnTo>
                          <a:pt x="0" y="113"/>
                        </a:lnTo>
                        <a:lnTo>
                          <a:pt x="4" y="87"/>
                        </a:lnTo>
                        <a:lnTo>
                          <a:pt x="12" y="64"/>
                        </a:lnTo>
                        <a:lnTo>
                          <a:pt x="22" y="45"/>
                        </a:lnTo>
                        <a:lnTo>
                          <a:pt x="35" y="27"/>
                        </a:lnTo>
                        <a:lnTo>
                          <a:pt x="50" y="14"/>
                        </a:lnTo>
                        <a:lnTo>
                          <a:pt x="66" y="4"/>
                        </a:lnTo>
                        <a:lnTo>
                          <a:pt x="82" y="0"/>
                        </a:lnTo>
                        <a:lnTo>
                          <a:pt x="98" y="1"/>
                        </a:lnTo>
                        <a:lnTo>
                          <a:pt x="114" y="8"/>
                        </a:lnTo>
                        <a:lnTo>
                          <a:pt x="129" y="20"/>
                        </a:lnTo>
                        <a:lnTo>
                          <a:pt x="142" y="40"/>
                        </a:lnTo>
                        <a:lnTo>
                          <a:pt x="142" y="42"/>
                        </a:lnTo>
                        <a:lnTo>
                          <a:pt x="140" y="46"/>
                        </a:lnTo>
                        <a:lnTo>
                          <a:pt x="139" y="49"/>
                        </a:lnTo>
                        <a:lnTo>
                          <a:pt x="137" y="50"/>
                        </a:lnTo>
                        <a:lnTo>
                          <a:pt x="128" y="52"/>
                        </a:lnTo>
                        <a:lnTo>
                          <a:pt x="124" y="52"/>
                        </a:lnTo>
                        <a:lnTo>
                          <a:pt x="121" y="50"/>
                        </a:lnTo>
                        <a:lnTo>
                          <a:pt x="120" y="50"/>
                        </a:lnTo>
                        <a:lnTo>
                          <a:pt x="107" y="42"/>
                        </a:lnTo>
                        <a:lnTo>
                          <a:pt x="97" y="40"/>
                        </a:lnTo>
                        <a:lnTo>
                          <a:pt x="88" y="40"/>
                        </a:lnTo>
                        <a:lnTo>
                          <a:pt x="80" y="41"/>
                        </a:lnTo>
                        <a:lnTo>
                          <a:pt x="74" y="45"/>
                        </a:lnTo>
                        <a:lnTo>
                          <a:pt x="69" y="48"/>
                        </a:lnTo>
                        <a:lnTo>
                          <a:pt x="67" y="52"/>
                        </a:lnTo>
                        <a:lnTo>
                          <a:pt x="66" y="53"/>
                        </a:lnTo>
                        <a:lnTo>
                          <a:pt x="49" y="82"/>
                        </a:lnTo>
                        <a:lnTo>
                          <a:pt x="42" y="109"/>
                        </a:lnTo>
                        <a:lnTo>
                          <a:pt x="41" y="131"/>
                        </a:lnTo>
                        <a:lnTo>
                          <a:pt x="42" y="141"/>
                        </a:lnTo>
                        <a:lnTo>
                          <a:pt x="45" y="154"/>
                        </a:lnTo>
                        <a:lnTo>
                          <a:pt x="49" y="168"/>
                        </a:lnTo>
                        <a:lnTo>
                          <a:pt x="52" y="182"/>
                        </a:lnTo>
                        <a:lnTo>
                          <a:pt x="58" y="197"/>
                        </a:lnTo>
                        <a:lnTo>
                          <a:pt x="62" y="204"/>
                        </a:lnTo>
                        <a:lnTo>
                          <a:pt x="68" y="212"/>
                        </a:lnTo>
                        <a:lnTo>
                          <a:pt x="74" y="220"/>
                        </a:lnTo>
                        <a:lnTo>
                          <a:pt x="81" y="225"/>
                        </a:lnTo>
                        <a:close/>
                      </a:path>
                    </a:pathLst>
                  </a:custGeom>
                  <a:solidFill>
                    <a:srgbClr val="667F99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6" name="Freeform 1360"/>
                  <p:cNvSpPr>
                    <a:spLocks/>
                  </p:cNvSpPr>
                  <p:nvPr/>
                </p:nvSpPr>
                <p:spPr bwMode="auto">
                  <a:xfrm rot="-5400000">
                    <a:off x="3611" y="3373"/>
                    <a:ext cx="18" cy="11"/>
                  </a:xfrm>
                  <a:custGeom>
                    <a:avLst/>
                    <a:gdLst/>
                    <a:ahLst/>
                    <a:cxnLst>
                      <a:cxn ang="0">
                        <a:pos x="40" y="0"/>
                      </a:cxn>
                      <a:cxn ang="0">
                        <a:pos x="40" y="1"/>
                      </a:cxn>
                      <a:cxn ang="0">
                        <a:pos x="40" y="6"/>
                      </a:cxn>
                      <a:cxn ang="0">
                        <a:pos x="38" y="10"/>
                      </a:cxn>
                      <a:cxn ang="0">
                        <a:pos x="37" y="14"/>
                      </a:cxn>
                      <a:cxn ang="0">
                        <a:pos x="35" y="17"/>
                      </a:cxn>
                      <a:cxn ang="0">
                        <a:pos x="33" y="18"/>
                      </a:cxn>
                      <a:cxn ang="0">
                        <a:pos x="28" y="17"/>
                      </a:cxn>
                      <a:cxn ang="0">
                        <a:pos x="19" y="15"/>
                      </a:cxn>
                      <a:cxn ang="0">
                        <a:pos x="7" y="7"/>
                      </a:cxn>
                      <a:cxn ang="0">
                        <a:pos x="0" y="16"/>
                      </a:cxn>
                      <a:cxn ang="0">
                        <a:pos x="14" y="24"/>
                      </a:cxn>
                      <a:cxn ang="0">
                        <a:pos x="26" y="29"/>
                      </a:cxn>
                      <a:cxn ang="0">
                        <a:pos x="35" y="30"/>
                      </a:cxn>
                      <a:cxn ang="0">
                        <a:pos x="42" y="24"/>
                      </a:cxn>
                      <a:cxn ang="0">
                        <a:pos x="47" y="18"/>
                      </a:cxn>
                      <a:cxn ang="0">
                        <a:pos x="50" y="13"/>
                      </a:cxn>
                      <a:cxn ang="0">
                        <a:pos x="51" y="6"/>
                      </a:cxn>
                      <a:cxn ang="0">
                        <a:pos x="51" y="1"/>
                      </a:cxn>
                      <a:cxn ang="0">
                        <a:pos x="51" y="2"/>
                      </a:cxn>
                      <a:cxn ang="0">
                        <a:pos x="40" y="0"/>
                      </a:cxn>
                    </a:cxnLst>
                    <a:rect l="0" t="0" r="r" b="b"/>
                    <a:pathLst>
                      <a:path w="51" h="30">
                        <a:moveTo>
                          <a:pt x="40" y="0"/>
                        </a:moveTo>
                        <a:lnTo>
                          <a:pt x="40" y="1"/>
                        </a:lnTo>
                        <a:lnTo>
                          <a:pt x="40" y="6"/>
                        </a:lnTo>
                        <a:lnTo>
                          <a:pt x="38" y="10"/>
                        </a:lnTo>
                        <a:lnTo>
                          <a:pt x="37" y="14"/>
                        </a:lnTo>
                        <a:lnTo>
                          <a:pt x="35" y="17"/>
                        </a:lnTo>
                        <a:lnTo>
                          <a:pt x="33" y="18"/>
                        </a:lnTo>
                        <a:lnTo>
                          <a:pt x="28" y="17"/>
                        </a:lnTo>
                        <a:lnTo>
                          <a:pt x="19" y="15"/>
                        </a:lnTo>
                        <a:lnTo>
                          <a:pt x="7" y="7"/>
                        </a:lnTo>
                        <a:lnTo>
                          <a:pt x="0" y="16"/>
                        </a:lnTo>
                        <a:lnTo>
                          <a:pt x="14" y="24"/>
                        </a:lnTo>
                        <a:lnTo>
                          <a:pt x="26" y="29"/>
                        </a:lnTo>
                        <a:lnTo>
                          <a:pt x="35" y="30"/>
                        </a:lnTo>
                        <a:lnTo>
                          <a:pt x="42" y="24"/>
                        </a:lnTo>
                        <a:lnTo>
                          <a:pt x="47" y="18"/>
                        </a:lnTo>
                        <a:lnTo>
                          <a:pt x="50" y="13"/>
                        </a:lnTo>
                        <a:lnTo>
                          <a:pt x="51" y="6"/>
                        </a:lnTo>
                        <a:lnTo>
                          <a:pt x="51" y="1"/>
                        </a:lnTo>
                        <a:lnTo>
                          <a:pt x="51" y="2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7" name="Freeform 1361"/>
                  <p:cNvSpPr>
                    <a:spLocks/>
                  </p:cNvSpPr>
                  <p:nvPr/>
                </p:nvSpPr>
                <p:spPr bwMode="auto">
                  <a:xfrm rot="-5400000">
                    <a:off x="3612" y="3363"/>
                    <a:ext cx="10" cy="9"/>
                  </a:xfrm>
                  <a:custGeom>
                    <a:avLst/>
                    <a:gdLst/>
                    <a:ahLst/>
                    <a:cxnLst>
                      <a:cxn ang="0">
                        <a:pos x="30" y="19"/>
                      </a:cxn>
                      <a:cxn ang="0">
                        <a:pos x="30" y="19"/>
                      </a:cxn>
                      <a:cxn ang="0">
                        <a:pos x="24" y="9"/>
                      </a:cxn>
                      <a:cxn ang="0">
                        <a:pos x="16" y="4"/>
                      </a:cxn>
                      <a:cxn ang="0">
                        <a:pos x="8" y="0"/>
                      </a:cxn>
                      <a:cxn ang="0">
                        <a:pos x="0" y="6"/>
                      </a:cxn>
                      <a:cxn ang="0">
                        <a:pos x="11" y="8"/>
                      </a:cxn>
                      <a:cxn ang="0">
                        <a:pos x="8" y="12"/>
                      </a:cxn>
                      <a:cxn ang="0">
                        <a:pos x="11" y="13"/>
                      </a:cxn>
                      <a:cxn ang="0">
                        <a:pos x="15" y="16"/>
                      </a:cxn>
                      <a:cxn ang="0">
                        <a:pos x="20" y="23"/>
                      </a:cxn>
                      <a:cxn ang="0">
                        <a:pos x="20" y="23"/>
                      </a:cxn>
                      <a:cxn ang="0">
                        <a:pos x="30" y="19"/>
                      </a:cxn>
                    </a:cxnLst>
                    <a:rect l="0" t="0" r="r" b="b"/>
                    <a:pathLst>
                      <a:path w="30" h="23">
                        <a:moveTo>
                          <a:pt x="30" y="19"/>
                        </a:moveTo>
                        <a:lnTo>
                          <a:pt x="30" y="19"/>
                        </a:lnTo>
                        <a:lnTo>
                          <a:pt x="24" y="9"/>
                        </a:lnTo>
                        <a:lnTo>
                          <a:pt x="16" y="4"/>
                        </a:lnTo>
                        <a:lnTo>
                          <a:pt x="8" y="0"/>
                        </a:lnTo>
                        <a:lnTo>
                          <a:pt x="0" y="6"/>
                        </a:lnTo>
                        <a:lnTo>
                          <a:pt x="11" y="8"/>
                        </a:lnTo>
                        <a:lnTo>
                          <a:pt x="8" y="12"/>
                        </a:lnTo>
                        <a:lnTo>
                          <a:pt x="11" y="13"/>
                        </a:lnTo>
                        <a:lnTo>
                          <a:pt x="15" y="16"/>
                        </a:lnTo>
                        <a:lnTo>
                          <a:pt x="20" y="23"/>
                        </a:lnTo>
                        <a:lnTo>
                          <a:pt x="20" y="23"/>
                        </a:lnTo>
                        <a:lnTo>
                          <a:pt x="30" y="1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8" name="Freeform 1362"/>
                  <p:cNvSpPr>
                    <a:spLocks/>
                  </p:cNvSpPr>
                  <p:nvPr/>
                </p:nvSpPr>
                <p:spPr bwMode="auto">
                  <a:xfrm rot="-5400000">
                    <a:off x="3620" y="3362"/>
                    <a:ext cx="15" cy="16"/>
                  </a:xfrm>
                  <a:custGeom>
                    <a:avLst/>
                    <a:gdLst/>
                    <a:ahLst/>
                    <a:cxnLst>
                      <a:cxn ang="0">
                        <a:pos x="0" y="48"/>
                      </a:cxn>
                      <a:cxn ang="0">
                        <a:pos x="0" y="48"/>
                      </a:cxn>
                      <a:cxn ang="0">
                        <a:pos x="10" y="48"/>
                      </a:cxn>
                      <a:cxn ang="0">
                        <a:pos x="21" y="46"/>
                      </a:cxn>
                      <a:cxn ang="0">
                        <a:pos x="31" y="41"/>
                      </a:cxn>
                      <a:cxn ang="0">
                        <a:pos x="38" y="34"/>
                      </a:cxn>
                      <a:cxn ang="0">
                        <a:pos x="43" y="25"/>
                      </a:cxn>
                      <a:cxn ang="0">
                        <a:pos x="45" y="17"/>
                      </a:cxn>
                      <a:cxn ang="0">
                        <a:pos x="46" y="9"/>
                      </a:cxn>
                      <a:cxn ang="0">
                        <a:pos x="43" y="0"/>
                      </a:cxn>
                      <a:cxn ang="0">
                        <a:pos x="33" y="4"/>
                      </a:cxn>
                      <a:cxn ang="0">
                        <a:pos x="35" y="9"/>
                      </a:cxn>
                      <a:cxn ang="0">
                        <a:pos x="33" y="15"/>
                      </a:cxn>
                      <a:cxn ang="0">
                        <a:pos x="31" y="23"/>
                      </a:cxn>
                      <a:cxn ang="0">
                        <a:pos x="29" y="27"/>
                      </a:cxn>
                      <a:cxn ang="0">
                        <a:pos x="24" y="32"/>
                      </a:cxn>
                      <a:cxn ang="0">
                        <a:pos x="18" y="34"/>
                      </a:cxn>
                      <a:cxn ang="0">
                        <a:pos x="10" y="37"/>
                      </a:cxn>
                      <a:cxn ang="0">
                        <a:pos x="0" y="37"/>
                      </a:cxn>
                      <a:cxn ang="0">
                        <a:pos x="0" y="37"/>
                      </a:cxn>
                      <a:cxn ang="0">
                        <a:pos x="0" y="48"/>
                      </a:cxn>
                    </a:cxnLst>
                    <a:rect l="0" t="0" r="r" b="b"/>
                    <a:pathLst>
                      <a:path w="46" h="48">
                        <a:moveTo>
                          <a:pt x="0" y="48"/>
                        </a:moveTo>
                        <a:lnTo>
                          <a:pt x="0" y="48"/>
                        </a:lnTo>
                        <a:lnTo>
                          <a:pt x="10" y="48"/>
                        </a:lnTo>
                        <a:lnTo>
                          <a:pt x="21" y="46"/>
                        </a:lnTo>
                        <a:lnTo>
                          <a:pt x="31" y="41"/>
                        </a:lnTo>
                        <a:lnTo>
                          <a:pt x="38" y="34"/>
                        </a:lnTo>
                        <a:lnTo>
                          <a:pt x="43" y="25"/>
                        </a:lnTo>
                        <a:lnTo>
                          <a:pt x="45" y="17"/>
                        </a:lnTo>
                        <a:lnTo>
                          <a:pt x="46" y="9"/>
                        </a:lnTo>
                        <a:lnTo>
                          <a:pt x="43" y="0"/>
                        </a:lnTo>
                        <a:lnTo>
                          <a:pt x="33" y="4"/>
                        </a:lnTo>
                        <a:lnTo>
                          <a:pt x="35" y="9"/>
                        </a:lnTo>
                        <a:lnTo>
                          <a:pt x="33" y="15"/>
                        </a:lnTo>
                        <a:lnTo>
                          <a:pt x="31" y="23"/>
                        </a:lnTo>
                        <a:lnTo>
                          <a:pt x="29" y="27"/>
                        </a:lnTo>
                        <a:lnTo>
                          <a:pt x="24" y="32"/>
                        </a:lnTo>
                        <a:lnTo>
                          <a:pt x="18" y="34"/>
                        </a:lnTo>
                        <a:lnTo>
                          <a:pt x="10" y="37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4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29" name="Freeform 1363"/>
                  <p:cNvSpPr>
                    <a:spLocks/>
                  </p:cNvSpPr>
                  <p:nvPr/>
                </p:nvSpPr>
                <p:spPr bwMode="auto">
                  <a:xfrm rot="-5400000">
                    <a:off x="3622" y="3380"/>
                    <a:ext cx="16" cy="10"/>
                  </a:xfrm>
                  <a:custGeom>
                    <a:avLst/>
                    <a:gdLst/>
                    <a:ahLst/>
                    <a:cxnLst>
                      <a:cxn ang="0">
                        <a:pos x="2" y="9"/>
                      </a:cxn>
                      <a:cxn ang="0">
                        <a:pos x="2" y="10"/>
                      </a:cxn>
                      <a:cxn ang="0">
                        <a:pos x="4" y="10"/>
                      </a:cxn>
                      <a:cxn ang="0">
                        <a:pos x="6" y="13"/>
                      </a:cxn>
                      <a:cxn ang="0">
                        <a:pos x="10" y="15"/>
                      </a:cxn>
                      <a:cxn ang="0">
                        <a:pos x="15" y="18"/>
                      </a:cxn>
                      <a:cxn ang="0">
                        <a:pos x="21" y="22"/>
                      </a:cxn>
                      <a:cxn ang="0">
                        <a:pos x="30" y="25"/>
                      </a:cxn>
                      <a:cxn ang="0">
                        <a:pos x="40" y="29"/>
                      </a:cxn>
                      <a:cxn ang="0">
                        <a:pos x="52" y="31"/>
                      </a:cxn>
                      <a:cxn ang="0">
                        <a:pos x="52" y="20"/>
                      </a:cxn>
                      <a:cxn ang="0">
                        <a:pos x="43" y="17"/>
                      </a:cxn>
                      <a:cxn ang="0">
                        <a:pos x="32" y="14"/>
                      </a:cxn>
                      <a:cxn ang="0">
                        <a:pos x="25" y="10"/>
                      </a:cxn>
                      <a:cxn ang="0">
                        <a:pos x="20" y="9"/>
                      </a:cxn>
                      <a:cxn ang="0">
                        <a:pos x="15" y="6"/>
                      </a:cxn>
                      <a:cxn ang="0">
                        <a:pos x="10" y="3"/>
                      </a:cxn>
                      <a:cxn ang="0">
                        <a:pos x="10" y="3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5" y="0"/>
                      </a:cxn>
                      <a:cxn ang="0">
                        <a:pos x="1" y="2"/>
                      </a:cxn>
                      <a:cxn ang="0">
                        <a:pos x="0" y="6"/>
                      </a:cxn>
                      <a:cxn ang="0">
                        <a:pos x="2" y="10"/>
                      </a:cxn>
                      <a:cxn ang="0">
                        <a:pos x="2" y="9"/>
                      </a:cxn>
                    </a:cxnLst>
                    <a:rect l="0" t="0" r="r" b="b"/>
                    <a:pathLst>
                      <a:path w="52" h="31">
                        <a:moveTo>
                          <a:pt x="2" y="9"/>
                        </a:moveTo>
                        <a:lnTo>
                          <a:pt x="2" y="10"/>
                        </a:lnTo>
                        <a:lnTo>
                          <a:pt x="4" y="10"/>
                        </a:lnTo>
                        <a:lnTo>
                          <a:pt x="6" y="13"/>
                        </a:lnTo>
                        <a:lnTo>
                          <a:pt x="10" y="15"/>
                        </a:lnTo>
                        <a:lnTo>
                          <a:pt x="15" y="18"/>
                        </a:lnTo>
                        <a:lnTo>
                          <a:pt x="21" y="22"/>
                        </a:lnTo>
                        <a:lnTo>
                          <a:pt x="30" y="25"/>
                        </a:lnTo>
                        <a:lnTo>
                          <a:pt x="40" y="29"/>
                        </a:lnTo>
                        <a:lnTo>
                          <a:pt x="52" y="31"/>
                        </a:lnTo>
                        <a:lnTo>
                          <a:pt x="52" y="20"/>
                        </a:lnTo>
                        <a:lnTo>
                          <a:pt x="43" y="17"/>
                        </a:lnTo>
                        <a:lnTo>
                          <a:pt x="32" y="14"/>
                        </a:lnTo>
                        <a:lnTo>
                          <a:pt x="25" y="10"/>
                        </a:lnTo>
                        <a:lnTo>
                          <a:pt x="20" y="9"/>
                        </a:lnTo>
                        <a:lnTo>
                          <a:pt x="15" y="6"/>
                        </a:lnTo>
                        <a:lnTo>
                          <a:pt x="10" y="3"/>
                        </a:lnTo>
                        <a:lnTo>
                          <a:pt x="10" y="3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5" y="0"/>
                        </a:lnTo>
                        <a:lnTo>
                          <a:pt x="1" y="2"/>
                        </a:lnTo>
                        <a:lnTo>
                          <a:pt x="0" y="6"/>
                        </a:lnTo>
                        <a:lnTo>
                          <a:pt x="2" y="10"/>
                        </a:lnTo>
                        <a:lnTo>
                          <a:pt x="2" y="9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0" name="Freeform 1364"/>
                  <p:cNvSpPr>
                    <a:spLocks/>
                  </p:cNvSpPr>
                  <p:nvPr/>
                </p:nvSpPr>
                <p:spPr bwMode="auto">
                  <a:xfrm rot="-5400000">
                    <a:off x="3560" y="3345"/>
                    <a:ext cx="48" cy="87"/>
                  </a:xfrm>
                  <a:custGeom>
                    <a:avLst/>
                    <a:gdLst/>
                    <a:ahLst/>
                    <a:cxnLst>
                      <a:cxn ang="0">
                        <a:pos x="152" y="44"/>
                      </a:cxn>
                      <a:cxn ang="0">
                        <a:pos x="152" y="44"/>
                      </a:cxn>
                      <a:cxn ang="0">
                        <a:pos x="139" y="23"/>
                      </a:cxn>
                      <a:cxn ang="0">
                        <a:pos x="122" y="9"/>
                      </a:cxn>
                      <a:cxn ang="0">
                        <a:pos x="104" y="1"/>
                      </a:cxn>
                      <a:cxn ang="0">
                        <a:pos x="87" y="0"/>
                      </a:cxn>
                      <a:cxn ang="0">
                        <a:pos x="69" y="5"/>
                      </a:cxn>
                      <a:cxn ang="0">
                        <a:pos x="51" y="15"/>
                      </a:cxn>
                      <a:cxn ang="0">
                        <a:pos x="35" y="30"/>
                      </a:cxn>
                      <a:cxn ang="0">
                        <a:pos x="23" y="48"/>
                      </a:cxn>
                      <a:cxn ang="0">
                        <a:pos x="11" y="68"/>
                      </a:cxn>
                      <a:cxn ang="0">
                        <a:pos x="3" y="92"/>
                      </a:cxn>
                      <a:cxn ang="0">
                        <a:pos x="0" y="119"/>
                      </a:cxn>
                      <a:cxn ang="0">
                        <a:pos x="1" y="145"/>
                      </a:cxn>
                      <a:cxn ang="0">
                        <a:pos x="5" y="174"/>
                      </a:cxn>
                      <a:cxn ang="0">
                        <a:pos x="18" y="203"/>
                      </a:cxn>
                      <a:cxn ang="0">
                        <a:pos x="34" y="231"/>
                      </a:cxn>
                      <a:cxn ang="0">
                        <a:pos x="59" y="259"/>
                      </a:cxn>
                      <a:cxn ang="0">
                        <a:pos x="66" y="252"/>
                      </a:cxn>
                      <a:cxn ang="0">
                        <a:pos x="43" y="225"/>
                      </a:cxn>
                      <a:cxn ang="0">
                        <a:pos x="27" y="198"/>
                      </a:cxn>
                      <a:cxn ang="0">
                        <a:pos x="17" y="172"/>
                      </a:cxn>
                      <a:cxn ang="0">
                        <a:pos x="12" y="145"/>
                      </a:cxn>
                      <a:cxn ang="0">
                        <a:pos x="11" y="119"/>
                      </a:cxn>
                      <a:cxn ang="0">
                        <a:pos x="15" y="94"/>
                      </a:cxn>
                      <a:cxn ang="0">
                        <a:pos x="23" y="73"/>
                      </a:cxn>
                      <a:cxn ang="0">
                        <a:pos x="32" y="53"/>
                      </a:cxn>
                      <a:cxn ang="0">
                        <a:pos x="44" y="37"/>
                      </a:cxn>
                      <a:cxn ang="0">
                        <a:pos x="58" y="24"/>
                      </a:cxn>
                      <a:cxn ang="0">
                        <a:pos x="73" y="16"/>
                      </a:cxn>
                      <a:cxn ang="0">
                        <a:pos x="87" y="11"/>
                      </a:cxn>
                      <a:cxn ang="0">
                        <a:pos x="102" y="13"/>
                      </a:cxn>
                      <a:cxn ang="0">
                        <a:pos x="117" y="18"/>
                      </a:cxn>
                      <a:cxn ang="0">
                        <a:pos x="130" y="30"/>
                      </a:cxn>
                      <a:cxn ang="0">
                        <a:pos x="142" y="48"/>
                      </a:cxn>
                      <a:cxn ang="0">
                        <a:pos x="142" y="48"/>
                      </a:cxn>
                      <a:cxn ang="0">
                        <a:pos x="152" y="44"/>
                      </a:cxn>
                    </a:cxnLst>
                    <a:rect l="0" t="0" r="r" b="b"/>
                    <a:pathLst>
                      <a:path w="152" h="259">
                        <a:moveTo>
                          <a:pt x="152" y="44"/>
                        </a:moveTo>
                        <a:lnTo>
                          <a:pt x="152" y="44"/>
                        </a:lnTo>
                        <a:lnTo>
                          <a:pt x="139" y="23"/>
                        </a:lnTo>
                        <a:lnTo>
                          <a:pt x="122" y="9"/>
                        </a:lnTo>
                        <a:lnTo>
                          <a:pt x="104" y="1"/>
                        </a:lnTo>
                        <a:lnTo>
                          <a:pt x="87" y="0"/>
                        </a:lnTo>
                        <a:lnTo>
                          <a:pt x="69" y="5"/>
                        </a:lnTo>
                        <a:lnTo>
                          <a:pt x="51" y="15"/>
                        </a:lnTo>
                        <a:lnTo>
                          <a:pt x="35" y="30"/>
                        </a:lnTo>
                        <a:lnTo>
                          <a:pt x="23" y="48"/>
                        </a:lnTo>
                        <a:lnTo>
                          <a:pt x="11" y="68"/>
                        </a:lnTo>
                        <a:lnTo>
                          <a:pt x="3" y="92"/>
                        </a:lnTo>
                        <a:lnTo>
                          <a:pt x="0" y="119"/>
                        </a:lnTo>
                        <a:lnTo>
                          <a:pt x="1" y="145"/>
                        </a:lnTo>
                        <a:lnTo>
                          <a:pt x="5" y="174"/>
                        </a:lnTo>
                        <a:lnTo>
                          <a:pt x="18" y="203"/>
                        </a:lnTo>
                        <a:lnTo>
                          <a:pt x="34" y="231"/>
                        </a:lnTo>
                        <a:lnTo>
                          <a:pt x="59" y="259"/>
                        </a:lnTo>
                        <a:lnTo>
                          <a:pt x="66" y="252"/>
                        </a:lnTo>
                        <a:lnTo>
                          <a:pt x="43" y="225"/>
                        </a:lnTo>
                        <a:lnTo>
                          <a:pt x="27" y="198"/>
                        </a:lnTo>
                        <a:lnTo>
                          <a:pt x="17" y="172"/>
                        </a:lnTo>
                        <a:lnTo>
                          <a:pt x="12" y="145"/>
                        </a:lnTo>
                        <a:lnTo>
                          <a:pt x="11" y="119"/>
                        </a:lnTo>
                        <a:lnTo>
                          <a:pt x="15" y="94"/>
                        </a:lnTo>
                        <a:lnTo>
                          <a:pt x="23" y="73"/>
                        </a:lnTo>
                        <a:lnTo>
                          <a:pt x="32" y="53"/>
                        </a:lnTo>
                        <a:lnTo>
                          <a:pt x="44" y="37"/>
                        </a:lnTo>
                        <a:lnTo>
                          <a:pt x="58" y="24"/>
                        </a:lnTo>
                        <a:lnTo>
                          <a:pt x="73" y="16"/>
                        </a:lnTo>
                        <a:lnTo>
                          <a:pt x="87" y="11"/>
                        </a:lnTo>
                        <a:lnTo>
                          <a:pt x="102" y="13"/>
                        </a:lnTo>
                        <a:lnTo>
                          <a:pt x="117" y="18"/>
                        </a:lnTo>
                        <a:lnTo>
                          <a:pt x="130" y="30"/>
                        </a:lnTo>
                        <a:lnTo>
                          <a:pt x="142" y="48"/>
                        </a:lnTo>
                        <a:lnTo>
                          <a:pt x="142" y="48"/>
                        </a:lnTo>
                        <a:lnTo>
                          <a:pt x="152" y="4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1" name="Freeform 1365"/>
                  <p:cNvSpPr>
                    <a:spLocks/>
                  </p:cNvSpPr>
                  <p:nvPr/>
                </p:nvSpPr>
                <p:spPr bwMode="auto">
                  <a:xfrm rot="-5400000">
                    <a:off x="3556" y="3363"/>
                    <a:ext cx="4" cy="6"/>
                  </a:xfrm>
                  <a:custGeom>
                    <a:avLst/>
                    <a:gdLst/>
                    <a:ahLst/>
                    <a:cxnLst>
                      <a:cxn ang="0">
                        <a:pos x="5" y="18"/>
                      </a:cxn>
                      <a:cxn ang="0">
                        <a:pos x="10" y="16"/>
                      </a:cxn>
                      <a:cxn ang="0">
                        <a:pos x="11" y="14"/>
                      </a:cxn>
                      <a:cxn ang="0">
                        <a:pos x="12" y="10"/>
                      </a:cxn>
                      <a:cxn ang="0">
                        <a:pos x="16" y="7"/>
                      </a:cxn>
                      <a:cxn ang="0">
                        <a:pos x="15" y="0"/>
                      </a:cxn>
                      <a:cxn ang="0">
                        <a:pos x="5" y="4"/>
                      </a:cxn>
                      <a:cxn ang="0">
                        <a:pos x="4" y="2"/>
                      </a:cxn>
                      <a:cxn ang="0">
                        <a:pos x="3" y="6"/>
                      </a:cxn>
                      <a:cxn ang="0">
                        <a:pos x="2" y="9"/>
                      </a:cxn>
                      <a:cxn ang="0">
                        <a:pos x="1" y="9"/>
                      </a:cxn>
                      <a:cxn ang="0">
                        <a:pos x="5" y="7"/>
                      </a:cxn>
                      <a:cxn ang="0">
                        <a:pos x="1" y="9"/>
                      </a:cxn>
                      <a:cxn ang="0">
                        <a:pos x="0" y="14"/>
                      </a:cxn>
                      <a:cxn ang="0">
                        <a:pos x="2" y="17"/>
                      </a:cxn>
                      <a:cxn ang="0">
                        <a:pos x="7" y="18"/>
                      </a:cxn>
                      <a:cxn ang="0">
                        <a:pos x="10" y="16"/>
                      </a:cxn>
                      <a:cxn ang="0">
                        <a:pos x="5" y="18"/>
                      </a:cxn>
                    </a:cxnLst>
                    <a:rect l="0" t="0" r="r" b="b"/>
                    <a:pathLst>
                      <a:path w="16" h="18">
                        <a:moveTo>
                          <a:pt x="5" y="18"/>
                        </a:moveTo>
                        <a:lnTo>
                          <a:pt x="10" y="16"/>
                        </a:lnTo>
                        <a:lnTo>
                          <a:pt x="11" y="14"/>
                        </a:lnTo>
                        <a:lnTo>
                          <a:pt x="12" y="10"/>
                        </a:lnTo>
                        <a:lnTo>
                          <a:pt x="16" y="7"/>
                        </a:lnTo>
                        <a:lnTo>
                          <a:pt x="15" y="0"/>
                        </a:lnTo>
                        <a:lnTo>
                          <a:pt x="5" y="4"/>
                        </a:lnTo>
                        <a:lnTo>
                          <a:pt x="4" y="2"/>
                        </a:lnTo>
                        <a:lnTo>
                          <a:pt x="3" y="6"/>
                        </a:lnTo>
                        <a:lnTo>
                          <a:pt x="2" y="9"/>
                        </a:lnTo>
                        <a:lnTo>
                          <a:pt x="1" y="9"/>
                        </a:lnTo>
                        <a:lnTo>
                          <a:pt x="5" y="7"/>
                        </a:lnTo>
                        <a:lnTo>
                          <a:pt x="1" y="9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7" y="18"/>
                        </a:lnTo>
                        <a:lnTo>
                          <a:pt x="10" y="16"/>
                        </a:lnTo>
                        <a:lnTo>
                          <a:pt x="5" y="18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2" name="Freeform 1366"/>
                  <p:cNvSpPr>
                    <a:spLocks/>
                  </p:cNvSpPr>
                  <p:nvPr/>
                </p:nvSpPr>
                <p:spPr bwMode="auto">
                  <a:xfrm rot="-5400000">
                    <a:off x="3556" y="3369"/>
                    <a:ext cx="7" cy="4"/>
                  </a:xfrm>
                  <a:custGeom>
                    <a:avLst/>
                    <a:gdLst/>
                    <a:ahLst/>
                    <a:cxnLst>
                      <a:cxn ang="0">
                        <a:pos x="2" y="10"/>
                      </a:cxn>
                      <a:cxn ang="0">
                        <a:pos x="2" y="9"/>
                      </a:cxn>
                      <a:cxn ang="0">
                        <a:pos x="5" y="11"/>
                      </a:cxn>
                      <a:cxn ang="0">
                        <a:pos x="9" y="12"/>
                      </a:cxn>
                      <a:cxn ang="0">
                        <a:pos x="13" y="12"/>
                      </a:cxn>
                      <a:cxn ang="0">
                        <a:pos x="22" y="11"/>
                      </a:cxn>
                      <a:cxn ang="0">
                        <a:pos x="22" y="0"/>
                      </a:cxn>
                      <a:cxn ang="0">
                        <a:pos x="13" y="1"/>
                      </a:cxn>
                      <a:cxn ang="0">
                        <a:pos x="9" y="1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1"/>
                      </a:cxn>
                      <a:cxn ang="0">
                        <a:pos x="9" y="2"/>
                      </a:cxn>
                      <a:cxn ang="0">
                        <a:pos x="5" y="1"/>
                      </a:cxn>
                      <a:cxn ang="0">
                        <a:pos x="2" y="2"/>
                      </a:cxn>
                      <a:cxn ang="0">
                        <a:pos x="0" y="5"/>
                      </a:cxn>
                      <a:cxn ang="0">
                        <a:pos x="2" y="9"/>
                      </a:cxn>
                      <a:cxn ang="0">
                        <a:pos x="2" y="10"/>
                      </a:cxn>
                    </a:cxnLst>
                    <a:rect l="0" t="0" r="r" b="b"/>
                    <a:pathLst>
                      <a:path w="22" h="12">
                        <a:moveTo>
                          <a:pt x="2" y="10"/>
                        </a:moveTo>
                        <a:lnTo>
                          <a:pt x="2" y="9"/>
                        </a:lnTo>
                        <a:lnTo>
                          <a:pt x="5" y="11"/>
                        </a:lnTo>
                        <a:lnTo>
                          <a:pt x="9" y="12"/>
                        </a:lnTo>
                        <a:lnTo>
                          <a:pt x="13" y="12"/>
                        </a:lnTo>
                        <a:lnTo>
                          <a:pt x="22" y="11"/>
                        </a:lnTo>
                        <a:lnTo>
                          <a:pt x="22" y="0"/>
                        </a:lnTo>
                        <a:lnTo>
                          <a:pt x="13" y="1"/>
                        </a:lnTo>
                        <a:lnTo>
                          <a:pt x="9" y="1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1"/>
                        </a:lnTo>
                        <a:lnTo>
                          <a:pt x="9" y="2"/>
                        </a:lnTo>
                        <a:lnTo>
                          <a:pt x="5" y="1"/>
                        </a:lnTo>
                        <a:lnTo>
                          <a:pt x="2" y="2"/>
                        </a:lnTo>
                        <a:lnTo>
                          <a:pt x="0" y="5"/>
                        </a:lnTo>
                        <a:lnTo>
                          <a:pt x="2" y="9"/>
                        </a:lnTo>
                        <a:lnTo>
                          <a:pt x="2" y="1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3" name="Freeform 1367"/>
                  <p:cNvSpPr>
                    <a:spLocks/>
                  </p:cNvSpPr>
                  <p:nvPr/>
                </p:nvSpPr>
                <p:spPr bwMode="auto">
                  <a:xfrm rot="-5400000">
                    <a:off x="3548" y="3378"/>
                    <a:ext cx="21" cy="7"/>
                  </a:xfrm>
                  <a:custGeom>
                    <a:avLst/>
                    <a:gdLst/>
                    <a:ahLst/>
                    <a:cxnLst>
                      <a:cxn ang="0">
                        <a:pos x="11" y="22"/>
                      </a:cxn>
                      <a:cxn ang="0">
                        <a:pos x="11" y="22"/>
                      </a:cxn>
                      <a:cxn ang="0">
                        <a:pos x="12" y="21"/>
                      </a:cxn>
                      <a:cxn ang="0">
                        <a:pos x="13" y="18"/>
                      </a:cxn>
                      <a:cxn ang="0">
                        <a:pos x="17" y="15"/>
                      </a:cxn>
                      <a:cxn ang="0">
                        <a:pos x="21" y="13"/>
                      </a:cxn>
                      <a:cxn ang="0">
                        <a:pos x="28" y="12"/>
                      </a:cxn>
                      <a:cxn ang="0">
                        <a:pos x="37" y="12"/>
                      </a:cxn>
                      <a:cxn ang="0">
                        <a:pos x="45" y="14"/>
                      </a:cxn>
                      <a:cxn ang="0">
                        <a:pos x="57" y="21"/>
                      </a:cxn>
                      <a:cxn ang="0">
                        <a:pos x="64" y="12"/>
                      </a:cxn>
                      <a:cxn ang="0">
                        <a:pos x="50" y="3"/>
                      </a:cxn>
                      <a:cxn ang="0">
                        <a:pos x="37" y="0"/>
                      </a:cxn>
                      <a:cxn ang="0">
                        <a:pos x="28" y="0"/>
                      </a:cxn>
                      <a:cxn ang="0">
                        <a:pos x="19" y="1"/>
                      </a:cxn>
                      <a:cxn ang="0">
                        <a:pos x="11" y="6"/>
                      </a:cxn>
                      <a:cxn ang="0">
                        <a:pos x="6" y="11"/>
                      </a:cxn>
                      <a:cxn ang="0">
                        <a:pos x="2" y="14"/>
                      </a:cxn>
                      <a:cxn ang="0">
                        <a:pos x="1" y="15"/>
                      </a:cxn>
                      <a:cxn ang="0">
                        <a:pos x="1" y="15"/>
                      </a:cxn>
                      <a:cxn ang="0">
                        <a:pos x="1" y="15"/>
                      </a:cxn>
                      <a:cxn ang="0">
                        <a:pos x="0" y="20"/>
                      </a:cxn>
                      <a:cxn ang="0">
                        <a:pos x="2" y="23"/>
                      </a:cxn>
                      <a:cxn ang="0">
                        <a:pos x="7" y="24"/>
                      </a:cxn>
                      <a:cxn ang="0">
                        <a:pos x="11" y="22"/>
                      </a:cxn>
                    </a:cxnLst>
                    <a:rect l="0" t="0" r="r" b="b"/>
                    <a:pathLst>
                      <a:path w="64" h="24">
                        <a:moveTo>
                          <a:pt x="11" y="22"/>
                        </a:moveTo>
                        <a:lnTo>
                          <a:pt x="11" y="22"/>
                        </a:lnTo>
                        <a:lnTo>
                          <a:pt x="12" y="21"/>
                        </a:lnTo>
                        <a:lnTo>
                          <a:pt x="13" y="18"/>
                        </a:lnTo>
                        <a:lnTo>
                          <a:pt x="17" y="15"/>
                        </a:lnTo>
                        <a:lnTo>
                          <a:pt x="21" y="13"/>
                        </a:lnTo>
                        <a:lnTo>
                          <a:pt x="28" y="12"/>
                        </a:lnTo>
                        <a:lnTo>
                          <a:pt x="37" y="12"/>
                        </a:lnTo>
                        <a:lnTo>
                          <a:pt x="45" y="14"/>
                        </a:lnTo>
                        <a:lnTo>
                          <a:pt x="57" y="21"/>
                        </a:lnTo>
                        <a:lnTo>
                          <a:pt x="64" y="12"/>
                        </a:lnTo>
                        <a:lnTo>
                          <a:pt x="50" y="3"/>
                        </a:lnTo>
                        <a:lnTo>
                          <a:pt x="37" y="0"/>
                        </a:lnTo>
                        <a:lnTo>
                          <a:pt x="28" y="0"/>
                        </a:lnTo>
                        <a:lnTo>
                          <a:pt x="19" y="1"/>
                        </a:lnTo>
                        <a:lnTo>
                          <a:pt x="11" y="6"/>
                        </a:lnTo>
                        <a:lnTo>
                          <a:pt x="6" y="11"/>
                        </a:lnTo>
                        <a:lnTo>
                          <a:pt x="2" y="14"/>
                        </a:lnTo>
                        <a:lnTo>
                          <a:pt x="1" y="15"/>
                        </a:lnTo>
                        <a:lnTo>
                          <a:pt x="1" y="15"/>
                        </a:lnTo>
                        <a:lnTo>
                          <a:pt x="1" y="15"/>
                        </a:lnTo>
                        <a:lnTo>
                          <a:pt x="0" y="20"/>
                        </a:lnTo>
                        <a:lnTo>
                          <a:pt x="2" y="23"/>
                        </a:lnTo>
                        <a:lnTo>
                          <a:pt x="7" y="24"/>
                        </a:lnTo>
                        <a:lnTo>
                          <a:pt x="11" y="22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4" name="Freeform 1368"/>
                  <p:cNvSpPr>
                    <a:spLocks/>
                  </p:cNvSpPr>
                  <p:nvPr/>
                </p:nvSpPr>
                <p:spPr bwMode="auto">
                  <a:xfrm rot="-5400000">
                    <a:off x="3569" y="3379"/>
                    <a:ext cx="12" cy="31"/>
                  </a:xfrm>
                  <a:custGeom>
                    <a:avLst/>
                    <a:gdLst/>
                    <a:ahLst/>
                    <a:cxnLst>
                      <a:cxn ang="0">
                        <a:pos x="13" y="91"/>
                      </a:cxn>
                      <a:cxn ang="0">
                        <a:pos x="13" y="91"/>
                      </a:cxn>
                      <a:cxn ang="0">
                        <a:pos x="11" y="82"/>
                      </a:cxn>
                      <a:cxn ang="0">
                        <a:pos x="13" y="60"/>
                      </a:cxn>
                      <a:cxn ang="0">
                        <a:pos x="19" y="35"/>
                      </a:cxn>
                      <a:cxn ang="0">
                        <a:pos x="36" y="7"/>
                      </a:cxn>
                      <a:cxn ang="0">
                        <a:pos x="26" y="0"/>
                      </a:cxn>
                      <a:cxn ang="0">
                        <a:pos x="8" y="30"/>
                      </a:cxn>
                      <a:cxn ang="0">
                        <a:pos x="1" y="60"/>
                      </a:cxn>
                      <a:cxn ang="0">
                        <a:pos x="0" y="82"/>
                      </a:cxn>
                      <a:cxn ang="0">
                        <a:pos x="1" y="94"/>
                      </a:cxn>
                      <a:cxn ang="0">
                        <a:pos x="1" y="94"/>
                      </a:cxn>
                      <a:cxn ang="0">
                        <a:pos x="13" y="91"/>
                      </a:cxn>
                    </a:cxnLst>
                    <a:rect l="0" t="0" r="r" b="b"/>
                    <a:pathLst>
                      <a:path w="36" h="94">
                        <a:moveTo>
                          <a:pt x="13" y="91"/>
                        </a:moveTo>
                        <a:lnTo>
                          <a:pt x="13" y="91"/>
                        </a:lnTo>
                        <a:lnTo>
                          <a:pt x="11" y="82"/>
                        </a:lnTo>
                        <a:lnTo>
                          <a:pt x="13" y="60"/>
                        </a:lnTo>
                        <a:lnTo>
                          <a:pt x="19" y="35"/>
                        </a:lnTo>
                        <a:lnTo>
                          <a:pt x="36" y="7"/>
                        </a:lnTo>
                        <a:lnTo>
                          <a:pt x="26" y="0"/>
                        </a:lnTo>
                        <a:lnTo>
                          <a:pt x="8" y="30"/>
                        </a:lnTo>
                        <a:lnTo>
                          <a:pt x="1" y="60"/>
                        </a:lnTo>
                        <a:lnTo>
                          <a:pt x="0" y="82"/>
                        </a:lnTo>
                        <a:lnTo>
                          <a:pt x="1" y="94"/>
                        </a:lnTo>
                        <a:lnTo>
                          <a:pt x="1" y="94"/>
                        </a:lnTo>
                        <a:lnTo>
                          <a:pt x="13" y="91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5" name="Freeform 1369"/>
                  <p:cNvSpPr>
                    <a:spLocks/>
                  </p:cNvSpPr>
                  <p:nvPr/>
                </p:nvSpPr>
                <p:spPr bwMode="auto">
                  <a:xfrm rot="-5400000">
                    <a:off x="3595" y="3385"/>
                    <a:ext cx="9" cy="20"/>
                  </a:xfrm>
                  <a:custGeom>
                    <a:avLst/>
                    <a:gdLst/>
                    <a:ahLst/>
                    <a:cxnLst>
                      <a:cxn ang="0">
                        <a:pos x="26" y="54"/>
                      </a:cxn>
                      <a:cxn ang="0">
                        <a:pos x="28" y="54"/>
                      </a:cxn>
                      <a:cxn ang="0">
                        <a:pos x="22" y="41"/>
                      </a:cxn>
                      <a:cxn ang="0">
                        <a:pos x="18" y="27"/>
                      </a:cxn>
                      <a:cxn ang="0">
                        <a:pos x="15" y="13"/>
                      </a:cxn>
                      <a:cxn ang="0">
                        <a:pos x="12" y="0"/>
                      </a:cxn>
                      <a:cxn ang="0">
                        <a:pos x="0" y="3"/>
                      </a:cxn>
                      <a:cxn ang="0">
                        <a:pos x="3" y="15"/>
                      </a:cxn>
                      <a:cxn ang="0">
                        <a:pos x="7" y="29"/>
                      </a:cxn>
                      <a:cxn ang="0">
                        <a:pos x="10" y="43"/>
                      </a:cxn>
                      <a:cxn ang="0">
                        <a:pos x="16" y="59"/>
                      </a:cxn>
                      <a:cxn ang="0">
                        <a:pos x="17" y="59"/>
                      </a:cxn>
                      <a:cxn ang="0">
                        <a:pos x="26" y="54"/>
                      </a:cxn>
                    </a:cxnLst>
                    <a:rect l="0" t="0" r="r" b="b"/>
                    <a:pathLst>
                      <a:path w="28" h="59">
                        <a:moveTo>
                          <a:pt x="26" y="54"/>
                        </a:moveTo>
                        <a:lnTo>
                          <a:pt x="28" y="54"/>
                        </a:lnTo>
                        <a:lnTo>
                          <a:pt x="22" y="41"/>
                        </a:lnTo>
                        <a:lnTo>
                          <a:pt x="18" y="27"/>
                        </a:lnTo>
                        <a:lnTo>
                          <a:pt x="15" y="13"/>
                        </a:lnTo>
                        <a:lnTo>
                          <a:pt x="12" y="0"/>
                        </a:lnTo>
                        <a:lnTo>
                          <a:pt x="0" y="3"/>
                        </a:lnTo>
                        <a:lnTo>
                          <a:pt x="3" y="15"/>
                        </a:lnTo>
                        <a:lnTo>
                          <a:pt x="7" y="29"/>
                        </a:lnTo>
                        <a:lnTo>
                          <a:pt x="10" y="43"/>
                        </a:lnTo>
                        <a:lnTo>
                          <a:pt x="16" y="59"/>
                        </a:lnTo>
                        <a:lnTo>
                          <a:pt x="17" y="59"/>
                        </a:lnTo>
                        <a:lnTo>
                          <a:pt x="26" y="54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436" name="Freeform 1370"/>
                  <p:cNvSpPr>
                    <a:spLocks/>
                  </p:cNvSpPr>
                  <p:nvPr/>
                </p:nvSpPr>
                <p:spPr bwMode="auto">
                  <a:xfrm rot="-5400000">
                    <a:off x="3609" y="3381"/>
                    <a:ext cx="10" cy="14"/>
                  </a:xfrm>
                  <a:custGeom>
                    <a:avLst/>
                    <a:gdLst/>
                    <a:ahLst/>
                    <a:cxnLst>
                      <a:cxn ang="0">
                        <a:pos x="31" y="27"/>
                      </a:cxn>
                      <a:cxn ang="0">
                        <a:pos x="31" y="27"/>
                      </a:cxn>
                      <a:cxn ang="0">
                        <a:pos x="26" y="22"/>
                      </a:cxn>
                      <a:cxn ang="0">
                        <a:pos x="20" y="14"/>
                      </a:cxn>
                      <a:cxn ang="0">
                        <a:pos x="14" y="6"/>
                      </a:cxn>
                      <a:cxn ang="0">
                        <a:pos x="9" y="0"/>
                      </a:cxn>
                      <a:cxn ang="0">
                        <a:pos x="0" y="5"/>
                      </a:cxn>
                      <a:cxn ang="0">
                        <a:pos x="5" y="13"/>
                      </a:cxn>
                      <a:cxn ang="0">
                        <a:pos x="11" y="21"/>
                      </a:cxn>
                      <a:cxn ang="0">
                        <a:pos x="16" y="29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4" y="36"/>
                      </a:cxn>
                      <a:cxn ang="0">
                        <a:pos x="29" y="37"/>
                      </a:cxn>
                      <a:cxn ang="0">
                        <a:pos x="33" y="35"/>
                      </a:cxn>
                      <a:cxn ang="0">
                        <a:pos x="34" y="30"/>
                      </a:cxn>
                      <a:cxn ang="0">
                        <a:pos x="31" y="27"/>
                      </a:cxn>
                    </a:cxnLst>
                    <a:rect l="0" t="0" r="r" b="b"/>
                    <a:pathLst>
                      <a:path w="34" h="37">
                        <a:moveTo>
                          <a:pt x="31" y="27"/>
                        </a:moveTo>
                        <a:lnTo>
                          <a:pt x="31" y="27"/>
                        </a:lnTo>
                        <a:lnTo>
                          <a:pt x="26" y="22"/>
                        </a:lnTo>
                        <a:lnTo>
                          <a:pt x="20" y="14"/>
                        </a:lnTo>
                        <a:lnTo>
                          <a:pt x="14" y="6"/>
                        </a:lnTo>
                        <a:lnTo>
                          <a:pt x="9" y="0"/>
                        </a:lnTo>
                        <a:lnTo>
                          <a:pt x="0" y="5"/>
                        </a:lnTo>
                        <a:lnTo>
                          <a:pt x="5" y="13"/>
                        </a:lnTo>
                        <a:lnTo>
                          <a:pt x="11" y="21"/>
                        </a:lnTo>
                        <a:lnTo>
                          <a:pt x="16" y="29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9" y="37"/>
                        </a:lnTo>
                        <a:lnTo>
                          <a:pt x="33" y="35"/>
                        </a:lnTo>
                        <a:lnTo>
                          <a:pt x="34" y="30"/>
                        </a:lnTo>
                        <a:lnTo>
                          <a:pt x="31" y="27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algn="ctr">
                      <a:defRPr/>
                    </a:pPr>
                    <a:endParaRPr lang="en-GB" sz="863" kern="0">
                      <a:solidFill>
                        <a:sysClr val="windowText" lastClr="000000"/>
                      </a:solidFill>
                    </a:endParaRPr>
                  </a:p>
                </p:txBody>
              </p:sp>
            </p:grpSp>
          </p:grpSp>
        </p:grpSp>
        <p:sp>
          <p:nvSpPr>
            <p:cNvPr id="1239" name="1238 Rectángulo"/>
            <p:cNvSpPr/>
            <p:nvPr/>
          </p:nvSpPr>
          <p:spPr>
            <a:xfrm>
              <a:off x="5351832" y="4405312"/>
              <a:ext cx="1320802" cy="1168401"/>
            </a:xfrm>
            <a:prstGeom prst="rect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</a:ln>
            <a:effectLst/>
          </p:spPr>
          <p:txBody>
            <a:bodyPr lIns="38856" rIns="38856" anchor="ctr"/>
            <a:lstStyle/>
            <a:p>
              <a:pPr algn="ctr">
                <a:defRPr/>
              </a:pPr>
              <a:r>
                <a:rPr lang="en-GB" sz="863" kern="0">
                  <a:solidFill>
                    <a:sysClr val="windowText" lastClr="000000"/>
                  </a:solidFill>
                </a:rPr>
                <a:t>xxxxxxx</a:t>
              </a:r>
              <a:endParaRPr lang="en-GB" sz="863" kern="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660" name="1659 Grupo"/>
          <p:cNvGrpSpPr/>
          <p:nvPr/>
        </p:nvGrpSpPr>
        <p:grpSpPr>
          <a:xfrm>
            <a:off x="6589429" y="359580"/>
            <a:ext cx="854922" cy="1099025"/>
            <a:chOff x="6177137" y="260121"/>
            <a:chExt cx="792088" cy="1018250"/>
          </a:xfrm>
        </p:grpSpPr>
        <p:grpSp>
          <p:nvGrpSpPr>
            <p:cNvPr id="1659" name="1658 Grupo"/>
            <p:cNvGrpSpPr/>
            <p:nvPr/>
          </p:nvGrpSpPr>
          <p:grpSpPr>
            <a:xfrm>
              <a:off x="6177137" y="260121"/>
              <a:ext cx="792088" cy="1018250"/>
              <a:chOff x="6177137" y="260121"/>
              <a:chExt cx="792088" cy="1018250"/>
            </a:xfrm>
          </p:grpSpPr>
          <p:sp>
            <p:nvSpPr>
              <p:cNvPr id="1631" name="AutoShape 581" descr="Cuadrícula de puntos"/>
              <p:cNvSpPr>
                <a:spLocks noChangeArrowheads="1"/>
              </p:cNvSpPr>
              <p:nvPr/>
            </p:nvSpPr>
            <p:spPr bwMode="auto">
              <a:xfrm rot="16200000">
                <a:off x="6091931" y="401604"/>
                <a:ext cx="996159" cy="757375"/>
              </a:xfrm>
              <a:prstGeom prst="foldedCorner">
                <a:avLst>
                  <a:gd name="adj" fmla="val 0"/>
                </a:avLst>
              </a:prstGeom>
              <a:pattFill prst="dotGrid">
                <a:fgClr>
                  <a:srgbClr val="3366CC"/>
                </a:fgClr>
                <a:bgClr>
                  <a:srgbClr val="FFFFFF"/>
                </a:bgClr>
              </a:pattFill>
              <a:ln w="9525">
                <a:solidFill>
                  <a:schemeClr val="accent4"/>
                </a:solidFill>
                <a:round/>
                <a:headEnd/>
                <a:tailEnd/>
              </a:ln>
              <a:effectLst>
                <a:outerShdw dist="17961" dir="2700000" algn="ctr" rotWithShape="0">
                  <a:schemeClr val="accent4"/>
                </a:outerShdw>
              </a:effectLst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s-ES" sz="863"/>
              </a:p>
            </p:txBody>
          </p:sp>
          <p:sp>
            <p:nvSpPr>
              <p:cNvPr id="1632" name="AutoShape 582"/>
              <p:cNvSpPr>
                <a:spLocks noChangeArrowheads="1"/>
              </p:cNvSpPr>
              <p:nvPr/>
            </p:nvSpPr>
            <p:spPr bwMode="auto">
              <a:xfrm rot="5400000" flipV="1">
                <a:off x="6099295" y="400552"/>
                <a:ext cx="996159" cy="743700"/>
              </a:xfrm>
              <a:prstGeom prst="foldedCorner">
                <a:avLst>
                  <a:gd name="adj" fmla="val 19255"/>
                </a:avLst>
              </a:prstGeom>
              <a:solidFill>
                <a:schemeClr val="accent6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3" name="Oval 583"/>
              <p:cNvSpPr>
                <a:spLocks noChangeArrowheads="1"/>
              </p:cNvSpPr>
              <p:nvPr/>
            </p:nvSpPr>
            <p:spPr bwMode="auto">
              <a:xfrm rot="16200000">
                <a:off x="6181344" y="1125318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4" name="Oval 584"/>
              <p:cNvSpPr>
                <a:spLocks noChangeArrowheads="1"/>
              </p:cNvSpPr>
              <p:nvPr/>
            </p:nvSpPr>
            <p:spPr bwMode="auto">
              <a:xfrm rot="16200000">
                <a:off x="6182396" y="1083242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5" name="Oval 585"/>
              <p:cNvSpPr>
                <a:spLocks noChangeArrowheads="1"/>
              </p:cNvSpPr>
              <p:nvPr/>
            </p:nvSpPr>
            <p:spPr bwMode="auto">
              <a:xfrm rot="16200000">
                <a:off x="6182396" y="1043269"/>
                <a:ext cx="57855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6" name="Oval 586"/>
              <p:cNvSpPr>
                <a:spLocks noChangeArrowheads="1"/>
              </p:cNvSpPr>
              <p:nvPr/>
            </p:nvSpPr>
            <p:spPr bwMode="auto">
              <a:xfrm rot="16200000">
                <a:off x="6181344" y="1002245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7" name="Oval 587"/>
              <p:cNvSpPr>
                <a:spLocks noChangeArrowheads="1"/>
              </p:cNvSpPr>
              <p:nvPr/>
            </p:nvSpPr>
            <p:spPr bwMode="auto">
              <a:xfrm rot="16200000">
                <a:off x="6181344" y="960168"/>
                <a:ext cx="59959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8" name="Oval 588"/>
              <p:cNvSpPr>
                <a:spLocks noChangeArrowheads="1"/>
              </p:cNvSpPr>
              <p:nvPr/>
            </p:nvSpPr>
            <p:spPr bwMode="auto">
              <a:xfrm rot="16200000">
                <a:off x="6181344" y="918092"/>
                <a:ext cx="59959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39" name="Oval 589"/>
              <p:cNvSpPr>
                <a:spLocks noChangeArrowheads="1"/>
              </p:cNvSpPr>
              <p:nvPr/>
            </p:nvSpPr>
            <p:spPr bwMode="auto">
              <a:xfrm rot="16200000">
                <a:off x="6181344" y="874963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0" name="Oval 590"/>
              <p:cNvSpPr>
                <a:spLocks noChangeArrowheads="1"/>
              </p:cNvSpPr>
              <p:nvPr/>
            </p:nvSpPr>
            <p:spPr bwMode="auto">
              <a:xfrm rot="16200000">
                <a:off x="6182396" y="833939"/>
                <a:ext cx="57855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1" name="Oval 591"/>
              <p:cNvSpPr>
                <a:spLocks noChangeArrowheads="1"/>
              </p:cNvSpPr>
              <p:nvPr/>
            </p:nvSpPr>
            <p:spPr bwMode="auto">
              <a:xfrm rot="16200000">
                <a:off x="6182396" y="793966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2" name="Oval 592"/>
              <p:cNvSpPr>
                <a:spLocks noChangeArrowheads="1"/>
              </p:cNvSpPr>
              <p:nvPr/>
            </p:nvSpPr>
            <p:spPr bwMode="auto">
              <a:xfrm rot="16200000">
                <a:off x="6182396" y="752942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3" name="Oval 593"/>
              <p:cNvSpPr>
                <a:spLocks noChangeArrowheads="1"/>
              </p:cNvSpPr>
              <p:nvPr/>
            </p:nvSpPr>
            <p:spPr bwMode="auto">
              <a:xfrm rot="16200000">
                <a:off x="6182396" y="711917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4" name="Oval 594"/>
              <p:cNvSpPr>
                <a:spLocks noChangeArrowheads="1"/>
              </p:cNvSpPr>
              <p:nvPr/>
            </p:nvSpPr>
            <p:spPr bwMode="auto">
              <a:xfrm rot="16200000">
                <a:off x="6181344" y="669841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5" name="Oval 595"/>
              <p:cNvSpPr>
                <a:spLocks noChangeArrowheads="1"/>
              </p:cNvSpPr>
              <p:nvPr/>
            </p:nvSpPr>
            <p:spPr bwMode="auto">
              <a:xfrm rot="16200000">
                <a:off x="6181344" y="628817"/>
                <a:ext cx="59959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6" name="Oval 596"/>
              <p:cNvSpPr>
                <a:spLocks noChangeArrowheads="1"/>
              </p:cNvSpPr>
              <p:nvPr/>
            </p:nvSpPr>
            <p:spPr bwMode="auto">
              <a:xfrm rot="16200000">
                <a:off x="6182396" y="586740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7" name="Oval 597"/>
              <p:cNvSpPr>
                <a:spLocks noChangeArrowheads="1"/>
              </p:cNvSpPr>
              <p:nvPr/>
            </p:nvSpPr>
            <p:spPr bwMode="auto">
              <a:xfrm rot="16200000">
                <a:off x="6181344" y="544664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8" name="Oval 598"/>
              <p:cNvSpPr>
                <a:spLocks noChangeArrowheads="1"/>
              </p:cNvSpPr>
              <p:nvPr/>
            </p:nvSpPr>
            <p:spPr bwMode="auto">
              <a:xfrm rot="16200000">
                <a:off x="6182396" y="502587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49" name="Oval 599"/>
              <p:cNvSpPr>
                <a:spLocks noChangeArrowheads="1"/>
              </p:cNvSpPr>
              <p:nvPr/>
            </p:nvSpPr>
            <p:spPr bwMode="auto">
              <a:xfrm rot="16200000">
                <a:off x="6182396" y="462615"/>
                <a:ext cx="57855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0" name="Oval 600"/>
              <p:cNvSpPr>
                <a:spLocks noChangeArrowheads="1"/>
              </p:cNvSpPr>
              <p:nvPr/>
            </p:nvSpPr>
            <p:spPr bwMode="auto">
              <a:xfrm rot="16200000">
                <a:off x="6181344" y="421590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1" name="Oval 601"/>
              <p:cNvSpPr>
                <a:spLocks noChangeArrowheads="1"/>
              </p:cNvSpPr>
              <p:nvPr/>
            </p:nvSpPr>
            <p:spPr bwMode="auto">
              <a:xfrm rot="16200000">
                <a:off x="6182396" y="379514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2" name="Oval 602"/>
              <p:cNvSpPr>
                <a:spLocks noChangeArrowheads="1"/>
              </p:cNvSpPr>
              <p:nvPr/>
            </p:nvSpPr>
            <p:spPr bwMode="auto">
              <a:xfrm rot="16200000">
                <a:off x="6181344" y="338489"/>
                <a:ext cx="59959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3" name="Oval 603"/>
              <p:cNvSpPr>
                <a:spLocks noChangeArrowheads="1"/>
              </p:cNvSpPr>
              <p:nvPr/>
            </p:nvSpPr>
            <p:spPr bwMode="auto">
              <a:xfrm rot="16200000">
                <a:off x="6182396" y="296413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4" name="Oval 604"/>
              <p:cNvSpPr>
                <a:spLocks noChangeArrowheads="1"/>
              </p:cNvSpPr>
              <p:nvPr/>
            </p:nvSpPr>
            <p:spPr bwMode="auto">
              <a:xfrm rot="16200000">
                <a:off x="6182396" y="255388"/>
                <a:ext cx="58907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5" name="Oval 855"/>
              <p:cNvSpPr>
                <a:spLocks noChangeArrowheads="1"/>
              </p:cNvSpPr>
              <p:nvPr/>
            </p:nvSpPr>
            <p:spPr bwMode="auto">
              <a:xfrm rot="16200000">
                <a:off x="6181344" y="1168446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  <p:sp>
            <p:nvSpPr>
              <p:cNvPr id="1656" name="Oval 856"/>
              <p:cNvSpPr>
                <a:spLocks noChangeArrowheads="1"/>
              </p:cNvSpPr>
              <p:nvPr/>
            </p:nvSpPr>
            <p:spPr bwMode="auto">
              <a:xfrm rot="16200000">
                <a:off x="6181344" y="1210523"/>
                <a:ext cx="61011" cy="68374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endParaRPr lang="es-ES" sz="863"/>
              </a:p>
            </p:txBody>
          </p:sp>
        </p:grpSp>
        <p:sp>
          <p:nvSpPr>
            <p:cNvPr id="1657" name="Rectangle 992"/>
            <p:cNvSpPr>
              <a:spLocks noChangeArrowheads="1"/>
            </p:cNvSpPr>
            <p:nvPr/>
          </p:nvSpPr>
          <p:spPr bwMode="auto">
            <a:xfrm>
              <a:off x="6283157" y="376193"/>
              <a:ext cx="635496" cy="7373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s-ES" sz="863"/>
                <a:t>xxx</a:t>
              </a:r>
              <a:endParaRPr lang="es-ES" sz="863" dirty="0"/>
            </a:p>
          </p:txBody>
        </p:sp>
      </p:grpSp>
      <p:grpSp>
        <p:nvGrpSpPr>
          <p:cNvPr id="1661" name="Group 1734"/>
          <p:cNvGrpSpPr>
            <a:grpSpLocks/>
          </p:cNvGrpSpPr>
          <p:nvPr/>
        </p:nvGrpSpPr>
        <p:grpSpPr bwMode="auto">
          <a:xfrm>
            <a:off x="6589429" y="1603673"/>
            <a:ext cx="1321242" cy="1186952"/>
            <a:chOff x="4469" y="269"/>
            <a:chExt cx="1290" cy="1192"/>
          </a:xfrm>
        </p:grpSpPr>
        <p:sp>
          <p:nvSpPr>
            <p:cNvPr id="1662" name="AutoShape 1669"/>
            <p:cNvSpPr>
              <a:spLocks noChangeArrowheads="1"/>
            </p:cNvSpPr>
            <p:nvPr/>
          </p:nvSpPr>
          <p:spPr bwMode="auto">
            <a:xfrm flipV="1">
              <a:off x="4469" y="1367"/>
              <a:ext cx="121" cy="94"/>
            </a:xfrm>
            <a:custGeom>
              <a:avLst/>
              <a:gdLst>
                <a:gd name="T0" fmla="*/ 61 w 21600"/>
                <a:gd name="T1" fmla="*/ 0 h 21600"/>
                <a:gd name="T2" fmla="*/ 17 w 21600"/>
                <a:gd name="T3" fmla="*/ 58 h 21600"/>
                <a:gd name="T4" fmla="*/ 61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3" name="AutoShape 1670"/>
            <p:cNvSpPr>
              <a:spLocks noChangeArrowheads="1"/>
            </p:cNvSpPr>
            <p:nvPr/>
          </p:nvSpPr>
          <p:spPr bwMode="auto">
            <a:xfrm flipV="1">
              <a:off x="4469" y="1251"/>
              <a:ext cx="121" cy="93"/>
            </a:xfrm>
            <a:custGeom>
              <a:avLst/>
              <a:gdLst>
                <a:gd name="T0" fmla="*/ 61 w 21600"/>
                <a:gd name="T1" fmla="*/ 0 h 21600"/>
                <a:gd name="T2" fmla="*/ 17 w 21600"/>
                <a:gd name="T3" fmla="*/ 58 h 21600"/>
                <a:gd name="T4" fmla="*/ 61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38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4" name="AutoShape 1671"/>
            <p:cNvSpPr>
              <a:spLocks noChangeArrowheads="1"/>
            </p:cNvSpPr>
            <p:nvPr/>
          </p:nvSpPr>
          <p:spPr bwMode="auto">
            <a:xfrm flipV="1">
              <a:off x="4471" y="1129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5" name="AutoShape 1672"/>
            <p:cNvSpPr>
              <a:spLocks noChangeArrowheads="1"/>
            </p:cNvSpPr>
            <p:nvPr/>
          </p:nvSpPr>
          <p:spPr bwMode="auto">
            <a:xfrm flipV="1">
              <a:off x="4473" y="1010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6" name="AutoShape 1673"/>
            <p:cNvSpPr>
              <a:spLocks noChangeArrowheads="1"/>
            </p:cNvSpPr>
            <p:nvPr/>
          </p:nvSpPr>
          <p:spPr bwMode="auto">
            <a:xfrm flipV="1">
              <a:off x="4473" y="891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7" name="AutoShape 1674"/>
            <p:cNvSpPr>
              <a:spLocks noChangeArrowheads="1"/>
            </p:cNvSpPr>
            <p:nvPr/>
          </p:nvSpPr>
          <p:spPr bwMode="auto">
            <a:xfrm flipV="1">
              <a:off x="4473" y="776"/>
              <a:ext cx="120" cy="93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38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8" name="AutoShape 1675"/>
            <p:cNvSpPr>
              <a:spLocks noChangeArrowheads="1"/>
            </p:cNvSpPr>
            <p:nvPr/>
          </p:nvSpPr>
          <p:spPr bwMode="auto">
            <a:xfrm flipV="1">
              <a:off x="4471" y="661"/>
              <a:ext cx="120" cy="93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38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69" name="AutoShape 1676"/>
            <p:cNvSpPr>
              <a:spLocks noChangeArrowheads="1"/>
            </p:cNvSpPr>
            <p:nvPr/>
          </p:nvSpPr>
          <p:spPr bwMode="auto">
            <a:xfrm flipV="1">
              <a:off x="4473" y="543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70" name="AutoShape 1677"/>
            <p:cNvSpPr>
              <a:spLocks noChangeArrowheads="1"/>
            </p:cNvSpPr>
            <p:nvPr/>
          </p:nvSpPr>
          <p:spPr bwMode="auto">
            <a:xfrm flipV="1">
              <a:off x="4471" y="423"/>
              <a:ext cx="120" cy="93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38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71" name="AutoShape 1678"/>
            <p:cNvSpPr>
              <a:spLocks noChangeArrowheads="1"/>
            </p:cNvSpPr>
            <p:nvPr/>
          </p:nvSpPr>
          <p:spPr bwMode="auto">
            <a:xfrm flipV="1">
              <a:off x="4471" y="311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6 w 21600"/>
                <a:gd name="T3" fmla="*/ 58 h 21600"/>
                <a:gd name="T4" fmla="*/ 60 w 21600"/>
                <a:gd name="T5" fmla="*/ 22 h 21600"/>
                <a:gd name="T6" fmla="*/ 104 w 21600"/>
                <a:gd name="T7" fmla="*/ 5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1148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369" y="12599"/>
                  </a:moveTo>
                  <a:cubicBezTo>
                    <a:pt x="5177" y="12019"/>
                    <a:pt x="5079" y="11411"/>
                    <a:pt x="5079" y="10800"/>
                  </a:cubicBezTo>
                  <a:cubicBezTo>
                    <a:pt x="5079" y="7640"/>
                    <a:pt x="7640" y="5079"/>
                    <a:pt x="10800" y="5079"/>
                  </a:cubicBezTo>
                  <a:cubicBezTo>
                    <a:pt x="13959" y="5079"/>
                    <a:pt x="16521" y="7640"/>
                    <a:pt x="16521" y="10800"/>
                  </a:cubicBezTo>
                  <a:cubicBezTo>
                    <a:pt x="16521" y="11411"/>
                    <a:pt x="16422" y="12019"/>
                    <a:pt x="16230" y="12599"/>
                  </a:cubicBezTo>
                  <a:lnTo>
                    <a:pt x="21051" y="14197"/>
                  </a:lnTo>
                  <a:cubicBezTo>
                    <a:pt x="21414" y="13101"/>
                    <a:pt x="21600" y="11954"/>
                    <a:pt x="21600" y="10800"/>
                  </a:cubicBez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ubicBezTo>
                    <a:pt x="-1" y="11954"/>
                    <a:pt x="185" y="13101"/>
                    <a:pt x="548" y="14197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72" name="Rectangle 1679"/>
            <p:cNvSpPr>
              <a:spLocks noChangeArrowheads="1"/>
            </p:cNvSpPr>
            <p:nvPr/>
          </p:nvSpPr>
          <p:spPr bwMode="auto">
            <a:xfrm>
              <a:off x="4520" y="269"/>
              <a:ext cx="1239" cy="1188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 wrap="none" anchor="ctr"/>
            <a:lstStyle/>
            <a:p>
              <a:pPr>
                <a:defRPr/>
              </a:pPr>
              <a:endParaRPr lang="es-ES" sz="2159"/>
            </a:p>
          </p:txBody>
        </p:sp>
        <p:sp>
          <p:nvSpPr>
            <p:cNvPr id="1673" name="Oval 1680"/>
            <p:cNvSpPr>
              <a:spLocks noChangeArrowheads="1"/>
            </p:cNvSpPr>
            <p:nvPr/>
          </p:nvSpPr>
          <p:spPr bwMode="auto">
            <a:xfrm>
              <a:off x="4553" y="295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4" name="Oval 1681"/>
            <p:cNvSpPr>
              <a:spLocks noChangeArrowheads="1"/>
            </p:cNvSpPr>
            <p:nvPr/>
          </p:nvSpPr>
          <p:spPr bwMode="auto">
            <a:xfrm>
              <a:off x="4553" y="413"/>
              <a:ext cx="65" cy="63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5" name="Oval 1682"/>
            <p:cNvSpPr>
              <a:spLocks noChangeArrowheads="1"/>
            </p:cNvSpPr>
            <p:nvPr/>
          </p:nvSpPr>
          <p:spPr bwMode="auto">
            <a:xfrm>
              <a:off x="4553" y="532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6" name="Oval 1683"/>
            <p:cNvSpPr>
              <a:spLocks noChangeArrowheads="1"/>
            </p:cNvSpPr>
            <p:nvPr/>
          </p:nvSpPr>
          <p:spPr bwMode="auto">
            <a:xfrm>
              <a:off x="4553" y="651"/>
              <a:ext cx="65" cy="63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7" name="Oval 1684"/>
            <p:cNvSpPr>
              <a:spLocks noChangeArrowheads="1"/>
            </p:cNvSpPr>
            <p:nvPr/>
          </p:nvSpPr>
          <p:spPr bwMode="auto">
            <a:xfrm>
              <a:off x="4553" y="769"/>
              <a:ext cx="65" cy="63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8" name="Oval 1685"/>
            <p:cNvSpPr>
              <a:spLocks noChangeArrowheads="1"/>
            </p:cNvSpPr>
            <p:nvPr/>
          </p:nvSpPr>
          <p:spPr bwMode="auto">
            <a:xfrm>
              <a:off x="4553" y="889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79" name="Oval 1686"/>
            <p:cNvSpPr>
              <a:spLocks noChangeArrowheads="1"/>
            </p:cNvSpPr>
            <p:nvPr/>
          </p:nvSpPr>
          <p:spPr bwMode="auto">
            <a:xfrm>
              <a:off x="4553" y="1007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80" name="Oval 1687"/>
            <p:cNvSpPr>
              <a:spLocks noChangeArrowheads="1"/>
            </p:cNvSpPr>
            <p:nvPr/>
          </p:nvSpPr>
          <p:spPr bwMode="auto">
            <a:xfrm>
              <a:off x="4553" y="1126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81" name="Oval 1688"/>
            <p:cNvSpPr>
              <a:spLocks noChangeArrowheads="1"/>
            </p:cNvSpPr>
            <p:nvPr/>
          </p:nvSpPr>
          <p:spPr bwMode="auto">
            <a:xfrm>
              <a:off x="4553" y="1244"/>
              <a:ext cx="65" cy="62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82" name="Oval 1689"/>
            <p:cNvSpPr>
              <a:spLocks noChangeArrowheads="1"/>
            </p:cNvSpPr>
            <p:nvPr/>
          </p:nvSpPr>
          <p:spPr bwMode="auto">
            <a:xfrm>
              <a:off x="4553" y="1362"/>
              <a:ext cx="65" cy="63"/>
            </a:xfrm>
            <a:prstGeom prst="ellipse">
              <a:avLst/>
            </a:pr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83" name="AutoShape 1690"/>
            <p:cNvSpPr>
              <a:spLocks noChangeArrowheads="1"/>
            </p:cNvSpPr>
            <p:nvPr/>
          </p:nvSpPr>
          <p:spPr bwMode="auto">
            <a:xfrm>
              <a:off x="4472" y="306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4" name="AutoShape 1691"/>
            <p:cNvSpPr>
              <a:spLocks noChangeArrowheads="1"/>
            </p:cNvSpPr>
            <p:nvPr/>
          </p:nvSpPr>
          <p:spPr bwMode="auto">
            <a:xfrm>
              <a:off x="4472" y="424"/>
              <a:ext cx="120" cy="93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6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5" name="AutoShape 1692"/>
            <p:cNvSpPr>
              <a:spLocks noChangeArrowheads="1"/>
            </p:cNvSpPr>
            <p:nvPr/>
          </p:nvSpPr>
          <p:spPr bwMode="auto">
            <a:xfrm>
              <a:off x="4472" y="541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6" name="AutoShape 1693"/>
            <p:cNvSpPr>
              <a:spLocks noChangeArrowheads="1"/>
            </p:cNvSpPr>
            <p:nvPr/>
          </p:nvSpPr>
          <p:spPr bwMode="auto">
            <a:xfrm>
              <a:off x="4472" y="659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7" name="AutoShape 1694"/>
            <p:cNvSpPr>
              <a:spLocks noChangeArrowheads="1"/>
            </p:cNvSpPr>
            <p:nvPr/>
          </p:nvSpPr>
          <p:spPr bwMode="auto">
            <a:xfrm>
              <a:off x="4472" y="777"/>
              <a:ext cx="120" cy="93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6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8" name="AutoShape 1695"/>
            <p:cNvSpPr>
              <a:spLocks noChangeArrowheads="1"/>
            </p:cNvSpPr>
            <p:nvPr/>
          </p:nvSpPr>
          <p:spPr bwMode="auto">
            <a:xfrm>
              <a:off x="4472" y="894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89" name="AutoShape 1696"/>
            <p:cNvSpPr>
              <a:spLocks noChangeArrowheads="1"/>
            </p:cNvSpPr>
            <p:nvPr/>
          </p:nvSpPr>
          <p:spPr bwMode="auto">
            <a:xfrm>
              <a:off x="4472" y="1011"/>
              <a:ext cx="120" cy="95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8 h 21600"/>
                <a:gd name="T4" fmla="*/ 60 w 21600"/>
                <a:gd name="T5" fmla="*/ 24 h 21600"/>
                <a:gd name="T6" fmla="*/ 105 w 21600"/>
                <a:gd name="T7" fmla="*/ 4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73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0" name="AutoShape 1697"/>
            <p:cNvSpPr>
              <a:spLocks noChangeArrowheads="1"/>
            </p:cNvSpPr>
            <p:nvPr/>
          </p:nvSpPr>
          <p:spPr bwMode="auto">
            <a:xfrm>
              <a:off x="4472" y="1129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1" name="AutoShape 1698"/>
            <p:cNvSpPr>
              <a:spLocks noChangeArrowheads="1"/>
            </p:cNvSpPr>
            <p:nvPr/>
          </p:nvSpPr>
          <p:spPr bwMode="auto">
            <a:xfrm>
              <a:off x="4472" y="1247"/>
              <a:ext cx="120" cy="94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7 h 21600"/>
                <a:gd name="T4" fmla="*/ 60 w 21600"/>
                <a:gd name="T5" fmla="*/ 23 h 21600"/>
                <a:gd name="T6" fmla="*/ 105 w 21600"/>
                <a:gd name="T7" fmla="*/ 4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81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2" name="AutoShape 1699"/>
            <p:cNvSpPr>
              <a:spLocks noChangeArrowheads="1"/>
            </p:cNvSpPr>
            <p:nvPr/>
          </p:nvSpPr>
          <p:spPr bwMode="auto">
            <a:xfrm>
              <a:off x="4472" y="1364"/>
              <a:ext cx="120" cy="95"/>
            </a:xfrm>
            <a:custGeom>
              <a:avLst/>
              <a:gdLst>
                <a:gd name="T0" fmla="*/ 60 w 21600"/>
                <a:gd name="T1" fmla="*/ 0 h 21600"/>
                <a:gd name="T2" fmla="*/ 15 w 21600"/>
                <a:gd name="T3" fmla="*/ 48 h 21600"/>
                <a:gd name="T4" fmla="*/ 60 w 21600"/>
                <a:gd name="T5" fmla="*/ 24 h 21600"/>
                <a:gd name="T6" fmla="*/ 105 w 21600"/>
                <a:gd name="T7" fmla="*/ 4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731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B2B2B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3" name="Rectangle 1700"/>
            <p:cNvSpPr>
              <a:spLocks noChangeArrowheads="1"/>
            </p:cNvSpPr>
            <p:nvPr/>
          </p:nvSpPr>
          <p:spPr bwMode="auto">
            <a:xfrm>
              <a:off x="4683" y="334"/>
              <a:ext cx="1001" cy="1048"/>
            </a:xfrm>
            <a:prstGeom prst="rect">
              <a:avLst/>
            </a:prstGeom>
            <a:noFill/>
            <a:ln w="9525">
              <a:solidFill>
                <a:srgbClr val="B2B2B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s-ES" sz="2159"/>
            </a:p>
          </p:txBody>
        </p:sp>
        <p:sp>
          <p:nvSpPr>
            <p:cNvPr id="1694" name="Line 1701"/>
            <p:cNvSpPr>
              <a:spLocks noChangeShapeType="1"/>
            </p:cNvSpPr>
            <p:nvPr/>
          </p:nvSpPr>
          <p:spPr bwMode="auto">
            <a:xfrm>
              <a:off x="4683" y="394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5" name="Line 1702"/>
            <p:cNvSpPr>
              <a:spLocks noChangeShapeType="1"/>
            </p:cNvSpPr>
            <p:nvPr/>
          </p:nvSpPr>
          <p:spPr bwMode="auto">
            <a:xfrm>
              <a:off x="4683" y="451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6" name="Line 1703"/>
            <p:cNvSpPr>
              <a:spLocks noChangeShapeType="1"/>
            </p:cNvSpPr>
            <p:nvPr/>
          </p:nvSpPr>
          <p:spPr bwMode="auto">
            <a:xfrm>
              <a:off x="4683" y="508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7" name="Line 1704"/>
            <p:cNvSpPr>
              <a:spLocks noChangeShapeType="1"/>
            </p:cNvSpPr>
            <p:nvPr/>
          </p:nvSpPr>
          <p:spPr bwMode="auto">
            <a:xfrm>
              <a:off x="4683" y="566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8" name="Line 1705"/>
            <p:cNvSpPr>
              <a:spLocks noChangeShapeType="1"/>
            </p:cNvSpPr>
            <p:nvPr/>
          </p:nvSpPr>
          <p:spPr bwMode="auto">
            <a:xfrm>
              <a:off x="4683" y="624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699" name="Line 1706"/>
            <p:cNvSpPr>
              <a:spLocks noChangeShapeType="1"/>
            </p:cNvSpPr>
            <p:nvPr/>
          </p:nvSpPr>
          <p:spPr bwMode="auto">
            <a:xfrm>
              <a:off x="4683" y="681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0" name="Line 1707"/>
            <p:cNvSpPr>
              <a:spLocks noChangeShapeType="1"/>
            </p:cNvSpPr>
            <p:nvPr/>
          </p:nvSpPr>
          <p:spPr bwMode="auto">
            <a:xfrm>
              <a:off x="4683" y="739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1" name="Line 1708"/>
            <p:cNvSpPr>
              <a:spLocks noChangeShapeType="1"/>
            </p:cNvSpPr>
            <p:nvPr/>
          </p:nvSpPr>
          <p:spPr bwMode="auto">
            <a:xfrm>
              <a:off x="4683" y="797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2" name="Line 1709"/>
            <p:cNvSpPr>
              <a:spLocks noChangeShapeType="1"/>
            </p:cNvSpPr>
            <p:nvPr/>
          </p:nvSpPr>
          <p:spPr bwMode="auto">
            <a:xfrm>
              <a:off x="4683" y="854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3" name="Line 1710"/>
            <p:cNvSpPr>
              <a:spLocks noChangeShapeType="1"/>
            </p:cNvSpPr>
            <p:nvPr/>
          </p:nvSpPr>
          <p:spPr bwMode="auto">
            <a:xfrm>
              <a:off x="4683" y="912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4" name="Line 1711"/>
            <p:cNvSpPr>
              <a:spLocks noChangeShapeType="1"/>
            </p:cNvSpPr>
            <p:nvPr/>
          </p:nvSpPr>
          <p:spPr bwMode="auto">
            <a:xfrm>
              <a:off x="4683" y="1085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5" name="Line 1712"/>
            <p:cNvSpPr>
              <a:spLocks noChangeShapeType="1"/>
            </p:cNvSpPr>
            <p:nvPr/>
          </p:nvSpPr>
          <p:spPr bwMode="auto">
            <a:xfrm>
              <a:off x="4683" y="1027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6" name="Line 1713"/>
            <p:cNvSpPr>
              <a:spLocks noChangeShapeType="1"/>
            </p:cNvSpPr>
            <p:nvPr/>
          </p:nvSpPr>
          <p:spPr bwMode="auto">
            <a:xfrm>
              <a:off x="4683" y="970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7" name="Line 1714"/>
            <p:cNvSpPr>
              <a:spLocks noChangeShapeType="1"/>
            </p:cNvSpPr>
            <p:nvPr/>
          </p:nvSpPr>
          <p:spPr bwMode="auto">
            <a:xfrm>
              <a:off x="4683" y="1143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8" name="Line 1715"/>
            <p:cNvSpPr>
              <a:spLocks noChangeShapeType="1"/>
            </p:cNvSpPr>
            <p:nvPr/>
          </p:nvSpPr>
          <p:spPr bwMode="auto">
            <a:xfrm>
              <a:off x="4683" y="1201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09" name="Line 1716"/>
            <p:cNvSpPr>
              <a:spLocks noChangeShapeType="1"/>
            </p:cNvSpPr>
            <p:nvPr/>
          </p:nvSpPr>
          <p:spPr bwMode="auto">
            <a:xfrm>
              <a:off x="4683" y="1259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0" name="Line 1717"/>
            <p:cNvSpPr>
              <a:spLocks noChangeShapeType="1"/>
            </p:cNvSpPr>
            <p:nvPr/>
          </p:nvSpPr>
          <p:spPr bwMode="auto">
            <a:xfrm>
              <a:off x="4683" y="1317"/>
              <a:ext cx="1001" cy="0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1" name="Line 1718"/>
            <p:cNvSpPr>
              <a:spLocks noChangeShapeType="1"/>
            </p:cNvSpPr>
            <p:nvPr/>
          </p:nvSpPr>
          <p:spPr bwMode="auto">
            <a:xfrm>
              <a:off x="4745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2" name="Line 1719"/>
            <p:cNvSpPr>
              <a:spLocks noChangeShapeType="1"/>
            </p:cNvSpPr>
            <p:nvPr/>
          </p:nvSpPr>
          <p:spPr bwMode="auto">
            <a:xfrm>
              <a:off x="4803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3" name="Line 1720"/>
            <p:cNvSpPr>
              <a:spLocks noChangeShapeType="1"/>
            </p:cNvSpPr>
            <p:nvPr/>
          </p:nvSpPr>
          <p:spPr bwMode="auto">
            <a:xfrm>
              <a:off x="4861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4" name="Line 1721"/>
            <p:cNvSpPr>
              <a:spLocks noChangeShapeType="1"/>
            </p:cNvSpPr>
            <p:nvPr/>
          </p:nvSpPr>
          <p:spPr bwMode="auto">
            <a:xfrm>
              <a:off x="4919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5" name="Line 1722"/>
            <p:cNvSpPr>
              <a:spLocks noChangeShapeType="1"/>
            </p:cNvSpPr>
            <p:nvPr/>
          </p:nvSpPr>
          <p:spPr bwMode="auto">
            <a:xfrm>
              <a:off x="4977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6" name="Line 1723"/>
            <p:cNvSpPr>
              <a:spLocks noChangeShapeType="1"/>
            </p:cNvSpPr>
            <p:nvPr/>
          </p:nvSpPr>
          <p:spPr bwMode="auto">
            <a:xfrm>
              <a:off x="5035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7" name="Line 1724"/>
            <p:cNvSpPr>
              <a:spLocks noChangeShapeType="1"/>
            </p:cNvSpPr>
            <p:nvPr/>
          </p:nvSpPr>
          <p:spPr bwMode="auto">
            <a:xfrm>
              <a:off x="5093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8" name="Line 1725"/>
            <p:cNvSpPr>
              <a:spLocks noChangeShapeType="1"/>
            </p:cNvSpPr>
            <p:nvPr/>
          </p:nvSpPr>
          <p:spPr bwMode="auto">
            <a:xfrm>
              <a:off x="5152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19" name="Line 1726"/>
            <p:cNvSpPr>
              <a:spLocks noChangeShapeType="1"/>
            </p:cNvSpPr>
            <p:nvPr/>
          </p:nvSpPr>
          <p:spPr bwMode="auto">
            <a:xfrm>
              <a:off x="5210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0" name="Line 1727"/>
            <p:cNvSpPr>
              <a:spLocks noChangeShapeType="1"/>
            </p:cNvSpPr>
            <p:nvPr/>
          </p:nvSpPr>
          <p:spPr bwMode="auto">
            <a:xfrm>
              <a:off x="5268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1" name="Line 1728"/>
            <p:cNvSpPr>
              <a:spLocks noChangeShapeType="1"/>
            </p:cNvSpPr>
            <p:nvPr/>
          </p:nvSpPr>
          <p:spPr bwMode="auto">
            <a:xfrm>
              <a:off x="5326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2" name="Line 1729"/>
            <p:cNvSpPr>
              <a:spLocks noChangeShapeType="1"/>
            </p:cNvSpPr>
            <p:nvPr/>
          </p:nvSpPr>
          <p:spPr bwMode="auto">
            <a:xfrm>
              <a:off x="5384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3" name="Line 1730"/>
            <p:cNvSpPr>
              <a:spLocks noChangeShapeType="1"/>
            </p:cNvSpPr>
            <p:nvPr/>
          </p:nvSpPr>
          <p:spPr bwMode="auto">
            <a:xfrm>
              <a:off x="5442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4" name="Line 1731"/>
            <p:cNvSpPr>
              <a:spLocks noChangeShapeType="1"/>
            </p:cNvSpPr>
            <p:nvPr/>
          </p:nvSpPr>
          <p:spPr bwMode="auto">
            <a:xfrm>
              <a:off x="5500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5" name="Line 1732"/>
            <p:cNvSpPr>
              <a:spLocks noChangeShapeType="1"/>
            </p:cNvSpPr>
            <p:nvPr/>
          </p:nvSpPr>
          <p:spPr bwMode="auto">
            <a:xfrm>
              <a:off x="5559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  <p:sp>
          <p:nvSpPr>
            <p:cNvPr id="1726" name="Line 1733"/>
            <p:cNvSpPr>
              <a:spLocks noChangeShapeType="1"/>
            </p:cNvSpPr>
            <p:nvPr/>
          </p:nvSpPr>
          <p:spPr bwMode="auto">
            <a:xfrm>
              <a:off x="5617" y="334"/>
              <a:ext cx="0" cy="1048"/>
            </a:xfrm>
            <a:prstGeom prst="line">
              <a:avLst/>
            </a:prstGeom>
            <a:noFill/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ca-ES" sz="2159"/>
            </a:p>
          </p:txBody>
        </p:sp>
      </p:grpSp>
      <p:sp>
        <p:nvSpPr>
          <p:cNvPr id="1630" name="Título 162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1658" name="Espaço Reservado para Texto 165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0615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Flechas</a:t>
            </a:r>
            <a:endParaRPr lang="pt-BR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BR" dirty="0" smtClean="0"/>
              <a:t>Formas y </a:t>
            </a:r>
            <a:r>
              <a:rPr lang="pt-BR" dirty="0" err="1" smtClean="0"/>
              <a:t>dibujos</a:t>
            </a:r>
            <a:endParaRPr lang="pt-BR" dirty="0"/>
          </a:p>
        </p:txBody>
      </p:sp>
      <p:sp>
        <p:nvSpPr>
          <p:cNvPr id="74754" name="Freeform 2"/>
          <p:cNvSpPr>
            <a:spLocks/>
          </p:cNvSpPr>
          <p:nvPr/>
        </p:nvSpPr>
        <p:spPr bwMode="auto">
          <a:xfrm>
            <a:off x="787659" y="3666306"/>
            <a:ext cx="2199709" cy="1291497"/>
          </a:xfrm>
          <a:custGeom>
            <a:avLst/>
            <a:gdLst/>
            <a:ahLst/>
            <a:cxnLst>
              <a:cxn ang="0">
                <a:pos x="1028" y="429"/>
              </a:cxn>
              <a:cxn ang="0">
                <a:pos x="936" y="588"/>
              </a:cxn>
              <a:cxn ang="0">
                <a:pos x="1508" y="449"/>
              </a:cxn>
              <a:cxn ang="0">
                <a:pos x="1277" y="0"/>
              </a:cxn>
              <a:cxn ang="0">
                <a:pos x="1188" y="156"/>
              </a:cxn>
              <a:cxn ang="0">
                <a:pos x="1153" y="148"/>
              </a:cxn>
              <a:cxn ang="0">
                <a:pos x="1127" y="136"/>
              </a:cxn>
              <a:cxn ang="0">
                <a:pos x="1103" y="130"/>
              </a:cxn>
              <a:cxn ang="0">
                <a:pos x="1058" y="120"/>
              </a:cxn>
              <a:cxn ang="0">
                <a:pos x="1026" y="111"/>
              </a:cxn>
              <a:cxn ang="0">
                <a:pos x="962" y="93"/>
              </a:cxn>
              <a:cxn ang="0">
                <a:pos x="877" y="82"/>
              </a:cxn>
              <a:cxn ang="0">
                <a:pos x="818" y="76"/>
              </a:cxn>
              <a:cxn ang="0">
                <a:pos x="752" y="74"/>
              </a:cxn>
              <a:cxn ang="0">
                <a:pos x="689" y="76"/>
              </a:cxn>
              <a:cxn ang="0">
                <a:pos x="630" y="78"/>
              </a:cxn>
              <a:cxn ang="0">
                <a:pos x="548" y="89"/>
              </a:cxn>
              <a:cxn ang="0">
                <a:pos x="492" y="98"/>
              </a:cxn>
              <a:cxn ang="0">
                <a:pos x="436" y="114"/>
              </a:cxn>
              <a:cxn ang="0">
                <a:pos x="361" y="143"/>
              </a:cxn>
              <a:cxn ang="0">
                <a:pos x="307" y="174"/>
              </a:cxn>
              <a:cxn ang="0">
                <a:pos x="274" y="196"/>
              </a:cxn>
              <a:cxn ang="0">
                <a:pos x="214" y="250"/>
              </a:cxn>
              <a:cxn ang="0">
                <a:pos x="167" y="310"/>
              </a:cxn>
              <a:cxn ang="0">
                <a:pos x="120" y="373"/>
              </a:cxn>
              <a:cxn ang="0">
                <a:pos x="65" y="480"/>
              </a:cxn>
              <a:cxn ang="0">
                <a:pos x="40" y="560"/>
              </a:cxn>
              <a:cxn ang="0">
                <a:pos x="25" y="597"/>
              </a:cxn>
              <a:cxn ang="0">
                <a:pos x="12" y="672"/>
              </a:cxn>
              <a:cxn ang="0">
                <a:pos x="0" y="766"/>
              </a:cxn>
              <a:cxn ang="0">
                <a:pos x="5" y="844"/>
              </a:cxn>
              <a:cxn ang="0">
                <a:pos x="7" y="886"/>
              </a:cxn>
              <a:cxn ang="0">
                <a:pos x="32" y="836"/>
              </a:cxn>
              <a:cxn ang="0">
                <a:pos x="57" y="774"/>
              </a:cxn>
              <a:cxn ang="0">
                <a:pos x="105" y="692"/>
              </a:cxn>
              <a:cxn ang="0">
                <a:pos x="165" y="612"/>
              </a:cxn>
              <a:cxn ang="0">
                <a:pos x="222" y="555"/>
              </a:cxn>
              <a:cxn ang="0">
                <a:pos x="297" y="497"/>
              </a:cxn>
              <a:cxn ang="0">
                <a:pos x="366" y="455"/>
              </a:cxn>
              <a:cxn ang="0">
                <a:pos x="441" y="415"/>
              </a:cxn>
              <a:cxn ang="0">
                <a:pos x="571" y="378"/>
              </a:cxn>
              <a:cxn ang="0">
                <a:pos x="710" y="363"/>
              </a:cxn>
              <a:cxn ang="0">
                <a:pos x="828" y="375"/>
              </a:cxn>
              <a:cxn ang="0">
                <a:pos x="897" y="388"/>
              </a:cxn>
              <a:cxn ang="0">
                <a:pos x="945" y="404"/>
              </a:cxn>
              <a:cxn ang="0">
                <a:pos x="983" y="417"/>
              </a:cxn>
              <a:cxn ang="0">
                <a:pos x="1028" y="429"/>
              </a:cxn>
            </a:cxnLst>
            <a:rect l="0" t="0" r="r" b="b"/>
            <a:pathLst>
              <a:path w="1508" h="886">
                <a:moveTo>
                  <a:pt x="1028" y="429"/>
                </a:moveTo>
                <a:lnTo>
                  <a:pt x="936" y="588"/>
                </a:lnTo>
                <a:lnTo>
                  <a:pt x="1508" y="449"/>
                </a:lnTo>
                <a:lnTo>
                  <a:pt x="1277" y="0"/>
                </a:lnTo>
                <a:lnTo>
                  <a:pt x="1188" y="156"/>
                </a:lnTo>
                <a:lnTo>
                  <a:pt x="1153" y="148"/>
                </a:lnTo>
                <a:lnTo>
                  <a:pt x="1127" y="136"/>
                </a:lnTo>
                <a:lnTo>
                  <a:pt x="1103" y="130"/>
                </a:lnTo>
                <a:lnTo>
                  <a:pt x="1058" y="120"/>
                </a:lnTo>
                <a:lnTo>
                  <a:pt x="1026" y="111"/>
                </a:lnTo>
                <a:lnTo>
                  <a:pt x="962" y="93"/>
                </a:lnTo>
                <a:lnTo>
                  <a:pt x="877" y="82"/>
                </a:lnTo>
                <a:lnTo>
                  <a:pt x="818" y="76"/>
                </a:lnTo>
                <a:lnTo>
                  <a:pt x="752" y="74"/>
                </a:lnTo>
                <a:lnTo>
                  <a:pt x="689" y="76"/>
                </a:lnTo>
                <a:lnTo>
                  <a:pt x="630" y="78"/>
                </a:lnTo>
                <a:lnTo>
                  <a:pt x="548" y="89"/>
                </a:lnTo>
                <a:lnTo>
                  <a:pt x="492" y="98"/>
                </a:lnTo>
                <a:lnTo>
                  <a:pt x="436" y="114"/>
                </a:lnTo>
                <a:lnTo>
                  <a:pt x="361" y="143"/>
                </a:lnTo>
                <a:lnTo>
                  <a:pt x="307" y="174"/>
                </a:lnTo>
                <a:lnTo>
                  <a:pt x="274" y="196"/>
                </a:lnTo>
                <a:lnTo>
                  <a:pt x="214" y="250"/>
                </a:lnTo>
                <a:lnTo>
                  <a:pt x="167" y="310"/>
                </a:lnTo>
                <a:lnTo>
                  <a:pt x="120" y="373"/>
                </a:lnTo>
                <a:lnTo>
                  <a:pt x="65" y="480"/>
                </a:lnTo>
                <a:lnTo>
                  <a:pt x="40" y="560"/>
                </a:lnTo>
                <a:lnTo>
                  <a:pt x="25" y="597"/>
                </a:lnTo>
                <a:lnTo>
                  <a:pt x="12" y="672"/>
                </a:lnTo>
                <a:lnTo>
                  <a:pt x="0" y="766"/>
                </a:lnTo>
                <a:lnTo>
                  <a:pt x="5" y="844"/>
                </a:lnTo>
                <a:lnTo>
                  <a:pt x="7" y="886"/>
                </a:lnTo>
                <a:lnTo>
                  <a:pt x="32" y="836"/>
                </a:lnTo>
                <a:lnTo>
                  <a:pt x="57" y="774"/>
                </a:lnTo>
                <a:lnTo>
                  <a:pt x="105" y="692"/>
                </a:lnTo>
                <a:lnTo>
                  <a:pt x="165" y="612"/>
                </a:lnTo>
                <a:lnTo>
                  <a:pt x="222" y="555"/>
                </a:lnTo>
                <a:lnTo>
                  <a:pt x="297" y="497"/>
                </a:lnTo>
                <a:lnTo>
                  <a:pt x="366" y="455"/>
                </a:lnTo>
                <a:lnTo>
                  <a:pt x="441" y="415"/>
                </a:lnTo>
                <a:lnTo>
                  <a:pt x="571" y="378"/>
                </a:lnTo>
                <a:lnTo>
                  <a:pt x="710" y="363"/>
                </a:lnTo>
                <a:lnTo>
                  <a:pt x="828" y="375"/>
                </a:lnTo>
                <a:lnTo>
                  <a:pt x="897" y="388"/>
                </a:lnTo>
                <a:lnTo>
                  <a:pt x="945" y="404"/>
                </a:lnTo>
                <a:lnTo>
                  <a:pt x="983" y="417"/>
                </a:lnTo>
                <a:lnTo>
                  <a:pt x="1028" y="429"/>
                </a:lnTo>
                <a:close/>
              </a:path>
            </a:pathLst>
          </a:custGeom>
          <a:solidFill>
            <a:schemeClr val="accent5"/>
          </a:solidFill>
          <a:ln w="6350" cmpd="sng">
            <a:noFill/>
            <a:round/>
            <a:headEnd/>
            <a:tailEnd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55" name="Freeform 3"/>
          <p:cNvSpPr>
            <a:spLocks/>
          </p:cNvSpPr>
          <p:nvPr/>
        </p:nvSpPr>
        <p:spPr bwMode="auto">
          <a:xfrm>
            <a:off x="2435125" y="4770326"/>
            <a:ext cx="1648394" cy="1052639"/>
          </a:xfrm>
          <a:custGeom>
            <a:avLst/>
            <a:gdLst/>
            <a:ahLst/>
            <a:cxnLst>
              <a:cxn ang="0">
                <a:pos x="1184" y="752"/>
              </a:cxn>
              <a:cxn ang="0">
                <a:pos x="1150" y="656"/>
              </a:cxn>
              <a:cxn ang="0">
                <a:pos x="1126" y="600"/>
              </a:cxn>
              <a:cxn ang="0">
                <a:pos x="1096" y="538"/>
              </a:cxn>
              <a:cxn ang="0">
                <a:pos x="1066" y="472"/>
              </a:cxn>
              <a:cxn ang="0">
                <a:pos x="1033" y="420"/>
              </a:cxn>
              <a:cxn ang="0">
                <a:pos x="1000" y="378"/>
              </a:cxn>
              <a:cxn ang="0">
                <a:pos x="956" y="334"/>
              </a:cxn>
              <a:cxn ang="0">
                <a:pos x="900" y="286"/>
              </a:cxn>
              <a:cxn ang="0">
                <a:pos x="832" y="244"/>
              </a:cxn>
              <a:cxn ang="0">
                <a:pos x="760" y="213"/>
              </a:cxn>
              <a:cxn ang="0">
                <a:pos x="678" y="184"/>
              </a:cxn>
              <a:cxn ang="0">
                <a:pos x="564" y="150"/>
              </a:cxn>
              <a:cxn ang="0">
                <a:pos x="432" y="110"/>
              </a:cxn>
              <a:cxn ang="0">
                <a:pos x="334" y="84"/>
              </a:cxn>
              <a:cxn ang="0">
                <a:pos x="366" y="0"/>
              </a:cxn>
              <a:cxn ang="0">
                <a:pos x="0" y="102"/>
              </a:cxn>
              <a:cxn ang="0">
                <a:pos x="172" y="364"/>
              </a:cxn>
              <a:cxn ang="0">
                <a:pos x="220" y="276"/>
              </a:cxn>
              <a:cxn ang="0">
                <a:pos x="300" y="284"/>
              </a:cxn>
              <a:cxn ang="0">
                <a:pos x="410" y="294"/>
              </a:cxn>
              <a:cxn ang="0">
                <a:pos x="548" y="310"/>
              </a:cxn>
              <a:cxn ang="0">
                <a:pos x="647" y="335"/>
              </a:cxn>
              <a:cxn ang="0">
                <a:pos x="746" y="373"/>
              </a:cxn>
              <a:cxn ang="0">
                <a:pos x="839" y="421"/>
              </a:cxn>
              <a:cxn ang="0">
                <a:pos x="924" y="479"/>
              </a:cxn>
              <a:cxn ang="0">
                <a:pos x="994" y="540"/>
              </a:cxn>
              <a:cxn ang="0">
                <a:pos x="1058" y="602"/>
              </a:cxn>
              <a:cxn ang="0">
                <a:pos x="1134" y="690"/>
              </a:cxn>
              <a:cxn ang="0">
                <a:pos x="1184" y="752"/>
              </a:cxn>
            </a:cxnLst>
            <a:rect l="0" t="0" r="r" b="b"/>
            <a:pathLst>
              <a:path w="1187" h="758">
                <a:moveTo>
                  <a:pt x="1184" y="752"/>
                </a:moveTo>
                <a:cubicBezTo>
                  <a:pt x="1187" y="746"/>
                  <a:pt x="1160" y="681"/>
                  <a:pt x="1150" y="656"/>
                </a:cubicBezTo>
                <a:cubicBezTo>
                  <a:pt x="1140" y="631"/>
                  <a:pt x="1135" y="620"/>
                  <a:pt x="1126" y="600"/>
                </a:cubicBezTo>
                <a:cubicBezTo>
                  <a:pt x="1126" y="600"/>
                  <a:pt x="1096" y="538"/>
                  <a:pt x="1096" y="538"/>
                </a:cubicBezTo>
                <a:cubicBezTo>
                  <a:pt x="1096" y="538"/>
                  <a:pt x="1066" y="472"/>
                  <a:pt x="1066" y="472"/>
                </a:cubicBezTo>
                <a:cubicBezTo>
                  <a:pt x="1066" y="472"/>
                  <a:pt x="1033" y="420"/>
                  <a:pt x="1033" y="420"/>
                </a:cubicBezTo>
                <a:cubicBezTo>
                  <a:pt x="1033" y="420"/>
                  <a:pt x="1000" y="378"/>
                  <a:pt x="1000" y="378"/>
                </a:cubicBezTo>
                <a:cubicBezTo>
                  <a:pt x="1000" y="378"/>
                  <a:pt x="956" y="334"/>
                  <a:pt x="956" y="334"/>
                </a:cubicBezTo>
                <a:cubicBezTo>
                  <a:pt x="956" y="334"/>
                  <a:pt x="900" y="286"/>
                  <a:pt x="900" y="286"/>
                </a:cubicBezTo>
                <a:cubicBezTo>
                  <a:pt x="900" y="286"/>
                  <a:pt x="832" y="244"/>
                  <a:pt x="832" y="244"/>
                </a:cubicBezTo>
                <a:cubicBezTo>
                  <a:pt x="832" y="244"/>
                  <a:pt x="785" y="224"/>
                  <a:pt x="760" y="213"/>
                </a:cubicBezTo>
                <a:cubicBezTo>
                  <a:pt x="735" y="202"/>
                  <a:pt x="715" y="195"/>
                  <a:pt x="678" y="184"/>
                </a:cubicBezTo>
                <a:cubicBezTo>
                  <a:pt x="644" y="173"/>
                  <a:pt x="605" y="162"/>
                  <a:pt x="564" y="150"/>
                </a:cubicBezTo>
                <a:cubicBezTo>
                  <a:pt x="523" y="138"/>
                  <a:pt x="471" y="120"/>
                  <a:pt x="432" y="110"/>
                </a:cubicBezTo>
                <a:lnTo>
                  <a:pt x="334" y="84"/>
                </a:lnTo>
                <a:lnTo>
                  <a:pt x="366" y="0"/>
                </a:lnTo>
                <a:lnTo>
                  <a:pt x="0" y="102"/>
                </a:lnTo>
                <a:lnTo>
                  <a:pt x="172" y="364"/>
                </a:lnTo>
                <a:lnTo>
                  <a:pt x="220" y="276"/>
                </a:lnTo>
                <a:lnTo>
                  <a:pt x="300" y="284"/>
                </a:lnTo>
                <a:cubicBezTo>
                  <a:pt x="332" y="287"/>
                  <a:pt x="369" y="290"/>
                  <a:pt x="410" y="294"/>
                </a:cubicBezTo>
                <a:cubicBezTo>
                  <a:pt x="410" y="294"/>
                  <a:pt x="548" y="310"/>
                  <a:pt x="548" y="310"/>
                </a:cubicBezTo>
                <a:cubicBezTo>
                  <a:pt x="548" y="310"/>
                  <a:pt x="647" y="335"/>
                  <a:pt x="647" y="335"/>
                </a:cubicBezTo>
                <a:cubicBezTo>
                  <a:pt x="647" y="335"/>
                  <a:pt x="746" y="373"/>
                  <a:pt x="746" y="373"/>
                </a:cubicBezTo>
                <a:cubicBezTo>
                  <a:pt x="746" y="373"/>
                  <a:pt x="839" y="421"/>
                  <a:pt x="839" y="421"/>
                </a:cubicBezTo>
                <a:cubicBezTo>
                  <a:pt x="839" y="421"/>
                  <a:pt x="924" y="479"/>
                  <a:pt x="924" y="479"/>
                </a:cubicBezTo>
                <a:cubicBezTo>
                  <a:pt x="924" y="479"/>
                  <a:pt x="994" y="540"/>
                  <a:pt x="994" y="540"/>
                </a:cubicBezTo>
                <a:cubicBezTo>
                  <a:pt x="994" y="540"/>
                  <a:pt x="1035" y="576"/>
                  <a:pt x="1058" y="602"/>
                </a:cubicBezTo>
                <a:cubicBezTo>
                  <a:pt x="1081" y="628"/>
                  <a:pt x="1113" y="665"/>
                  <a:pt x="1134" y="690"/>
                </a:cubicBezTo>
                <a:cubicBezTo>
                  <a:pt x="1155" y="715"/>
                  <a:pt x="1182" y="758"/>
                  <a:pt x="1184" y="752"/>
                </a:cubicBez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56" name="Freeform 4"/>
          <p:cNvSpPr>
            <a:spLocks/>
          </p:cNvSpPr>
          <p:nvPr/>
        </p:nvSpPr>
        <p:spPr bwMode="auto">
          <a:xfrm>
            <a:off x="4687606" y="5517450"/>
            <a:ext cx="1138738" cy="1244280"/>
          </a:xfrm>
          <a:custGeom>
            <a:avLst/>
            <a:gdLst/>
            <a:ahLst/>
            <a:cxnLst>
              <a:cxn ang="0">
                <a:pos x="0" y="1246"/>
              </a:cxn>
              <a:cxn ang="0">
                <a:pos x="98" y="1044"/>
              </a:cxn>
              <a:cxn ang="0">
                <a:pos x="148" y="942"/>
              </a:cxn>
              <a:cxn ang="0">
                <a:pos x="206" y="832"/>
              </a:cxn>
              <a:cxn ang="0">
                <a:pos x="242" y="756"/>
              </a:cxn>
              <a:cxn ang="0">
                <a:pos x="294" y="658"/>
              </a:cxn>
              <a:cxn ang="0">
                <a:pos x="336" y="586"/>
              </a:cxn>
              <a:cxn ang="0">
                <a:pos x="402" y="494"/>
              </a:cxn>
              <a:cxn ang="0">
                <a:pos x="460" y="430"/>
              </a:cxn>
              <a:cxn ang="0">
                <a:pos x="514" y="378"/>
              </a:cxn>
              <a:cxn ang="0">
                <a:pos x="585" y="308"/>
              </a:cxn>
              <a:cxn ang="0">
                <a:pos x="692" y="232"/>
              </a:cxn>
              <a:cxn ang="0">
                <a:pos x="764" y="188"/>
              </a:cxn>
              <a:cxn ang="0">
                <a:pos x="826" y="144"/>
              </a:cxn>
              <a:cxn ang="0">
                <a:pos x="792" y="0"/>
              </a:cxn>
              <a:cxn ang="0">
                <a:pos x="1140" y="186"/>
              </a:cxn>
              <a:cxn ang="0">
                <a:pos x="1008" y="638"/>
              </a:cxn>
              <a:cxn ang="0">
                <a:pos x="960" y="496"/>
              </a:cxn>
              <a:cxn ang="0">
                <a:pos x="856" y="524"/>
              </a:cxn>
              <a:cxn ang="0">
                <a:pos x="746" y="562"/>
              </a:cxn>
              <a:cxn ang="0">
                <a:pos x="660" y="598"/>
              </a:cxn>
              <a:cxn ang="0">
                <a:pos x="582" y="636"/>
              </a:cxn>
              <a:cxn ang="0">
                <a:pos x="510" y="674"/>
              </a:cxn>
              <a:cxn ang="0">
                <a:pos x="450" y="716"/>
              </a:cxn>
              <a:cxn ang="0">
                <a:pos x="388" y="759"/>
              </a:cxn>
              <a:cxn ang="0">
                <a:pos x="340" y="798"/>
              </a:cxn>
              <a:cxn ang="0">
                <a:pos x="271" y="864"/>
              </a:cxn>
              <a:cxn ang="0">
                <a:pos x="230" y="910"/>
              </a:cxn>
              <a:cxn ang="0">
                <a:pos x="182" y="970"/>
              </a:cxn>
              <a:cxn ang="0">
                <a:pos x="132" y="1038"/>
              </a:cxn>
              <a:cxn ang="0">
                <a:pos x="64" y="1138"/>
              </a:cxn>
              <a:cxn ang="0">
                <a:pos x="0" y="1246"/>
              </a:cxn>
            </a:cxnLst>
            <a:rect l="0" t="0" r="r" b="b"/>
            <a:pathLst>
              <a:path w="1140" h="1246">
                <a:moveTo>
                  <a:pt x="0" y="1246"/>
                </a:moveTo>
                <a:lnTo>
                  <a:pt x="98" y="1044"/>
                </a:lnTo>
                <a:cubicBezTo>
                  <a:pt x="98" y="1044"/>
                  <a:pt x="148" y="942"/>
                  <a:pt x="148" y="942"/>
                </a:cubicBezTo>
                <a:cubicBezTo>
                  <a:pt x="148" y="942"/>
                  <a:pt x="206" y="832"/>
                  <a:pt x="206" y="832"/>
                </a:cubicBezTo>
                <a:cubicBezTo>
                  <a:pt x="206" y="832"/>
                  <a:pt x="242" y="756"/>
                  <a:pt x="242" y="756"/>
                </a:cubicBezTo>
                <a:cubicBezTo>
                  <a:pt x="242" y="756"/>
                  <a:pt x="294" y="658"/>
                  <a:pt x="294" y="658"/>
                </a:cubicBezTo>
                <a:cubicBezTo>
                  <a:pt x="294" y="658"/>
                  <a:pt x="336" y="586"/>
                  <a:pt x="336" y="586"/>
                </a:cubicBezTo>
                <a:cubicBezTo>
                  <a:pt x="336" y="586"/>
                  <a:pt x="402" y="494"/>
                  <a:pt x="402" y="494"/>
                </a:cubicBezTo>
                <a:cubicBezTo>
                  <a:pt x="402" y="494"/>
                  <a:pt x="460" y="430"/>
                  <a:pt x="460" y="430"/>
                </a:cubicBezTo>
                <a:cubicBezTo>
                  <a:pt x="460" y="430"/>
                  <a:pt x="493" y="399"/>
                  <a:pt x="514" y="378"/>
                </a:cubicBezTo>
                <a:cubicBezTo>
                  <a:pt x="535" y="357"/>
                  <a:pt x="555" y="331"/>
                  <a:pt x="585" y="308"/>
                </a:cubicBezTo>
                <a:cubicBezTo>
                  <a:pt x="615" y="284"/>
                  <a:pt x="662" y="252"/>
                  <a:pt x="692" y="232"/>
                </a:cubicBezTo>
                <a:cubicBezTo>
                  <a:pt x="722" y="212"/>
                  <a:pt x="742" y="203"/>
                  <a:pt x="764" y="188"/>
                </a:cubicBezTo>
                <a:lnTo>
                  <a:pt x="826" y="144"/>
                </a:lnTo>
                <a:lnTo>
                  <a:pt x="792" y="0"/>
                </a:lnTo>
                <a:lnTo>
                  <a:pt x="1140" y="186"/>
                </a:lnTo>
                <a:lnTo>
                  <a:pt x="1008" y="638"/>
                </a:lnTo>
                <a:lnTo>
                  <a:pt x="960" y="496"/>
                </a:lnTo>
                <a:lnTo>
                  <a:pt x="856" y="524"/>
                </a:lnTo>
                <a:cubicBezTo>
                  <a:pt x="820" y="535"/>
                  <a:pt x="746" y="562"/>
                  <a:pt x="746" y="562"/>
                </a:cubicBezTo>
                <a:cubicBezTo>
                  <a:pt x="746" y="562"/>
                  <a:pt x="660" y="598"/>
                  <a:pt x="660" y="598"/>
                </a:cubicBezTo>
                <a:cubicBezTo>
                  <a:pt x="660" y="598"/>
                  <a:pt x="607" y="623"/>
                  <a:pt x="582" y="636"/>
                </a:cubicBezTo>
                <a:cubicBezTo>
                  <a:pt x="557" y="649"/>
                  <a:pt x="530" y="662"/>
                  <a:pt x="510" y="674"/>
                </a:cubicBezTo>
                <a:cubicBezTo>
                  <a:pt x="490" y="686"/>
                  <a:pt x="470" y="702"/>
                  <a:pt x="450" y="716"/>
                </a:cubicBezTo>
                <a:cubicBezTo>
                  <a:pt x="430" y="730"/>
                  <a:pt x="406" y="745"/>
                  <a:pt x="388" y="759"/>
                </a:cubicBezTo>
                <a:cubicBezTo>
                  <a:pt x="370" y="773"/>
                  <a:pt x="360" y="780"/>
                  <a:pt x="340" y="798"/>
                </a:cubicBezTo>
                <a:cubicBezTo>
                  <a:pt x="320" y="816"/>
                  <a:pt x="289" y="845"/>
                  <a:pt x="271" y="864"/>
                </a:cubicBezTo>
                <a:cubicBezTo>
                  <a:pt x="253" y="883"/>
                  <a:pt x="245" y="892"/>
                  <a:pt x="230" y="910"/>
                </a:cubicBezTo>
                <a:cubicBezTo>
                  <a:pt x="215" y="928"/>
                  <a:pt x="198" y="949"/>
                  <a:pt x="182" y="970"/>
                </a:cubicBezTo>
                <a:cubicBezTo>
                  <a:pt x="166" y="991"/>
                  <a:pt x="152" y="1010"/>
                  <a:pt x="132" y="1038"/>
                </a:cubicBezTo>
                <a:lnTo>
                  <a:pt x="64" y="1138"/>
                </a:lnTo>
                <a:lnTo>
                  <a:pt x="0" y="124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57" name="Freeform 5"/>
          <p:cNvSpPr>
            <a:spLocks/>
          </p:cNvSpPr>
          <p:nvPr/>
        </p:nvSpPr>
        <p:spPr bwMode="auto">
          <a:xfrm>
            <a:off x="2986442" y="2535899"/>
            <a:ext cx="2938501" cy="637416"/>
          </a:xfrm>
          <a:custGeom>
            <a:avLst/>
            <a:gdLst/>
            <a:ahLst/>
            <a:cxnLst>
              <a:cxn ang="0">
                <a:pos x="325" y="364"/>
              </a:cxn>
              <a:cxn ang="0">
                <a:pos x="0" y="351"/>
              </a:cxn>
              <a:cxn ang="0">
                <a:pos x="28" y="106"/>
              </a:cxn>
              <a:cxn ang="0">
                <a:pos x="65" y="154"/>
              </a:cxn>
              <a:cxn ang="0">
                <a:pos x="102" y="130"/>
              </a:cxn>
              <a:cxn ang="0">
                <a:pos x="148" y="106"/>
              </a:cxn>
              <a:cxn ang="0">
                <a:pos x="205" y="82"/>
              </a:cxn>
              <a:cxn ang="0">
                <a:pos x="259" y="63"/>
              </a:cxn>
              <a:cxn ang="0">
                <a:pos x="320" y="43"/>
              </a:cxn>
              <a:cxn ang="0">
                <a:pos x="397" y="28"/>
              </a:cxn>
              <a:cxn ang="0">
                <a:pos x="488" y="10"/>
              </a:cxn>
              <a:cxn ang="0">
                <a:pos x="565" y="4"/>
              </a:cxn>
              <a:cxn ang="0">
                <a:pos x="659" y="1"/>
              </a:cxn>
              <a:cxn ang="0">
                <a:pos x="772" y="8"/>
              </a:cxn>
              <a:cxn ang="0">
                <a:pos x="881" y="17"/>
              </a:cxn>
              <a:cxn ang="0">
                <a:pos x="988" y="32"/>
              </a:cxn>
              <a:cxn ang="0">
                <a:pos x="1101" y="56"/>
              </a:cxn>
              <a:cxn ang="0">
                <a:pos x="1204" y="87"/>
              </a:cxn>
              <a:cxn ang="0">
                <a:pos x="1308" y="122"/>
              </a:cxn>
              <a:cxn ang="0">
                <a:pos x="1390" y="154"/>
              </a:cxn>
              <a:cxn ang="0">
                <a:pos x="1472" y="190"/>
              </a:cxn>
              <a:cxn ang="0">
                <a:pos x="1572" y="236"/>
              </a:cxn>
              <a:cxn ang="0">
                <a:pos x="1674" y="294"/>
              </a:cxn>
              <a:cxn ang="0">
                <a:pos x="1765" y="355"/>
              </a:cxn>
              <a:cxn ang="0">
                <a:pos x="1826" y="396"/>
              </a:cxn>
              <a:cxn ang="0">
                <a:pos x="1797" y="383"/>
              </a:cxn>
              <a:cxn ang="0">
                <a:pos x="1741" y="355"/>
              </a:cxn>
              <a:cxn ang="0">
                <a:pos x="1668" y="318"/>
              </a:cxn>
              <a:cxn ang="0">
                <a:pos x="1586" y="281"/>
              </a:cxn>
              <a:cxn ang="0">
                <a:pos x="1503" y="246"/>
              </a:cxn>
              <a:cxn ang="0">
                <a:pos x="1427" y="220"/>
              </a:cxn>
              <a:cxn ang="0">
                <a:pos x="1341" y="196"/>
              </a:cxn>
              <a:cxn ang="0">
                <a:pos x="1283" y="183"/>
              </a:cxn>
              <a:cxn ang="0">
                <a:pos x="1217" y="169"/>
              </a:cxn>
              <a:cxn ang="0">
                <a:pos x="1156" y="159"/>
              </a:cxn>
              <a:cxn ang="0">
                <a:pos x="1086" y="150"/>
              </a:cxn>
              <a:cxn ang="0">
                <a:pos x="1014" y="146"/>
              </a:cxn>
              <a:cxn ang="0">
                <a:pos x="951" y="143"/>
              </a:cxn>
              <a:cxn ang="0">
                <a:pos x="892" y="143"/>
              </a:cxn>
              <a:cxn ang="0">
                <a:pos x="820" y="148"/>
              </a:cxn>
              <a:cxn ang="0">
                <a:pos x="757" y="152"/>
              </a:cxn>
              <a:cxn ang="0">
                <a:pos x="698" y="161"/>
              </a:cxn>
              <a:cxn ang="0">
                <a:pos x="621" y="176"/>
              </a:cxn>
              <a:cxn ang="0">
                <a:pos x="558" y="191"/>
              </a:cxn>
              <a:cxn ang="0">
                <a:pos x="493" y="211"/>
              </a:cxn>
              <a:cxn ang="0">
                <a:pos x="423" y="239"/>
              </a:cxn>
              <a:cxn ang="0">
                <a:pos x="364" y="265"/>
              </a:cxn>
              <a:cxn ang="0">
                <a:pos x="307" y="298"/>
              </a:cxn>
              <a:cxn ang="0">
                <a:pos x="281" y="318"/>
              </a:cxn>
              <a:cxn ang="0">
                <a:pos x="325" y="364"/>
              </a:cxn>
            </a:cxnLst>
            <a:rect l="0" t="0" r="r" b="b"/>
            <a:pathLst>
              <a:path w="1826" h="396">
                <a:moveTo>
                  <a:pt x="325" y="364"/>
                </a:moveTo>
                <a:lnTo>
                  <a:pt x="0" y="351"/>
                </a:lnTo>
                <a:lnTo>
                  <a:pt x="28" y="106"/>
                </a:lnTo>
                <a:lnTo>
                  <a:pt x="65" y="154"/>
                </a:lnTo>
                <a:lnTo>
                  <a:pt x="102" y="130"/>
                </a:lnTo>
                <a:cubicBezTo>
                  <a:pt x="116" y="122"/>
                  <a:pt x="131" y="114"/>
                  <a:pt x="148" y="106"/>
                </a:cubicBezTo>
                <a:cubicBezTo>
                  <a:pt x="165" y="98"/>
                  <a:pt x="186" y="89"/>
                  <a:pt x="205" y="82"/>
                </a:cubicBezTo>
                <a:cubicBezTo>
                  <a:pt x="224" y="75"/>
                  <a:pt x="240" y="69"/>
                  <a:pt x="259" y="63"/>
                </a:cubicBezTo>
                <a:cubicBezTo>
                  <a:pt x="278" y="57"/>
                  <a:pt x="297" y="49"/>
                  <a:pt x="320" y="43"/>
                </a:cubicBezTo>
                <a:cubicBezTo>
                  <a:pt x="343" y="37"/>
                  <a:pt x="369" y="33"/>
                  <a:pt x="397" y="28"/>
                </a:cubicBezTo>
                <a:cubicBezTo>
                  <a:pt x="425" y="23"/>
                  <a:pt x="460" y="14"/>
                  <a:pt x="488" y="10"/>
                </a:cubicBezTo>
                <a:cubicBezTo>
                  <a:pt x="516" y="6"/>
                  <a:pt x="537" y="5"/>
                  <a:pt x="565" y="4"/>
                </a:cubicBezTo>
                <a:cubicBezTo>
                  <a:pt x="593" y="3"/>
                  <a:pt x="625" y="0"/>
                  <a:pt x="659" y="1"/>
                </a:cubicBezTo>
                <a:cubicBezTo>
                  <a:pt x="693" y="1"/>
                  <a:pt x="735" y="5"/>
                  <a:pt x="772" y="8"/>
                </a:cubicBezTo>
                <a:cubicBezTo>
                  <a:pt x="809" y="11"/>
                  <a:pt x="845" y="13"/>
                  <a:pt x="881" y="17"/>
                </a:cubicBezTo>
                <a:cubicBezTo>
                  <a:pt x="917" y="21"/>
                  <a:pt x="951" y="26"/>
                  <a:pt x="988" y="32"/>
                </a:cubicBezTo>
                <a:cubicBezTo>
                  <a:pt x="1025" y="38"/>
                  <a:pt x="1065" y="47"/>
                  <a:pt x="1101" y="56"/>
                </a:cubicBezTo>
                <a:cubicBezTo>
                  <a:pt x="1137" y="65"/>
                  <a:pt x="1173" y="77"/>
                  <a:pt x="1204" y="87"/>
                </a:cubicBezTo>
                <a:cubicBezTo>
                  <a:pt x="1235" y="97"/>
                  <a:pt x="1277" y="111"/>
                  <a:pt x="1308" y="122"/>
                </a:cubicBezTo>
                <a:lnTo>
                  <a:pt x="1390" y="154"/>
                </a:lnTo>
                <a:cubicBezTo>
                  <a:pt x="1417" y="165"/>
                  <a:pt x="1442" y="176"/>
                  <a:pt x="1472" y="190"/>
                </a:cubicBezTo>
                <a:cubicBezTo>
                  <a:pt x="1502" y="203"/>
                  <a:pt x="1539" y="220"/>
                  <a:pt x="1572" y="236"/>
                </a:cubicBezTo>
                <a:cubicBezTo>
                  <a:pt x="1605" y="252"/>
                  <a:pt x="1642" y="275"/>
                  <a:pt x="1674" y="294"/>
                </a:cubicBezTo>
                <a:lnTo>
                  <a:pt x="1765" y="355"/>
                </a:lnTo>
                <a:lnTo>
                  <a:pt x="1826" y="396"/>
                </a:lnTo>
                <a:lnTo>
                  <a:pt x="1797" y="383"/>
                </a:lnTo>
                <a:lnTo>
                  <a:pt x="1741" y="355"/>
                </a:lnTo>
                <a:cubicBezTo>
                  <a:pt x="1720" y="344"/>
                  <a:pt x="1694" y="330"/>
                  <a:pt x="1668" y="318"/>
                </a:cubicBezTo>
                <a:cubicBezTo>
                  <a:pt x="1641" y="305"/>
                  <a:pt x="1613" y="292"/>
                  <a:pt x="1586" y="281"/>
                </a:cubicBezTo>
                <a:lnTo>
                  <a:pt x="1503" y="246"/>
                </a:lnTo>
                <a:lnTo>
                  <a:pt x="1427" y="220"/>
                </a:lnTo>
                <a:lnTo>
                  <a:pt x="1341" y="196"/>
                </a:lnTo>
                <a:lnTo>
                  <a:pt x="1283" y="183"/>
                </a:lnTo>
                <a:lnTo>
                  <a:pt x="1217" y="169"/>
                </a:lnTo>
                <a:cubicBezTo>
                  <a:pt x="1196" y="165"/>
                  <a:pt x="1178" y="162"/>
                  <a:pt x="1156" y="159"/>
                </a:cubicBezTo>
                <a:cubicBezTo>
                  <a:pt x="1134" y="156"/>
                  <a:pt x="1110" y="152"/>
                  <a:pt x="1086" y="150"/>
                </a:cubicBezTo>
                <a:cubicBezTo>
                  <a:pt x="1062" y="148"/>
                  <a:pt x="1036" y="147"/>
                  <a:pt x="1014" y="146"/>
                </a:cubicBezTo>
                <a:cubicBezTo>
                  <a:pt x="992" y="145"/>
                  <a:pt x="971" y="144"/>
                  <a:pt x="951" y="143"/>
                </a:cubicBezTo>
                <a:cubicBezTo>
                  <a:pt x="931" y="142"/>
                  <a:pt x="914" y="142"/>
                  <a:pt x="892" y="143"/>
                </a:cubicBezTo>
                <a:cubicBezTo>
                  <a:pt x="870" y="144"/>
                  <a:pt x="842" y="147"/>
                  <a:pt x="820" y="148"/>
                </a:cubicBezTo>
                <a:cubicBezTo>
                  <a:pt x="798" y="149"/>
                  <a:pt x="777" y="150"/>
                  <a:pt x="757" y="152"/>
                </a:cubicBezTo>
                <a:cubicBezTo>
                  <a:pt x="737" y="154"/>
                  <a:pt x="721" y="157"/>
                  <a:pt x="698" y="161"/>
                </a:cubicBezTo>
                <a:cubicBezTo>
                  <a:pt x="675" y="165"/>
                  <a:pt x="644" y="171"/>
                  <a:pt x="621" y="176"/>
                </a:cubicBezTo>
                <a:cubicBezTo>
                  <a:pt x="598" y="181"/>
                  <a:pt x="579" y="185"/>
                  <a:pt x="558" y="191"/>
                </a:cubicBezTo>
                <a:cubicBezTo>
                  <a:pt x="558" y="191"/>
                  <a:pt x="493" y="211"/>
                  <a:pt x="493" y="211"/>
                </a:cubicBezTo>
                <a:cubicBezTo>
                  <a:pt x="493" y="211"/>
                  <a:pt x="444" y="230"/>
                  <a:pt x="423" y="239"/>
                </a:cubicBezTo>
                <a:cubicBezTo>
                  <a:pt x="402" y="248"/>
                  <a:pt x="383" y="255"/>
                  <a:pt x="364" y="265"/>
                </a:cubicBezTo>
                <a:cubicBezTo>
                  <a:pt x="345" y="275"/>
                  <a:pt x="321" y="289"/>
                  <a:pt x="307" y="298"/>
                </a:cubicBezTo>
                <a:lnTo>
                  <a:pt x="281" y="318"/>
                </a:lnTo>
                <a:lnTo>
                  <a:pt x="325" y="36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58" name="Freeform 6"/>
          <p:cNvSpPr>
            <a:spLocks/>
          </p:cNvSpPr>
          <p:nvPr/>
        </p:nvSpPr>
        <p:spPr bwMode="auto">
          <a:xfrm>
            <a:off x="4890356" y="3210811"/>
            <a:ext cx="1055417" cy="987369"/>
          </a:xfrm>
          <a:custGeom>
            <a:avLst/>
            <a:gdLst/>
            <a:ahLst/>
            <a:cxnLst>
              <a:cxn ang="0">
                <a:pos x="185" y="522"/>
              </a:cxn>
              <a:cxn ang="0">
                <a:pos x="95" y="614"/>
              </a:cxn>
              <a:cxn ang="0">
                <a:pos x="0" y="542"/>
              </a:cxn>
              <a:cxn ang="0">
                <a:pos x="30" y="537"/>
              </a:cxn>
              <a:cxn ang="0">
                <a:pos x="39" y="507"/>
              </a:cxn>
              <a:cxn ang="0">
                <a:pos x="47" y="480"/>
              </a:cxn>
              <a:cxn ang="0">
                <a:pos x="59" y="450"/>
              </a:cxn>
              <a:cxn ang="0">
                <a:pos x="71" y="422"/>
              </a:cxn>
              <a:cxn ang="0">
                <a:pos x="86" y="389"/>
              </a:cxn>
              <a:cxn ang="0">
                <a:pos x="107" y="353"/>
              </a:cxn>
              <a:cxn ang="0">
                <a:pos x="128" y="323"/>
              </a:cxn>
              <a:cxn ang="0">
                <a:pos x="155" y="290"/>
              </a:cxn>
              <a:cxn ang="0">
                <a:pos x="191" y="252"/>
              </a:cxn>
              <a:cxn ang="0">
                <a:pos x="237" y="212"/>
              </a:cxn>
              <a:cxn ang="0">
                <a:pos x="276" y="179"/>
              </a:cxn>
              <a:cxn ang="0">
                <a:pos x="321" y="147"/>
              </a:cxn>
              <a:cxn ang="0">
                <a:pos x="365" y="120"/>
              </a:cxn>
              <a:cxn ang="0">
                <a:pos x="408" y="96"/>
              </a:cxn>
              <a:cxn ang="0">
                <a:pos x="468" y="66"/>
              </a:cxn>
              <a:cxn ang="0">
                <a:pos x="519" y="45"/>
              </a:cxn>
              <a:cxn ang="0">
                <a:pos x="566" y="29"/>
              </a:cxn>
              <a:cxn ang="0">
                <a:pos x="608" y="15"/>
              </a:cxn>
              <a:cxn ang="0">
                <a:pos x="656" y="0"/>
              </a:cxn>
              <a:cxn ang="0">
                <a:pos x="642" y="6"/>
              </a:cxn>
              <a:cxn ang="0">
                <a:pos x="612" y="21"/>
              </a:cxn>
              <a:cxn ang="0">
                <a:pos x="581" y="38"/>
              </a:cxn>
              <a:cxn ang="0">
                <a:pos x="545" y="57"/>
              </a:cxn>
              <a:cxn ang="0">
                <a:pos x="504" y="84"/>
              </a:cxn>
              <a:cxn ang="0">
                <a:pos x="476" y="104"/>
              </a:cxn>
              <a:cxn ang="0">
                <a:pos x="455" y="120"/>
              </a:cxn>
              <a:cxn ang="0">
                <a:pos x="422" y="147"/>
              </a:cxn>
              <a:cxn ang="0">
                <a:pos x="392" y="171"/>
              </a:cxn>
              <a:cxn ang="0">
                <a:pos x="354" y="206"/>
              </a:cxn>
              <a:cxn ang="0">
                <a:pos x="320" y="239"/>
              </a:cxn>
              <a:cxn ang="0">
                <a:pos x="293" y="270"/>
              </a:cxn>
              <a:cxn ang="0">
                <a:pos x="267" y="302"/>
              </a:cxn>
              <a:cxn ang="0">
                <a:pos x="239" y="342"/>
              </a:cxn>
              <a:cxn ang="0">
                <a:pos x="216" y="375"/>
              </a:cxn>
              <a:cxn ang="0">
                <a:pos x="191" y="414"/>
              </a:cxn>
              <a:cxn ang="0">
                <a:pos x="171" y="456"/>
              </a:cxn>
              <a:cxn ang="0">
                <a:pos x="159" y="492"/>
              </a:cxn>
              <a:cxn ang="0">
                <a:pos x="155" y="519"/>
              </a:cxn>
              <a:cxn ang="0">
                <a:pos x="185" y="522"/>
              </a:cxn>
            </a:cxnLst>
            <a:rect l="0" t="0" r="r" b="b"/>
            <a:pathLst>
              <a:path w="656" h="614">
                <a:moveTo>
                  <a:pt x="185" y="522"/>
                </a:moveTo>
                <a:lnTo>
                  <a:pt x="95" y="614"/>
                </a:lnTo>
                <a:lnTo>
                  <a:pt x="0" y="542"/>
                </a:lnTo>
                <a:lnTo>
                  <a:pt x="30" y="537"/>
                </a:lnTo>
                <a:cubicBezTo>
                  <a:pt x="36" y="531"/>
                  <a:pt x="36" y="516"/>
                  <a:pt x="39" y="507"/>
                </a:cubicBezTo>
                <a:cubicBezTo>
                  <a:pt x="42" y="498"/>
                  <a:pt x="43" y="489"/>
                  <a:pt x="47" y="480"/>
                </a:cubicBezTo>
                <a:cubicBezTo>
                  <a:pt x="51" y="471"/>
                  <a:pt x="55" y="459"/>
                  <a:pt x="59" y="450"/>
                </a:cubicBezTo>
                <a:lnTo>
                  <a:pt x="71" y="422"/>
                </a:lnTo>
                <a:cubicBezTo>
                  <a:pt x="75" y="412"/>
                  <a:pt x="80" y="401"/>
                  <a:pt x="86" y="389"/>
                </a:cubicBezTo>
                <a:cubicBezTo>
                  <a:pt x="92" y="379"/>
                  <a:pt x="100" y="365"/>
                  <a:pt x="107" y="353"/>
                </a:cubicBezTo>
                <a:cubicBezTo>
                  <a:pt x="114" y="341"/>
                  <a:pt x="120" y="335"/>
                  <a:pt x="128" y="323"/>
                </a:cubicBezTo>
                <a:cubicBezTo>
                  <a:pt x="136" y="311"/>
                  <a:pt x="145" y="302"/>
                  <a:pt x="155" y="290"/>
                </a:cubicBezTo>
                <a:cubicBezTo>
                  <a:pt x="165" y="278"/>
                  <a:pt x="177" y="265"/>
                  <a:pt x="191" y="252"/>
                </a:cubicBezTo>
                <a:cubicBezTo>
                  <a:pt x="205" y="239"/>
                  <a:pt x="223" y="224"/>
                  <a:pt x="237" y="212"/>
                </a:cubicBezTo>
                <a:cubicBezTo>
                  <a:pt x="251" y="200"/>
                  <a:pt x="262" y="190"/>
                  <a:pt x="276" y="179"/>
                </a:cubicBezTo>
                <a:cubicBezTo>
                  <a:pt x="290" y="168"/>
                  <a:pt x="307" y="157"/>
                  <a:pt x="321" y="147"/>
                </a:cubicBezTo>
                <a:cubicBezTo>
                  <a:pt x="335" y="137"/>
                  <a:pt x="351" y="129"/>
                  <a:pt x="365" y="120"/>
                </a:cubicBezTo>
                <a:cubicBezTo>
                  <a:pt x="379" y="111"/>
                  <a:pt x="392" y="104"/>
                  <a:pt x="408" y="96"/>
                </a:cubicBezTo>
                <a:cubicBezTo>
                  <a:pt x="424" y="88"/>
                  <a:pt x="449" y="74"/>
                  <a:pt x="468" y="66"/>
                </a:cubicBezTo>
                <a:cubicBezTo>
                  <a:pt x="487" y="58"/>
                  <a:pt x="501" y="52"/>
                  <a:pt x="519" y="45"/>
                </a:cubicBezTo>
                <a:cubicBezTo>
                  <a:pt x="537" y="38"/>
                  <a:pt x="551" y="34"/>
                  <a:pt x="566" y="29"/>
                </a:cubicBezTo>
                <a:cubicBezTo>
                  <a:pt x="581" y="24"/>
                  <a:pt x="593" y="20"/>
                  <a:pt x="608" y="15"/>
                </a:cubicBezTo>
                <a:lnTo>
                  <a:pt x="656" y="0"/>
                </a:lnTo>
                <a:lnTo>
                  <a:pt x="642" y="6"/>
                </a:lnTo>
                <a:lnTo>
                  <a:pt x="612" y="21"/>
                </a:lnTo>
                <a:cubicBezTo>
                  <a:pt x="602" y="26"/>
                  <a:pt x="592" y="32"/>
                  <a:pt x="581" y="38"/>
                </a:cubicBezTo>
                <a:cubicBezTo>
                  <a:pt x="570" y="44"/>
                  <a:pt x="558" y="49"/>
                  <a:pt x="545" y="57"/>
                </a:cubicBezTo>
                <a:cubicBezTo>
                  <a:pt x="532" y="65"/>
                  <a:pt x="515" y="76"/>
                  <a:pt x="504" y="84"/>
                </a:cubicBezTo>
                <a:cubicBezTo>
                  <a:pt x="493" y="92"/>
                  <a:pt x="485" y="97"/>
                  <a:pt x="476" y="104"/>
                </a:cubicBezTo>
                <a:cubicBezTo>
                  <a:pt x="467" y="111"/>
                  <a:pt x="464" y="113"/>
                  <a:pt x="455" y="120"/>
                </a:cubicBezTo>
                <a:cubicBezTo>
                  <a:pt x="446" y="127"/>
                  <a:pt x="432" y="139"/>
                  <a:pt x="422" y="147"/>
                </a:cubicBezTo>
                <a:cubicBezTo>
                  <a:pt x="412" y="155"/>
                  <a:pt x="403" y="161"/>
                  <a:pt x="392" y="171"/>
                </a:cubicBezTo>
                <a:cubicBezTo>
                  <a:pt x="381" y="181"/>
                  <a:pt x="366" y="195"/>
                  <a:pt x="354" y="206"/>
                </a:cubicBezTo>
                <a:cubicBezTo>
                  <a:pt x="342" y="217"/>
                  <a:pt x="330" y="228"/>
                  <a:pt x="320" y="239"/>
                </a:cubicBezTo>
                <a:cubicBezTo>
                  <a:pt x="310" y="250"/>
                  <a:pt x="302" y="260"/>
                  <a:pt x="293" y="270"/>
                </a:cubicBezTo>
                <a:cubicBezTo>
                  <a:pt x="284" y="280"/>
                  <a:pt x="276" y="290"/>
                  <a:pt x="267" y="302"/>
                </a:cubicBezTo>
                <a:cubicBezTo>
                  <a:pt x="258" y="314"/>
                  <a:pt x="248" y="329"/>
                  <a:pt x="239" y="342"/>
                </a:cubicBezTo>
                <a:cubicBezTo>
                  <a:pt x="230" y="355"/>
                  <a:pt x="224" y="362"/>
                  <a:pt x="216" y="375"/>
                </a:cubicBezTo>
                <a:cubicBezTo>
                  <a:pt x="208" y="388"/>
                  <a:pt x="198" y="402"/>
                  <a:pt x="191" y="414"/>
                </a:cubicBezTo>
                <a:cubicBezTo>
                  <a:pt x="184" y="426"/>
                  <a:pt x="176" y="445"/>
                  <a:pt x="171" y="456"/>
                </a:cubicBezTo>
                <a:cubicBezTo>
                  <a:pt x="166" y="467"/>
                  <a:pt x="162" y="482"/>
                  <a:pt x="159" y="492"/>
                </a:cubicBezTo>
                <a:cubicBezTo>
                  <a:pt x="156" y="502"/>
                  <a:pt x="151" y="514"/>
                  <a:pt x="155" y="519"/>
                </a:cubicBezTo>
                <a:lnTo>
                  <a:pt x="185" y="52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59" name="Freeform 7"/>
          <p:cNvSpPr>
            <a:spLocks/>
          </p:cNvSpPr>
          <p:nvPr/>
        </p:nvSpPr>
        <p:spPr bwMode="auto">
          <a:xfrm>
            <a:off x="6080477" y="3214976"/>
            <a:ext cx="705462" cy="2539943"/>
          </a:xfrm>
          <a:custGeom>
            <a:avLst/>
            <a:gdLst/>
            <a:ahLst/>
            <a:cxnLst>
              <a:cxn ang="0">
                <a:pos x="222" y="1578"/>
              </a:cxn>
              <a:cxn ang="0">
                <a:pos x="411" y="1533"/>
              </a:cxn>
              <a:cxn ang="0">
                <a:pos x="372" y="1494"/>
              </a:cxn>
              <a:cxn ang="0">
                <a:pos x="384" y="1455"/>
              </a:cxn>
              <a:cxn ang="0">
                <a:pos x="399" y="1395"/>
              </a:cxn>
              <a:cxn ang="0">
                <a:pos x="414" y="1341"/>
              </a:cxn>
              <a:cxn ang="0">
                <a:pos x="429" y="1257"/>
              </a:cxn>
              <a:cxn ang="0">
                <a:pos x="438" y="1161"/>
              </a:cxn>
              <a:cxn ang="0">
                <a:pos x="438" y="1095"/>
              </a:cxn>
              <a:cxn ang="0">
                <a:pos x="435" y="1008"/>
              </a:cxn>
              <a:cxn ang="0">
                <a:pos x="429" y="948"/>
              </a:cxn>
              <a:cxn ang="0">
                <a:pos x="420" y="861"/>
              </a:cxn>
              <a:cxn ang="0">
                <a:pos x="405" y="783"/>
              </a:cxn>
              <a:cxn ang="0">
                <a:pos x="384" y="696"/>
              </a:cxn>
              <a:cxn ang="0">
                <a:pos x="354" y="615"/>
              </a:cxn>
              <a:cxn ang="0">
                <a:pos x="318" y="528"/>
              </a:cxn>
              <a:cxn ang="0">
                <a:pos x="285" y="450"/>
              </a:cxn>
              <a:cxn ang="0">
                <a:pos x="240" y="354"/>
              </a:cxn>
              <a:cxn ang="0">
                <a:pos x="183" y="258"/>
              </a:cxn>
              <a:cxn ang="0">
                <a:pos x="150" y="201"/>
              </a:cxn>
              <a:cxn ang="0">
                <a:pos x="111" y="144"/>
              </a:cxn>
              <a:cxn ang="0">
                <a:pos x="75" y="93"/>
              </a:cxn>
              <a:cxn ang="0">
                <a:pos x="0" y="0"/>
              </a:cxn>
              <a:cxn ang="0">
                <a:pos x="42" y="69"/>
              </a:cxn>
              <a:cxn ang="0">
                <a:pos x="72" y="123"/>
              </a:cxn>
              <a:cxn ang="0">
                <a:pos x="102" y="174"/>
              </a:cxn>
              <a:cxn ang="0">
                <a:pos x="135" y="237"/>
              </a:cxn>
              <a:cxn ang="0">
                <a:pos x="165" y="303"/>
              </a:cxn>
              <a:cxn ang="0">
                <a:pos x="192" y="366"/>
              </a:cxn>
              <a:cxn ang="0">
                <a:pos x="219" y="432"/>
              </a:cxn>
              <a:cxn ang="0">
                <a:pos x="243" y="507"/>
              </a:cxn>
              <a:cxn ang="0">
                <a:pos x="264" y="588"/>
              </a:cxn>
              <a:cxn ang="0">
                <a:pos x="282" y="666"/>
              </a:cxn>
              <a:cxn ang="0">
                <a:pos x="297" y="786"/>
              </a:cxn>
              <a:cxn ang="0">
                <a:pos x="300" y="864"/>
              </a:cxn>
              <a:cxn ang="0">
                <a:pos x="300" y="954"/>
              </a:cxn>
              <a:cxn ang="0">
                <a:pos x="291" y="1050"/>
              </a:cxn>
              <a:cxn ang="0">
                <a:pos x="279" y="1122"/>
              </a:cxn>
              <a:cxn ang="0">
                <a:pos x="267" y="1179"/>
              </a:cxn>
              <a:cxn ang="0">
                <a:pos x="255" y="1230"/>
              </a:cxn>
              <a:cxn ang="0">
                <a:pos x="240" y="1275"/>
              </a:cxn>
              <a:cxn ang="0">
                <a:pos x="219" y="1323"/>
              </a:cxn>
              <a:cxn ang="0">
                <a:pos x="168" y="1296"/>
              </a:cxn>
              <a:cxn ang="0">
                <a:pos x="222" y="1578"/>
              </a:cxn>
            </a:cxnLst>
            <a:rect l="0" t="0" r="r" b="b"/>
            <a:pathLst>
              <a:path w="438" h="1578">
                <a:moveTo>
                  <a:pt x="222" y="1578"/>
                </a:moveTo>
                <a:lnTo>
                  <a:pt x="411" y="1533"/>
                </a:lnTo>
                <a:lnTo>
                  <a:pt x="372" y="1494"/>
                </a:lnTo>
                <a:lnTo>
                  <a:pt x="384" y="1455"/>
                </a:lnTo>
                <a:lnTo>
                  <a:pt x="399" y="1395"/>
                </a:lnTo>
                <a:lnTo>
                  <a:pt x="414" y="1341"/>
                </a:lnTo>
                <a:lnTo>
                  <a:pt x="429" y="1257"/>
                </a:lnTo>
                <a:lnTo>
                  <a:pt x="438" y="1161"/>
                </a:lnTo>
                <a:lnTo>
                  <a:pt x="438" y="1095"/>
                </a:lnTo>
                <a:lnTo>
                  <a:pt x="435" y="1008"/>
                </a:lnTo>
                <a:lnTo>
                  <a:pt x="429" y="948"/>
                </a:lnTo>
                <a:lnTo>
                  <a:pt x="420" y="861"/>
                </a:lnTo>
                <a:lnTo>
                  <a:pt x="405" y="783"/>
                </a:lnTo>
                <a:lnTo>
                  <a:pt x="384" y="696"/>
                </a:lnTo>
                <a:lnTo>
                  <a:pt x="354" y="615"/>
                </a:lnTo>
                <a:lnTo>
                  <a:pt x="318" y="528"/>
                </a:lnTo>
                <a:lnTo>
                  <a:pt x="285" y="450"/>
                </a:lnTo>
                <a:lnTo>
                  <a:pt x="240" y="354"/>
                </a:lnTo>
                <a:lnTo>
                  <a:pt x="183" y="258"/>
                </a:lnTo>
                <a:lnTo>
                  <a:pt x="150" y="201"/>
                </a:lnTo>
                <a:lnTo>
                  <a:pt x="111" y="144"/>
                </a:lnTo>
                <a:lnTo>
                  <a:pt x="75" y="93"/>
                </a:lnTo>
                <a:lnTo>
                  <a:pt x="0" y="0"/>
                </a:lnTo>
                <a:lnTo>
                  <a:pt x="42" y="69"/>
                </a:lnTo>
                <a:lnTo>
                  <a:pt x="72" y="123"/>
                </a:lnTo>
                <a:lnTo>
                  <a:pt x="102" y="174"/>
                </a:lnTo>
                <a:lnTo>
                  <a:pt x="135" y="237"/>
                </a:lnTo>
                <a:lnTo>
                  <a:pt x="165" y="303"/>
                </a:lnTo>
                <a:lnTo>
                  <a:pt x="192" y="366"/>
                </a:lnTo>
                <a:lnTo>
                  <a:pt x="219" y="432"/>
                </a:lnTo>
                <a:lnTo>
                  <a:pt x="243" y="507"/>
                </a:lnTo>
                <a:lnTo>
                  <a:pt x="264" y="588"/>
                </a:lnTo>
                <a:lnTo>
                  <a:pt x="282" y="666"/>
                </a:lnTo>
                <a:lnTo>
                  <a:pt x="297" y="786"/>
                </a:lnTo>
                <a:lnTo>
                  <a:pt x="300" y="864"/>
                </a:lnTo>
                <a:lnTo>
                  <a:pt x="300" y="954"/>
                </a:lnTo>
                <a:lnTo>
                  <a:pt x="291" y="1050"/>
                </a:lnTo>
                <a:lnTo>
                  <a:pt x="279" y="1122"/>
                </a:lnTo>
                <a:lnTo>
                  <a:pt x="267" y="1179"/>
                </a:lnTo>
                <a:lnTo>
                  <a:pt x="255" y="1230"/>
                </a:lnTo>
                <a:lnTo>
                  <a:pt x="240" y="1275"/>
                </a:lnTo>
                <a:lnTo>
                  <a:pt x="219" y="1323"/>
                </a:lnTo>
                <a:lnTo>
                  <a:pt x="168" y="1296"/>
                </a:lnTo>
                <a:lnTo>
                  <a:pt x="222" y="1578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0" name="Freeform 8"/>
          <p:cNvSpPr>
            <a:spLocks/>
          </p:cNvSpPr>
          <p:nvPr/>
        </p:nvSpPr>
        <p:spPr bwMode="auto">
          <a:xfrm>
            <a:off x="5995765" y="3194146"/>
            <a:ext cx="1062360" cy="777676"/>
          </a:xfrm>
          <a:custGeom>
            <a:avLst/>
            <a:gdLst/>
            <a:ahLst/>
            <a:cxnLst>
              <a:cxn ang="0">
                <a:pos x="486" y="409"/>
              </a:cxn>
              <a:cxn ang="0">
                <a:pos x="608" y="483"/>
              </a:cxn>
              <a:cxn ang="0">
                <a:pos x="660" y="366"/>
              </a:cxn>
              <a:cxn ang="0">
                <a:pos x="627" y="367"/>
              </a:cxn>
              <a:cxn ang="0">
                <a:pos x="614" y="342"/>
              </a:cxn>
              <a:cxn ang="0">
                <a:pos x="600" y="316"/>
              </a:cxn>
              <a:cxn ang="0">
                <a:pos x="578" y="282"/>
              </a:cxn>
              <a:cxn ang="0">
                <a:pos x="566" y="265"/>
              </a:cxn>
              <a:cxn ang="0">
                <a:pos x="543" y="237"/>
              </a:cxn>
              <a:cxn ang="0">
                <a:pos x="518" y="208"/>
              </a:cxn>
              <a:cxn ang="0">
                <a:pos x="494" y="183"/>
              </a:cxn>
              <a:cxn ang="0">
                <a:pos x="471" y="162"/>
              </a:cxn>
              <a:cxn ang="0">
                <a:pos x="443" y="135"/>
              </a:cxn>
              <a:cxn ang="0">
                <a:pos x="414" y="112"/>
              </a:cxn>
              <a:cxn ang="0">
                <a:pos x="384" y="91"/>
              </a:cxn>
              <a:cxn ang="0">
                <a:pos x="356" y="75"/>
              </a:cxn>
              <a:cxn ang="0">
                <a:pos x="323" y="58"/>
              </a:cxn>
              <a:cxn ang="0">
                <a:pos x="284" y="40"/>
              </a:cxn>
              <a:cxn ang="0">
                <a:pos x="243" y="25"/>
              </a:cxn>
              <a:cxn ang="0">
                <a:pos x="204" y="15"/>
              </a:cxn>
              <a:cxn ang="0">
                <a:pos x="165" y="7"/>
              </a:cxn>
              <a:cxn ang="0">
                <a:pos x="129" y="4"/>
              </a:cxn>
              <a:cxn ang="0">
                <a:pos x="87" y="1"/>
              </a:cxn>
              <a:cxn ang="0">
                <a:pos x="47" y="0"/>
              </a:cxn>
              <a:cxn ang="0">
                <a:pos x="17" y="0"/>
              </a:cxn>
              <a:cxn ang="0">
                <a:pos x="0" y="0"/>
              </a:cxn>
              <a:cxn ang="0">
                <a:pos x="86" y="10"/>
              </a:cxn>
              <a:cxn ang="0">
                <a:pos x="138" y="24"/>
              </a:cxn>
              <a:cxn ang="0">
                <a:pos x="183" y="39"/>
              </a:cxn>
              <a:cxn ang="0">
                <a:pos x="224" y="58"/>
              </a:cxn>
              <a:cxn ang="0">
                <a:pos x="266" y="81"/>
              </a:cxn>
              <a:cxn ang="0">
                <a:pos x="297" y="103"/>
              </a:cxn>
              <a:cxn ang="0">
                <a:pos x="323" y="121"/>
              </a:cxn>
              <a:cxn ang="0">
                <a:pos x="341" y="136"/>
              </a:cxn>
              <a:cxn ang="0">
                <a:pos x="359" y="151"/>
              </a:cxn>
              <a:cxn ang="0">
                <a:pos x="377" y="172"/>
              </a:cxn>
              <a:cxn ang="0">
                <a:pos x="404" y="208"/>
              </a:cxn>
              <a:cxn ang="0">
                <a:pos x="428" y="243"/>
              </a:cxn>
              <a:cxn ang="0">
                <a:pos x="458" y="286"/>
              </a:cxn>
              <a:cxn ang="0">
                <a:pos x="480" y="325"/>
              </a:cxn>
              <a:cxn ang="0">
                <a:pos x="497" y="358"/>
              </a:cxn>
              <a:cxn ang="0">
                <a:pos x="516" y="393"/>
              </a:cxn>
              <a:cxn ang="0">
                <a:pos x="486" y="409"/>
              </a:cxn>
            </a:cxnLst>
            <a:rect l="0" t="0" r="r" b="b"/>
            <a:pathLst>
              <a:path w="660" h="483">
                <a:moveTo>
                  <a:pt x="486" y="409"/>
                </a:moveTo>
                <a:lnTo>
                  <a:pt x="608" y="483"/>
                </a:lnTo>
                <a:lnTo>
                  <a:pt x="660" y="366"/>
                </a:lnTo>
                <a:lnTo>
                  <a:pt x="627" y="367"/>
                </a:lnTo>
                <a:lnTo>
                  <a:pt x="614" y="342"/>
                </a:lnTo>
                <a:cubicBezTo>
                  <a:pt x="614" y="342"/>
                  <a:pt x="600" y="316"/>
                  <a:pt x="600" y="316"/>
                </a:cubicBezTo>
                <a:cubicBezTo>
                  <a:pt x="600" y="316"/>
                  <a:pt x="578" y="282"/>
                  <a:pt x="578" y="282"/>
                </a:cubicBezTo>
                <a:cubicBezTo>
                  <a:pt x="578" y="282"/>
                  <a:pt x="566" y="265"/>
                  <a:pt x="566" y="265"/>
                </a:cubicBezTo>
                <a:cubicBezTo>
                  <a:pt x="566" y="265"/>
                  <a:pt x="551" y="246"/>
                  <a:pt x="543" y="237"/>
                </a:cubicBezTo>
                <a:cubicBezTo>
                  <a:pt x="535" y="228"/>
                  <a:pt x="526" y="217"/>
                  <a:pt x="518" y="208"/>
                </a:cubicBezTo>
                <a:cubicBezTo>
                  <a:pt x="510" y="199"/>
                  <a:pt x="502" y="191"/>
                  <a:pt x="494" y="183"/>
                </a:cubicBezTo>
                <a:cubicBezTo>
                  <a:pt x="486" y="175"/>
                  <a:pt x="480" y="170"/>
                  <a:pt x="471" y="162"/>
                </a:cubicBezTo>
                <a:cubicBezTo>
                  <a:pt x="471" y="162"/>
                  <a:pt x="452" y="143"/>
                  <a:pt x="443" y="135"/>
                </a:cubicBezTo>
                <a:cubicBezTo>
                  <a:pt x="434" y="127"/>
                  <a:pt x="423" y="120"/>
                  <a:pt x="414" y="112"/>
                </a:cubicBezTo>
                <a:cubicBezTo>
                  <a:pt x="405" y="104"/>
                  <a:pt x="394" y="97"/>
                  <a:pt x="384" y="91"/>
                </a:cubicBezTo>
                <a:cubicBezTo>
                  <a:pt x="374" y="85"/>
                  <a:pt x="366" y="81"/>
                  <a:pt x="356" y="75"/>
                </a:cubicBezTo>
                <a:cubicBezTo>
                  <a:pt x="356" y="75"/>
                  <a:pt x="323" y="58"/>
                  <a:pt x="323" y="58"/>
                </a:cubicBezTo>
                <a:cubicBezTo>
                  <a:pt x="323" y="58"/>
                  <a:pt x="284" y="40"/>
                  <a:pt x="284" y="40"/>
                </a:cubicBezTo>
                <a:cubicBezTo>
                  <a:pt x="284" y="40"/>
                  <a:pt x="243" y="25"/>
                  <a:pt x="243" y="25"/>
                </a:cubicBezTo>
                <a:cubicBezTo>
                  <a:pt x="243" y="25"/>
                  <a:pt x="204" y="15"/>
                  <a:pt x="204" y="15"/>
                </a:cubicBezTo>
                <a:cubicBezTo>
                  <a:pt x="204" y="15"/>
                  <a:pt x="165" y="7"/>
                  <a:pt x="165" y="7"/>
                </a:cubicBezTo>
                <a:cubicBezTo>
                  <a:pt x="165" y="7"/>
                  <a:pt x="142" y="5"/>
                  <a:pt x="129" y="4"/>
                </a:cubicBezTo>
                <a:cubicBezTo>
                  <a:pt x="116" y="3"/>
                  <a:pt x="101" y="2"/>
                  <a:pt x="87" y="1"/>
                </a:cubicBezTo>
                <a:cubicBezTo>
                  <a:pt x="73" y="0"/>
                  <a:pt x="59" y="0"/>
                  <a:pt x="47" y="0"/>
                </a:cubicBezTo>
                <a:lnTo>
                  <a:pt x="17" y="0"/>
                </a:lnTo>
                <a:lnTo>
                  <a:pt x="0" y="0"/>
                </a:lnTo>
                <a:cubicBezTo>
                  <a:pt x="0" y="0"/>
                  <a:pt x="63" y="6"/>
                  <a:pt x="86" y="10"/>
                </a:cubicBezTo>
                <a:cubicBezTo>
                  <a:pt x="86" y="10"/>
                  <a:pt x="138" y="24"/>
                  <a:pt x="138" y="24"/>
                </a:cubicBezTo>
                <a:cubicBezTo>
                  <a:pt x="138" y="24"/>
                  <a:pt x="183" y="39"/>
                  <a:pt x="183" y="39"/>
                </a:cubicBezTo>
                <a:cubicBezTo>
                  <a:pt x="183" y="39"/>
                  <a:pt x="224" y="58"/>
                  <a:pt x="224" y="58"/>
                </a:cubicBezTo>
                <a:cubicBezTo>
                  <a:pt x="224" y="58"/>
                  <a:pt x="266" y="81"/>
                  <a:pt x="266" y="81"/>
                </a:cubicBezTo>
                <a:cubicBezTo>
                  <a:pt x="266" y="81"/>
                  <a:pt x="297" y="103"/>
                  <a:pt x="297" y="103"/>
                </a:cubicBezTo>
                <a:cubicBezTo>
                  <a:pt x="306" y="109"/>
                  <a:pt x="316" y="116"/>
                  <a:pt x="323" y="121"/>
                </a:cubicBezTo>
                <a:cubicBezTo>
                  <a:pt x="330" y="126"/>
                  <a:pt x="335" y="131"/>
                  <a:pt x="341" y="136"/>
                </a:cubicBezTo>
                <a:cubicBezTo>
                  <a:pt x="347" y="141"/>
                  <a:pt x="353" y="145"/>
                  <a:pt x="359" y="151"/>
                </a:cubicBezTo>
                <a:cubicBezTo>
                  <a:pt x="365" y="157"/>
                  <a:pt x="370" y="163"/>
                  <a:pt x="377" y="172"/>
                </a:cubicBezTo>
                <a:cubicBezTo>
                  <a:pt x="387" y="184"/>
                  <a:pt x="404" y="208"/>
                  <a:pt x="404" y="208"/>
                </a:cubicBezTo>
                <a:cubicBezTo>
                  <a:pt x="404" y="208"/>
                  <a:pt x="428" y="243"/>
                  <a:pt x="428" y="243"/>
                </a:cubicBezTo>
                <a:cubicBezTo>
                  <a:pt x="428" y="243"/>
                  <a:pt x="449" y="272"/>
                  <a:pt x="458" y="286"/>
                </a:cubicBezTo>
                <a:cubicBezTo>
                  <a:pt x="467" y="300"/>
                  <a:pt x="473" y="313"/>
                  <a:pt x="480" y="325"/>
                </a:cubicBezTo>
                <a:cubicBezTo>
                  <a:pt x="487" y="337"/>
                  <a:pt x="491" y="347"/>
                  <a:pt x="497" y="358"/>
                </a:cubicBezTo>
                <a:lnTo>
                  <a:pt x="516" y="393"/>
                </a:lnTo>
                <a:lnTo>
                  <a:pt x="486" y="40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1" name="Freeform 9"/>
          <p:cNvSpPr>
            <a:spLocks/>
          </p:cNvSpPr>
          <p:nvPr/>
        </p:nvSpPr>
        <p:spPr bwMode="auto">
          <a:xfrm flipH="1">
            <a:off x="5963130" y="2044296"/>
            <a:ext cx="1666446" cy="820725"/>
          </a:xfrm>
          <a:custGeom>
            <a:avLst/>
            <a:gdLst/>
            <a:ahLst/>
            <a:cxnLst>
              <a:cxn ang="0">
                <a:pos x="3331" y="0"/>
              </a:cxn>
              <a:cxn ang="0">
                <a:pos x="3437" y="177"/>
              </a:cxn>
              <a:cxn ang="0">
                <a:pos x="2671" y="368"/>
              </a:cxn>
              <a:cxn ang="0">
                <a:pos x="1895" y="675"/>
              </a:cxn>
              <a:cxn ang="0">
                <a:pos x="955" y="1232"/>
              </a:cxn>
              <a:cxn ang="0">
                <a:pos x="323" y="1720"/>
              </a:cxn>
              <a:cxn ang="0">
                <a:pos x="0" y="2005"/>
              </a:cxn>
              <a:cxn ang="0">
                <a:pos x="403" y="1800"/>
              </a:cxn>
              <a:cxn ang="0">
                <a:pos x="1115" y="1448"/>
              </a:cxn>
              <a:cxn ang="0">
                <a:pos x="2051" y="1024"/>
              </a:cxn>
              <a:cxn ang="0">
                <a:pos x="2843" y="752"/>
              </a:cxn>
              <a:cxn ang="0">
                <a:pos x="3551" y="561"/>
              </a:cxn>
              <a:cxn ang="0">
                <a:pos x="3564" y="797"/>
              </a:cxn>
              <a:cxn ang="0">
                <a:pos x="4066" y="237"/>
              </a:cxn>
              <a:cxn ang="0">
                <a:pos x="3331" y="0"/>
              </a:cxn>
            </a:cxnLst>
            <a:rect l="0" t="0" r="r" b="b"/>
            <a:pathLst>
              <a:path w="4066" h="2005">
                <a:moveTo>
                  <a:pt x="3331" y="0"/>
                </a:moveTo>
                <a:lnTo>
                  <a:pt x="3437" y="177"/>
                </a:lnTo>
                <a:cubicBezTo>
                  <a:pt x="3327" y="238"/>
                  <a:pt x="2928" y="283"/>
                  <a:pt x="2671" y="368"/>
                </a:cubicBezTo>
                <a:cubicBezTo>
                  <a:pt x="2413" y="451"/>
                  <a:pt x="2181" y="531"/>
                  <a:pt x="1895" y="675"/>
                </a:cubicBezTo>
                <a:cubicBezTo>
                  <a:pt x="1609" y="819"/>
                  <a:pt x="1217" y="1058"/>
                  <a:pt x="955" y="1232"/>
                </a:cubicBezTo>
                <a:cubicBezTo>
                  <a:pt x="693" y="1406"/>
                  <a:pt x="482" y="1591"/>
                  <a:pt x="323" y="1720"/>
                </a:cubicBezTo>
                <a:lnTo>
                  <a:pt x="0" y="2005"/>
                </a:lnTo>
                <a:lnTo>
                  <a:pt x="403" y="1800"/>
                </a:lnTo>
                <a:cubicBezTo>
                  <a:pt x="589" y="1707"/>
                  <a:pt x="840" y="1577"/>
                  <a:pt x="1115" y="1448"/>
                </a:cubicBezTo>
                <a:cubicBezTo>
                  <a:pt x="1390" y="1319"/>
                  <a:pt x="1763" y="1140"/>
                  <a:pt x="2051" y="1024"/>
                </a:cubicBezTo>
                <a:cubicBezTo>
                  <a:pt x="2339" y="908"/>
                  <a:pt x="2593" y="829"/>
                  <a:pt x="2843" y="752"/>
                </a:cubicBezTo>
                <a:cubicBezTo>
                  <a:pt x="3093" y="675"/>
                  <a:pt x="3431" y="554"/>
                  <a:pt x="3551" y="561"/>
                </a:cubicBezTo>
                <a:lnTo>
                  <a:pt x="3564" y="797"/>
                </a:lnTo>
                <a:lnTo>
                  <a:pt x="4066" y="237"/>
                </a:lnTo>
                <a:lnTo>
                  <a:pt x="3331" y="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2" name="Freeform 10"/>
          <p:cNvSpPr>
            <a:spLocks/>
          </p:cNvSpPr>
          <p:nvPr/>
        </p:nvSpPr>
        <p:spPr bwMode="auto">
          <a:xfrm rot="16397726" flipV="1">
            <a:off x="3246129" y="5652156"/>
            <a:ext cx="722127" cy="1477582"/>
          </a:xfrm>
          <a:custGeom>
            <a:avLst/>
            <a:gdLst/>
            <a:ahLst/>
            <a:cxnLst>
              <a:cxn ang="0">
                <a:pos x="0" y="836"/>
              </a:cxn>
              <a:cxn ang="0">
                <a:pos x="20" y="697"/>
              </a:cxn>
              <a:cxn ang="0">
                <a:pos x="32" y="592"/>
              </a:cxn>
              <a:cxn ang="0">
                <a:pos x="43" y="518"/>
              </a:cxn>
              <a:cxn ang="0">
                <a:pos x="62" y="412"/>
              </a:cxn>
              <a:cxn ang="0">
                <a:pos x="84" y="330"/>
              </a:cxn>
              <a:cxn ang="0">
                <a:pos x="112" y="266"/>
              </a:cxn>
              <a:cxn ang="0">
                <a:pos x="142" y="212"/>
              </a:cxn>
              <a:cxn ang="0">
                <a:pos x="188" y="156"/>
              </a:cxn>
              <a:cxn ang="0">
                <a:pos x="244" y="108"/>
              </a:cxn>
              <a:cxn ang="0">
                <a:pos x="310" y="66"/>
              </a:cxn>
              <a:cxn ang="0">
                <a:pos x="286" y="0"/>
              </a:cxn>
              <a:cxn ang="0">
                <a:pos x="446" y="108"/>
              </a:cxn>
              <a:cxn ang="0">
                <a:pos x="400" y="318"/>
              </a:cxn>
              <a:cxn ang="0">
                <a:pos x="372" y="230"/>
              </a:cxn>
              <a:cxn ang="0">
                <a:pos x="310" y="284"/>
              </a:cxn>
              <a:cxn ang="0">
                <a:pos x="242" y="360"/>
              </a:cxn>
              <a:cxn ang="0">
                <a:pos x="186" y="440"/>
              </a:cxn>
              <a:cxn ang="0">
                <a:pos x="142" y="510"/>
              </a:cxn>
              <a:cxn ang="0">
                <a:pos x="98" y="586"/>
              </a:cxn>
              <a:cxn ang="0">
                <a:pos x="74" y="637"/>
              </a:cxn>
              <a:cxn ang="0">
                <a:pos x="47" y="709"/>
              </a:cxn>
              <a:cxn ang="0">
                <a:pos x="28" y="758"/>
              </a:cxn>
              <a:cxn ang="0">
                <a:pos x="0" y="836"/>
              </a:cxn>
            </a:cxnLst>
            <a:rect l="0" t="0" r="r" b="b"/>
            <a:pathLst>
              <a:path w="446" h="836">
                <a:moveTo>
                  <a:pt x="0" y="836"/>
                </a:moveTo>
                <a:lnTo>
                  <a:pt x="20" y="697"/>
                </a:lnTo>
                <a:lnTo>
                  <a:pt x="32" y="592"/>
                </a:lnTo>
                <a:lnTo>
                  <a:pt x="43" y="518"/>
                </a:lnTo>
                <a:lnTo>
                  <a:pt x="62" y="412"/>
                </a:lnTo>
                <a:lnTo>
                  <a:pt x="84" y="330"/>
                </a:lnTo>
                <a:lnTo>
                  <a:pt x="112" y="266"/>
                </a:lnTo>
                <a:lnTo>
                  <a:pt x="142" y="212"/>
                </a:lnTo>
                <a:lnTo>
                  <a:pt x="188" y="156"/>
                </a:lnTo>
                <a:lnTo>
                  <a:pt x="244" y="108"/>
                </a:lnTo>
                <a:lnTo>
                  <a:pt x="310" y="66"/>
                </a:lnTo>
                <a:lnTo>
                  <a:pt x="286" y="0"/>
                </a:lnTo>
                <a:lnTo>
                  <a:pt x="446" y="108"/>
                </a:lnTo>
                <a:lnTo>
                  <a:pt x="400" y="318"/>
                </a:lnTo>
                <a:lnTo>
                  <a:pt x="372" y="230"/>
                </a:lnTo>
                <a:lnTo>
                  <a:pt x="310" y="284"/>
                </a:lnTo>
                <a:lnTo>
                  <a:pt x="242" y="360"/>
                </a:lnTo>
                <a:lnTo>
                  <a:pt x="186" y="440"/>
                </a:lnTo>
                <a:lnTo>
                  <a:pt x="142" y="510"/>
                </a:lnTo>
                <a:lnTo>
                  <a:pt x="98" y="586"/>
                </a:lnTo>
                <a:lnTo>
                  <a:pt x="74" y="637"/>
                </a:lnTo>
                <a:lnTo>
                  <a:pt x="47" y="709"/>
                </a:lnTo>
                <a:lnTo>
                  <a:pt x="28" y="758"/>
                </a:lnTo>
                <a:lnTo>
                  <a:pt x="0" y="83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3" name="Freeform 11"/>
          <p:cNvSpPr>
            <a:spLocks/>
          </p:cNvSpPr>
          <p:nvPr/>
        </p:nvSpPr>
        <p:spPr bwMode="auto">
          <a:xfrm>
            <a:off x="2710089" y="1305506"/>
            <a:ext cx="2621876" cy="617974"/>
          </a:xfrm>
          <a:custGeom>
            <a:avLst/>
            <a:gdLst/>
            <a:ahLst/>
            <a:cxnLst>
              <a:cxn ang="0">
                <a:pos x="17" y="452"/>
              </a:cxn>
              <a:cxn ang="0">
                <a:pos x="0" y="445"/>
              </a:cxn>
              <a:cxn ang="0">
                <a:pos x="444" y="99"/>
              </a:cxn>
              <a:cxn ang="0">
                <a:pos x="976" y="5"/>
              </a:cxn>
              <a:cxn ang="0">
                <a:pos x="1461" y="130"/>
              </a:cxn>
              <a:cxn ang="0">
                <a:pos x="1734" y="266"/>
              </a:cxn>
              <a:cxn ang="0">
                <a:pos x="1751" y="288"/>
              </a:cxn>
              <a:cxn ang="0">
                <a:pos x="1777" y="198"/>
              </a:cxn>
              <a:cxn ang="0">
                <a:pos x="1888" y="509"/>
              </a:cxn>
              <a:cxn ang="0">
                <a:pos x="1549" y="500"/>
              </a:cxn>
              <a:cxn ang="0">
                <a:pos x="1665" y="443"/>
              </a:cxn>
              <a:cxn ang="0">
                <a:pos x="1349" y="312"/>
              </a:cxn>
              <a:cxn ang="0">
                <a:pos x="880" y="206"/>
              </a:cxn>
              <a:cxn ang="0">
                <a:pos x="456" y="248"/>
              </a:cxn>
              <a:cxn ang="0">
                <a:pos x="140" y="370"/>
              </a:cxn>
              <a:cxn ang="0">
                <a:pos x="17" y="452"/>
              </a:cxn>
            </a:cxnLst>
            <a:rect l="0" t="0" r="r" b="b"/>
            <a:pathLst>
              <a:path w="1888" h="509">
                <a:moveTo>
                  <a:pt x="17" y="452"/>
                </a:moveTo>
                <a:lnTo>
                  <a:pt x="0" y="445"/>
                </a:lnTo>
                <a:cubicBezTo>
                  <a:pt x="72" y="386"/>
                  <a:pt x="281" y="172"/>
                  <a:pt x="444" y="99"/>
                </a:cubicBezTo>
                <a:cubicBezTo>
                  <a:pt x="607" y="26"/>
                  <a:pt x="807" y="0"/>
                  <a:pt x="976" y="5"/>
                </a:cubicBezTo>
                <a:cubicBezTo>
                  <a:pt x="1145" y="10"/>
                  <a:pt x="1335" y="87"/>
                  <a:pt x="1461" y="130"/>
                </a:cubicBezTo>
                <a:cubicBezTo>
                  <a:pt x="1587" y="173"/>
                  <a:pt x="1686" y="239"/>
                  <a:pt x="1734" y="266"/>
                </a:cubicBezTo>
                <a:lnTo>
                  <a:pt x="1751" y="288"/>
                </a:lnTo>
                <a:lnTo>
                  <a:pt x="1777" y="198"/>
                </a:lnTo>
                <a:lnTo>
                  <a:pt x="1888" y="509"/>
                </a:lnTo>
                <a:lnTo>
                  <a:pt x="1549" y="500"/>
                </a:lnTo>
                <a:lnTo>
                  <a:pt x="1665" y="443"/>
                </a:lnTo>
                <a:lnTo>
                  <a:pt x="1349" y="312"/>
                </a:lnTo>
                <a:cubicBezTo>
                  <a:pt x="1218" y="273"/>
                  <a:pt x="1028" y="217"/>
                  <a:pt x="880" y="206"/>
                </a:cubicBezTo>
                <a:cubicBezTo>
                  <a:pt x="730" y="195"/>
                  <a:pt x="579" y="220"/>
                  <a:pt x="456" y="248"/>
                </a:cubicBezTo>
                <a:cubicBezTo>
                  <a:pt x="333" y="274"/>
                  <a:pt x="214" y="336"/>
                  <a:pt x="140" y="370"/>
                </a:cubicBezTo>
                <a:lnTo>
                  <a:pt x="17" y="45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4" name="Freeform 12"/>
          <p:cNvSpPr>
            <a:spLocks/>
          </p:cNvSpPr>
          <p:nvPr/>
        </p:nvSpPr>
        <p:spPr bwMode="auto">
          <a:xfrm rot="20440764" flipV="1">
            <a:off x="3971033" y="4337050"/>
            <a:ext cx="815170" cy="1405370"/>
          </a:xfrm>
          <a:custGeom>
            <a:avLst/>
            <a:gdLst/>
            <a:ahLst/>
            <a:cxnLst>
              <a:cxn ang="0">
                <a:pos x="0" y="836"/>
              </a:cxn>
              <a:cxn ang="0">
                <a:pos x="20" y="697"/>
              </a:cxn>
              <a:cxn ang="0">
                <a:pos x="32" y="592"/>
              </a:cxn>
              <a:cxn ang="0">
                <a:pos x="43" y="518"/>
              </a:cxn>
              <a:cxn ang="0">
                <a:pos x="62" y="412"/>
              </a:cxn>
              <a:cxn ang="0">
                <a:pos x="84" y="330"/>
              </a:cxn>
              <a:cxn ang="0">
                <a:pos x="112" y="266"/>
              </a:cxn>
              <a:cxn ang="0">
                <a:pos x="142" y="212"/>
              </a:cxn>
              <a:cxn ang="0">
                <a:pos x="188" y="156"/>
              </a:cxn>
              <a:cxn ang="0">
                <a:pos x="244" y="108"/>
              </a:cxn>
              <a:cxn ang="0">
                <a:pos x="310" y="66"/>
              </a:cxn>
              <a:cxn ang="0">
                <a:pos x="286" y="0"/>
              </a:cxn>
              <a:cxn ang="0">
                <a:pos x="446" y="108"/>
              </a:cxn>
              <a:cxn ang="0">
                <a:pos x="400" y="318"/>
              </a:cxn>
              <a:cxn ang="0">
                <a:pos x="372" y="230"/>
              </a:cxn>
              <a:cxn ang="0">
                <a:pos x="310" y="284"/>
              </a:cxn>
              <a:cxn ang="0">
                <a:pos x="242" y="360"/>
              </a:cxn>
              <a:cxn ang="0">
                <a:pos x="186" y="440"/>
              </a:cxn>
              <a:cxn ang="0">
                <a:pos x="142" y="510"/>
              </a:cxn>
              <a:cxn ang="0">
                <a:pos x="98" y="586"/>
              </a:cxn>
              <a:cxn ang="0">
                <a:pos x="74" y="637"/>
              </a:cxn>
              <a:cxn ang="0">
                <a:pos x="47" y="709"/>
              </a:cxn>
              <a:cxn ang="0">
                <a:pos x="28" y="758"/>
              </a:cxn>
              <a:cxn ang="0">
                <a:pos x="0" y="836"/>
              </a:cxn>
            </a:cxnLst>
            <a:rect l="0" t="0" r="r" b="b"/>
            <a:pathLst>
              <a:path w="446" h="836">
                <a:moveTo>
                  <a:pt x="0" y="836"/>
                </a:moveTo>
                <a:lnTo>
                  <a:pt x="20" y="697"/>
                </a:lnTo>
                <a:lnTo>
                  <a:pt x="32" y="592"/>
                </a:lnTo>
                <a:lnTo>
                  <a:pt x="43" y="518"/>
                </a:lnTo>
                <a:lnTo>
                  <a:pt x="62" y="412"/>
                </a:lnTo>
                <a:lnTo>
                  <a:pt x="84" y="330"/>
                </a:lnTo>
                <a:lnTo>
                  <a:pt x="112" y="266"/>
                </a:lnTo>
                <a:lnTo>
                  <a:pt x="142" y="212"/>
                </a:lnTo>
                <a:lnTo>
                  <a:pt x="188" y="156"/>
                </a:lnTo>
                <a:lnTo>
                  <a:pt x="244" y="108"/>
                </a:lnTo>
                <a:lnTo>
                  <a:pt x="310" y="66"/>
                </a:lnTo>
                <a:lnTo>
                  <a:pt x="286" y="0"/>
                </a:lnTo>
                <a:lnTo>
                  <a:pt x="446" y="108"/>
                </a:lnTo>
                <a:lnTo>
                  <a:pt x="400" y="318"/>
                </a:lnTo>
                <a:lnTo>
                  <a:pt x="372" y="230"/>
                </a:lnTo>
                <a:lnTo>
                  <a:pt x="310" y="284"/>
                </a:lnTo>
                <a:lnTo>
                  <a:pt x="242" y="360"/>
                </a:lnTo>
                <a:lnTo>
                  <a:pt x="186" y="440"/>
                </a:lnTo>
                <a:lnTo>
                  <a:pt x="142" y="510"/>
                </a:lnTo>
                <a:lnTo>
                  <a:pt x="98" y="586"/>
                </a:lnTo>
                <a:lnTo>
                  <a:pt x="74" y="637"/>
                </a:lnTo>
                <a:lnTo>
                  <a:pt x="47" y="709"/>
                </a:lnTo>
                <a:lnTo>
                  <a:pt x="28" y="758"/>
                </a:lnTo>
                <a:lnTo>
                  <a:pt x="0" y="836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801546" y="1434656"/>
            <a:ext cx="1160957" cy="1576181"/>
            <a:chOff x="1268" y="528"/>
            <a:chExt cx="1592" cy="2160"/>
          </a:xfrm>
          <a:solidFill>
            <a:schemeClr val="accent5"/>
          </a:solidFill>
        </p:grpSpPr>
        <p:sp>
          <p:nvSpPr>
            <p:cNvPr id="74766" name="Freeform 14"/>
            <p:cNvSpPr>
              <a:spLocks/>
            </p:cNvSpPr>
            <p:nvPr/>
          </p:nvSpPr>
          <p:spPr bwMode="auto">
            <a:xfrm>
              <a:off x="1268" y="528"/>
              <a:ext cx="1592" cy="1407"/>
            </a:xfrm>
            <a:custGeom>
              <a:avLst/>
              <a:gdLst/>
              <a:ahLst/>
              <a:cxnLst>
                <a:cxn ang="0">
                  <a:pos x="2208" y="1952"/>
                </a:cxn>
                <a:cxn ang="0">
                  <a:pos x="2152" y="1664"/>
                </a:cxn>
                <a:cxn ang="0">
                  <a:pos x="2016" y="1304"/>
                </a:cxn>
                <a:cxn ang="0">
                  <a:pos x="1808" y="944"/>
                </a:cxn>
                <a:cxn ang="0">
                  <a:pos x="1568" y="680"/>
                </a:cxn>
                <a:cxn ang="0">
                  <a:pos x="1272" y="440"/>
                </a:cxn>
                <a:cxn ang="0">
                  <a:pos x="1008" y="280"/>
                </a:cxn>
                <a:cxn ang="0">
                  <a:pos x="1152" y="0"/>
                </a:cxn>
                <a:cxn ang="0">
                  <a:pos x="0" y="248"/>
                </a:cxn>
                <a:cxn ang="0">
                  <a:pos x="496" y="1232"/>
                </a:cxn>
                <a:cxn ang="0">
                  <a:pos x="656" y="952"/>
                </a:cxn>
                <a:cxn ang="0">
                  <a:pos x="1032" y="1104"/>
                </a:cxn>
                <a:cxn ang="0">
                  <a:pos x="1456" y="1304"/>
                </a:cxn>
                <a:cxn ang="0">
                  <a:pos x="1736" y="1488"/>
                </a:cxn>
                <a:cxn ang="0">
                  <a:pos x="1976" y="1688"/>
                </a:cxn>
                <a:cxn ang="0">
                  <a:pos x="2208" y="1952"/>
                </a:cxn>
              </a:cxnLst>
              <a:rect l="0" t="0" r="r" b="b"/>
              <a:pathLst>
                <a:path w="2208" h="1952">
                  <a:moveTo>
                    <a:pt x="2208" y="1952"/>
                  </a:moveTo>
                  <a:lnTo>
                    <a:pt x="2152" y="1664"/>
                  </a:lnTo>
                  <a:cubicBezTo>
                    <a:pt x="2152" y="1664"/>
                    <a:pt x="2016" y="1304"/>
                    <a:pt x="2016" y="1304"/>
                  </a:cubicBezTo>
                  <a:cubicBezTo>
                    <a:pt x="2016" y="1304"/>
                    <a:pt x="1883" y="1048"/>
                    <a:pt x="1808" y="944"/>
                  </a:cubicBezTo>
                  <a:cubicBezTo>
                    <a:pt x="1733" y="840"/>
                    <a:pt x="1657" y="764"/>
                    <a:pt x="1568" y="680"/>
                  </a:cubicBezTo>
                  <a:cubicBezTo>
                    <a:pt x="1479" y="596"/>
                    <a:pt x="1365" y="507"/>
                    <a:pt x="1272" y="440"/>
                  </a:cubicBezTo>
                  <a:lnTo>
                    <a:pt x="1008" y="280"/>
                  </a:lnTo>
                  <a:lnTo>
                    <a:pt x="1152" y="0"/>
                  </a:lnTo>
                  <a:lnTo>
                    <a:pt x="0" y="248"/>
                  </a:lnTo>
                  <a:lnTo>
                    <a:pt x="496" y="1232"/>
                  </a:lnTo>
                  <a:lnTo>
                    <a:pt x="656" y="952"/>
                  </a:lnTo>
                  <a:lnTo>
                    <a:pt x="1032" y="1104"/>
                  </a:lnTo>
                  <a:cubicBezTo>
                    <a:pt x="1032" y="1104"/>
                    <a:pt x="1456" y="1304"/>
                    <a:pt x="1456" y="1304"/>
                  </a:cubicBezTo>
                  <a:cubicBezTo>
                    <a:pt x="1456" y="1304"/>
                    <a:pt x="1649" y="1424"/>
                    <a:pt x="1736" y="1488"/>
                  </a:cubicBezTo>
                  <a:cubicBezTo>
                    <a:pt x="1823" y="1552"/>
                    <a:pt x="1897" y="1611"/>
                    <a:pt x="1976" y="1688"/>
                  </a:cubicBezTo>
                  <a:cubicBezTo>
                    <a:pt x="2055" y="1765"/>
                    <a:pt x="2160" y="1897"/>
                    <a:pt x="2208" y="1952"/>
                  </a:cubicBezTo>
                  <a:close/>
                </a:path>
              </a:pathLst>
            </a:custGeom>
            <a:grpFill/>
            <a:ln w="6350" cmpd="sng">
              <a:noFill/>
              <a:round/>
              <a:headEnd/>
              <a:tailEnd/>
            </a:ln>
            <a:effectLst/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4767" name="Freeform 15"/>
            <p:cNvSpPr>
              <a:spLocks/>
            </p:cNvSpPr>
            <p:nvPr/>
          </p:nvSpPr>
          <p:spPr bwMode="auto">
            <a:xfrm flipH="1" flipV="1">
              <a:off x="1268" y="1281"/>
              <a:ext cx="1592" cy="1407"/>
            </a:xfrm>
            <a:custGeom>
              <a:avLst/>
              <a:gdLst/>
              <a:ahLst/>
              <a:cxnLst>
                <a:cxn ang="0">
                  <a:pos x="2208" y="1952"/>
                </a:cxn>
                <a:cxn ang="0">
                  <a:pos x="2152" y="1664"/>
                </a:cxn>
                <a:cxn ang="0">
                  <a:pos x="2016" y="1304"/>
                </a:cxn>
                <a:cxn ang="0">
                  <a:pos x="1808" y="944"/>
                </a:cxn>
                <a:cxn ang="0">
                  <a:pos x="1568" y="680"/>
                </a:cxn>
                <a:cxn ang="0">
                  <a:pos x="1272" y="440"/>
                </a:cxn>
                <a:cxn ang="0">
                  <a:pos x="1008" y="280"/>
                </a:cxn>
                <a:cxn ang="0">
                  <a:pos x="1152" y="0"/>
                </a:cxn>
                <a:cxn ang="0">
                  <a:pos x="0" y="248"/>
                </a:cxn>
                <a:cxn ang="0">
                  <a:pos x="496" y="1232"/>
                </a:cxn>
                <a:cxn ang="0">
                  <a:pos x="656" y="952"/>
                </a:cxn>
                <a:cxn ang="0">
                  <a:pos x="1032" y="1104"/>
                </a:cxn>
                <a:cxn ang="0">
                  <a:pos x="1456" y="1304"/>
                </a:cxn>
                <a:cxn ang="0">
                  <a:pos x="1736" y="1488"/>
                </a:cxn>
                <a:cxn ang="0">
                  <a:pos x="1976" y="1688"/>
                </a:cxn>
                <a:cxn ang="0">
                  <a:pos x="2208" y="1952"/>
                </a:cxn>
              </a:cxnLst>
              <a:rect l="0" t="0" r="r" b="b"/>
              <a:pathLst>
                <a:path w="2208" h="1952">
                  <a:moveTo>
                    <a:pt x="2208" y="1952"/>
                  </a:moveTo>
                  <a:lnTo>
                    <a:pt x="2152" y="1664"/>
                  </a:lnTo>
                  <a:cubicBezTo>
                    <a:pt x="2152" y="1664"/>
                    <a:pt x="2016" y="1304"/>
                    <a:pt x="2016" y="1304"/>
                  </a:cubicBezTo>
                  <a:cubicBezTo>
                    <a:pt x="2016" y="1304"/>
                    <a:pt x="1883" y="1048"/>
                    <a:pt x="1808" y="944"/>
                  </a:cubicBezTo>
                  <a:cubicBezTo>
                    <a:pt x="1733" y="840"/>
                    <a:pt x="1657" y="764"/>
                    <a:pt x="1568" y="680"/>
                  </a:cubicBezTo>
                  <a:cubicBezTo>
                    <a:pt x="1479" y="596"/>
                    <a:pt x="1365" y="507"/>
                    <a:pt x="1272" y="440"/>
                  </a:cubicBezTo>
                  <a:lnTo>
                    <a:pt x="1008" y="280"/>
                  </a:lnTo>
                  <a:lnTo>
                    <a:pt x="1152" y="0"/>
                  </a:lnTo>
                  <a:lnTo>
                    <a:pt x="0" y="248"/>
                  </a:lnTo>
                  <a:lnTo>
                    <a:pt x="496" y="1232"/>
                  </a:lnTo>
                  <a:lnTo>
                    <a:pt x="656" y="952"/>
                  </a:lnTo>
                  <a:lnTo>
                    <a:pt x="1032" y="1104"/>
                  </a:lnTo>
                  <a:cubicBezTo>
                    <a:pt x="1032" y="1104"/>
                    <a:pt x="1456" y="1304"/>
                    <a:pt x="1456" y="1304"/>
                  </a:cubicBezTo>
                  <a:cubicBezTo>
                    <a:pt x="1456" y="1304"/>
                    <a:pt x="1649" y="1424"/>
                    <a:pt x="1736" y="1488"/>
                  </a:cubicBezTo>
                  <a:cubicBezTo>
                    <a:pt x="1823" y="1552"/>
                    <a:pt x="1897" y="1611"/>
                    <a:pt x="1976" y="1688"/>
                  </a:cubicBezTo>
                  <a:cubicBezTo>
                    <a:pt x="2055" y="1765"/>
                    <a:pt x="2160" y="1897"/>
                    <a:pt x="2208" y="1952"/>
                  </a:cubicBez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sp>
        <p:nvSpPr>
          <p:cNvPr id="74768" name="Freeform 16"/>
          <p:cNvSpPr>
            <a:spLocks/>
          </p:cNvSpPr>
          <p:nvPr/>
        </p:nvSpPr>
        <p:spPr bwMode="auto">
          <a:xfrm>
            <a:off x="6607490" y="2449800"/>
            <a:ext cx="1790041" cy="1137349"/>
          </a:xfrm>
          <a:custGeom>
            <a:avLst/>
            <a:gdLst/>
            <a:ahLst/>
            <a:cxnLst>
              <a:cxn ang="0">
                <a:pos x="1068" y="819"/>
              </a:cxn>
              <a:cxn ang="0">
                <a:pos x="1102" y="769"/>
              </a:cxn>
              <a:cxn ang="0">
                <a:pos x="880" y="701"/>
              </a:cxn>
              <a:cxn ang="0">
                <a:pos x="671" y="615"/>
              </a:cxn>
              <a:cxn ang="0">
                <a:pos x="383" y="463"/>
              </a:cxn>
              <a:cxn ang="0">
                <a:pos x="176" y="274"/>
              </a:cxn>
              <a:cxn ang="0">
                <a:pos x="7" y="15"/>
              </a:cxn>
              <a:cxn ang="0">
                <a:pos x="216" y="184"/>
              </a:cxn>
              <a:cxn ang="0">
                <a:pos x="428" y="342"/>
              </a:cxn>
              <a:cxn ang="0">
                <a:pos x="708" y="497"/>
              </a:cxn>
              <a:cxn ang="0">
                <a:pos x="946" y="600"/>
              </a:cxn>
              <a:cxn ang="0">
                <a:pos x="1143" y="658"/>
              </a:cxn>
              <a:cxn ang="0">
                <a:pos x="1150" y="589"/>
              </a:cxn>
              <a:cxn ang="0">
                <a:pos x="1289" y="761"/>
              </a:cxn>
              <a:cxn ang="0">
                <a:pos x="1068" y="819"/>
              </a:cxn>
            </a:cxnLst>
            <a:rect l="0" t="0" r="r" b="b"/>
            <a:pathLst>
              <a:path w="1289" h="819">
                <a:moveTo>
                  <a:pt x="1068" y="819"/>
                </a:moveTo>
                <a:lnTo>
                  <a:pt x="1102" y="769"/>
                </a:lnTo>
                <a:cubicBezTo>
                  <a:pt x="1071" y="749"/>
                  <a:pt x="952" y="727"/>
                  <a:pt x="880" y="701"/>
                </a:cubicBezTo>
                <a:cubicBezTo>
                  <a:pt x="808" y="675"/>
                  <a:pt x="754" y="655"/>
                  <a:pt x="671" y="615"/>
                </a:cubicBezTo>
                <a:cubicBezTo>
                  <a:pt x="588" y="575"/>
                  <a:pt x="465" y="520"/>
                  <a:pt x="383" y="463"/>
                </a:cubicBezTo>
                <a:cubicBezTo>
                  <a:pt x="301" y="406"/>
                  <a:pt x="239" y="349"/>
                  <a:pt x="176" y="274"/>
                </a:cubicBezTo>
                <a:cubicBezTo>
                  <a:pt x="113" y="199"/>
                  <a:pt x="0" y="30"/>
                  <a:pt x="7" y="15"/>
                </a:cubicBezTo>
                <a:cubicBezTo>
                  <a:pt x="14" y="0"/>
                  <a:pt x="146" y="130"/>
                  <a:pt x="216" y="184"/>
                </a:cubicBezTo>
                <a:cubicBezTo>
                  <a:pt x="286" y="238"/>
                  <a:pt x="346" y="290"/>
                  <a:pt x="428" y="342"/>
                </a:cubicBezTo>
                <a:cubicBezTo>
                  <a:pt x="510" y="394"/>
                  <a:pt x="622" y="454"/>
                  <a:pt x="708" y="497"/>
                </a:cubicBezTo>
                <a:cubicBezTo>
                  <a:pt x="794" y="540"/>
                  <a:pt x="873" y="573"/>
                  <a:pt x="946" y="600"/>
                </a:cubicBezTo>
                <a:cubicBezTo>
                  <a:pt x="1019" y="627"/>
                  <a:pt x="1109" y="660"/>
                  <a:pt x="1143" y="658"/>
                </a:cubicBezTo>
                <a:lnTo>
                  <a:pt x="1150" y="589"/>
                </a:lnTo>
                <a:lnTo>
                  <a:pt x="1289" y="761"/>
                </a:lnTo>
                <a:lnTo>
                  <a:pt x="1068" y="819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69" name="Freeform 17"/>
          <p:cNvSpPr>
            <a:spLocks/>
          </p:cNvSpPr>
          <p:nvPr/>
        </p:nvSpPr>
        <p:spPr bwMode="auto">
          <a:xfrm>
            <a:off x="1097341" y="4875868"/>
            <a:ext cx="627694" cy="1862254"/>
          </a:xfrm>
          <a:custGeom>
            <a:avLst/>
            <a:gdLst/>
            <a:ahLst/>
            <a:cxnLst>
              <a:cxn ang="0">
                <a:pos x="0" y="164"/>
              </a:cxn>
              <a:cxn ang="0">
                <a:pos x="180" y="0"/>
              </a:cxn>
              <a:cxn ang="0">
                <a:pos x="262" y="202"/>
              </a:cxn>
              <a:cxn ang="0">
                <a:pos x="186" y="168"/>
              </a:cxn>
              <a:cxn ang="0">
                <a:pos x="176" y="208"/>
              </a:cxn>
              <a:cxn ang="0">
                <a:pos x="160" y="392"/>
              </a:cxn>
              <a:cxn ang="0">
                <a:pos x="176" y="604"/>
              </a:cxn>
              <a:cxn ang="0">
                <a:pos x="242" y="846"/>
              </a:cxn>
              <a:cxn ang="0">
                <a:pos x="372" y="1124"/>
              </a:cxn>
              <a:cxn ang="0">
                <a:pos x="391" y="1146"/>
              </a:cxn>
              <a:cxn ang="0">
                <a:pos x="452" y="1084"/>
              </a:cxn>
              <a:cxn ang="0">
                <a:pos x="426" y="1341"/>
              </a:cxn>
              <a:cxn ang="0">
                <a:pos x="178" y="1208"/>
              </a:cxn>
              <a:cxn ang="0">
                <a:pos x="284" y="1199"/>
              </a:cxn>
              <a:cxn ang="0">
                <a:pos x="268" y="1176"/>
              </a:cxn>
              <a:cxn ang="0">
                <a:pos x="106" y="800"/>
              </a:cxn>
              <a:cxn ang="0">
                <a:pos x="54" y="446"/>
              </a:cxn>
              <a:cxn ang="0">
                <a:pos x="74" y="200"/>
              </a:cxn>
              <a:cxn ang="0">
                <a:pos x="86" y="158"/>
              </a:cxn>
              <a:cxn ang="0">
                <a:pos x="0" y="164"/>
              </a:cxn>
            </a:cxnLst>
            <a:rect l="0" t="0" r="r" b="b"/>
            <a:pathLst>
              <a:path w="452" h="1341">
                <a:moveTo>
                  <a:pt x="0" y="164"/>
                </a:moveTo>
                <a:lnTo>
                  <a:pt x="180" y="0"/>
                </a:lnTo>
                <a:lnTo>
                  <a:pt x="262" y="202"/>
                </a:lnTo>
                <a:lnTo>
                  <a:pt x="186" y="168"/>
                </a:lnTo>
                <a:lnTo>
                  <a:pt x="176" y="208"/>
                </a:lnTo>
                <a:cubicBezTo>
                  <a:pt x="172" y="245"/>
                  <a:pt x="160" y="326"/>
                  <a:pt x="160" y="392"/>
                </a:cubicBezTo>
                <a:cubicBezTo>
                  <a:pt x="160" y="458"/>
                  <a:pt x="162" y="528"/>
                  <a:pt x="176" y="604"/>
                </a:cubicBezTo>
                <a:cubicBezTo>
                  <a:pt x="190" y="680"/>
                  <a:pt x="209" y="760"/>
                  <a:pt x="242" y="846"/>
                </a:cubicBezTo>
                <a:cubicBezTo>
                  <a:pt x="275" y="932"/>
                  <a:pt x="347" y="1074"/>
                  <a:pt x="372" y="1124"/>
                </a:cubicBezTo>
                <a:lnTo>
                  <a:pt x="391" y="1146"/>
                </a:lnTo>
                <a:lnTo>
                  <a:pt x="452" y="1084"/>
                </a:lnTo>
                <a:lnTo>
                  <a:pt x="426" y="1341"/>
                </a:lnTo>
                <a:lnTo>
                  <a:pt x="178" y="1208"/>
                </a:lnTo>
                <a:lnTo>
                  <a:pt x="284" y="1199"/>
                </a:lnTo>
                <a:lnTo>
                  <a:pt x="268" y="1176"/>
                </a:lnTo>
                <a:cubicBezTo>
                  <a:pt x="238" y="1110"/>
                  <a:pt x="142" y="922"/>
                  <a:pt x="106" y="800"/>
                </a:cubicBezTo>
                <a:cubicBezTo>
                  <a:pt x="70" y="678"/>
                  <a:pt x="59" y="546"/>
                  <a:pt x="54" y="446"/>
                </a:cubicBezTo>
                <a:cubicBezTo>
                  <a:pt x="49" y="346"/>
                  <a:pt x="69" y="248"/>
                  <a:pt x="74" y="200"/>
                </a:cubicBezTo>
                <a:lnTo>
                  <a:pt x="86" y="158"/>
                </a:lnTo>
                <a:lnTo>
                  <a:pt x="0" y="164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70" name="Freeform 18"/>
          <p:cNvSpPr>
            <a:spLocks/>
          </p:cNvSpPr>
          <p:nvPr/>
        </p:nvSpPr>
        <p:spPr bwMode="auto">
          <a:xfrm>
            <a:off x="8088311" y="4203734"/>
            <a:ext cx="1269277" cy="2519112"/>
          </a:xfrm>
          <a:custGeom>
            <a:avLst/>
            <a:gdLst/>
            <a:ahLst/>
            <a:cxnLst>
              <a:cxn ang="0">
                <a:pos x="3" y="2"/>
              </a:cxn>
              <a:cxn ang="0">
                <a:pos x="7" y="189"/>
              </a:cxn>
              <a:cxn ang="0">
                <a:pos x="43" y="368"/>
              </a:cxn>
              <a:cxn ang="0">
                <a:pos x="128" y="559"/>
              </a:cxn>
              <a:cxn ang="0">
                <a:pos x="279" y="727"/>
              </a:cxn>
              <a:cxn ang="0">
                <a:pos x="539" y="902"/>
              </a:cxn>
              <a:cxn ang="0">
                <a:pos x="765" y="1082"/>
              </a:cxn>
              <a:cxn ang="0">
                <a:pos x="872" y="1308"/>
              </a:cxn>
              <a:cxn ang="0">
                <a:pos x="814" y="1622"/>
              </a:cxn>
              <a:cxn ang="0">
                <a:pos x="720" y="1789"/>
              </a:cxn>
              <a:cxn ang="0">
                <a:pos x="556" y="1771"/>
              </a:cxn>
              <a:cxn ang="0">
                <a:pos x="634" y="1935"/>
              </a:cxn>
              <a:cxn ang="0">
                <a:pos x="712" y="2089"/>
              </a:cxn>
              <a:cxn ang="0">
                <a:pos x="874" y="2017"/>
              </a:cxn>
              <a:cxn ang="0">
                <a:pos x="1038" y="1949"/>
              </a:cxn>
              <a:cxn ang="0">
                <a:pos x="906" y="1849"/>
              </a:cxn>
              <a:cxn ang="0">
                <a:pos x="933" y="1733"/>
              </a:cxn>
              <a:cxn ang="0">
                <a:pos x="1029" y="1490"/>
              </a:cxn>
              <a:cxn ang="0">
                <a:pos x="1039" y="1232"/>
              </a:cxn>
              <a:cxn ang="0">
                <a:pos x="952" y="1036"/>
              </a:cxn>
              <a:cxn ang="0">
                <a:pos x="775" y="864"/>
              </a:cxn>
              <a:cxn ang="0">
                <a:pos x="545" y="715"/>
              </a:cxn>
              <a:cxn ang="0">
                <a:pos x="352" y="559"/>
              </a:cxn>
              <a:cxn ang="0">
                <a:pos x="264" y="415"/>
              </a:cxn>
              <a:cxn ang="0">
                <a:pos x="212" y="243"/>
              </a:cxn>
              <a:cxn ang="0">
                <a:pos x="191" y="59"/>
              </a:cxn>
              <a:cxn ang="0">
                <a:pos x="193" y="3"/>
              </a:cxn>
              <a:cxn ang="0">
                <a:pos x="102" y="0"/>
              </a:cxn>
              <a:cxn ang="0">
                <a:pos x="3" y="2"/>
              </a:cxn>
            </a:cxnLst>
            <a:rect l="0" t="0" r="r" b="b"/>
            <a:pathLst>
              <a:path w="1052" h="2089">
                <a:moveTo>
                  <a:pt x="3" y="2"/>
                </a:moveTo>
                <a:cubicBezTo>
                  <a:pt x="3" y="56"/>
                  <a:pt x="0" y="128"/>
                  <a:pt x="7" y="189"/>
                </a:cubicBezTo>
                <a:cubicBezTo>
                  <a:pt x="14" y="250"/>
                  <a:pt x="23" y="306"/>
                  <a:pt x="43" y="368"/>
                </a:cubicBezTo>
                <a:cubicBezTo>
                  <a:pt x="63" y="429"/>
                  <a:pt x="89" y="499"/>
                  <a:pt x="128" y="559"/>
                </a:cubicBezTo>
                <a:cubicBezTo>
                  <a:pt x="167" y="618"/>
                  <a:pt x="211" y="670"/>
                  <a:pt x="279" y="727"/>
                </a:cubicBezTo>
                <a:cubicBezTo>
                  <a:pt x="348" y="784"/>
                  <a:pt x="459" y="843"/>
                  <a:pt x="539" y="902"/>
                </a:cubicBezTo>
                <a:cubicBezTo>
                  <a:pt x="620" y="961"/>
                  <a:pt x="709" y="1015"/>
                  <a:pt x="765" y="1082"/>
                </a:cubicBezTo>
                <a:cubicBezTo>
                  <a:pt x="820" y="1150"/>
                  <a:pt x="865" y="1218"/>
                  <a:pt x="872" y="1308"/>
                </a:cubicBezTo>
                <a:cubicBezTo>
                  <a:pt x="880" y="1398"/>
                  <a:pt x="839" y="1542"/>
                  <a:pt x="814" y="1622"/>
                </a:cubicBezTo>
                <a:cubicBezTo>
                  <a:pt x="789" y="1702"/>
                  <a:pt x="763" y="1764"/>
                  <a:pt x="720" y="1789"/>
                </a:cubicBezTo>
                <a:cubicBezTo>
                  <a:pt x="677" y="1814"/>
                  <a:pt x="570" y="1747"/>
                  <a:pt x="556" y="1771"/>
                </a:cubicBezTo>
                <a:cubicBezTo>
                  <a:pt x="606" y="1875"/>
                  <a:pt x="577" y="1820"/>
                  <a:pt x="634" y="1935"/>
                </a:cubicBezTo>
                <a:cubicBezTo>
                  <a:pt x="690" y="2045"/>
                  <a:pt x="674" y="2007"/>
                  <a:pt x="712" y="2089"/>
                </a:cubicBezTo>
                <a:cubicBezTo>
                  <a:pt x="796" y="2055"/>
                  <a:pt x="715" y="2085"/>
                  <a:pt x="874" y="2017"/>
                </a:cubicBezTo>
                <a:cubicBezTo>
                  <a:pt x="1038" y="1945"/>
                  <a:pt x="936" y="1991"/>
                  <a:pt x="1038" y="1949"/>
                </a:cubicBezTo>
                <a:cubicBezTo>
                  <a:pt x="1026" y="1921"/>
                  <a:pt x="924" y="1885"/>
                  <a:pt x="906" y="1849"/>
                </a:cubicBezTo>
                <a:cubicBezTo>
                  <a:pt x="888" y="1813"/>
                  <a:pt x="913" y="1793"/>
                  <a:pt x="933" y="1733"/>
                </a:cubicBezTo>
                <a:cubicBezTo>
                  <a:pt x="953" y="1673"/>
                  <a:pt x="1011" y="1573"/>
                  <a:pt x="1029" y="1490"/>
                </a:cubicBezTo>
                <a:cubicBezTo>
                  <a:pt x="1046" y="1407"/>
                  <a:pt x="1052" y="1307"/>
                  <a:pt x="1039" y="1232"/>
                </a:cubicBezTo>
                <a:cubicBezTo>
                  <a:pt x="1026" y="1156"/>
                  <a:pt x="996" y="1096"/>
                  <a:pt x="952" y="1036"/>
                </a:cubicBezTo>
                <a:cubicBezTo>
                  <a:pt x="908" y="975"/>
                  <a:pt x="843" y="918"/>
                  <a:pt x="775" y="864"/>
                </a:cubicBezTo>
                <a:cubicBezTo>
                  <a:pt x="708" y="810"/>
                  <a:pt x="615" y="766"/>
                  <a:pt x="545" y="715"/>
                </a:cubicBezTo>
                <a:cubicBezTo>
                  <a:pt x="474" y="663"/>
                  <a:pt x="399" y="609"/>
                  <a:pt x="352" y="559"/>
                </a:cubicBezTo>
                <a:cubicBezTo>
                  <a:pt x="305" y="508"/>
                  <a:pt x="287" y="467"/>
                  <a:pt x="264" y="415"/>
                </a:cubicBezTo>
                <a:cubicBezTo>
                  <a:pt x="240" y="362"/>
                  <a:pt x="224" y="302"/>
                  <a:pt x="212" y="243"/>
                </a:cubicBezTo>
                <a:cubicBezTo>
                  <a:pt x="199" y="184"/>
                  <a:pt x="194" y="99"/>
                  <a:pt x="191" y="59"/>
                </a:cubicBezTo>
                <a:cubicBezTo>
                  <a:pt x="187" y="19"/>
                  <a:pt x="194" y="42"/>
                  <a:pt x="193" y="3"/>
                </a:cubicBezTo>
                <a:cubicBezTo>
                  <a:pt x="142" y="0"/>
                  <a:pt x="134" y="0"/>
                  <a:pt x="102" y="0"/>
                </a:cubicBezTo>
                <a:cubicBezTo>
                  <a:pt x="71" y="0"/>
                  <a:pt x="43" y="2"/>
                  <a:pt x="3" y="2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71" name="Freeform 19"/>
          <p:cNvSpPr>
            <a:spLocks/>
          </p:cNvSpPr>
          <p:nvPr/>
        </p:nvSpPr>
        <p:spPr bwMode="auto">
          <a:xfrm>
            <a:off x="4127957" y="3128875"/>
            <a:ext cx="416612" cy="872107"/>
          </a:xfrm>
          <a:custGeom>
            <a:avLst/>
            <a:gdLst/>
            <a:ahLst/>
            <a:cxnLst>
              <a:cxn ang="0">
                <a:pos x="0" y="472"/>
              </a:cxn>
              <a:cxn ang="0">
                <a:pos x="60" y="471"/>
              </a:cxn>
              <a:cxn ang="0">
                <a:pos x="146" y="0"/>
              </a:cxn>
              <a:cxn ang="0">
                <a:pos x="241" y="472"/>
              </a:cxn>
              <a:cxn ang="0">
                <a:pos x="300" y="471"/>
              </a:cxn>
              <a:cxn ang="0">
                <a:pos x="146" y="628"/>
              </a:cxn>
              <a:cxn ang="0">
                <a:pos x="0" y="472"/>
              </a:cxn>
            </a:cxnLst>
            <a:rect l="0" t="0" r="r" b="b"/>
            <a:pathLst>
              <a:path w="300" h="628">
                <a:moveTo>
                  <a:pt x="0" y="472"/>
                </a:moveTo>
                <a:lnTo>
                  <a:pt x="60" y="471"/>
                </a:lnTo>
                <a:lnTo>
                  <a:pt x="146" y="0"/>
                </a:lnTo>
                <a:lnTo>
                  <a:pt x="241" y="472"/>
                </a:lnTo>
                <a:lnTo>
                  <a:pt x="300" y="471"/>
                </a:lnTo>
                <a:lnTo>
                  <a:pt x="146" y="628"/>
                </a:lnTo>
                <a:lnTo>
                  <a:pt x="0" y="472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sp>
        <p:nvSpPr>
          <p:cNvPr id="74772" name="Freeform 20"/>
          <p:cNvSpPr>
            <a:spLocks/>
          </p:cNvSpPr>
          <p:nvPr/>
        </p:nvSpPr>
        <p:spPr bwMode="auto">
          <a:xfrm>
            <a:off x="5227812" y="4796712"/>
            <a:ext cx="674911" cy="524931"/>
          </a:xfrm>
          <a:custGeom>
            <a:avLst/>
            <a:gdLst/>
            <a:ahLst/>
            <a:cxnLst>
              <a:cxn ang="0">
                <a:pos x="486" y="68"/>
              </a:cxn>
              <a:cxn ang="0">
                <a:pos x="352" y="168"/>
              </a:cxn>
              <a:cxn ang="0">
                <a:pos x="364" y="122"/>
              </a:cxn>
              <a:cxn ang="0">
                <a:pos x="360" y="114"/>
              </a:cxn>
              <a:cxn ang="0">
                <a:pos x="284" y="126"/>
              </a:cxn>
              <a:cxn ang="0">
                <a:pos x="210" y="166"/>
              </a:cxn>
              <a:cxn ang="0">
                <a:pos x="156" y="222"/>
              </a:cxn>
              <a:cxn ang="0">
                <a:pos x="112" y="284"/>
              </a:cxn>
              <a:cxn ang="0">
                <a:pos x="108" y="296"/>
              </a:cxn>
              <a:cxn ang="0">
                <a:pos x="150" y="302"/>
              </a:cxn>
              <a:cxn ang="0">
                <a:pos x="0" y="378"/>
              </a:cxn>
              <a:cxn ang="0">
                <a:pos x="16" y="208"/>
              </a:cxn>
              <a:cxn ang="0">
                <a:pos x="46" y="240"/>
              </a:cxn>
              <a:cxn ang="0">
                <a:pos x="54" y="220"/>
              </a:cxn>
              <a:cxn ang="0">
                <a:pos x="84" y="164"/>
              </a:cxn>
              <a:cxn ang="0">
                <a:pos x="156" y="94"/>
              </a:cxn>
              <a:cxn ang="0">
                <a:pos x="236" y="56"/>
              </a:cxn>
              <a:cxn ang="0">
                <a:pos x="296" y="40"/>
              </a:cxn>
              <a:cxn ang="0">
                <a:pos x="338" y="38"/>
              </a:cxn>
              <a:cxn ang="0">
                <a:pos x="314" y="0"/>
              </a:cxn>
              <a:cxn ang="0">
                <a:pos x="486" y="68"/>
              </a:cxn>
            </a:cxnLst>
            <a:rect l="0" t="0" r="r" b="b"/>
            <a:pathLst>
              <a:path w="486" h="378">
                <a:moveTo>
                  <a:pt x="486" y="68"/>
                </a:moveTo>
                <a:lnTo>
                  <a:pt x="352" y="168"/>
                </a:lnTo>
                <a:lnTo>
                  <a:pt x="364" y="122"/>
                </a:lnTo>
                <a:lnTo>
                  <a:pt x="360" y="114"/>
                </a:lnTo>
                <a:cubicBezTo>
                  <a:pt x="347" y="115"/>
                  <a:pt x="309" y="117"/>
                  <a:pt x="284" y="126"/>
                </a:cubicBezTo>
                <a:cubicBezTo>
                  <a:pt x="259" y="135"/>
                  <a:pt x="231" y="150"/>
                  <a:pt x="210" y="166"/>
                </a:cubicBezTo>
                <a:cubicBezTo>
                  <a:pt x="189" y="182"/>
                  <a:pt x="172" y="202"/>
                  <a:pt x="156" y="222"/>
                </a:cubicBezTo>
                <a:cubicBezTo>
                  <a:pt x="140" y="242"/>
                  <a:pt x="120" y="272"/>
                  <a:pt x="112" y="284"/>
                </a:cubicBezTo>
                <a:lnTo>
                  <a:pt x="108" y="296"/>
                </a:lnTo>
                <a:lnTo>
                  <a:pt x="150" y="302"/>
                </a:lnTo>
                <a:lnTo>
                  <a:pt x="0" y="378"/>
                </a:lnTo>
                <a:lnTo>
                  <a:pt x="16" y="208"/>
                </a:lnTo>
                <a:lnTo>
                  <a:pt x="46" y="240"/>
                </a:lnTo>
                <a:lnTo>
                  <a:pt x="54" y="220"/>
                </a:lnTo>
                <a:cubicBezTo>
                  <a:pt x="60" y="207"/>
                  <a:pt x="67" y="185"/>
                  <a:pt x="84" y="164"/>
                </a:cubicBezTo>
                <a:cubicBezTo>
                  <a:pt x="101" y="143"/>
                  <a:pt x="131" y="112"/>
                  <a:pt x="156" y="94"/>
                </a:cubicBezTo>
                <a:cubicBezTo>
                  <a:pt x="181" y="76"/>
                  <a:pt x="213" y="65"/>
                  <a:pt x="236" y="56"/>
                </a:cubicBezTo>
                <a:cubicBezTo>
                  <a:pt x="259" y="47"/>
                  <a:pt x="279" y="43"/>
                  <a:pt x="296" y="40"/>
                </a:cubicBezTo>
                <a:lnTo>
                  <a:pt x="338" y="38"/>
                </a:lnTo>
                <a:lnTo>
                  <a:pt x="314" y="0"/>
                </a:lnTo>
                <a:lnTo>
                  <a:pt x="486" y="68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  <p:grpSp>
        <p:nvGrpSpPr>
          <p:cNvPr id="5" name="Group 21"/>
          <p:cNvGrpSpPr>
            <a:grpSpLocks/>
          </p:cNvGrpSpPr>
          <p:nvPr/>
        </p:nvGrpSpPr>
        <p:grpSpPr bwMode="auto">
          <a:xfrm>
            <a:off x="7874218" y="1041652"/>
            <a:ext cx="1976128" cy="1849756"/>
            <a:chOff x="1160" y="806"/>
            <a:chExt cx="2152" cy="2013"/>
          </a:xfrm>
          <a:solidFill>
            <a:schemeClr val="accent5"/>
          </a:solidFill>
        </p:grpSpPr>
        <p:sp>
          <p:nvSpPr>
            <p:cNvPr id="74774" name="Freeform 22"/>
            <p:cNvSpPr>
              <a:spLocks/>
            </p:cNvSpPr>
            <p:nvPr/>
          </p:nvSpPr>
          <p:spPr bwMode="auto">
            <a:xfrm>
              <a:off x="1160" y="1051"/>
              <a:ext cx="952" cy="392"/>
            </a:xfrm>
            <a:custGeom>
              <a:avLst/>
              <a:gdLst/>
              <a:ahLst/>
              <a:cxnLst>
                <a:cxn ang="0">
                  <a:pos x="944" y="392"/>
                </a:cxn>
                <a:cxn ang="0">
                  <a:pos x="424" y="0"/>
                </a:cxn>
                <a:cxn ang="0">
                  <a:pos x="92" y="104"/>
                </a:cxn>
                <a:cxn ang="0">
                  <a:pos x="0" y="64"/>
                </a:cxn>
                <a:cxn ang="0">
                  <a:pos x="100" y="224"/>
                </a:cxn>
                <a:cxn ang="0">
                  <a:pos x="312" y="220"/>
                </a:cxn>
                <a:cxn ang="0">
                  <a:pos x="232" y="176"/>
                </a:cxn>
                <a:cxn ang="0">
                  <a:pos x="548" y="108"/>
                </a:cxn>
                <a:cxn ang="0">
                  <a:pos x="944" y="392"/>
                </a:cxn>
              </a:cxnLst>
              <a:rect l="0" t="0" r="r" b="b"/>
              <a:pathLst>
                <a:path w="952" h="392">
                  <a:moveTo>
                    <a:pt x="944" y="392"/>
                  </a:moveTo>
                  <a:cubicBezTo>
                    <a:pt x="944" y="392"/>
                    <a:pt x="952" y="28"/>
                    <a:pt x="424" y="0"/>
                  </a:cubicBezTo>
                  <a:cubicBezTo>
                    <a:pt x="180" y="28"/>
                    <a:pt x="92" y="104"/>
                    <a:pt x="92" y="104"/>
                  </a:cubicBezTo>
                  <a:lnTo>
                    <a:pt x="0" y="64"/>
                  </a:lnTo>
                  <a:lnTo>
                    <a:pt x="100" y="224"/>
                  </a:lnTo>
                  <a:lnTo>
                    <a:pt x="312" y="220"/>
                  </a:lnTo>
                  <a:lnTo>
                    <a:pt x="232" y="176"/>
                  </a:lnTo>
                  <a:cubicBezTo>
                    <a:pt x="232" y="176"/>
                    <a:pt x="372" y="104"/>
                    <a:pt x="548" y="108"/>
                  </a:cubicBezTo>
                  <a:cubicBezTo>
                    <a:pt x="848" y="140"/>
                    <a:pt x="944" y="392"/>
                    <a:pt x="944" y="392"/>
                  </a:cubicBezTo>
                  <a:close/>
                </a:path>
              </a:pathLst>
            </a:custGeom>
            <a:grpFill/>
            <a:ln w="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8694" tIns="49347" rIns="98694" bIns="49347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4775" name="Freeform 23"/>
            <p:cNvSpPr>
              <a:spLocks/>
            </p:cNvSpPr>
            <p:nvPr/>
          </p:nvSpPr>
          <p:spPr bwMode="auto">
            <a:xfrm rot="-3449444">
              <a:off x="1120" y="1811"/>
              <a:ext cx="952" cy="392"/>
            </a:xfrm>
            <a:custGeom>
              <a:avLst/>
              <a:gdLst/>
              <a:ahLst/>
              <a:cxnLst>
                <a:cxn ang="0">
                  <a:pos x="944" y="392"/>
                </a:cxn>
                <a:cxn ang="0">
                  <a:pos x="424" y="0"/>
                </a:cxn>
                <a:cxn ang="0">
                  <a:pos x="92" y="104"/>
                </a:cxn>
                <a:cxn ang="0">
                  <a:pos x="0" y="64"/>
                </a:cxn>
                <a:cxn ang="0">
                  <a:pos x="100" y="224"/>
                </a:cxn>
                <a:cxn ang="0">
                  <a:pos x="312" y="220"/>
                </a:cxn>
                <a:cxn ang="0">
                  <a:pos x="232" y="176"/>
                </a:cxn>
                <a:cxn ang="0">
                  <a:pos x="548" y="108"/>
                </a:cxn>
                <a:cxn ang="0">
                  <a:pos x="944" y="392"/>
                </a:cxn>
              </a:cxnLst>
              <a:rect l="0" t="0" r="r" b="b"/>
              <a:pathLst>
                <a:path w="952" h="392">
                  <a:moveTo>
                    <a:pt x="944" y="392"/>
                  </a:moveTo>
                  <a:cubicBezTo>
                    <a:pt x="944" y="392"/>
                    <a:pt x="952" y="28"/>
                    <a:pt x="424" y="0"/>
                  </a:cubicBezTo>
                  <a:cubicBezTo>
                    <a:pt x="180" y="28"/>
                    <a:pt x="92" y="104"/>
                    <a:pt x="92" y="104"/>
                  </a:cubicBezTo>
                  <a:lnTo>
                    <a:pt x="0" y="64"/>
                  </a:lnTo>
                  <a:lnTo>
                    <a:pt x="100" y="224"/>
                  </a:lnTo>
                  <a:lnTo>
                    <a:pt x="312" y="220"/>
                  </a:lnTo>
                  <a:lnTo>
                    <a:pt x="232" y="176"/>
                  </a:lnTo>
                  <a:cubicBezTo>
                    <a:pt x="232" y="176"/>
                    <a:pt x="372" y="104"/>
                    <a:pt x="548" y="108"/>
                  </a:cubicBezTo>
                  <a:cubicBezTo>
                    <a:pt x="848" y="140"/>
                    <a:pt x="944" y="392"/>
                    <a:pt x="944" y="392"/>
                  </a:cubicBezTo>
                  <a:close/>
                </a:path>
              </a:pathLst>
            </a:custGeom>
            <a:grpFill/>
            <a:ln w="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8694" tIns="49347" rIns="98694" bIns="49347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4776" name="Freeform 24"/>
            <p:cNvSpPr>
              <a:spLocks/>
            </p:cNvSpPr>
            <p:nvPr/>
          </p:nvSpPr>
          <p:spPr bwMode="auto">
            <a:xfrm rot="14073339">
              <a:off x="1888" y="2147"/>
              <a:ext cx="952" cy="392"/>
            </a:xfrm>
            <a:custGeom>
              <a:avLst/>
              <a:gdLst/>
              <a:ahLst/>
              <a:cxnLst>
                <a:cxn ang="0">
                  <a:pos x="944" y="392"/>
                </a:cxn>
                <a:cxn ang="0">
                  <a:pos x="424" y="0"/>
                </a:cxn>
                <a:cxn ang="0">
                  <a:pos x="92" y="104"/>
                </a:cxn>
                <a:cxn ang="0">
                  <a:pos x="0" y="64"/>
                </a:cxn>
                <a:cxn ang="0">
                  <a:pos x="100" y="224"/>
                </a:cxn>
                <a:cxn ang="0">
                  <a:pos x="312" y="220"/>
                </a:cxn>
                <a:cxn ang="0">
                  <a:pos x="232" y="176"/>
                </a:cxn>
                <a:cxn ang="0">
                  <a:pos x="548" y="108"/>
                </a:cxn>
                <a:cxn ang="0">
                  <a:pos x="944" y="392"/>
                </a:cxn>
              </a:cxnLst>
              <a:rect l="0" t="0" r="r" b="b"/>
              <a:pathLst>
                <a:path w="952" h="392">
                  <a:moveTo>
                    <a:pt x="944" y="392"/>
                  </a:moveTo>
                  <a:cubicBezTo>
                    <a:pt x="944" y="392"/>
                    <a:pt x="952" y="28"/>
                    <a:pt x="424" y="0"/>
                  </a:cubicBezTo>
                  <a:cubicBezTo>
                    <a:pt x="180" y="28"/>
                    <a:pt x="92" y="104"/>
                    <a:pt x="92" y="104"/>
                  </a:cubicBezTo>
                  <a:lnTo>
                    <a:pt x="0" y="64"/>
                  </a:lnTo>
                  <a:lnTo>
                    <a:pt x="100" y="224"/>
                  </a:lnTo>
                  <a:lnTo>
                    <a:pt x="312" y="220"/>
                  </a:lnTo>
                  <a:lnTo>
                    <a:pt x="232" y="176"/>
                  </a:lnTo>
                  <a:cubicBezTo>
                    <a:pt x="232" y="176"/>
                    <a:pt x="372" y="104"/>
                    <a:pt x="548" y="108"/>
                  </a:cubicBezTo>
                  <a:cubicBezTo>
                    <a:pt x="848" y="140"/>
                    <a:pt x="944" y="392"/>
                    <a:pt x="944" y="392"/>
                  </a:cubicBezTo>
                  <a:close/>
                </a:path>
              </a:pathLst>
            </a:custGeom>
            <a:grpFill/>
            <a:ln w="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8694" tIns="49347" rIns="98694" bIns="49347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4777" name="Freeform 25"/>
            <p:cNvSpPr>
              <a:spLocks/>
            </p:cNvSpPr>
            <p:nvPr/>
          </p:nvSpPr>
          <p:spPr bwMode="auto">
            <a:xfrm rot="10451126">
              <a:off x="2360" y="1579"/>
              <a:ext cx="952" cy="392"/>
            </a:xfrm>
            <a:custGeom>
              <a:avLst/>
              <a:gdLst/>
              <a:ahLst/>
              <a:cxnLst>
                <a:cxn ang="0">
                  <a:pos x="944" y="392"/>
                </a:cxn>
                <a:cxn ang="0">
                  <a:pos x="424" y="0"/>
                </a:cxn>
                <a:cxn ang="0">
                  <a:pos x="92" y="104"/>
                </a:cxn>
                <a:cxn ang="0">
                  <a:pos x="0" y="64"/>
                </a:cxn>
                <a:cxn ang="0">
                  <a:pos x="100" y="224"/>
                </a:cxn>
                <a:cxn ang="0">
                  <a:pos x="312" y="220"/>
                </a:cxn>
                <a:cxn ang="0">
                  <a:pos x="232" y="176"/>
                </a:cxn>
                <a:cxn ang="0">
                  <a:pos x="548" y="108"/>
                </a:cxn>
                <a:cxn ang="0">
                  <a:pos x="944" y="392"/>
                </a:cxn>
              </a:cxnLst>
              <a:rect l="0" t="0" r="r" b="b"/>
              <a:pathLst>
                <a:path w="952" h="392">
                  <a:moveTo>
                    <a:pt x="944" y="392"/>
                  </a:moveTo>
                  <a:cubicBezTo>
                    <a:pt x="944" y="392"/>
                    <a:pt x="952" y="28"/>
                    <a:pt x="424" y="0"/>
                  </a:cubicBezTo>
                  <a:cubicBezTo>
                    <a:pt x="180" y="28"/>
                    <a:pt x="92" y="104"/>
                    <a:pt x="92" y="104"/>
                  </a:cubicBezTo>
                  <a:lnTo>
                    <a:pt x="0" y="64"/>
                  </a:lnTo>
                  <a:lnTo>
                    <a:pt x="100" y="224"/>
                  </a:lnTo>
                  <a:lnTo>
                    <a:pt x="312" y="220"/>
                  </a:lnTo>
                  <a:lnTo>
                    <a:pt x="232" y="176"/>
                  </a:lnTo>
                  <a:cubicBezTo>
                    <a:pt x="232" y="176"/>
                    <a:pt x="372" y="104"/>
                    <a:pt x="548" y="108"/>
                  </a:cubicBezTo>
                  <a:cubicBezTo>
                    <a:pt x="848" y="140"/>
                    <a:pt x="944" y="392"/>
                    <a:pt x="944" y="392"/>
                  </a:cubicBezTo>
                  <a:close/>
                </a:path>
              </a:pathLst>
            </a:custGeom>
            <a:grpFill/>
            <a:ln w="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8694" tIns="49347" rIns="98694" bIns="49347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  <p:sp>
          <p:nvSpPr>
            <p:cNvPr id="74778" name="Freeform 26"/>
            <p:cNvSpPr>
              <a:spLocks/>
            </p:cNvSpPr>
            <p:nvPr/>
          </p:nvSpPr>
          <p:spPr bwMode="auto">
            <a:xfrm rot="29102479">
              <a:off x="2272" y="1086"/>
              <a:ext cx="952" cy="392"/>
            </a:xfrm>
            <a:custGeom>
              <a:avLst/>
              <a:gdLst/>
              <a:ahLst/>
              <a:cxnLst>
                <a:cxn ang="0">
                  <a:pos x="944" y="392"/>
                </a:cxn>
                <a:cxn ang="0">
                  <a:pos x="424" y="0"/>
                </a:cxn>
                <a:cxn ang="0">
                  <a:pos x="92" y="104"/>
                </a:cxn>
                <a:cxn ang="0">
                  <a:pos x="0" y="64"/>
                </a:cxn>
                <a:cxn ang="0">
                  <a:pos x="100" y="224"/>
                </a:cxn>
                <a:cxn ang="0">
                  <a:pos x="312" y="220"/>
                </a:cxn>
                <a:cxn ang="0">
                  <a:pos x="232" y="176"/>
                </a:cxn>
                <a:cxn ang="0">
                  <a:pos x="548" y="108"/>
                </a:cxn>
                <a:cxn ang="0">
                  <a:pos x="944" y="392"/>
                </a:cxn>
              </a:cxnLst>
              <a:rect l="0" t="0" r="r" b="b"/>
              <a:pathLst>
                <a:path w="952" h="392">
                  <a:moveTo>
                    <a:pt x="944" y="392"/>
                  </a:moveTo>
                  <a:cubicBezTo>
                    <a:pt x="944" y="392"/>
                    <a:pt x="952" y="28"/>
                    <a:pt x="424" y="0"/>
                  </a:cubicBezTo>
                  <a:cubicBezTo>
                    <a:pt x="180" y="28"/>
                    <a:pt x="92" y="104"/>
                    <a:pt x="92" y="104"/>
                  </a:cubicBezTo>
                  <a:lnTo>
                    <a:pt x="0" y="64"/>
                  </a:lnTo>
                  <a:lnTo>
                    <a:pt x="100" y="224"/>
                  </a:lnTo>
                  <a:lnTo>
                    <a:pt x="312" y="220"/>
                  </a:lnTo>
                  <a:lnTo>
                    <a:pt x="232" y="176"/>
                  </a:lnTo>
                  <a:cubicBezTo>
                    <a:pt x="232" y="176"/>
                    <a:pt x="372" y="104"/>
                    <a:pt x="548" y="108"/>
                  </a:cubicBezTo>
                  <a:cubicBezTo>
                    <a:pt x="848" y="140"/>
                    <a:pt x="944" y="392"/>
                    <a:pt x="944" y="392"/>
                  </a:cubicBezTo>
                  <a:close/>
                </a:path>
              </a:pathLst>
            </a:custGeom>
            <a:grpFill/>
            <a:ln w="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8694" tIns="49347" rIns="98694" bIns="49347" numCol="1" anchor="ctr" anchorCtr="0" compatLnSpc="1">
              <a:prstTxWarp prst="textNoShape">
                <a:avLst/>
              </a:prstTxWarp>
            </a:bodyPr>
            <a:lstStyle/>
            <a:p>
              <a:endParaRPr lang="es-ES" sz="2159"/>
            </a:p>
          </p:txBody>
        </p:sp>
      </p:grpSp>
      <p:sp>
        <p:nvSpPr>
          <p:cNvPr id="74779" name="Freeform 27"/>
          <p:cNvSpPr>
            <a:spLocks/>
          </p:cNvSpPr>
          <p:nvPr/>
        </p:nvSpPr>
        <p:spPr bwMode="auto">
          <a:xfrm>
            <a:off x="6607719" y="6132647"/>
            <a:ext cx="1535908" cy="393003"/>
          </a:xfrm>
          <a:custGeom>
            <a:avLst/>
            <a:gdLst/>
            <a:ahLst/>
            <a:cxnLst>
              <a:cxn ang="0">
                <a:pos x="2987" y="250"/>
              </a:cxn>
              <a:cxn ang="0">
                <a:pos x="3256" y="768"/>
              </a:cxn>
              <a:cxn ang="0">
                <a:pos x="2737" y="833"/>
              </a:cxn>
              <a:cxn ang="0">
                <a:pos x="2806" y="743"/>
              </a:cxn>
              <a:cxn ang="0">
                <a:pos x="2737" y="695"/>
              </a:cxn>
              <a:cxn ang="0">
                <a:pos x="2359" y="563"/>
              </a:cxn>
              <a:cxn ang="0">
                <a:pos x="1801" y="494"/>
              </a:cxn>
              <a:cxn ang="0">
                <a:pos x="1261" y="500"/>
              </a:cxn>
              <a:cxn ang="0">
                <a:pos x="607" y="590"/>
              </a:cxn>
              <a:cxn ang="0">
                <a:pos x="514" y="617"/>
              </a:cxn>
              <a:cxn ang="0">
                <a:pos x="579" y="726"/>
              </a:cxn>
              <a:cxn ang="0">
                <a:pos x="0" y="507"/>
              </a:cxn>
              <a:cxn ang="0">
                <a:pos x="462" y="14"/>
              </a:cxn>
              <a:cxn ang="0">
                <a:pos x="439" y="143"/>
              </a:cxn>
              <a:cxn ang="0">
                <a:pos x="562" y="116"/>
              </a:cxn>
              <a:cxn ang="0">
                <a:pos x="1552" y="2"/>
              </a:cxn>
              <a:cxn ang="0">
                <a:pos x="2326" y="128"/>
              </a:cxn>
              <a:cxn ang="0">
                <a:pos x="2863" y="326"/>
              </a:cxn>
              <a:cxn ang="0">
                <a:pos x="2962" y="359"/>
              </a:cxn>
              <a:cxn ang="0">
                <a:pos x="2987" y="250"/>
              </a:cxn>
            </a:cxnLst>
            <a:rect l="0" t="0" r="r" b="b"/>
            <a:pathLst>
              <a:path w="3256" h="833">
                <a:moveTo>
                  <a:pt x="2987" y="250"/>
                </a:moveTo>
                <a:lnTo>
                  <a:pt x="3256" y="768"/>
                </a:lnTo>
                <a:lnTo>
                  <a:pt x="2737" y="833"/>
                </a:lnTo>
                <a:lnTo>
                  <a:pt x="2806" y="743"/>
                </a:lnTo>
                <a:lnTo>
                  <a:pt x="2737" y="695"/>
                </a:lnTo>
                <a:cubicBezTo>
                  <a:pt x="2663" y="665"/>
                  <a:pt x="2515" y="596"/>
                  <a:pt x="2359" y="563"/>
                </a:cubicBezTo>
                <a:cubicBezTo>
                  <a:pt x="2203" y="530"/>
                  <a:pt x="1984" y="505"/>
                  <a:pt x="1801" y="494"/>
                </a:cubicBezTo>
                <a:cubicBezTo>
                  <a:pt x="1618" y="483"/>
                  <a:pt x="1460" y="484"/>
                  <a:pt x="1261" y="500"/>
                </a:cubicBezTo>
                <a:cubicBezTo>
                  <a:pt x="1062" y="516"/>
                  <a:pt x="731" y="571"/>
                  <a:pt x="607" y="590"/>
                </a:cubicBezTo>
                <a:lnTo>
                  <a:pt x="514" y="617"/>
                </a:lnTo>
                <a:lnTo>
                  <a:pt x="579" y="726"/>
                </a:lnTo>
                <a:lnTo>
                  <a:pt x="0" y="507"/>
                </a:lnTo>
                <a:lnTo>
                  <a:pt x="462" y="14"/>
                </a:lnTo>
                <a:lnTo>
                  <a:pt x="439" y="143"/>
                </a:lnTo>
                <a:lnTo>
                  <a:pt x="562" y="116"/>
                </a:lnTo>
                <a:cubicBezTo>
                  <a:pt x="747" y="93"/>
                  <a:pt x="1258" y="0"/>
                  <a:pt x="1552" y="2"/>
                </a:cubicBezTo>
                <a:cubicBezTo>
                  <a:pt x="1846" y="4"/>
                  <a:pt x="2107" y="74"/>
                  <a:pt x="2326" y="128"/>
                </a:cubicBezTo>
                <a:cubicBezTo>
                  <a:pt x="2545" y="182"/>
                  <a:pt x="2757" y="287"/>
                  <a:pt x="2863" y="326"/>
                </a:cubicBezTo>
                <a:lnTo>
                  <a:pt x="2962" y="359"/>
                </a:lnTo>
                <a:lnTo>
                  <a:pt x="2987" y="250"/>
                </a:lnTo>
                <a:close/>
              </a:path>
            </a:pathLst>
          </a:custGeom>
          <a:solidFill>
            <a:schemeClr val="accent5"/>
          </a:solidFill>
          <a:ln w="63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endParaRPr lang="pt-BR" sz="2159" dirty="0"/>
          </a:p>
        </p:txBody>
      </p:sp>
    </p:spTree>
    <p:extLst>
      <p:ext uri="{BB962C8B-B14F-4D97-AF65-F5344CB8AC3E}">
        <p14:creationId xmlns:p14="http://schemas.microsoft.com/office/powerpoint/2010/main" val="366168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27 Grupo"/>
          <p:cNvGrpSpPr/>
          <p:nvPr/>
        </p:nvGrpSpPr>
        <p:grpSpPr>
          <a:xfrm>
            <a:off x="3109311" y="1205356"/>
            <a:ext cx="2390254" cy="2284583"/>
            <a:chOff x="238092" y="1285860"/>
            <a:chExt cx="4344987" cy="4152900"/>
          </a:xfrm>
        </p:grpSpPr>
        <p:grpSp>
          <p:nvGrpSpPr>
            <p:cNvPr id="3" name="Group 3"/>
            <p:cNvGrpSpPr>
              <a:grpSpLocks/>
            </p:cNvGrpSpPr>
            <p:nvPr/>
          </p:nvGrpSpPr>
          <p:grpSpPr bwMode="auto">
            <a:xfrm>
              <a:off x="238092" y="1285860"/>
              <a:ext cx="4344987" cy="4152900"/>
              <a:chOff x="1359" y="837"/>
              <a:chExt cx="2737" cy="2616"/>
            </a:xfrm>
          </p:grpSpPr>
          <p:sp>
            <p:nvSpPr>
              <p:cNvPr id="800772" name="Freeform 4"/>
              <p:cNvSpPr>
                <a:spLocks/>
              </p:cNvSpPr>
              <p:nvPr/>
            </p:nvSpPr>
            <p:spPr bwMode="auto">
              <a:xfrm>
                <a:off x="1563" y="837"/>
                <a:ext cx="2278" cy="1109"/>
              </a:xfrm>
              <a:custGeom>
                <a:avLst/>
                <a:gdLst/>
                <a:ahLst/>
                <a:cxnLst>
                  <a:cxn ang="0">
                    <a:pos x="983" y="584"/>
                  </a:cxn>
                  <a:cxn ang="0">
                    <a:pos x="1417" y="541"/>
                  </a:cxn>
                  <a:cxn ang="0">
                    <a:pos x="1552" y="150"/>
                  </a:cxn>
                  <a:cxn ang="0">
                    <a:pos x="1447" y="227"/>
                  </a:cxn>
                  <a:cxn ang="0">
                    <a:pos x="1398" y="186"/>
                  </a:cxn>
                  <a:cxn ang="0">
                    <a:pos x="1347" y="149"/>
                  </a:cxn>
                  <a:cxn ang="0">
                    <a:pos x="1294" y="116"/>
                  </a:cxn>
                  <a:cxn ang="0">
                    <a:pos x="1238" y="87"/>
                  </a:cxn>
                  <a:cxn ang="0">
                    <a:pos x="1181" y="61"/>
                  </a:cxn>
                  <a:cxn ang="0">
                    <a:pos x="1122" y="41"/>
                  </a:cxn>
                  <a:cxn ang="0">
                    <a:pos x="1060" y="23"/>
                  </a:cxn>
                  <a:cxn ang="0">
                    <a:pos x="999" y="12"/>
                  </a:cxn>
                  <a:cxn ang="0">
                    <a:pos x="936" y="4"/>
                  </a:cxn>
                  <a:cxn ang="0">
                    <a:pos x="873" y="0"/>
                  </a:cxn>
                  <a:cxn ang="0">
                    <a:pos x="810" y="2"/>
                  </a:cxn>
                  <a:cxn ang="0">
                    <a:pos x="748" y="8"/>
                  </a:cxn>
                  <a:cxn ang="0">
                    <a:pos x="685" y="19"/>
                  </a:cxn>
                  <a:cxn ang="0">
                    <a:pos x="624" y="34"/>
                  </a:cxn>
                  <a:cxn ang="0">
                    <a:pos x="564" y="53"/>
                  </a:cxn>
                  <a:cxn ang="0">
                    <a:pos x="506" y="76"/>
                  </a:cxn>
                  <a:cxn ang="0">
                    <a:pos x="449" y="104"/>
                  </a:cxn>
                  <a:cxn ang="0">
                    <a:pos x="395" y="137"/>
                  </a:cxn>
                  <a:cxn ang="0">
                    <a:pos x="342" y="172"/>
                  </a:cxn>
                  <a:cxn ang="0">
                    <a:pos x="294" y="212"/>
                  </a:cxn>
                  <a:cxn ang="0">
                    <a:pos x="248" y="254"/>
                  </a:cxn>
                  <a:cxn ang="0">
                    <a:pos x="205" y="301"/>
                  </a:cxn>
                  <a:cxn ang="0">
                    <a:pos x="165" y="350"/>
                  </a:cxn>
                  <a:cxn ang="0">
                    <a:pos x="130" y="401"/>
                  </a:cxn>
                  <a:cxn ang="0">
                    <a:pos x="98" y="456"/>
                  </a:cxn>
                  <a:cxn ang="0">
                    <a:pos x="71" y="512"/>
                  </a:cxn>
                  <a:cxn ang="0">
                    <a:pos x="46" y="570"/>
                  </a:cxn>
                  <a:cxn ang="0">
                    <a:pos x="27" y="631"/>
                  </a:cxn>
                  <a:cxn ang="0">
                    <a:pos x="11" y="692"/>
                  </a:cxn>
                  <a:cxn ang="0">
                    <a:pos x="0" y="752"/>
                  </a:cxn>
                  <a:cxn ang="0">
                    <a:pos x="222" y="608"/>
                  </a:cxn>
                  <a:cxn ang="0">
                    <a:pos x="440" y="749"/>
                  </a:cxn>
                  <a:cxn ang="0">
                    <a:pos x="455" y="710"/>
                  </a:cxn>
                  <a:cxn ang="0">
                    <a:pos x="474" y="670"/>
                  </a:cxn>
                  <a:cxn ang="0">
                    <a:pos x="498" y="632"/>
                  </a:cxn>
                  <a:cxn ang="0">
                    <a:pos x="525" y="596"/>
                  </a:cxn>
                  <a:cxn ang="0">
                    <a:pos x="556" y="563"/>
                  </a:cxn>
                  <a:cxn ang="0">
                    <a:pos x="589" y="533"/>
                  </a:cxn>
                  <a:cxn ang="0">
                    <a:pos x="626" y="507"/>
                  </a:cxn>
                  <a:cxn ang="0">
                    <a:pos x="665" y="485"/>
                  </a:cxn>
                  <a:cxn ang="0">
                    <a:pos x="706" y="467"/>
                  </a:cxn>
                  <a:cxn ang="0">
                    <a:pos x="749" y="453"/>
                  </a:cxn>
                  <a:cxn ang="0">
                    <a:pos x="793" y="443"/>
                  </a:cxn>
                  <a:cxn ang="0">
                    <a:pos x="837" y="438"/>
                  </a:cxn>
                  <a:cxn ang="0">
                    <a:pos x="882" y="438"/>
                  </a:cxn>
                  <a:cxn ang="0">
                    <a:pos x="927" y="442"/>
                  </a:cxn>
                  <a:cxn ang="0">
                    <a:pos x="971" y="450"/>
                  </a:cxn>
                  <a:cxn ang="0">
                    <a:pos x="1014" y="464"/>
                  </a:cxn>
                  <a:cxn ang="0">
                    <a:pos x="1055" y="480"/>
                  </a:cxn>
                  <a:cxn ang="0">
                    <a:pos x="1095" y="502"/>
                  </a:cxn>
                  <a:cxn ang="0">
                    <a:pos x="983" y="584"/>
                  </a:cxn>
                </a:cxnLst>
                <a:rect l="0" t="0" r="r" b="b"/>
                <a:pathLst>
                  <a:path w="1553" h="753">
                    <a:moveTo>
                      <a:pt x="983" y="584"/>
                    </a:moveTo>
                    <a:lnTo>
                      <a:pt x="1417" y="541"/>
                    </a:lnTo>
                    <a:lnTo>
                      <a:pt x="1552" y="150"/>
                    </a:lnTo>
                    <a:lnTo>
                      <a:pt x="1447" y="227"/>
                    </a:lnTo>
                    <a:lnTo>
                      <a:pt x="1398" y="186"/>
                    </a:lnTo>
                    <a:lnTo>
                      <a:pt x="1347" y="149"/>
                    </a:lnTo>
                    <a:lnTo>
                      <a:pt x="1294" y="116"/>
                    </a:lnTo>
                    <a:lnTo>
                      <a:pt x="1238" y="87"/>
                    </a:lnTo>
                    <a:lnTo>
                      <a:pt x="1181" y="61"/>
                    </a:lnTo>
                    <a:lnTo>
                      <a:pt x="1122" y="41"/>
                    </a:lnTo>
                    <a:lnTo>
                      <a:pt x="1060" y="23"/>
                    </a:lnTo>
                    <a:lnTo>
                      <a:pt x="999" y="12"/>
                    </a:lnTo>
                    <a:lnTo>
                      <a:pt x="936" y="4"/>
                    </a:lnTo>
                    <a:lnTo>
                      <a:pt x="873" y="0"/>
                    </a:lnTo>
                    <a:lnTo>
                      <a:pt x="810" y="2"/>
                    </a:lnTo>
                    <a:lnTo>
                      <a:pt x="748" y="8"/>
                    </a:lnTo>
                    <a:lnTo>
                      <a:pt x="685" y="19"/>
                    </a:lnTo>
                    <a:lnTo>
                      <a:pt x="624" y="34"/>
                    </a:lnTo>
                    <a:lnTo>
                      <a:pt x="564" y="53"/>
                    </a:lnTo>
                    <a:lnTo>
                      <a:pt x="506" y="76"/>
                    </a:lnTo>
                    <a:lnTo>
                      <a:pt x="449" y="104"/>
                    </a:lnTo>
                    <a:lnTo>
                      <a:pt x="395" y="137"/>
                    </a:lnTo>
                    <a:lnTo>
                      <a:pt x="342" y="172"/>
                    </a:lnTo>
                    <a:lnTo>
                      <a:pt x="294" y="212"/>
                    </a:lnTo>
                    <a:lnTo>
                      <a:pt x="248" y="254"/>
                    </a:lnTo>
                    <a:lnTo>
                      <a:pt x="205" y="301"/>
                    </a:lnTo>
                    <a:lnTo>
                      <a:pt x="165" y="350"/>
                    </a:lnTo>
                    <a:lnTo>
                      <a:pt x="130" y="401"/>
                    </a:lnTo>
                    <a:lnTo>
                      <a:pt x="98" y="456"/>
                    </a:lnTo>
                    <a:lnTo>
                      <a:pt x="71" y="512"/>
                    </a:lnTo>
                    <a:lnTo>
                      <a:pt x="46" y="570"/>
                    </a:lnTo>
                    <a:lnTo>
                      <a:pt x="27" y="631"/>
                    </a:lnTo>
                    <a:lnTo>
                      <a:pt x="11" y="692"/>
                    </a:lnTo>
                    <a:lnTo>
                      <a:pt x="0" y="752"/>
                    </a:lnTo>
                    <a:lnTo>
                      <a:pt x="222" y="608"/>
                    </a:lnTo>
                    <a:lnTo>
                      <a:pt x="440" y="749"/>
                    </a:lnTo>
                    <a:lnTo>
                      <a:pt x="455" y="710"/>
                    </a:lnTo>
                    <a:lnTo>
                      <a:pt x="474" y="670"/>
                    </a:lnTo>
                    <a:lnTo>
                      <a:pt x="498" y="632"/>
                    </a:lnTo>
                    <a:lnTo>
                      <a:pt x="525" y="596"/>
                    </a:lnTo>
                    <a:lnTo>
                      <a:pt x="556" y="563"/>
                    </a:lnTo>
                    <a:lnTo>
                      <a:pt x="589" y="533"/>
                    </a:lnTo>
                    <a:lnTo>
                      <a:pt x="626" y="507"/>
                    </a:lnTo>
                    <a:lnTo>
                      <a:pt x="665" y="485"/>
                    </a:lnTo>
                    <a:lnTo>
                      <a:pt x="706" y="467"/>
                    </a:lnTo>
                    <a:lnTo>
                      <a:pt x="749" y="453"/>
                    </a:lnTo>
                    <a:lnTo>
                      <a:pt x="793" y="443"/>
                    </a:lnTo>
                    <a:lnTo>
                      <a:pt x="837" y="438"/>
                    </a:lnTo>
                    <a:lnTo>
                      <a:pt x="882" y="438"/>
                    </a:lnTo>
                    <a:lnTo>
                      <a:pt x="927" y="442"/>
                    </a:lnTo>
                    <a:lnTo>
                      <a:pt x="971" y="450"/>
                    </a:lnTo>
                    <a:lnTo>
                      <a:pt x="1014" y="464"/>
                    </a:lnTo>
                    <a:lnTo>
                      <a:pt x="1055" y="480"/>
                    </a:lnTo>
                    <a:lnTo>
                      <a:pt x="1095" y="502"/>
                    </a:lnTo>
                    <a:lnTo>
                      <a:pt x="983" y="584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  <p:sp>
            <p:nvSpPr>
              <p:cNvPr id="800773" name="Freeform 5"/>
              <p:cNvSpPr>
                <a:spLocks/>
              </p:cNvSpPr>
              <p:nvPr/>
            </p:nvSpPr>
            <p:spPr bwMode="auto">
              <a:xfrm>
                <a:off x="1359" y="1815"/>
                <a:ext cx="1791" cy="1575"/>
              </a:xfrm>
              <a:custGeom>
                <a:avLst/>
                <a:gdLst/>
                <a:ahLst/>
                <a:cxnLst>
                  <a:cxn ang="0">
                    <a:pos x="1220" y="1042"/>
                  </a:cxn>
                  <a:cxn ang="0">
                    <a:pos x="1002" y="847"/>
                  </a:cxn>
                  <a:cxn ang="0">
                    <a:pos x="1081" y="630"/>
                  </a:cxn>
                  <a:cxn ang="0">
                    <a:pos x="1038" y="635"/>
                  </a:cxn>
                  <a:cxn ang="0">
                    <a:pos x="994" y="636"/>
                  </a:cxn>
                  <a:cxn ang="0">
                    <a:pos x="950" y="634"/>
                  </a:cxn>
                  <a:cxn ang="0">
                    <a:pos x="906" y="626"/>
                  </a:cxn>
                  <a:cxn ang="0">
                    <a:pos x="865" y="614"/>
                  </a:cxn>
                  <a:cxn ang="0">
                    <a:pos x="823" y="599"/>
                  </a:cxn>
                  <a:cxn ang="0">
                    <a:pos x="784" y="579"/>
                  </a:cxn>
                  <a:cxn ang="0">
                    <a:pos x="747" y="556"/>
                  </a:cxn>
                  <a:cxn ang="0">
                    <a:pos x="713" y="528"/>
                  </a:cxn>
                  <a:cxn ang="0">
                    <a:pos x="682" y="496"/>
                  </a:cxn>
                  <a:cxn ang="0">
                    <a:pos x="653" y="463"/>
                  </a:cxn>
                  <a:cxn ang="0">
                    <a:pos x="629" y="427"/>
                  </a:cxn>
                  <a:cxn ang="0">
                    <a:pos x="609" y="390"/>
                  </a:cxn>
                  <a:cxn ang="0">
                    <a:pos x="594" y="352"/>
                  </a:cxn>
                  <a:cxn ang="0">
                    <a:pos x="581" y="314"/>
                  </a:cxn>
                  <a:cxn ang="0">
                    <a:pos x="573" y="273"/>
                  </a:cxn>
                  <a:cxn ang="0">
                    <a:pos x="568" y="232"/>
                  </a:cxn>
                  <a:cxn ang="0">
                    <a:pos x="712" y="232"/>
                  </a:cxn>
                  <a:cxn ang="0">
                    <a:pos x="368" y="0"/>
                  </a:cxn>
                  <a:cxn ang="0">
                    <a:pos x="0" y="235"/>
                  </a:cxn>
                  <a:cxn ang="0">
                    <a:pos x="134" y="234"/>
                  </a:cxn>
                  <a:cxn ang="0">
                    <a:pos x="139" y="296"/>
                  </a:cxn>
                  <a:cxn ang="0">
                    <a:pos x="148" y="358"/>
                  </a:cxn>
                  <a:cxn ang="0">
                    <a:pos x="161" y="419"/>
                  </a:cxn>
                  <a:cxn ang="0">
                    <a:pos x="178" y="479"/>
                  </a:cxn>
                  <a:cxn ang="0">
                    <a:pos x="200" y="538"/>
                  </a:cxn>
                  <a:cxn ang="0">
                    <a:pos x="227" y="595"/>
                  </a:cxn>
                  <a:cxn ang="0">
                    <a:pos x="257" y="650"/>
                  </a:cxn>
                  <a:cxn ang="0">
                    <a:pos x="291" y="702"/>
                  </a:cxn>
                  <a:cxn ang="0">
                    <a:pos x="328" y="751"/>
                  </a:cxn>
                  <a:cxn ang="0">
                    <a:pos x="369" y="797"/>
                  </a:cxn>
                  <a:cxn ang="0">
                    <a:pos x="413" y="841"/>
                  </a:cxn>
                  <a:cxn ang="0">
                    <a:pos x="459" y="882"/>
                  </a:cxn>
                  <a:cxn ang="0">
                    <a:pos x="509" y="919"/>
                  </a:cxn>
                  <a:cxn ang="0">
                    <a:pos x="562" y="951"/>
                  </a:cxn>
                  <a:cxn ang="0">
                    <a:pos x="617" y="981"/>
                  </a:cxn>
                  <a:cxn ang="0">
                    <a:pos x="673" y="1007"/>
                  </a:cxn>
                  <a:cxn ang="0">
                    <a:pos x="732" y="1027"/>
                  </a:cxn>
                  <a:cxn ang="0">
                    <a:pos x="791" y="1045"/>
                  </a:cxn>
                  <a:cxn ang="0">
                    <a:pos x="852" y="1057"/>
                  </a:cxn>
                  <a:cxn ang="0">
                    <a:pos x="913" y="1067"/>
                  </a:cxn>
                  <a:cxn ang="0">
                    <a:pos x="975" y="1070"/>
                  </a:cxn>
                  <a:cxn ang="0">
                    <a:pos x="1037" y="1070"/>
                  </a:cxn>
                  <a:cxn ang="0">
                    <a:pos x="1098" y="1066"/>
                  </a:cxn>
                  <a:cxn ang="0">
                    <a:pos x="1160" y="1056"/>
                  </a:cxn>
                  <a:cxn ang="0">
                    <a:pos x="1220" y="1042"/>
                  </a:cxn>
                </a:cxnLst>
                <a:rect l="0" t="0" r="r" b="b"/>
                <a:pathLst>
                  <a:path w="1221" h="1071">
                    <a:moveTo>
                      <a:pt x="1220" y="1042"/>
                    </a:moveTo>
                    <a:lnTo>
                      <a:pt x="1002" y="847"/>
                    </a:lnTo>
                    <a:lnTo>
                      <a:pt x="1081" y="630"/>
                    </a:lnTo>
                    <a:lnTo>
                      <a:pt x="1038" y="635"/>
                    </a:lnTo>
                    <a:lnTo>
                      <a:pt x="994" y="636"/>
                    </a:lnTo>
                    <a:lnTo>
                      <a:pt x="950" y="634"/>
                    </a:lnTo>
                    <a:lnTo>
                      <a:pt x="906" y="626"/>
                    </a:lnTo>
                    <a:lnTo>
                      <a:pt x="865" y="614"/>
                    </a:lnTo>
                    <a:lnTo>
                      <a:pt x="823" y="599"/>
                    </a:lnTo>
                    <a:lnTo>
                      <a:pt x="784" y="579"/>
                    </a:lnTo>
                    <a:lnTo>
                      <a:pt x="747" y="556"/>
                    </a:lnTo>
                    <a:lnTo>
                      <a:pt x="713" y="528"/>
                    </a:lnTo>
                    <a:lnTo>
                      <a:pt x="682" y="496"/>
                    </a:lnTo>
                    <a:lnTo>
                      <a:pt x="653" y="463"/>
                    </a:lnTo>
                    <a:lnTo>
                      <a:pt x="629" y="427"/>
                    </a:lnTo>
                    <a:lnTo>
                      <a:pt x="609" y="390"/>
                    </a:lnTo>
                    <a:lnTo>
                      <a:pt x="594" y="352"/>
                    </a:lnTo>
                    <a:lnTo>
                      <a:pt x="581" y="314"/>
                    </a:lnTo>
                    <a:lnTo>
                      <a:pt x="573" y="273"/>
                    </a:lnTo>
                    <a:lnTo>
                      <a:pt x="568" y="232"/>
                    </a:lnTo>
                    <a:lnTo>
                      <a:pt x="712" y="232"/>
                    </a:lnTo>
                    <a:lnTo>
                      <a:pt x="368" y="0"/>
                    </a:lnTo>
                    <a:lnTo>
                      <a:pt x="0" y="235"/>
                    </a:lnTo>
                    <a:lnTo>
                      <a:pt x="134" y="234"/>
                    </a:lnTo>
                    <a:lnTo>
                      <a:pt x="139" y="296"/>
                    </a:lnTo>
                    <a:lnTo>
                      <a:pt x="148" y="358"/>
                    </a:lnTo>
                    <a:lnTo>
                      <a:pt x="161" y="419"/>
                    </a:lnTo>
                    <a:lnTo>
                      <a:pt x="178" y="479"/>
                    </a:lnTo>
                    <a:lnTo>
                      <a:pt x="200" y="538"/>
                    </a:lnTo>
                    <a:lnTo>
                      <a:pt x="227" y="595"/>
                    </a:lnTo>
                    <a:lnTo>
                      <a:pt x="257" y="650"/>
                    </a:lnTo>
                    <a:lnTo>
                      <a:pt x="291" y="702"/>
                    </a:lnTo>
                    <a:lnTo>
                      <a:pt x="328" y="751"/>
                    </a:lnTo>
                    <a:lnTo>
                      <a:pt x="369" y="797"/>
                    </a:lnTo>
                    <a:lnTo>
                      <a:pt x="413" y="841"/>
                    </a:lnTo>
                    <a:lnTo>
                      <a:pt x="459" y="882"/>
                    </a:lnTo>
                    <a:lnTo>
                      <a:pt x="509" y="919"/>
                    </a:lnTo>
                    <a:lnTo>
                      <a:pt x="562" y="951"/>
                    </a:lnTo>
                    <a:lnTo>
                      <a:pt x="617" y="981"/>
                    </a:lnTo>
                    <a:lnTo>
                      <a:pt x="673" y="1007"/>
                    </a:lnTo>
                    <a:lnTo>
                      <a:pt x="732" y="1027"/>
                    </a:lnTo>
                    <a:lnTo>
                      <a:pt x="791" y="1045"/>
                    </a:lnTo>
                    <a:lnTo>
                      <a:pt x="852" y="1057"/>
                    </a:lnTo>
                    <a:lnTo>
                      <a:pt x="913" y="1067"/>
                    </a:lnTo>
                    <a:lnTo>
                      <a:pt x="975" y="1070"/>
                    </a:lnTo>
                    <a:lnTo>
                      <a:pt x="1037" y="1070"/>
                    </a:lnTo>
                    <a:lnTo>
                      <a:pt x="1098" y="1066"/>
                    </a:lnTo>
                    <a:lnTo>
                      <a:pt x="1160" y="1056"/>
                    </a:lnTo>
                    <a:lnTo>
                      <a:pt x="1220" y="1042"/>
                    </a:lnTo>
                  </a:path>
                </a:pathLst>
              </a:custGeom>
              <a:solidFill>
                <a:schemeClr val="accent3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  <p:sp>
            <p:nvSpPr>
              <p:cNvPr id="800774" name="Freeform 6"/>
              <p:cNvSpPr>
                <a:spLocks/>
              </p:cNvSpPr>
              <p:nvPr/>
            </p:nvSpPr>
            <p:spPr bwMode="auto">
              <a:xfrm>
                <a:off x="2933" y="1334"/>
                <a:ext cx="1163" cy="2119"/>
              </a:xfrm>
              <a:custGeom>
                <a:avLst/>
                <a:gdLst/>
                <a:ahLst/>
                <a:cxnLst>
                  <a:cxn ang="0">
                    <a:pos x="286" y="1316"/>
                  </a:cxn>
                  <a:cxn ang="0">
                    <a:pos x="340" y="1290"/>
                  </a:cxn>
                  <a:cxn ang="0">
                    <a:pos x="392" y="1260"/>
                  </a:cxn>
                  <a:cxn ang="0">
                    <a:pos x="442" y="1225"/>
                  </a:cxn>
                  <a:cxn ang="0">
                    <a:pos x="490" y="1187"/>
                  </a:cxn>
                  <a:cxn ang="0">
                    <a:pos x="535" y="1146"/>
                  </a:cxn>
                  <a:cxn ang="0">
                    <a:pos x="576" y="1102"/>
                  </a:cxn>
                  <a:cxn ang="0">
                    <a:pos x="616" y="1055"/>
                  </a:cxn>
                  <a:cxn ang="0">
                    <a:pos x="650" y="1005"/>
                  </a:cxn>
                  <a:cxn ang="0">
                    <a:pos x="682" y="953"/>
                  </a:cxn>
                  <a:cxn ang="0">
                    <a:pos x="709" y="900"/>
                  </a:cxn>
                  <a:cxn ang="0">
                    <a:pos x="734" y="844"/>
                  </a:cxn>
                  <a:cxn ang="0">
                    <a:pos x="753" y="786"/>
                  </a:cxn>
                  <a:cxn ang="0">
                    <a:pos x="770" y="727"/>
                  </a:cxn>
                  <a:cxn ang="0">
                    <a:pos x="781" y="668"/>
                  </a:cxn>
                  <a:cxn ang="0">
                    <a:pos x="789" y="608"/>
                  </a:cxn>
                  <a:cxn ang="0">
                    <a:pos x="792" y="547"/>
                  </a:cxn>
                  <a:cxn ang="0">
                    <a:pos x="790" y="487"/>
                  </a:cxn>
                  <a:cxn ang="0">
                    <a:pos x="786" y="427"/>
                  </a:cxn>
                  <a:cxn ang="0">
                    <a:pos x="775" y="367"/>
                  </a:cxn>
                  <a:cxn ang="0">
                    <a:pos x="762" y="308"/>
                  </a:cxn>
                  <a:cxn ang="0">
                    <a:pos x="744" y="249"/>
                  </a:cxn>
                  <a:cxn ang="0">
                    <a:pos x="722" y="193"/>
                  </a:cxn>
                  <a:cxn ang="0">
                    <a:pos x="697" y="137"/>
                  </a:cxn>
                  <a:cxn ang="0">
                    <a:pos x="667" y="84"/>
                  </a:cxn>
                  <a:cxn ang="0">
                    <a:pos x="639" y="41"/>
                  </a:cxn>
                  <a:cxn ang="0">
                    <a:pos x="609" y="0"/>
                  </a:cxn>
                  <a:cxn ang="0">
                    <a:pos x="521" y="247"/>
                  </a:cxn>
                  <a:cxn ang="0">
                    <a:pos x="277" y="280"/>
                  </a:cxn>
                  <a:cxn ang="0">
                    <a:pos x="294" y="308"/>
                  </a:cxn>
                  <a:cxn ang="0">
                    <a:pos x="316" y="347"/>
                  </a:cxn>
                  <a:cxn ang="0">
                    <a:pos x="332" y="389"/>
                  </a:cxn>
                  <a:cxn ang="0">
                    <a:pos x="345" y="431"/>
                  </a:cxn>
                  <a:cxn ang="0">
                    <a:pos x="353" y="475"/>
                  </a:cxn>
                  <a:cxn ang="0">
                    <a:pos x="357" y="519"/>
                  </a:cxn>
                  <a:cxn ang="0">
                    <a:pos x="355" y="564"/>
                  </a:cxn>
                  <a:cxn ang="0">
                    <a:pos x="350" y="608"/>
                  </a:cxn>
                  <a:cxn ang="0">
                    <a:pos x="339" y="652"/>
                  </a:cxn>
                  <a:cxn ang="0">
                    <a:pos x="325" y="694"/>
                  </a:cxn>
                  <a:cxn ang="0">
                    <a:pos x="306" y="734"/>
                  </a:cxn>
                  <a:cxn ang="0">
                    <a:pos x="284" y="772"/>
                  </a:cxn>
                  <a:cxn ang="0">
                    <a:pos x="257" y="808"/>
                  </a:cxn>
                  <a:cxn ang="0">
                    <a:pos x="227" y="841"/>
                  </a:cxn>
                  <a:cxn ang="0">
                    <a:pos x="193" y="871"/>
                  </a:cxn>
                  <a:cxn ang="0">
                    <a:pos x="156" y="896"/>
                  </a:cxn>
                  <a:cxn ang="0">
                    <a:pos x="113" y="761"/>
                  </a:cxn>
                  <a:cxn ang="0">
                    <a:pos x="0" y="1169"/>
                  </a:cxn>
                  <a:cxn ang="0">
                    <a:pos x="321" y="1439"/>
                  </a:cxn>
                  <a:cxn ang="0">
                    <a:pos x="286" y="1316"/>
                  </a:cxn>
                </a:cxnLst>
                <a:rect l="0" t="0" r="r" b="b"/>
                <a:pathLst>
                  <a:path w="793" h="1440">
                    <a:moveTo>
                      <a:pt x="286" y="1316"/>
                    </a:moveTo>
                    <a:lnTo>
                      <a:pt x="340" y="1290"/>
                    </a:lnTo>
                    <a:lnTo>
                      <a:pt x="392" y="1260"/>
                    </a:lnTo>
                    <a:lnTo>
                      <a:pt x="442" y="1225"/>
                    </a:lnTo>
                    <a:lnTo>
                      <a:pt x="490" y="1187"/>
                    </a:lnTo>
                    <a:lnTo>
                      <a:pt x="535" y="1146"/>
                    </a:lnTo>
                    <a:lnTo>
                      <a:pt x="576" y="1102"/>
                    </a:lnTo>
                    <a:lnTo>
                      <a:pt x="616" y="1055"/>
                    </a:lnTo>
                    <a:lnTo>
                      <a:pt x="650" y="1005"/>
                    </a:lnTo>
                    <a:lnTo>
                      <a:pt x="682" y="953"/>
                    </a:lnTo>
                    <a:lnTo>
                      <a:pt x="709" y="900"/>
                    </a:lnTo>
                    <a:lnTo>
                      <a:pt x="734" y="844"/>
                    </a:lnTo>
                    <a:lnTo>
                      <a:pt x="753" y="786"/>
                    </a:lnTo>
                    <a:lnTo>
                      <a:pt x="770" y="727"/>
                    </a:lnTo>
                    <a:lnTo>
                      <a:pt x="781" y="668"/>
                    </a:lnTo>
                    <a:lnTo>
                      <a:pt x="789" y="608"/>
                    </a:lnTo>
                    <a:lnTo>
                      <a:pt x="792" y="547"/>
                    </a:lnTo>
                    <a:lnTo>
                      <a:pt x="790" y="487"/>
                    </a:lnTo>
                    <a:lnTo>
                      <a:pt x="786" y="427"/>
                    </a:lnTo>
                    <a:lnTo>
                      <a:pt x="775" y="367"/>
                    </a:lnTo>
                    <a:lnTo>
                      <a:pt x="762" y="308"/>
                    </a:lnTo>
                    <a:lnTo>
                      <a:pt x="744" y="249"/>
                    </a:lnTo>
                    <a:lnTo>
                      <a:pt x="722" y="193"/>
                    </a:lnTo>
                    <a:lnTo>
                      <a:pt x="697" y="137"/>
                    </a:lnTo>
                    <a:lnTo>
                      <a:pt x="667" y="84"/>
                    </a:lnTo>
                    <a:lnTo>
                      <a:pt x="639" y="41"/>
                    </a:lnTo>
                    <a:lnTo>
                      <a:pt x="609" y="0"/>
                    </a:lnTo>
                    <a:lnTo>
                      <a:pt x="521" y="247"/>
                    </a:lnTo>
                    <a:lnTo>
                      <a:pt x="277" y="280"/>
                    </a:lnTo>
                    <a:lnTo>
                      <a:pt x="294" y="308"/>
                    </a:lnTo>
                    <a:lnTo>
                      <a:pt x="316" y="347"/>
                    </a:lnTo>
                    <a:lnTo>
                      <a:pt x="332" y="389"/>
                    </a:lnTo>
                    <a:lnTo>
                      <a:pt x="345" y="431"/>
                    </a:lnTo>
                    <a:lnTo>
                      <a:pt x="353" y="475"/>
                    </a:lnTo>
                    <a:lnTo>
                      <a:pt x="357" y="519"/>
                    </a:lnTo>
                    <a:lnTo>
                      <a:pt x="355" y="564"/>
                    </a:lnTo>
                    <a:lnTo>
                      <a:pt x="350" y="608"/>
                    </a:lnTo>
                    <a:lnTo>
                      <a:pt x="339" y="652"/>
                    </a:lnTo>
                    <a:lnTo>
                      <a:pt x="325" y="694"/>
                    </a:lnTo>
                    <a:lnTo>
                      <a:pt x="306" y="734"/>
                    </a:lnTo>
                    <a:lnTo>
                      <a:pt x="284" y="772"/>
                    </a:lnTo>
                    <a:lnTo>
                      <a:pt x="257" y="808"/>
                    </a:lnTo>
                    <a:lnTo>
                      <a:pt x="227" y="841"/>
                    </a:lnTo>
                    <a:lnTo>
                      <a:pt x="193" y="871"/>
                    </a:lnTo>
                    <a:lnTo>
                      <a:pt x="156" y="896"/>
                    </a:lnTo>
                    <a:lnTo>
                      <a:pt x="113" y="761"/>
                    </a:lnTo>
                    <a:lnTo>
                      <a:pt x="0" y="1169"/>
                    </a:lnTo>
                    <a:lnTo>
                      <a:pt x="321" y="1439"/>
                    </a:lnTo>
                    <a:lnTo>
                      <a:pt x="286" y="1316"/>
                    </a:lnTo>
                  </a:path>
                </a:pathLst>
              </a:custGeom>
              <a:solidFill>
                <a:schemeClr val="accent2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00775" name="Rectangle 7"/>
            <p:cNvSpPr>
              <a:spLocks noChangeArrowheads="1"/>
            </p:cNvSpPr>
            <p:nvPr/>
          </p:nvSpPr>
          <p:spPr bwMode="auto">
            <a:xfrm>
              <a:off x="1317592" y="1735123"/>
              <a:ext cx="232410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  <p:sp>
          <p:nvSpPr>
            <p:cNvPr id="800776" name="Rectangle 8"/>
            <p:cNvSpPr>
              <a:spLocks noChangeArrowheads="1"/>
            </p:cNvSpPr>
            <p:nvPr/>
          </p:nvSpPr>
          <p:spPr bwMode="auto">
            <a:xfrm>
              <a:off x="3467067" y="3740135"/>
              <a:ext cx="104140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  <p:sp>
          <p:nvSpPr>
            <p:cNvPr id="800777" name="Rectangle 9"/>
            <p:cNvSpPr>
              <a:spLocks noChangeArrowheads="1"/>
            </p:cNvSpPr>
            <p:nvPr/>
          </p:nvSpPr>
          <p:spPr bwMode="auto">
            <a:xfrm>
              <a:off x="863567" y="4083035"/>
              <a:ext cx="1020762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</p:grpSp>
      <p:sp>
        <p:nvSpPr>
          <p:cNvPr id="800778" name="Text Box 10"/>
          <p:cNvSpPr txBox="1">
            <a:spLocks noChangeArrowheads="1"/>
          </p:cNvSpPr>
          <p:nvPr/>
        </p:nvSpPr>
        <p:spPr bwMode="auto">
          <a:xfrm>
            <a:off x="838136" y="6985668"/>
            <a:ext cx="3452564" cy="4951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grpSp>
        <p:nvGrpSpPr>
          <p:cNvPr id="4" name="20 Grupo"/>
          <p:cNvGrpSpPr/>
          <p:nvPr/>
        </p:nvGrpSpPr>
        <p:grpSpPr>
          <a:xfrm>
            <a:off x="5885089" y="1690296"/>
            <a:ext cx="3007093" cy="2975895"/>
            <a:chOff x="4953000" y="1735158"/>
            <a:chExt cx="4743450" cy="4694238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4953000" y="1735158"/>
              <a:ext cx="4743450" cy="4694238"/>
              <a:chOff x="1357" y="640"/>
              <a:chExt cx="2988" cy="2957"/>
            </a:xfrm>
          </p:grpSpPr>
          <p:sp>
            <p:nvSpPr>
              <p:cNvPr id="12" name="Freeform 4"/>
              <p:cNvSpPr>
                <a:spLocks/>
              </p:cNvSpPr>
              <p:nvPr/>
            </p:nvSpPr>
            <p:spPr bwMode="auto">
              <a:xfrm>
                <a:off x="1537" y="640"/>
                <a:ext cx="1556" cy="1312"/>
              </a:xfrm>
              <a:custGeom>
                <a:avLst/>
                <a:gdLst/>
                <a:ahLst/>
                <a:cxnLst>
                  <a:cxn ang="0">
                    <a:pos x="455" y="879"/>
                  </a:cxn>
                  <a:cxn ang="0">
                    <a:pos x="471" y="838"/>
                  </a:cxn>
                  <a:cxn ang="0">
                    <a:pos x="490" y="799"/>
                  </a:cxn>
                  <a:cxn ang="0">
                    <a:pos x="514" y="762"/>
                  </a:cxn>
                  <a:cxn ang="0">
                    <a:pos x="541" y="728"/>
                  </a:cxn>
                  <a:cxn ang="0">
                    <a:pos x="570" y="696"/>
                  </a:cxn>
                  <a:cxn ang="0">
                    <a:pos x="603" y="667"/>
                  </a:cxn>
                  <a:cxn ang="0">
                    <a:pos x="639" y="642"/>
                  </a:cxn>
                  <a:cxn ang="0">
                    <a:pos x="676" y="621"/>
                  </a:cxn>
                  <a:cxn ang="0">
                    <a:pos x="713" y="605"/>
                  </a:cxn>
                  <a:cxn ang="0">
                    <a:pos x="753" y="591"/>
                  </a:cxn>
                  <a:cxn ang="0">
                    <a:pos x="793" y="581"/>
                  </a:cxn>
                  <a:cxn ang="0">
                    <a:pos x="834" y="575"/>
                  </a:cxn>
                  <a:cxn ang="0">
                    <a:pos x="833" y="711"/>
                  </a:cxn>
                  <a:cxn ang="0">
                    <a:pos x="1056" y="374"/>
                  </a:cxn>
                  <a:cxn ang="0">
                    <a:pos x="818" y="0"/>
                  </a:cxn>
                  <a:cxn ang="0">
                    <a:pos x="819" y="137"/>
                  </a:cxn>
                  <a:cxn ang="0">
                    <a:pos x="757" y="143"/>
                  </a:cxn>
                  <a:cxn ang="0">
                    <a:pos x="694" y="154"/>
                  </a:cxn>
                  <a:cxn ang="0">
                    <a:pos x="634" y="168"/>
                  </a:cxn>
                  <a:cxn ang="0">
                    <a:pos x="574" y="188"/>
                  </a:cxn>
                  <a:cxn ang="0">
                    <a:pos x="516" y="211"/>
                  </a:cxn>
                  <a:cxn ang="0">
                    <a:pos x="460" y="238"/>
                  </a:cxn>
                  <a:cxn ang="0">
                    <a:pos x="405" y="270"/>
                  </a:cxn>
                  <a:cxn ang="0">
                    <a:pos x="352" y="306"/>
                  </a:cxn>
                  <a:cxn ang="0">
                    <a:pos x="302" y="346"/>
                  </a:cxn>
                  <a:cxn ang="0">
                    <a:pos x="255" y="390"/>
                  </a:cxn>
                  <a:cxn ang="0">
                    <a:pos x="211" y="437"/>
                  </a:cxn>
                  <a:cxn ang="0">
                    <a:pos x="170" y="486"/>
                  </a:cxn>
                  <a:cxn ang="0">
                    <a:pos x="134" y="539"/>
                  </a:cxn>
                  <a:cxn ang="0">
                    <a:pos x="101" y="595"/>
                  </a:cxn>
                  <a:cxn ang="0">
                    <a:pos x="72" y="653"/>
                  </a:cxn>
                  <a:cxn ang="0">
                    <a:pos x="47" y="711"/>
                  </a:cxn>
                  <a:cxn ang="0">
                    <a:pos x="27" y="773"/>
                  </a:cxn>
                  <a:cxn ang="0">
                    <a:pos x="11" y="835"/>
                  </a:cxn>
                  <a:cxn ang="0">
                    <a:pos x="0" y="899"/>
                  </a:cxn>
                  <a:cxn ang="0">
                    <a:pos x="238" y="741"/>
                  </a:cxn>
                  <a:cxn ang="0">
                    <a:pos x="455" y="879"/>
                  </a:cxn>
                </a:cxnLst>
                <a:rect l="0" t="0" r="r" b="b"/>
                <a:pathLst>
                  <a:path w="1057" h="900">
                    <a:moveTo>
                      <a:pt x="455" y="879"/>
                    </a:moveTo>
                    <a:lnTo>
                      <a:pt x="471" y="838"/>
                    </a:lnTo>
                    <a:lnTo>
                      <a:pt x="490" y="799"/>
                    </a:lnTo>
                    <a:lnTo>
                      <a:pt x="514" y="762"/>
                    </a:lnTo>
                    <a:lnTo>
                      <a:pt x="541" y="728"/>
                    </a:lnTo>
                    <a:lnTo>
                      <a:pt x="570" y="696"/>
                    </a:lnTo>
                    <a:lnTo>
                      <a:pt x="603" y="667"/>
                    </a:lnTo>
                    <a:lnTo>
                      <a:pt x="639" y="642"/>
                    </a:lnTo>
                    <a:lnTo>
                      <a:pt x="676" y="621"/>
                    </a:lnTo>
                    <a:lnTo>
                      <a:pt x="713" y="605"/>
                    </a:lnTo>
                    <a:lnTo>
                      <a:pt x="753" y="591"/>
                    </a:lnTo>
                    <a:lnTo>
                      <a:pt x="793" y="581"/>
                    </a:lnTo>
                    <a:lnTo>
                      <a:pt x="834" y="575"/>
                    </a:lnTo>
                    <a:lnTo>
                      <a:pt x="833" y="711"/>
                    </a:lnTo>
                    <a:lnTo>
                      <a:pt x="1056" y="374"/>
                    </a:lnTo>
                    <a:lnTo>
                      <a:pt x="818" y="0"/>
                    </a:lnTo>
                    <a:lnTo>
                      <a:pt x="819" y="137"/>
                    </a:lnTo>
                    <a:lnTo>
                      <a:pt x="757" y="143"/>
                    </a:lnTo>
                    <a:lnTo>
                      <a:pt x="694" y="154"/>
                    </a:lnTo>
                    <a:lnTo>
                      <a:pt x="634" y="168"/>
                    </a:lnTo>
                    <a:lnTo>
                      <a:pt x="574" y="188"/>
                    </a:lnTo>
                    <a:lnTo>
                      <a:pt x="516" y="211"/>
                    </a:lnTo>
                    <a:lnTo>
                      <a:pt x="460" y="238"/>
                    </a:lnTo>
                    <a:lnTo>
                      <a:pt x="405" y="270"/>
                    </a:lnTo>
                    <a:lnTo>
                      <a:pt x="352" y="306"/>
                    </a:lnTo>
                    <a:lnTo>
                      <a:pt x="302" y="346"/>
                    </a:lnTo>
                    <a:lnTo>
                      <a:pt x="255" y="390"/>
                    </a:lnTo>
                    <a:lnTo>
                      <a:pt x="211" y="437"/>
                    </a:lnTo>
                    <a:lnTo>
                      <a:pt x="170" y="486"/>
                    </a:lnTo>
                    <a:lnTo>
                      <a:pt x="134" y="539"/>
                    </a:lnTo>
                    <a:lnTo>
                      <a:pt x="101" y="595"/>
                    </a:lnTo>
                    <a:lnTo>
                      <a:pt x="72" y="653"/>
                    </a:lnTo>
                    <a:lnTo>
                      <a:pt x="47" y="711"/>
                    </a:lnTo>
                    <a:lnTo>
                      <a:pt x="27" y="773"/>
                    </a:lnTo>
                    <a:lnTo>
                      <a:pt x="11" y="835"/>
                    </a:lnTo>
                    <a:lnTo>
                      <a:pt x="0" y="899"/>
                    </a:lnTo>
                    <a:lnTo>
                      <a:pt x="238" y="741"/>
                    </a:lnTo>
                    <a:lnTo>
                      <a:pt x="455" y="879"/>
                    </a:lnTo>
                  </a:path>
                </a:pathLst>
              </a:custGeom>
              <a:solidFill>
                <a:schemeClr val="accent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Freeform 5"/>
              <p:cNvSpPr>
                <a:spLocks/>
              </p:cNvSpPr>
              <p:nvPr/>
            </p:nvSpPr>
            <p:spPr bwMode="auto">
              <a:xfrm>
                <a:off x="2578" y="2280"/>
                <a:ext cx="1521" cy="1317"/>
              </a:xfrm>
              <a:custGeom>
                <a:avLst/>
                <a:gdLst/>
                <a:ahLst/>
                <a:cxnLst>
                  <a:cxn ang="0">
                    <a:pos x="585" y="1"/>
                  </a:cxn>
                  <a:cxn ang="0">
                    <a:pos x="573" y="41"/>
                  </a:cxn>
                  <a:cxn ang="0">
                    <a:pos x="556" y="78"/>
                  </a:cxn>
                  <a:cxn ang="0">
                    <a:pos x="537" y="116"/>
                  </a:cxn>
                  <a:cxn ang="0">
                    <a:pos x="514" y="150"/>
                  </a:cxn>
                  <a:cxn ang="0">
                    <a:pos x="488" y="182"/>
                  </a:cxn>
                  <a:cxn ang="0">
                    <a:pos x="459" y="212"/>
                  </a:cxn>
                  <a:cxn ang="0">
                    <a:pos x="427" y="239"/>
                  </a:cxn>
                  <a:cxn ang="0">
                    <a:pos x="393" y="262"/>
                  </a:cxn>
                  <a:cxn ang="0">
                    <a:pos x="356" y="283"/>
                  </a:cxn>
                  <a:cxn ang="0">
                    <a:pos x="317" y="301"/>
                  </a:cxn>
                  <a:cxn ang="0">
                    <a:pos x="277" y="314"/>
                  </a:cxn>
                  <a:cxn ang="0">
                    <a:pos x="236" y="323"/>
                  </a:cxn>
                  <a:cxn ang="0">
                    <a:pos x="235" y="187"/>
                  </a:cxn>
                  <a:cxn ang="0">
                    <a:pos x="159" y="298"/>
                  </a:cxn>
                  <a:cxn ang="0">
                    <a:pos x="80" y="409"/>
                  </a:cxn>
                  <a:cxn ang="0">
                    <a:pos x="0" y="517"/>
                  </a:cxn>
                  <a:cxn ang="0">
                    <a:pos x="236" y="903"/>
                  </a:cxn>
                  <a:cxn ang="0">
                    <a:pos x="236" y="766"/>
                  </a:cxn>
                  <a:cxn ang="0">
                    <a:pos x="295" y="759"/>
                  </a:cxn>
                  <a:cxn ang="0">
                    <a:pos x="353" y="747"/>
                  </a:cxn>
                  <a:cxn ang="0">
                    <a:pos x="411" y="733"/>
                  </a:cxn>
                  <a:cxn ang="0">
                    <a:pos x="467" y="713"/>
                  </a:cxn>
                  <a:cxn ang="0">
                    <a:pos x="522" y="691"/>
                  </a:cxn>
                  <a:cxn ang="0">
                    <a:pos x="575" y="665"/>
                  </a:cxn>
                  <a:cxn ang="0">
                    <a:pos x="626" y="635"/>
                  </a:cxn>
                  <a:cxn ang="0">
                    <a:pos x="676" y="601"/>
                  </a:cxn>
                  <a:cxn ang="0">
                    <a:pos x="724" y="564"/>
                  </a:cxn>
                  <a:cxn ang="0">
                    <a:pos x="768" y="525"/>
                  </a:cxn>
                  <a:cxn ang="0">
                    <a:pos x="811" y="481"/>
                  </a:cxn>
                  <a:cxn ang="0">
                    <a:pos x="849" y="435"/>
                  </a:cxn>
                  <a:cxn ang="0">
                    <a:pos x="884" y="387"/>
                  </a:cxn>
                  <a:cxn ang="0">
                    <a:pos x="916" y="337"/>
                  </a:cxn>
                  <a:cxn ang="0">
                    <a:pos x="945" y="284"/>
                  </a:cxn>
                  <a:cxn ang="0">
                    <a:pos x="970" y="231"/>
                  </a:cxn>
                  <a:cxn ang="0">
                    <a:pos x="991" y="174"/>
                  </a:cxn>
                  <a:cxn ang="0">
                    <a:pos x="1009" y="117"/>
                  </a:cxn>
                  <a:cxn ang="0">
                    <a:pos x="1023" y="58"/>
                  </a:cxn>
                  <a:cxn ang="0">
                    <a:pos x="1032" y="0"/>
                  </a:cxn>
                  <a:cxn ang="0">
                    <a:pos x="812" y="132"/>
                  </a:cxn>
                  <a:cxn ang="0">
                    <a:pos x="585" y="1"/>
                  </a:cxn>
                </a:cxnLst>
                <a:rect l="0" t="0" r="r" b="b"/>
                <a:pathLst>
                  <a:path w="1033" h="904">
                    <a:moveTo>
                      <a:pt x="585" y="1"/>
                    </a:moveTo>
                    <a:lnTo>
                      <a:pt x="573" y="41"/>
                    </a:lnTo>
                    <a:lnTo>
                      <a:pt x="556" y="78"/>
                    </a:lnTo>
                    <a:lnTo>
                      <a:pt x="537" y="116"/>
                    </a:lnTo>
                    <a:lnTo>
                      <a:pt x="514" y="150"/>
                    </a:lnTo>
                    <a:lnTo>
                      <a:pt x="488" y="182"/>
                    </a:lnTo>
                    <a:lnTo>
                      <a:pt x="459" y="212"/>
                    </a:lnTo>
                    <a:lnTo>
                      <a:pt x="427" y="239"/>
                    </a:lnTo>
                    <a:lnTo>
                      <a:pt x="393" y="262"/>
                    </a:lnTo>
                    <a:lnTo>
                      <a:pt x="356" y="283"/>
                    </a:lnTo>
                    <a:lnTo>
                      <a:pt x="317" y="301"/>
                    </a:lnTo>
                    <a:lnTo>
                      <a:pt x="277" y="314"/>
                    </a:lnTo>
                    <a:lnTo>
                      <a:pt x="236" y="323"/>
                    </a:lnTo>
                    <a:lnTo>
                      <a:pt x="235" y="187"/>
                    </a:lnTo>
                    <a:lnTo>
                      <a:pt x="159" y="298"/>
                    </a:lnTo>
                    <a:lnTo>
                      <a:pt x="80" y="409"/>
                    </a:lnTo>
                    <a:lnTo>
                      <a:pt x="0" y="517"/>
                    </a:lnTo>
                    <a:lnTo>
                      <a:pt x="236" y="903"/>
                    </a:lnTo>
                    <a:lnTo>
                      <a:pt x="236" y="766"/>
                    </a:lnTo>
                    <a:lnTo>
                      <a:pt x="295" y="759"/>
                    </a:lnTo>
                    <a:lnTo>
                      <a:pt x="353" y="747"/>
                    </a:lnTo>
                    <a:lnTo>
                      <a:pt x="411" y="733"/>
                    </a:lnTo>
                    <a:lnTo>
                      <a:pt x="467" y="713"/>
                    </a:lnTo>
                    <a:lnTo>
                      <a:pt x="522" y="691"/>
                    </a:lnTo>
                    <a:lnTo>
                      <a:pt x="575" y="665"/>
                    </a:lnTo>
                    <a:lnTo>
                      <a:pt x="626" y="635"/>
                    </a:lnTo>
                    <a:lnTo>
                      <a:pt x="676" y="601"/>
                    </a:lnTo>
                    <a:lnTo>
                      <a:pt x="724" y="564"/>
                    </a:lnTo>
                    <a:lnTo>
                      <a:pt x="768" y="525"/>
                    </a:lnTo>
                    <a:lnTo>
                      <a:pt x="811" y="481"/>
                    </a:lnTo>
                    <a:lnTo>
                      <a:pt x="849" y="435"/>
                    </a:lnTo>
                    <a:lnTo>
                      <a:pt x="884" y="387"/>
                    </a:lnTo>
                    <a:lnTo>
                      <a:pt x="916" y="337"/>
                    </a:lnTo>
                    <a:lnTo>
                      <a:pt x="945" y="284"/>
                    </a:lnTo>
                    <a:lnTo>
                      <a:pt x="970" y="231"/>
                    </a:lnTo>
                    <a:lnTo>
                      <a:pt x="991" y="174"/>
                    </a:lnTo>
                    <a:lnTo>
                      <a:pt x="1009" y="117"/>
                    </a:lnTo>
                    <a:lnTo>
                      <a:pt x="1023" y="58"/>
                    </a:lnTo>
                    <a:lnTo>
                      <a:pt x="1032" y="0"/>
                    </a:lnTo>
                    <a:lnTo>
                      <a:pt x="812" y="132"/>
                    </a:lnTo>
                    <a:lnTo>
                      <a:pt x="585" y="1"/>
                    </a:lnTo>
                  </a:path>
                </a:pathLst>
              </a:custGeom>
              <a:solidFill>
                <a:schemeClr val="accent5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1357" y="1800"/>
                <a:ext cx="1370" cy="1567"/>
              </a:xfrm>
              <a:custGeom>
                <a:avLst/>
                <a:gdLst/>
                <a:ahLst/>
                <a:cxnLst>
                  <a:cxn ang="0">
                    <a:pos x="929" y="645"/>
                  </a:cxn>
                  <a:cxn ang="0">
                    <a:pos x="887" y="634"/>
                  </a:cxn>
                  <a:cxn ang="0">
                    <a:pos x="847" y="620"/>
                  </a:cxn>
                  <a:cxn ang="0">
                    <a:pos x="807" y="603"/>
                  </a:cxn>
                  <a:cxn ang="0">
                    <a:pos x="771" y="582"/>
                  </a:cxn>
                  <a:cxn ang="0">
                    <a:pos x="735" y="557"/>
                  </a:cxn>
                  <a:cxn ang="0">
                    <a:pos x="703" y="529"/>
                  </a:cxn>
                  <a:cxn ang="0">
                    <a:pos x="673" y="497"/>
                  </a:cxn>
                  <a:cxn ang="0">
                    <a:pos x="648" y="465"/>
                  </a:cxn>
                  <a:cxn ang="0">
                    <a:pos x="624" y="428"/>
                  </a:cxn>
                  <a:cxn ang="0">
                    <a:pos x="607" y="398"/>
                  </a:cxn>
                  <a:cxn ang="0">
                    <a:pos x="594" y="366"/>
                  </a:cxn>
                  <a:cxn ang="0">
                    <a:pos x="583" y="332"/>
                  </a:cxn>
                  <a:cxn ang="0">
                    <a:pos x="577" y="298"/>
                  </a:cxn>
                  <a:cxn ang="0">
                    <a:pos x="575" y="264"/>
                  </a:cxn>
                  <a:cxn ang="0">
                    <a:pos x="576" y="229"/>
                  </a:cxn>
                  <a:cxn ang="0">
                    <a:pos x="748" y="229"/>
                  </a:cxn>
                  <a:cxn ang="0">
                    <a:pos x="360" y="0"/>
                  </a:cxn>
                  <a:cxn ang="0">
                    <a:pos x="0" y="236"/>
                  </a:cxn>
                  <a:cxn ang="0">
                    <a:pos x="136" y="237"/>
                  </a:cxn>
                  <a:cxn ang="0">
                    <a:pos x="141" y="299"/>
                  </a:cxn>
                  <a:cxn ang="0">
                    <a:pos x="150" y="362"/>
                  </a:cxn>
                  <a:cxn ang="0">
                    <a:pos x="165" y="422"/>
                  </a:cxn>
                  <a:cxn ang="0">
                    <a:pos x="182" y="483"/>
                  </a:cxn>
                  <a:cxn ang="0">
                    <a:pos x="204" y="541"/>
                  </a:cxn>
                  <a:cxn ang="0">
                    <a:pos x="231" y="598"/>
                  </a:cxn>
                  <a:cxn ang="0">
                    <a:pos x="262" y="653"/>
                  </a:cxn>
                  <a:cxn ang="0">
                    <a:pos x="296" y="704"/>
                  </a:cxn>
                  <a:cxn ang="0">
                    <a:pos x="333" y="752"/>
                  </a:cxn>
                  <a:cxn ang="0">
                    <a:pos x="374" y="797"/>
                  </a:cxn>
                  <a:cxn ang="0">
                    <a:pos x="419" y="841"/>
                  </a:cxn>
                  <a:cxn ang="0">
                    <a:pos x="465" y="880"/>
                  </a:cxn>
                  <a:cxn ang="0">
                    <a:pos x="514" y="917"/>
                  </a:cxn>
                  <a:cxn ang="0">
                    <a:pos x="566" y="951"/>
                  </a:cxn>
                  <a:cxn ang="0">
                    <a:pos x="620" y="980"/>
                  </a:cxn>
                  <a:cxn ang="0">
                    <a:pos x="675" y="1007"/>
                  </a:cxn>
                  <a:cxn ang="0">
                    <a:pos x="732" y="1029"/>
                  </a:cxn>
                  <a:cxn ang="0">
                    <a:pos x="790" y="1048"/>
                  </a:cxn>
                  <a:cxn ang="0">
                    <a:pos x="849" y="1062"/>
                  </a:cxn>
                  <a:cxn ang="0">
                    <a:pos x="910" y="1074"/>
                  </a:cxn>
                  <a:cxn ang="0">
                    <a:pos x="772" y="845"/>
                  </a:cxn>
                  <a:cxn ang="0">
                    <a:pos x="929" y="645"/>
                  </a:cxn>
                </a:cxnLst>
                <a:rect l="0" t="0" r="r" b="b"/>
                <a:pathLst>
                  <a:path w="930" h="1075">
                    <a:moveTo>
                      <a:pt x="929" y="645"/>
                    </a:moveTo>
                    <a:lnTo>
                      <a:pt x="887" y="634"/>
                    </a:lnTo>
                    <a:lnTo>
                      <a:pt x="847" y="620"/>
                    </a:lnTo>
                    <a:lnTo>
                      <a:pt x="807" y="603"/>
                    </a:lnTo>
                    <a:lnTo>
                      <a:pt x="771" y="582"/>
                    </a:lnTo>
                    <a:lnTo>
                      <a:pt x="735" y="557"/>
                    </a:lnTo>
                    <a:lnTo>
                      <a:pt x="703" y="529"/>
                    </a:lnTo>
                    <a:lnTo>
                      <a:pt x="673" y="497"/>
                    </a:lnTo>
                    <a:lnTo>
                      <a:pt x="648" y="465"/>
                    </a:lnTo>
                    <a:lnTo>
                      <a:pt x="624" y="428"/>
                    </a:lnTo>
                    <a:lnTo>
                      <a:pt x="607" y="398"/>
                    </a:lnTo>
                    <a:lnTo>
                      <a:pt x="594" y="366"/>
                    </a:lnTo>
                    <a:lnTo>
                      <a:pt x="583" y="332"/>
                    </a:lnTo>
                    <a:lnTo>
                      <a:pt x="577" y="298"/>
                    </a:lnTo>
                    <a:lnTo>
                      <a:pt x="575" y="264"/>
                    </a:lnTo>
                    <a:lnTo>
                      <a:pt x="576" y="229"/>
                    </a:lnTo>
                    <a:lnTo>
                      <a:pt x="748" y="229"/>
                    </a:lnTo>
                    <a:lnTo>
                      <a:pt x="360" y="0"/>
                    </a:lnTo>
                    <a:lnTo>
                      <a:pt x="0" y="236"/>
                    </a:lnTo>
                    <a:lnTo>
                      <a:pt x="136" y="237"/>
                    </a:lnTo>
                    <a:lnTo>
                      <a:pt x="141" y="299"/>
                    </a:lnTo>
                    <a:lnTo>
                      <a:pt x="150" y="362"/>
                    </a:lnTo>
                    <a:lnTo>
                      <a:pt x="165" y="422"/>
                    </a:lnTo>
                    <a:lnTo>
                      <a:pt x="182" y="483"/>
                    </a:lnTo>
                    <a:lnTo>
                      <a:pt x="204" y="541"/>
                    </a:lnTo>
                    <a:lnTo>
                      <a:pt x="231" y="598"/>
                    </a:lnTo>
                    <a:lnTo>
                      <a:pt x="262" y="653"/>
                    </a:lnTo>
                    <a:lnTo>
                      <a:pt x="296" y="704"/>
                    </a:lnTo>
                    <a:lnTo>
                      <a:pt x="333" y="752"/>
                    </a:lnTo>
                    <a:lnTo>
                      <a:pt x="374" y="797"/>
                    </a:lnTo>
                    <a:lnTo>
                      <a:pt x="419" y="841"/>
                    </a:lnTo>
                    <a:lnTo>
                      <a:pt x="465" y="880"/>
                    </a:lnTo>
                    <a:lnTo>
                      <a:pt x="514" y="917"/>
                    </a:lnTo>
                    <a:lnTo>
                      <a:pt x="566" y="951"/>
                    </a:lnTo>
                    <a:lnTo>
                      <a:pt x="620" y="980"/>
                    </a:lnTo>
                    <a:lnTo>
                      <a:pt x="675" y="1007"/>
                    </a:lnTo>
                    <a:lnTo>
                      <a:pt x="732" y="1029"/>
                    </a:lnTo>
                    <a:lnTo>
                      <a:pt x="790" y="1048"/>
                    </a:lnTo>
                    <a:lnTo>
                      <a:pt x="849" y="1062"/>
                    </a:lnTo>
                    <a:lnTo>
                      <a:pt x="910" y="1074"/>
                    </a:lnTo>
                    <a:lnTo>
                      <a:pt x="772" y="845"/>
                    </a:lnTo>
                    <a:lnTo>
                      <a:pt x="929" y="645"/>
                    </a:lnTo>
                  </a:path>
                </a:pathLst>
              </a:custGeom>
              <a:solidFill>
                <a:schemeClr val="accent4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 7"/>
              <p:cNvSpPr>
                <a:spLocks/>
              </p:cNvSpPr>
              <p:nvPr/>
            </p:nvSpPr>
            <p:spPr bwMode="auto">
              <a:xfrm>
                <a:off x="2956" y="847"/>
                <a:ext cx="1389" cy="1552"/>
              </a:xfrm>
              <a:custGeom>
                <a:avLst/>
                <a:gdLst/>
                <a:ahLst/>
                <a:cxnLst>
                  <a:cxn ang="0">
                    <a:pos x="554" y="1064"/>
                  </a:cxn>
                  <a:cxn ang="0">
                    <a:pos x="942" y="840"/>
                  </a:cxn>
                  <a:cxn ang="0">
                    <a:pos x="781" y="840"/>
                  </a:cxn>
                  <a:cxn ang="0">
                    <a:pos x="776" y="778"/>
                  </a:cxn>
                  <a:cxn ang="0">
                    <a:pos x="767" y="716"/>
                  </a:cxn>
                  <a:cxn ang="0">
                    <a:pos x="754" y="655"/>
                  </a:cxn>
                  <a:cxn ang="0">
                    <a:pos x="737" y="595"/>
                  </a:cxn>
                  <a:cxn ang="0">
                    <a:pos x="714" y="536"/>
                  </a:cxn>
                  <a:cxn ang="0">
                    <a:pos x="688" y="480"/>
                  </a:cxn>
                  <a:cxn ang="0">
                    <a:pos x="658" y="425"/>
                  </a:cxn>
                  <a:cxn ang="0">
                    <a:pos x="624" y="372"/>
                  </a:cxn>
                  <a:cxn ang="0">
                    <a:pos x="586" y="323"/>
                  </a:cxn>
                  <a:cxn ang="0">
                    <a:pos x="547" y="275"/>
                  </a:cxn>
                  <a:cxn ang="0">
                    <a:pos x="502" y="232"/>
                  </a:cxn>
                  <a:cxn ang="0">
                    <a:pos x="455" y="191"/>
                  </a:cxn>
                  <a:cxn ang="0">
                    <a:pos x="405" y="153"/>
                  </a:cxn>
                  <a:cxn ang="0">
                    <a:pos x="352" y="120"/>
                  </a:cxn>
                  <a:cxn ang="0">
                    <a:pos x="298" y="89"/>
                  </a:cxn>
                  <a:cxn ang="0">
                    <a:pos x="241" y="63"/>
                  </a:cxn>
                  <a:cxn ang="0">
                    <a:pos x="182" y="41"/>
                  </a:cxn>
                  <a:cxn ang="0">
                    <a:pos x="122" y="23"/>
                  </a:cxn>
                  <a:cxn ang="0">
                    <a:pos x="61" y="9"/>
                  </a:cxn>
                  <a:cxn ang="0">
                    <a:pos x="0" y="0"/>
                  </a:cxn>
                  <a:cxn ang="0">
                    <a:pos x="137" y="226"/>
                  </a:cxn>
                  <a:cxn ang="0">
                    <a:pos x="5" y="451"/>
                  </a:cxn>
                  <a:cxn ang="0">
                    <a:pos x="48" y="465"/>
                  </a:cxn>
                  <a:cxn ang="0">
                    <a:pos x="90" y="483"/>
                  </a:cxn>
                  <a:cxn ang="0">
                    <a:pos x="130" y="505"/>
                  </a:cxn>
                  <a:cxn ang="0">
                    <a:pos x="168" y="531"/>
                  </a:cxn>
                  <a:cxn ang="0">
                    <a:pos x="202" y="561"/>
                  </a:cxn>
                  <a:cxn ang="0">
                    <a:pos x="233" y="594"/>
                  </a:cxn>
                  <a:cxn ang="0">
                    <a:pos x="262" y="629"/>
                  </a:cxn>
                  <a:cxn ang="0">
                    <a:pos x="285" y="668"/>
                  </a:cxn>
                  <a:cxn ang="0">
                    <a:pos x="305" y="709"/>
                  </a:cxn>
                  <a:cxn ang="0">
                    <a:pos x="321" y="751"/>
                  </a:cxn>
                  <a:cxn ang="0">
                    <a:pos x="333" y="795"/>
                  </a:cxn>
                  <a:cxn ang="0">
                    <a:pos x="340" y="840"/>
                  </a:cxn>
                  <a:cxn ang="0">
                    <a:pos x="188" y="841"/>
                  </a:cxn>
                  <a:cxn ang="0">
                    <a:pos x="554" y="1064"/>
                  </a:cxn>
                </a:cxnLst>
                <a:rect l="0" t="0" r="r" b="b"/>
                <a:pathLst>
                  <a:path w="943" h="1065">
                    <a:moveTo>
                      <a:pt x="554" y="1064"/>
                    </a:moveTo>
                    <a:lnTo>
                      <a:pt x="942" y="840"/>
                    </a:lnTo>
                    <a:lnTo>
                      <a:pt x="781" y="840"/>
                    </a:lnTo>
                    <a:lnTo>
                      <a:pt x="776" y="778"/>
                    </a:lnTo>
                    <a:lnTo>
                      <a:pt x="767" y="716"/>
                    </a:lnTo>
                    <a:lnTo>
                      <a:pt x="754" y="655"/>
                    </a:lnTo>
                    <a:lnTo>
                      <a:pt x="737" y="595"/>
                    </a:lnTo>
                    <a:lnTo>
                      <a:pt x="714" y="536"/>
                    </a:lnTo>
                    <a:lnTo>
                      <a:pt x="688" y="480"/>
                    </a:lnTo>
                    <a:lnTo>
                      <a:pt x="658" y="425"/>
                    </a:lnTo>
                    <a:lnTo>
                      <a:pt x="624" y="372"/>
                    </a:lnTo>
                    <a:lnTo>
                      <a:pt x="586" y="323"/>
                    </a:lnTo>
                    <a:lnTo>
                      <a:pt x="547" y="275"/>
                    </a:lnTo>
                    <a:lnTo>
                      <a:pt x="502" y="232"/>
                    </a:lnTo>
                    <a:lnTo>
                      <a:pt x="455" y="191"/>
                    </a:lnTo>
                    <a:lnTo>
                      <a:pt x="405" y="153"/>
                    </a:lnTo>
                    <a:lnTo>
                      <a:pt x="352" y="120"/>
                    </a:lnTo>
                    <a:lnTo>
                      <a:pt x="298" y="89"/>
                    </a:lnTo>
                    <a:lnTo>
                      <a:pt x="241" y="63"/>
                    </a:lnTo>
                    <a:lnTo>
                      <a:pt x="182" y="41"/>
                    </a:lnTo>
                    <a:lnTo>
                      <a:pt x="122" y="23"/>
                    </a:lnTo>
                    <a:lnTo>
                      <a:pt x="61" y="9"/>
                    </a:lnTo>
                    <a:lnTo>
                      <a:pt x="0" y="0"/>
                    </a:lnTo>
                    <a:lnTo>
                      <a:pt x="137" y="226"/>
                    </a:lnTo>
                    <a:lnTo>
                      <a:pt x="5" y="451"/>
                    </a:lnTo>
                    <a:lnTo>
                      <a:pt x="48" y="465"/>
                    </a:lnTo>
                    <a:lnTo>
                      <a:pt x="90" y="483"/>
                    </a:lnTo>
                    <a:lnTo>
                      <a:pt x="130" y="505"/>
                    </a:lnTo>
                    <a:lnTo>
                      <a:pt x="168" y="531"/>
                    </a:lnTo>
                    <a:lnTo>
                      <a:pt x="202" y="561"/>
                    </a:lnTo>
                    <a:lnTo>
                      <a:pt x="233" y="594"/>
                    </a:lnTo>
                    <a:lnTo>
                      <a:pt x="262" y="629"/>
                    </a:lnTo>
                    <a:lnTo>
                      <a:pt x="285" y="668"/>
                    </a:lnTo>
                    <a:lnTo>
                      <a:pt x="305" y="709"/>
                    </a:lnTo>
                    <a:lnTo>
                      <a:pt x="321" y="751"/>
                    </a:lnTo>
                    <a:lnTo>
                      <a:pt x="333" y="795"/>
                    </a:lnTo>
                    <a:lnTo>
                      <a:pt x="340" y="840"/>
                    </a:lnTo>
                    <a:lnTo>
                      <a:pt x="188" y="841"/>
                    </a:lnTo>
                    <a:lnTo>
                      <a:pt x="554" y="1064"/>
                    </a:lnTo>
                  </a:path>
                </a:pathLst>
              </a:custGeom>
              <a:solidFill>
                <a:schemeClr val="accent6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295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Rectangle 8"/>
            <p:cNvSpPr>
              <a:spLocks noChangeArrowheads="1"/>
            </p:cNvSpPr>
            <p:nvPr/>
          </p:nvSpPr>
          <p:spPr bwMode="auto">
            <a:xfrm>
              <a:off x="5945188" y="2760683"/>
              <a:ext cx="84455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>
                  <a:solidFill>
                    <a:schemeClr val="bg1"/>
                  </a:solidFill>
                </a:rPr>
                <a:t>Texto</a:t>
              </a:r>
              <a:endParaRPr lang="es-ES" sz="1295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9"/>
            <p:cNvSpPr>
              <a:spLocks noChangeArrowheads="1"/>
            </p:cNvSpPr>
            <p:nvPr/>
          </p:nvSpPr>
          <p:spPr bwMode="auto">
            <a:xfrm>
              <a:off x="8104188" y="3116283"/>
              <a:ext cx="844550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  <p:sp>
          <p:nvSpPr>
            <p:cNvPr id="18" name="Rectangle 10"/>
            <p:cNvSpPr>
              <a:spLocks noChangeArrowheads="1"/>
            </p:cNvSpPr>
            <p:nvPr/>
          </p:nvSpPr>
          <p:spPr bwMode="auto">
            <a:xfrm>
              <a:off x="7781925" y="5119708"/>
              <a:ext cx="847725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  <p:sp>
          <p:nvSpPr>
            <p:cNvPr id="19" name="Rectangle 11"/>
            <p:cNvSpPr>
              <a:spLocks noChangeArrowheads="1"/>
            </p:cNvSpPr>
            <p:nvPr/>
          </p:nvSpPr>
          <p:spPr bwMode="auto">
            <a:xfrm>
              <a:off x="5575300" y="4713308"/>
              <a:ext cx="842963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s-ES" sz="1295"/>
                <a:t>Texto</a:t>
              </a:r>
              <a:endParaRPr lang="es-ES" sz="1295" dirty="0"/>
            </a:p>
          </p:txBody>
        </p:sp>
      </p:grpSp>
      <p:grpSp>
        <p:nvGrpSpPr>
          <p:cNvPr id="6" name="26 Grupo"/>
          <p:cNvGrpSpPr/>
          <p:nvPr/>
        </p:nvGrpSpPr>
        <p:grpSpPr>
          <a:xfrm>
            <a:off x="7514964" y="4459889"/>
            <a:ext cx="2494153" cy="2201759"/>
            <a:chOff x="2921000" y="1643063"/>
            <a:chExt cx="4495800" cy="3968750"/>
          </a:xfrm>
          <a:solidFill>
            <a:schemeClr val="tx2"/>
          </a:solidFill>
        </p:grpSpPr>
        <p:grpSp>
          <p:nvGrpSpPr>
            <p:cNvPr id="7" name="Group 1"/>
            <p:cNvGrpSpPr>
              <a:grpSpLocks/>
            </p:cNvGrpSpPr>
            <p:nvPr/>
          </p:nvGrpSpPr>
          <p:grpSpPr bwMode="auto">
            <a:xfrm>
              <a:off x="2921000" y="1643063"/>
              <a:ext cx="4495800" cy="3968750"/>
              <a:chOff x="1372" y="845"/>
              <a:chExt cx="2832" cy="2500"/>
            </a:xfrm>
            <a:grpFill/>
          </p:grpSpPr>
          <p:sp>
            <p:nvSpPr>
              <p:cNvPr id="49154" name="Freeform 2"/>
              <p:cNvSpPr>
                <a:spLocks/>
              </p:cNvSpPr>
              <p:nvPr/>
            </p:nvSpPr>
            <p:spPr bwMode="auto">
              <a:xfrm>
                <a:off x="1590" y="845"/>
                <a:ext cx="2614" cy="1304"/>
              </a:xfrm>
              <a:custGeom>
                <a:avLst/>
                <a:gdLst/>
                <a:ahLst/>
                <a:cxnLst>
                  <a:cxn ang="0">
                    <a:pos x="1591" y="589"/>
                  </a:cxn>
                  <a:cxn ang="0">
                    <a:pos x="1551" y="480"/>
                  </a:cxn>
                  <a:cxn ang="0">
                    <a:pos x="1495" y="378"/>
                  </a:cxn>
                  <a:cxn ang="0">
                    <a:pos x="1426" y="284"/>
                  </a:cxn>
                  <a:cxn ang="0">
                    <a:pos x="1344" y="201"/>
                  </a:cxn>
                  <a:cxn ang="0">
                    <a:pos x="1251" y="131"/>
                  </a:cxn>
                  <a:cxn ang="0">
                    <a:pos x="1149" y="75"/>
                  </a:cxn>
                  <a:cxn ang="0">
                    <a:pos x="1039" y="34"/>
                  </a:cxn>
                  <a:cxn ang="0">
                    <a:pos x="926" y="9"/>
                  </a:cxn>
                  <a:cxn ang="0">
                    <a:pos x="809" y="0"/>
                  </a:cxn>
                  <a:cxn ang="0">
                    <a:pos x="694" y="9"/>
                  </a:cxn>
                  <a:cxn ang="0">
                    <a:pos x="579" y="33"/>
                  </a:cxn>
                  <a:cxn ang="0">
                    <a:pos x="470" y="74"/>
                  </a:cxn>
                  <a:cxn ang="0">
                    <a:pos x="367" y="130"/>
                  </a:cxn>
                  <a:cxn ang="0">
                    <a:pos x="275" y="199"/>
                  </a:cxn>
                  <a:cxn ang="0">
                    <a:pos x="192" y="282"/>
                  </a:cxn>
                  <a:cxn ang="0">
                    <a:pos x="122" y="374"/>
                  </a:cxn>
                  <a:cxn ang="0">
                    <a:pos x="66" y="477"/>
                  </a:cxn>
                  <a:cxn ang="0">
                    <a:pos x="25" y="586"/>
                  </a:cxn>
                  <a:cxn ang="0">
                    <a:pos x="0" y="699"/>
                  </a:cxn>
                  <a:cxn ang="0">
                    <a:pos x="237" y="543"/>
                  </a:cxn>
                  <a:cxn ang="0">
                    <a:pos x="442" y="660"/>
                  </a:cxn>
                  <a:cxn ang="0">
                    <a:pos x="484" y="591"/>
                  </a:cxn>
                  <a:cxn ang="0">
                    <a:pos x="540" y="531"/>
                  </a:cxn>
                  <a:cxn ang="0">
                    <a:pos x="605" y="485"/>
                  </a:cxn>
                  <a:cxn ang="0">
                    <a:pos x="679" y="451"/>
                  </a:cxn>
                  <a:cxn ang="0">
                    <a:pos x="758" y="432"/>
                  </a:cxn>
                  <a:cxn ang="0">
                    <a:pos x="839" y="430"/>
                  </a:cxn>
                  <a:cxn ang="0">
                    <a:pos x="919" y="444"/>
                  </a:cxn>
                  <a:cxn ang="0">
                    <a:pos x="995" y="473"/>
                  </a:cxn>
                  <a:cxn ang="0">
                    <a:pos x="1063" y="516"/>
                  </a:cxn>
                  <a:cxn ang="0">
                    <a:pos x="1121" y="573"/>
                  </a:cxn>
                  <a:cxn ang="0">
                    <a:pos x="1168" y="640"/>
                  </a:cxn>
                  <a:cxn ang="0">
                    <a:pos x="1041" y="646"/>
                  </a:cxn>
                  <a:cxn ang="0">
                    <a:pos x="1716" y="646"/>
                  </a:cxn>
                </a:cxnLst>
                <a:rect l="0" t="0" r="r" b="b"/>
                <a:pathLst>
                  <a:path w="1717" h="887">
                    <a:moveTo>
                      <a:pt x="1606" y="646"/>
                    </a:moveTo>
                    <a:lnTo>
                      <a:pt x="1591" y="589"/>
                    </a:lnTo>
                    <a:lnTo>
                      <a:pt x="1573" y="534"/>
                    </a:lnTo>
                    <a:lnTo>
                      <a:pt x="1551" y="480"/>
                    </a:lnTo>
                    <a:lnTo>
                      <a:pt x="1525" y="428"/>
                    </a:lnTo>
                    <a:lnTo>
                      <a:pt x="1495" y="378"/>
                    </a:lnTo>
                    <a:lnTo>
                      <a:pt x="1463" y="330"/>
                    </a:lnTo>
                    <a:lnTo>
                      <a:pt x="1426" y="284"/>
                    </a:lnTo>
                    <a:lnTo>
                      <a:pt x="1386" y="241"/>
                    </a:lnTo>
                    <a:lnTo>
                      <a:pt x="1344" y="201"/>
                    </a:lnTo>
                    <a:lnTo>
                      <a:pt x="1298" y="165"/>
                    </a:lnTo>
                    <a:lnTo>
                      <a:pt x="1251" y="131"/>
                    </a:lnTo>
                    <a:lnTo>
                      <a:pt x="1201" y="102"/>
                    </a:lnTo>
                    <a:lnTo>
                      <a:pt x="1149" y="75"/>
                    </a:lnTo>
                    <a:lnTo>
                      <a:pt x="1095" y="52"/>
                    </a:lnTo>
                    <a:lnTo>
                      <a:pt x="1039" y="34"/>
                    </a:lnTo>
                    <a:lnTo>
                      <a:pt x="983" y="20"/>
                    </a:lnTo>
                    <a:lnTo>
                      <a:pt x="926" y="9"/>
                    </a:lnTo>
                    <a:lnTo>
                      <a:pt x="867" y="2"/>
                    </a:lnTo>
                    <a:lnTo>
                      <a:pt x="809" y="0"/>
                    </a:lnTo>
                    <a:lnTo>
                      <a:pt x="752" y="2"/>
                    </a:lnTo>
                    <a:lnTo>
                      <a:pt x="694" y="9"/>
                    </a:lnTo>
                    <a:lnTo>
                      <a:pt x="636" y="19"/>
                    </a:lnTo>
                    <a:lnTo>
                      <a:pt x="579" y="33"/>
                    </a:lnTo>
                    <a:lnTo>
                      <a:pt x="523" y="51"/>
                    </a:lnTo>
                    <a:lnTo>
                      <a:pt x="470" y="74"/>
                    </a:lnTo>
                    <a:lnTo>
                      <a:pt x="418" y="99"/>
                    </a:lnTo>
                    <a:lnTo>
                      <a:pt x="367" y="130"/>
                    </a:lnTo>
                    <a:lnTo>
                      <a:pt x="320" y="163"/>
                    </a:lnTo>
                    <a:lnTo>
                      <a:pt x="275" y="199"/>
                    </a:lnTo>
                    <a:lnTo>
                      <a:pt x="231" y="239"/>
                    </a:lnTo>
                    <a:lnTo>
                      <a:pt x="192" y="282"/>
                    </a:lnTo>
                    <a:lnTo>
                      <a:pt x="155" y="326"/>
                    </a:lnTo>
                    <a:lnTo>
                      <a:pt x="122" y="374"/>
                    </a:lnTo>
                    <a:lnTo>
                      <a:pt x="93" y="425"/>
                    </a:lnTo>
                    <a:lnTo>
                      <a:pt x="66" y="477"/>
                    </a:lnTo>
                    <a:lnTo>
                      <a:pt x="44" y="530"/>
                    </a:lnTo>
                    <a:lnTo>
                      <a:pt x="25" y="586"/>
                    </a:lnTo>
                    <a:lnTo>
                      <a:pt x="11" y="643"/>
                    </a:lnTo>
                    <a:lnTo>
                      <a:pt x="0" y="699"/>
                    </a:lnTo>
                    <a:lnTo>
                      <a:pt x="120" y="623"/>
                    </a:lnTo>
                    <a:lnTo>
                      <a:pt x="237" y="543"/>
                    </a:lnTo>
                    <a:lnTo>
                      <a:pt x="426" y="697"/>
                    </a:lnTo>
                    <a:lnTo>
                      <a:pt x="442" y="660"/>
                    </a:lnTo>
                    <a:lnTo>
                      <a:pt x="461" y="624"/>
                    </a:lnTo>
                    <a:lnTo>
                      <a:pt x="484" y="591"/>
                    </a:lnTo>
                    <a:lnTo>
                      <a:pt x="510" y="560"/>
                    </a:lnTo>
                    <a:lnTo>
                      <a:pt x="540" y="531"/>
                    </a:lnTo>
                    <a:lnTo>
                      <a:pt x="572" y="506"/>
                    </a:lnTo>
                    <a:lnTo>
                      <a:pt x="605" y="485"/>
                    </a:lnTo>
                    <a:lnTo>
                      <a:pt x="641" y="466"/>
                    </a:lnTo>
                    <a:lnTo>
                      <a:pt x="679" y="451"/>
                    </a:lnTo>
                    <a:lnTo>
                      <a:pt x="718" y="440"/>
                    </a:lnTo>
                    <a:lnTo>
                      <a:pt x="758" y="432"/>
                    </a:lnTo>
                    <a:lnTo>
                      <a:pt x="798" y="429"/>
                    </a:lnTo>
                    <a:lnTo>
                      <a:pt x="839" y="430"/>
                    </a:lnTo>
                    <a:lnTo>
                      <a:pt x="879" y="435"/>
                    </a:lnTo>
                    <a:lnTo>
                      <a:pt x="919" y="444"/>
                    </a:lnTo>
                    <a:lnTo>
                      <a:pt x="958" y="456"/>
                    </a:lnTo>
                    <a:lnTo>
                      <a:pt x="995" y="473"/>
                    </a:lnTo>
                    <a:lnTo>
                      <a:pt x="1030" y="493"/>
                    </a:lnTo>
                    <a:lnTo>
                      <a:pt x="1063" y="516"/>
                    </a:lnTo>
                    <a:lnTo>
                      <a:pt x="1094" y="543"/>
                    </a:lnTo>
                    <a:lnTo>
                      <a:pt x="1121" y="573"/>
                    </a:lnTo>
                    <a:lnTo>
                      <a:pt x="1146" y="605"/>
                    </a:lnTo>
                    <a:lnTo>
                      <a:pt x="1168" y="640"/>
                    </a:lnTo>
                    <a:lnTo>
                      <a:pt x="1171" y="646"/>
                    </a:lnTo>
                    <a:lnTo>
                      <a:pt x="1041" y="646"/>
                    </a:lnTo>
                    <a:lnTo>
                      <a:pt x="1382" y="886"/>
                    </a:lnTo>
                    <a:lnTo>
                      <a:pt x="1716" y="646"/>
                    </a:lnTo>
                    <a:lnTo>
                      <a:pt x="1606" y="646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511"/>
              </a:p>
            </p:txBody>
          </p:sp>
          <p:sp>
            <p:nvSpPr>
              <p:cNvPr id="49155" name="Freeform 3"/>
              <p:cNvSpPr>
                <a:spLocks/>
              </p:cNvSpPr>
              <p:nvPr/>
            </p:nvSpPr>
            <p:spPr bwMode="auto">
              <a:xfrm>
                <a:off x="1372" y="1735"/>
                <a:ext cx="2704" cy="1610"/>
              </a:xfrm>
              <a:custGeom>
                <a:avLst/>
                <a:gdLst/>
                <a:ahLst/>
                <a:cxnLst>
                  <a:cxn ang="0">
                    <a:pos x="1365" y="265"/>
                  </a:cxn>
                  <a:cxn ang="0">
                    <a:pos x="1360" y="349"/>
                  </a:cxn>
                  <a:cxn ang="0">
                    <a:pos x="1337" y="429"/>
                  </a:cxn>
                  <a:cxn ang="0">
                    <a:pos x="1299" y="504"/>
                  </a:cxn>
                  <a:cxn ang="0">
                    <a:pos x="1247" y="569"/>
                  </a:cxn>
                  <a:cxn ang="0">
                    <a:pos x="1183" y="624"/>
                  </a:cxn>
                  <a:cxn ang="0">
                    <a:pos x="1108" y="663"/>
                  </a:cxn>
                  <a:cxn ang="0">
                    <a:pos x="1028" y="686"/>
                  </a:cxn>
                  <a:cxn ang="0">
                    <a:pos x="945" y="692"/>
                  </a:cxn>
                  <a:cxn ang="0">
                    <a:pos x="861" y="682"/>
                  </a:cxn>
                  <a:cxn ang="0">
                    <a:pos x="782" y="655"/>
                  </a:cxn>
                  <a:cxn ang="0">
                    <a:pos x="709" y="613"/>
                  </a:cxn>
                  <a:cxn ang="0">
                    <a:pos x="647" y="556"/>
                  </a:cxn>
                  <a:cxn ang="0">
                    <a:pos x="598" y="488"/>
                  </a:cxn>
                  <a:cxn ang="0">
                    <a:pos x="563" y="412"/>
                  </a:cxn>
                  <a:cxn ang="0">
                    <a:pos x="544" y="330"/>
                  </a:cxn>
                  <a:cxn ang="0">
                    <a:pos x="543" y="246"/>
                  </a:cxn>
                  <a:cxn ang="0">
                    <a:pos x="379" y="0"/>
                  </a:cxn>
                  <a:cxn ang="0">
                    <a:pos x="134" y="238"/>
                  </a:cxn>
                  <a:cxn ang="0">
                    <a:pos x="138" y="357"/>
                  </a:cxn>
                  <a:cxn ang="0">
                    <a:pos x="158" y="473"/>
                  </a:cxn>
                  <a:cxn ang="0">
                    <a:pos x="195" y="585"/>
                  </a:cxn>
                  <a:cxn ang="0">
                    <a:pos x="248" y="691"/>
                  </a:cxn>
                  <a:cxn ang="0">
                    <a:pos x="315" y="788"/>
                  </a:cxn>
                  <a:cxn ang="0">
                    <a:pos x="396" y="875"/>
                  </a:cxn>
                  <a:cxn ang="0">
                    <a:pos x="489" y="949"/>
                  </a:cxn>
                  <a:cxn ang="0">
                    <a:pos x="590" y="1009"/>
                  </a:cxn>
                  <a:cxn ang="0">
                    <a:pos x="699" y="1053"/>
                  </a:cxn>
                  <a:cxn ang="0">
                    <a:pos x="815" y="1082"/>
                  </a:cxn>
                  <a:cxn ang="0">
                    <a:pos x="932" y="1094"/>
                  </a:cxn>
                  <a:cxn ang="0">
                    <a:pos x="1051" y="1088"/>
                  </a:cxn>
                  <a:cxn ang="0">
                    <a:pos x="1166" y="1067"/>
                  </a:cxn>
                  <a:cxn ang="0">
                    <a:pos x="1279" y="1027"/>
                  </a:cxn>
                  <a:cxn ang="0">
                    <a:pos x="1383" y="973"/>
                  </a:cxn>
                  <a:cxn ang="0">
                    <a:pos x="1479" y="904"/>
                  </a:cxn>
                  <a:cxn ang="0">
                    <a:pos x="1564" y="822"/>
                  </a:cxn>
                  <a:cxn ang="0">
                    <a:pos x="1636" y="728"/>
                  </a:cxn>
                  <a:cxn ang="0">
                    <a:pos x="1695" y="626"/>
                  </a:cxn>
                  <a:cxn ang="0">
                    <a:pos x="1738" y="516"/>
                  </a:cxn>
                  <a:cxn ang="0">
                    <a:pos x="1765" y="400"/>
                  </a:cxn>
                  <a:cxn ang="0">
                    <a:pos x="1775" y="282"/>
                  </a:cxn>
                  <a:cxn ang="0">
                    <a:pos x="1767" y="164"/>
                  </a:cxn>
                  <a:cxn ang="0">
                    <a:pos x="1361" y="222"/>
                  </a:cxn>
                </a:cxnLst>
                <a:rect l="0" t="0" r="r" b="b"/>
                <a:pathLst>
                  <a:path w="1776" h="1095">
                    <a:moveTo>
                      <a:pt x="1361" y="222"/>
                    </a:moveTo>
                    <a:lnTo>
                      <a:pt x="1365" y="265"/>
                    </a:lnTo>
                    <a:lnTo>
                      <a:pt x="1365" y="306"/>
                    </a:lnTo>
                    <a:lnTo>
                      <a:pt x="1360" y="349"/>
                    </a:lnTo>
                    <a:lnTo>
                      <a:pt x="1351" y="389"/>
                    </a:lnTo>
                    <a:lnTo>
                      <a:pt x="1337" y="429"/>
                    </a:lnTo>
                    <a:lnTo>
                      <a:pt x="1321" y="468"/>
                    </a:lnTo>
                    <a:lnTo>
                      <a:pt x="1299" y="504"/>
                    </a:lnTo>
                    <a:lnTo>
                      <a:pt x="1275" y="539"/>
                    </a:lnTo>
                    <a:lnTo>
                      <a:pt x="1247" y="569"/>
                    </a:lnTo>
                    <a:lnTo>
                      <a:pt x="1216" y="597"/>
                    </a:lnTo>
                    <a:lnTo>
                      <a:pt x="1183" y="624"/>
                    </a:lnTo>
                    <a:lnTo>
                      <a:pt x="1146" y="644"/>
                    </a:lnTo>
                    <a:lnTo>
                      <a:pt x="1108" y="663"/>
                    </a:lnTo>
                    <a:lnTo>
                      <a:pt x="1069" y="676"/>
                    </a:lnTo>
                    <a:lnTo>
                      <a:pt x="1028" y="686"/>
                    </a:lnTo>
                    <a:lnTo>
                      <a:pt x="986" y="691"/>
                    </a:lnTo>
                    <a:lnTo>
                      <a:pt x="945" y="692"/>
                    </a:lnTo>
                    <a:lnTo>
                      <a:pt x="902" y="689"/>
                    </a:lnTo>
                    <a:lnTo>
                      <a:pt x="861" y="682"/>
                    </a:lnTo>
                    <a:lnTo>
                      <a:pt x="820" y="670"/>
                    </a:lnTo>
                    <a:lnTo>
                      <a:pt x="782" y="655"/>
                    </a:lnTo>
                    <a:lnTo>
                      <a:pt x="744" y="636"/>
                    </a:lnTo>
                    <a:lnTo>
                      <a:pt x="709" y="613"/>
                    </a:lnTo>
                    <a:lnTo>
                      <a:pt x="676" y="585"/>
                    </a:lnTo>
                    <a:lnTo>
                      <a:pt x="647" y="556"/>
                    </a:lnTo>
                    <a:lnTo>
                      <a:pt x="621" y="523"/>
                    </a:lnTo>
                    <a:lnTo>
                      <a:pt x="598" y="488"/>
                    </a:lnTo>
                    <a:lnTo>
                      <a:pt x="578" y="451"/>
                    </a:lnTo>
                    <a:lnTo>
                      <a:pt x="563" y="412"/>
                    </a:lnTo>
                    <a:lnTo>
                      <a:pt x="552" y="372"/>
                    </a:lnTo>
                    <a:lnTo>
                      <a:pt x="544" y="330"/>
                    </a:lnTo>
                    <a:lnTo>
                      <a:pt x="542" y="288"/>
                    </a:lnTo>
                    <a:lnTo>
                      <a:pt x="543" y="246"/>
                    </a:lnTo>
                    <a:lnTo>
                      <a:pt x="680" y="246"/>
                    </a:lnTo>
                    <a:lnTo>
                      <a:pt x="379" y="0"/>
                    </a:lnTo>
                    <a:lnTo>
                      <a:pt x="0" y="237"/>
                    </a:lnTo>
                    <a:lnTo>
                      <a:pt x="134" y="238"/>
                    </a:lnTo>
                    <a:lnTo>
                      <a:pt x="134" y="297"/>
                    </a:lnTo>
                    <a:lnTo>
                      <a:pt x="138" y="357"/>
                    </a:lnTo>
                    <a:lnTo>
                      <a:pt x="146" y="415"/>
                    </a:lnTo>
                    <a:lnTo>
                      <a:pt x="158" y="473"/>
                    </a:lnTo>
                    <a:lnTo>
                      <a:pt x="175" y="530"/>
                    </a:lnTo>
                    <a:lnTo>
                      <a:pt x="195" y="585"/>
                    </a:lnTo>
                    <a:lnTo>
                      <a:pt x="219" y="640"/>
                    </a:lnTo>
                    <a:lnTo>
                      <a:pt x="248" y="691"/>
                    </a:lnTo>
                    <a:lnTo>
                      <a:pt x="280" y="741"/>
                    </a:lnTo>
                    <a:lnTo>
                      <a:pt x="315" y="788"/>
                    </a:lnTo>
                    <a:lnTo>
                      <a:pt x="355" y="833"/>
                    </a:lnTo>
                    <a:lnTo>
                      <a:pt x="396" y="875"/>
                    </a:lnTo>
                    <a:lnTo>
                      <a:pt x="441" y="914"/>
                    </a:lnTo>
                    <a:lnTo>
                      <a:pt x="489" y="949"/>
                    </a:lnTo>
                    <a:lnTo>
                      <a:pt x="538" y="980"/>
                    </a:lnTo>
                    <a:lnTo>
                      <a:pt x="590" y="1009"/>
                    </a:lnTo>
                    <a:lnTo>
                      <a:pt x="645" y="1033"/>
                    </a:lnTo>
                    <a:lnTo>
                      <a:pt x="699" y="1053"/>
                    </a:lnTo>
                    <a:lnTo>
                      <a:pt x="757" y="1070"/>
                    </a:lnTo>
                    <a:lnTo>
                      <a:pt x="815" y="1082"/>
                    </a:lnTo>
                    <a:lnTo>
                      <a:pt x="873" y="1089"/>
                    </a:lnTo>
                    <a:lnTo>
                      <a:pt x="932" y="1094"/>
                    </a:lnTo>
                    <a:lnTo>
                      <a:pt x="992" y="1093"/>
                    </a:lnTo>
                    <a:lnTo>
                      <a:pt x="1051" y="1088"/>
                    </a:lnTo>
                    <a:lnTo>
                      <a:pt x="1108" y="1080"/>
                    </a:lnTo>
                    <a:lnTo>
                      <a:pt x="1166" y="1067"/>
                    </a:lnTo>
                    <a:lnTo>
                      <a:pt x="1223" y="1049"/>
                    </a:lnTo>
                    <a:lnTo>
                      <a:pt x="1279" y="1027"/>
                    </a:lnTo>
                    <a:lnTo>
                      <a:pt x="1332" y="1002"/>
                    </a:lnTo>
                    <a:lnTo>
                      <a:pt x="1383" y="973"/>
                    </a:lnTo>
                    <a:lnTo>
                      <a:pt x="1432" y="940"/>
                    </a:lnTo>
                    <a:lnTo>
                      <a:pt x="1479" y="904"/>
                    </a:lnTo>
                    <a:lnTo>
                      <a:pt x="1523" y="865"/>
                    </a:lnTo>
                    <a:lnTo>
                      <a:pt x="1564" y="822"/>
                    </a:lnTo>
                    <a:lnTo>
                      <a:pt x="1602" y="776"/>
                    </a:lnTo>
                    <a:lnTo>
                      <a:pt x="1636" y="728"/>
                    </a:lnTo>
                    <a:lnTo>
                      <a:pt x="1668" y="678"/>
                    </a:lnTo>
                    <a:lnTo>
                      <a:pt x="1695" y="626"/>
                    </a:lnTo>
                    <a:lnTo>
                      <a:pt x="1719" y="571"/>
                    </a:lnTo>
                    <a:lnTo>
                      <a:pt x="1738" y="516"/>
                    </a:lnTo>
                    <a:lnTo>
                      <a:pt x="1754" y="459"/>
                    </a:lnTo>
                    <a:lnTo>
                      <a:pt x="1765" y="400"/>
                    </a:lnTo>
                    <a:lnTo>
                      <a:pt x="1772" y="342"/>
                    </a:lnTo>
                    <a:lnTo>
                      <a:pt x="1775" y="282"/>
                    </a:lnTo>
                    <a:lnTo>
                      <a:pt x="1774" y="223"/>
                    </a:lnTo>
                    <a:lnTo>
                      <a:pt x="1767" y="164"/>
                    </a:lnTo>
                    <a:lnTo>
                      <a:pt x="1529" y="342"/>
                    </a:lnTo>
                    <a:lnTo>
                      <a:pt x="1361" y="222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511"/>
              </a:p>
            </p:txBody>
          </p:sp>
        </p:grpSp>
        <p:sp>
          <p:nvSpPr>
            <p:cNvPr id="49156" name="Rectangle 4"/>
            <p:cNvSpPr>
              <a:spLocks noChangeArrowheads="1"/>
            </p:cNvSpPr>
            <p:nvPr/>
          </p:nvSpPr>
          <p:spPr bwMode="auto">
            <a:xfrm>
              <a:off x="4224338" y="2024063"/>
              <a:ext cx="1890712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511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511" dirty="0">
                <a:latin typeface="Arial" pitchFamily="34" charset="0"/>
              </a:endParaRPr>
            </a:p>
          </p:txBody>
        </p:sp>
        <p:sp>
          <p:nvSpPr>
            <p:cNvPr id="49157" name="Rectangle 5"/>
            <p:cNvSpPr>
              <a:spLocks noChangeArrowheads="1"/>
            </p:cNvSpPr>
            <p:nvPr/>
          </p:nvSpPr>
          <p:spPr bwMode="auto">
            <a:xfrm>
              <a:off x="4224338" y="5016500"/>
              <a:ext cx="1890712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511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511" dirty="0">
                <a:latin typeface="Arial" pitchFamily="34" charset="0"/>
              </a:endParaRPr>
            </a:p>
          </p:txBody>
        </p:sp>
      </p:grpSp>
      <p:grpSp>
        <p:nvGrpSpPr>
          <p:cNvPr id="8" name="39 Grupo"/>
          <p:cNvGrpSpPr/>
          <p:nvPr/>
        </p:nvGrpSpPr>
        <p:grpSpPr>
          <a:xfrm>
            <a:off x="539184" y="2130616"/>
            <a:ext cx="2960411" cy="2851152"/>
            <a:chOff x="2909888" y="1435100"/>
            <a:chExt cx="4516437" cy="4349750"/>
          </a:xfrm>
          <a:solidFill>
            <a:schemeClr val="accent1"/>
          </a:solidFill>
          <a:effectLst/>
        </p:grpSpPr>
        <p:grpSp>
          <p:nvGrpSpPr>
            <p:cNvPr id="9" name="Group 6"/>
            <p:cNvGrpSpPr>
              <a:grpSpLocks/>
            </p:cNvGrpSpPr>
            <p:nvPr/>
          </p:nvGrpSpPr>
          <p:grpSpPr bwMode="auto">
            <a:xfrm>
              <a:off x="2909888" y="1435100"/>
              <a:ext cx="4516437" cy="4349750"/>
              <a:chOff x="1379" y="656"/>
              <a:chExt cx="2845" cy="2740"/>
            </a:xfrm>
            <a:grpFill/>
          </p:grpSpPr>
          <p:sp>
            <p:nvSpPr>
              <p:cNvPr id="49159" name="Freeform 7"/>
              <p:cNvSpPr>
                <a:spLocks/>
              </p:cNvSpPr>
              <p:nvPr/>
            </p:nvSpPr>
            <p:spPr bwMode="auto">
              <a:xfrm>
                <a:off x="1669" y="656"/>
                <a:ext cx="1424" cy="1170"/>
              </a:xfrm>
              <a:custGeom>
                <a:avLst/>
                <a:gdLst/>
                <a:ahLst/>
                <a:cxnLst>
                  <a:cxn ang="0">
                    <a:pos x="402" y="804"/>
                  </a:cxn>
                  <a:cxn ang="0">
                    <a:pos x="424" y="765"/>
                  </a:cxn>
                  <a:cxn ang="0">
                    <a:pos x="450" y="730"/>
                  </a:cxn>
                  <a:cxn ang="0">
                    <a:pos x="479" y="698"/>
                  </a:cxn>
                  <a:cxn ang="0">
                    <a:pos x="512" y="668"/>
                  </a:cxn>
                  <a:cxn ang="0">
                    <a:pos x="548" y="642"/>
                  </a:cxn>
                  <a:cxn ang="0">
                    <a:pos x="583" y="621"/>
                  </a:cxn>
                  <a:cxn ang="0">
                    <a:pos x="620" y="603"/>
                  </a:cxn>
                  <a:cxn ang="0">
                    <a:pos x="660" y="589"/>
                  </a:cxn>
                  <a:cxn ang="0">
                    <a:pos x="699" y="579"/>
                  </a:cxn>
                  <a:cxn ang="0">
                    <a:pos x="740" y="572"/>
                  </a:cxn>
                  <a:cxn ang="0">
                    <a:pos x="752" y="722"/>
                  </a:cxn>
                  <a:cxn ang="0">
                    <a:pos x="972" y="356"/>
                  </a:cxn>
                  <a:cxn ang="0">
                    <a:pos x="712" y="0"/>
                  </a:cxn>
                  <a:cxn ang="0">
                    <a:pos x="713" y="134"/>
                  </a:cxn>
                  <a:cxn ang="0">
                    <a:pos x="651" y="142"/>
                  </a:cxn>
                  <a:cxn ang="0">
                    <a:pos x="590" y="154"/>
                  </a:cxn>
                  <a:cxn ang="0">
                    <a:pos x="530" y="170"/>
                  </a:cxn>
                  <a:cxn ang="0">
                    <a:pos x="471" y="191"/>
                  </a:cxn>
                  <a:cxn ang="0">
                    <a:pos x="414" y="216"/>
                  </a:cxn>
                  <a:cxn ang="0">
                    <a:pos x="359" y="245"/>
                  </a:cxn>
                  <a:cxn ang="0">
                    <a:pos x="305" y="278"/>
                  </a:cxn>
                  <a:cxn ang="0">
                    <a:pos x="257" y="312"/>
                  </a:cxn>
                  <a:cxn ang="0">
                    <a:pos x="212" y="349"/>
                  </a:cxn>
                  <a:cxn ang="0">
                    <a:pos x="170" y="390"/>
                  </a:cxn>
                  <a:cxn ang="0">
                    <a:pos x="129" y="432"/>
                  </a:cxn>
                  <a:cxn ang="0">
                    <a:pos x="92" y="478"/>
                  </a:cxn>
                  <a:cxn ang="0">
                    <a:pos x="58" y="526"/>
                  </a:cxn>
                  <a:cxn ang="0">
                    <a:pos x="27" y="576"/>
                  </a:cxn>
                  <a:cxn ang="0">
                    <a:pos x="0" y="628"/>
                  </a:cxn>
                  <a:cxn ang="0">
                    <a:pos x="264" y="607"/>
                  </a:cxn>
                  <a:cxn ang="0">
                    <a:pos x="402" y="804"/>
                  </a:cxn>
                </a:cxnLst>
                <a:rect l="0" t="0" r="r" b="b"/>
                <a:pathLst>
                  <a:path w="973" h="805">
                    <a:moveTo>
                      <a:pt x="402" y="804"/>
                    </a:moveTo>
                    <a:lnTo>
                      <a:pt x="424" y="765"/>
                    </a:lnTo>
                    <a:lnTo>
                      <a:pt x="450" y="730"/>
                    </a:lnTo>
                    <a:lnTo>
                      <a:pt x="479" y="698"/>
                    </a:lnTo>
                    <a:lnTo>
                      <a:pt x="512" y="668"/>
                    </a:lnTo>
                    <a:lnTo>
                      <a:pt x="548" y="642"/>
                    </a:lnTo>
                    <a:lnTo>
                      <a:pt x="583" y="621"/>
                    </a:lnTo>
                    <a:lnTo>
                      <a:pt x="620" y="603"/>
                    </a:lnTo>
                    <a:lnTo>
                      <a:pt x="660" y="589"/>
                    </a:lnTo>
                    <a:lnTo>
                      <a:pt x="699" y="579"/>
                    </a:lnTo>
                    <a:lnTo>
                      <a:pt x="740" y="572"/>
                    </a:lnTo>
                    <a:lnTo>
                      <a:pt x="752" y="722"/>
                    </a:lnTo>
                    <a:lnTo>
                      <a:pt x="972" y="356"/>
                    </a:lnTo>
                    <a:lnTo>
                      <a:pt x="712" y="0"/>
                    </a:lnTo>
                    <a:lnTo>
                      <a:pt x="713" y="134"/>
                    </a:lnTo>
                    <a:lnTo>
                      <a:pt x="651" y="142"/>
                    </a:lnTo>
                    <a:lnTo>
                      <a:pt x="590" y="154"/>
                    </a:lnTo>
                    <a:lnTo>
                      <a:pt x="530" y="170"/>
                    </a:lnTo>
                    <a:lnTo>
                      <a:pt x="471" y="191"/>
                    </a:lnTo>
                    <a:lnTo>
                      <a:pt x="414" y="216"/>
                    </a:lnTo>
                    <a:lnTo>
                      <a:pt x="359" y="245"/>
                    </a:lnTo>
                    <a:lnTo>
                      <a:pt x="305" y="278"/>
                    </a:lnTo>
                    <a:lnTo>
                      <a:pt x="257" y="312"/>
                    </a:lnTo>
                    <a:lnTo>
                      <a:pt x="212" y="349"/>
                    </a:lnTo>
                    <a:lnTo>
                      <a:pt x="170" y="390"/>
                    </a:lnTo>
                    <a:lnTo>
                      <a:pt x="129" y="432"/>
                    </a:lnTo>
                    <a:lnTo>
                      <a:pt x="92" y="478"/>
                    </a:lnTo>
                    <a:lnTo>
                      <a:pt x="58" y="526"/>
                    </a:lnTo>
                    <a:lnTo>
                      <a:pt x="27" y="576"/>
                    </a:lnTo>
                    <a:lnTo>
                      <a:pt x="0" y="628"/>
                    </a:lnTo>
                    <a:lnTo>
                      <a:pt x="264" y="607"/>
                    </a:lnTo>
                    <a:lnTo>
                      <a:pt x="402" y="804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295"/>
              </a:p>
            </p:txBody>
          </p:sp>
          <p:sp>
            <p:nvSpPr>
              <p:cNvPr id="49160" name="Freeform 8"/>
              <p:cNvSpPr>
                <a:spLocks/>
              </p:cNvSpPr>
              <p:nvPr/>
            </p:nvSpPr>
            <p:spPr bwMode="auto">
              <a:xfrm>
                <a:off x="2935" y="851"/>
                <a:ext cx="1289" cy="1190"/>
              </a:xfrm>
              <a:custGeom>
                <a:avLst/>
                <a:gdLst/>
                <a:ahLst/>
                <a:cxnLst>
                  <a:cxn ang="0">
                    <a:pos x="583" y="818"/>
                  </a:cxn>
                  <a:cxn ang="0">
                    <a:pos x="685" y="715"/>
                  </a:cxn>
                  <a:cxn ang="0">
                    <a:pos x="784" y="609"/>
                  </a:cxn>
                  <a:cxn ang="0">
                    <a:pos x="880" y="502"/>
                  </a:cxn>
                  <a:cxn ang="0">
                    <a:pos x="734" y="542"/>
                  </a:cxn>
                  <a:cxn ang="0">
                    <a:pos x="709" y="487"/>
                  </a:cxn>
                  <a:cxn ang="0">
                    <a:pos x="681" y="433"/>
                  </a:cxn>
                  <a:cxn ang="0">
                    <a:pos x="650" y="383"/>
                  </a:cxn>
                  <a:cxn ang="0">
                    <a:pos x="615" y="334"/>
                  </a:cxn>
                  <a:cxn ang="0">
                    <a:pos x="576" y="288"/>
                  </a:cxn>
                  <a:cxn ang="0">
                    <a:pos x="534" y="245"/>
                  </a:cxn>
                  <a:cxn ang="0">
                    <a:pos x="490" y="204"/>
                  </a:cxn>
                  <a:cxn ang="0">
                    <a:pos x="443" y="168"/>
                  </a:cxn>
                  <a:cxn ang="0">
                    <a:pos x="393" y="133"/>
                  </a:cxn>
                  <a:cxn ang="0">
                    <a:pos x="342" y="103"/>
                  </a:cxn>
                  <a:cxn ang="0">
                    <a:pos x="288" y="76"/>
                  </a:cxn>
                  <a:cxn ang="0">
                    <a:pos x="233" y="54"/>
                  </a:cxn>
                  <a:cxn ang="0">
                    <a:pos x="176" y="34"/>
                  </a:cxn>
                  <a:cxn ang="0">
                    <a:pos x="118" y="19"/>
                  </a:cxn>
                  <a:cxn ang="0">
                    <a:pos x="60" y="8"/>
                  </a:cxn>
                  <a:cxn ang="0">
                    <a:pos x="0" y="0"/>
                  </a:cxn>
                  <a:cxn ang="0">
                    <a:pos x="147" y="218"/>
                  </a:cxn>
                  <a:cxn ang="0">
                    <a:pos x="27" y="444"/>
                  </a:cxn>
                  <a:cxn ang="0">
                    <a:pos x="70" y="456"/>
                  </a:cxn>
                  <a:cxn ang="0">
                    <a:pos x="111" y="474"/>
                  </a:cxn>
                  <a:cxn ang="0">
                    <a:pos x="149" y="496"/>
                  </a:cxn>
                  <a:cxn ang="0">
                    <a:pos x="187" y="522"/>
                  </a:cxn>
                  <a:cxn ang="0">
                    <a:pos x="220" y="551"/>
                  </a:cxn>
                  <a:cxn ang="0">
                    <a:pos x="252" y="584"/>
                  </a:cxn>
                  <a:cxn ang="0">
                    <a:pos x="279" y="618"/>
                  </a:cxn>
                  <a:cxn ang="0">
                    <a:pos x="302" y="657"/>
                  </a:cxn>
                  <a:cxn ang="0">
                    <a:pos x="146" y="699"/>
                  </a:cxn>
                  <a:cxn ang="0">
                    <a:pos x="583" y="818"/>
                  </a:cxn>
                </a:cxnLst>
                <a:rect l="0" t="0" r="r" b="b"/>
                <a:pathLst>
                  <a:path w="881" h="819">
                    <a:moveTo>
                      <a:pt x="583" y="818"/>
                    </a:moveTo>
                    <a:lnTo>
                      <a:pt x="685" y="715"/>
                    </a:lnTo>
                    <a:lnTo>
                      <a:pt x="784" y="609"/>
                    </a:lnTo>
                    <a:lnTo>
                      <a:pt x="880" y="502"/>
                    </a:lnTo>
                    <a:lnTo>
                      <a:pt x="734" y="542"/>
                    </a:lnTo>
                    <a:lnTo>
                      <a:pt x="709" y="487"/>
                    </a:lnTo>
                    <a:lnTo>
                      <a:pt x="681" y="433"/>
                    </a:lnTo>
                    <a:lnTo>
                      <a:pt x="650" y="383"/>
                    </a:lnTo>
                    <a:lnTo>
                      <a:pt x="615" y="334"/>
                    </a:lnTo>
                    <a:lnTo>
                      <a:pt x="576" y="288"/>
                    </a:lnTo>
                    <a:lnTo>
                      <a:pt x="534" y="245"/>
                    </a:lnTo>
                    <a:lnTo>
                      <a:pt x="490" y="204"/>
                    </a:lnTo>
                    <a:lnTo>
                      <a:pt x="443" y="168"/>
                    </a:lnTo>
                    <a:lnTo>
                      <a:pt x="393" y="133"/>
                    </a:lnTo>
                    <a:lnTo>
                      <a:pt x="342" y="103"/>
                    </a:lnTo>
                    <a:lnTo>
                      <a:pt x="288" y="76"/>
                    </a:lnTo>
                    <a:lnTo>
                      <a:pt x="233" y="54"/>
                    </a:lnTo>
                    <a:lnTo>
                      <a:pt x="176" y="34"/>
                    </a:lnTo>
                    <a:lnTo>
                      <a:pt x="118" y="19"/>
                    </a:lnTo>
                    <a:lnTo>
                      <a:pt x="60" y="8"/>
                    </a:lnTo>
                    <a:lnTo>
                      <a:pt x="0" y="0"/>
                    </a:lnTo>
                    <a:lnTo>
                      <a:pt x="147" y="218"/>
                    </a:lnTo>
                    <a:lnTo>
                      <a:pt x="27" y="444"/>
                    </a:lnTo>
                    <a:lnTo>
                      <a:pt x="70" y="456"/>
                    </a:lnTo>
                    <a:lnTo>
                      <a:pt x="111" y="474"/>
                    </a:lnTo>
                    <a:lnTo>
                      <a:pt x="149" y="496"/>
                    </a:lnTo>
                    <a:lnTo>
                      <a:pt x="187" y="522"/>
                    </a:lnTo>
                    <a:lnTo>
                      <a:pt x="220" y="551"/>
                    </a:lnTo>
                    <a:lnTo>
                      <a:pt x="252" y="584"/>
                    </a:lnTo>
                    <a:lnTo>
                      <a:pt x="279" y="618"/>
                    </a:lnTo>
                    <a:lnTo>
                      <a:pt x="302" y="657"/>
                    </a:lnTo>
                    <a:lnTo>
                      <a:pt x="146" y="699"/>
                    </a:lnTo>
                    <a:lnTo>
                      <a:pt x="583" y="818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295"/>
              </a:p>
            </p:txBody>
          </p:sp>
          <p:sp>
            <p:nvSpPr>
              <p:cNvPr id="49161" name="Freeform 9"/>
              <p:cNvSpPr>
                <a:spLocks/>
              </p:cNvSpPr>
              <p:nvPr/>
            </p:nvSpPr>
            <p:spPr bwMode="auto">
              <a:xfrm>
                <a:off x="3131" y="1826"/>
                <a:ext cx="974" cy="1502"/>
              </a:xfrm>
              <a:custGeom>
                <a:avLst/>
                <a:gdLst/>
                <a:ahLst/>
                <a:cxnLst>
                  <a:cxn ang="0">
                    <a:pos x="217" y="121"/>
                  </a:cxn>
                  <a:cxn ang="0">
                    <a:pos x="223" y="164"/>
                  </a:cxn>
                  <a:cxn ang="0">
                    <a:pos x="224" y="209"/>
                  </a:cxn>
                  <a:cxn ang="0">
                    <a:pos x="222" y="253"/>
                  </a:cxn>
                  <a:cxn ang="0">
                    <a:pos x="214" y="296"/>
                  </a:cxn>
                  <a:cxn ang="0">
                    <a:pos x="202" y="339"/>
                  </a:cxn>
                  <a:cxn ang="0">
                    <a:pos x="187" y="380"/>
                  </a:cxn>
                  <a:cxn ang="0">
                    <a:pos x="166" y="420"/>
                  </a:cxn>
                  <a:cxn ang="0">
                    <a:pos x="142" y="457"/>
                  </a:cxn>
                  <a:cxn ang="0">
                    <a:pos x="114" y="492"/>
                  </a:cxn>
                  <a:cxn ang="0">
                    <a:pos x="84" y="524"/>
                  </a:cxn>
                  <a:cxn ang="0">
                    <a:pos x="0" y="371"/>
                  </a:cxn>
                  <a:cxn ang="0">
                    <a:pos x="0" y="819"/>
                  </a:cxn>
                  <a:cxn ang="0">
                    <a:pos x="378" y="1032"/>
                  </a:cxn>
                  <a:cxn ang="0">
                    <a:pos x="306" y="909"/>
                  </a:cxn>
                  <a:cxn ang="0">
                    <a:pos x="354" y="871"/>
                  </a:cxn>
                  <a:cxn ang="0">
                    <a:pos x="398" y="831"/>
                  </a:cxn>
                  <a:cxn ang="0">
                    <a:pos x="440" y="787"/>
                  </a:cxn>
                  <a:cxn ang="0">
                    <a:pos x="480" y="741"/>
                  </a:cxn>
                  <a:cxn ang="0">
                    <a:pos x="515" y="692"/>
                  </a:cxn>
                  <a:cxn ang="0">
                    <a:pos x="547" y="641"/>
                  </a:cxn>
                  <a:cxn ang="0">
                    <a:pos x="575" y="588"/>
                  </a:cxn>
                  <a:cxn ang="0">
                    <a:pos x="600" y="533"/>
                  </a:cxn>
                  <a:cxn ang="0">
                    <a:pos x="621" y="476"/>
                  </a:cxn>
                  <a:cxn ang="0">
                    <a:pos x="638" y="419"/>
                  </a:cxn>
                  <a:cxn ang="0">
                    <a:pos x="651" y="359"/>
                  </a:cxn>
                  <a:cxn ang="0">
                    <a:pos x="659" y="300"/>
                  </a:cxn>
                  <a:cxn ang="0">
                    <a:pos x="664" y="239"/>
                  </a:cxn>
                  <a:cxn ang="0">
                    <a:pos x="665" y="180"/>
                  </a:cxn>
                  <a:cxn ang="0">
                    <a:pos x="662" y="119"/>
                  </a:cxn>
                  <a:cxn ang="0">
                    <a:pos x="654" y="59"/>
                  </a:cxn>
                  <a:cxn ang="0">
                    <a:pos x="642" y="0"/>
                  </a:cxn>
                  <a:cxn ang="0">
                    <a:pos x="454" y="190"/>
                  </a:cxn>
                  <a:cxn ang="0">
                    <a:pos x="217" y="121"/>
                  </a:cxn>
                </a:cxnLst>
                <a:rect l="0" t="0" r="r" b="b"/>
                <a:pathLst>
                  <a:path w="666" h="1033">
                    <a:moveTo>
                      <a:pt x="217" y="121"/>
                    </a:moveTo>
                    <a:lnTo>
                      <a:pt x="223" y="164"/>
                    </a:lnTo>
                    <a:lnTo>
                      <a:pt x="224" y="209"/>
                    </a:lnTo>
                    <a:lnTo>
                      <a:pt x="222" y="253"/>
                    </a:lnTo>
                    <a:lnTo>
                      <a:pt x="214" y="296"/>
                    </a:lnTo>
                    <a:lnTo>
                      <a:pt x="202" y="339"/>
                    </a:lnTo>
                    <a:lnTo>
                      <a:pt x="187" y="380"/>
                    </a:lnTo>
                    <a:lnTo>
                      <a:pt x="166" y="420"/>
                    </a:lnTo>
                    <a:lnTo>
                      <a:pt x="142" y="457"/>
                    </a:lnTo>
                    <a:lnTo>
                      <a:pt x="114" y="492"/>
                    </a:lnTo>
                    <a:lnTo>
                      <a:pt x="84" y="524"/>
                    </a:lnTo>
                    <a:lnTo>
                      <a:pt x="0" y="371"/>
                    </a:lnTo>
                    <a:lnTo>
                      <a:pt x="0" y="819"/>
                    </a:lnTo>
                    <a:lnTo>
                      <a:pt x="378" y="1032"/>
                    </a:lnTo>
                    <a:lnTo>
                      <a:pt x="306" y="909"/>
                    </a:lnTo>
                    <a:lnTo>
                      <a:pt x="354" y="871"/>
                    </a:lnTo>
                    <a:lnTo>
                      <a:pt x="398" y="831"/>
                    </a:lnTo>
                    <a:lnTo>
                      <a:pt x="440" y="787"/>
                    </a:lnTo>
                    <a:lnTo>
                      <a:pt x="480" y="741"/>
                    </a:lnTo>
                    <a:lnTo>
                      <a:pt x="515" y="692"/>
                    </a:lnTo>
                    <a:lnTo>
                      <a:pt x="547" y="641"/>
                    </a:lnTo>
                    <a:lnTo>
                      <a:pt x="575" y="588"/>
                    </a:lnTo>
                    <a:lnTo>
                      <a:pt x="600" y="533"/>
                    </a:lnTo>
                    <a:lnTo>
                      <a:pt x="621" y="476"/>
                    </a:lnTo>
                    <a:lnTo>
                      <a:pt x="638" y="419"/>
                    </a:lnTo>
                    <a:lnTo>
                      <a:pt x="651" y="359"/>
                    </a:lnTo>
                    <a:lnTo>
                      <a:pt x="659" y="300"/>
                    </a:lnTo>
                    <a:lnTo>
                      <a:pt x="664" y="239"/>
                    </a:lnTo>
                    <a:lnTo>
                      <a:pt x="665" y="180"/>
                    </a:lnTo>
                    <a:lnTo>
                      <a:pt x="662" y="119"/>
                    </a:lnTo>
                    <a:lnTo>
                      <a:pt x="654" y="59"/>
                    </a:lnTo>
                    <a:lnTo>
                      <a:pt x="642" y="0"/>
                    </a:lnTo>
                    <a:lnTo>
                      <a:pt x="454" y="190"/>
                    </a:lnTo>
                    <a:lnTo>
                      <a:pt x="217" y="121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295"/>
              </a:p>
            </p:txBody>
          </p:sp>
          <p:sp>
            <p:nvSpPr>
              <p:cNvPr id="49162" name="Freeform 10"/>
              <p:cNvSpPr>
                <a:spLocks/>
              </p:cNvSpPr>
              <p:nvPr/>
            </p:nvSpPr>
            <p:spPr bwMode="auto">
              <a:xfrm>
                <a:off x="1913" y="2470"/>
                <a:ext cx="1508" cy="926"/>
              </a:xfrm>
              <a:custGeom>
                <a:avLst/>
                <a:gdLst/>
                <a:ahLst/>
                <a:cxnLst>
                  <a:cxn ang="0">
                    <a:pos x="792" y="161"/>
                  </a:cxn>
                  <a:cxn ang="0">
                    <a:pos x="753" y="175"/>
                  </a:cxn>
                  <a:cxn ang="0">
                    <a:pos x="712" y="187"/>
                  </a:cxn>
                  <a:cxn ang="0">
                    <a:pos x="670" y="193"/>
                  </a:cxn>
                  <a:cxn ang="0">
                    <a:pos x="628" y="196"/>
                  </a:cxn>
                  <a:cxn ang="0">
                    <a:pos x="586" y="194"/>
                  </a:cxn>
                  <a:cxn ang="0">
                    <a:pos x="544" y="188"/>
                  </a:cxn>
                  <a:cxn ang="0">
                    <a:pos x="502" y="179"/>
                  </a:cxn>
                  <a:cxn ang="0">
                    <a:pos x="462" y="166"/>
                  </a:cxn>
                  <a:cxn ang="0">
                    <a:pos x="424" y="148"/>
                  </a:cxn>
                  <a:cxn ang="0">
                    <a:pos x="388" y="127"/>
                  </a:cxn>
                  <a:cxn ang="0">
                    <a:pos x="493" y="0"/>
                  </a:cxn>
                  <a:cxn ang="0">
                    <a:pos x="73" y="152"/>
                  </a:cxn>
                  <a:cxn ang="0">
                    <a:pos x="31" y="403"/>
                  </a:cxn>
                  <a:cxn ang="0">
                    <a:pos x="33" y="405"/>
                  </a:cxn>
                  <a:cxn ang="0">
                    <a:pos x="0" y="588"/>
                  </a:cxn>
                  <a:cxn ang="0">
                    <a:pos x="104" y="463"/>
                  </a:cxn>
                  <a:cxn ang="0">
                    <a:pos x="155" y="498"/>
                  </a:cxn>
                  <a:cxn ang="0">
                    <a:pos x="208" y="530"/>
                  </a:cxn>
                  <a:cxn ang="0">
                    <a:pos x="262" y="557"/>
                  </a:cxn>
                  <a:cxn ang="0">
                    <a:pos x="319" y="580"/>
                  </a:cxn>
                  <a:cxn ang="0">
                    <a:pos x="377" y="600"/>
                  </a:cxn>
                  <a:cxn ang="0">
                    <a:pos x="435" y="615"/>
                  </a:cxn>
                  <a:cxn ang="0">
                    <a:pos x="496" y="627"/>
                  </a:cxn>
                  <a:cxn ang="0">
                    <a:pos x="557" y="634"/>
                  </a:cxn>
                  <a:cxn ang="0">
                    <a:pos x="618" y="636"/>
                  </a:cxn>
                  <a:cxn ang="0">
                    <a:pos x="679" y="634"/>
                  </a:cxn>
                  <a:cxn ang="0">
                    <a:pos x="740" y="628"/>
                  </a:cxn>
                  <a:cxn ang="0">
                    <a:pos x="801" y="617"/>
                  </a:cxn>
                  <a:cxn ang="0">
                    <a:pos x="859" y="603"/>
                  </a:cxn>
                  <a:cxn ang="0">
                    <a:pos x="917" y="585"/>
                  </a:cxn>
                  <a:cxn ang="0">
                    <a:pos x="974" y="561"/>
                  </a:cxn>
                  <a:cxn ang="0">
                    <a:pos x="1029" y="534"/>
                  </a:cxn>
                  <a:cxn ang="0">
                    <a:pos x="795" y="398"/>
                  </a:cxn>
                  <a:cxn ang="0">
                    <a:pos x="792" y="161"/>
                  </a:cxn>
                </a:cxnLst>
                <a:rect l="0" t="0" r="r" b="b"/>
                <a:pathLst>
                  <a:path w="1030" h="637">
                    <a:moveTo>
                      <a:pt x="792" y="161"/>
                    </a:moveTo>
                    <a:lnTo>
                      <a:pt x="753" y="175"/>
                    </a:lnTo>
                    <a:lnTo>
                      <a:pt x="712" y="187"/>
                    </a:lnTo>
                    <a:lnTo>
                      <a:pt x="670" y="193"/>
                    </a:lnTo>
                    <a:lnTo>
                      <a:pt x="628" y="196"/>
                    </a:lnTo>
                    <a:lnTo>
                      <a:pt x="586" y="194"/>
                    </a:lnTo>
                    <a:lnTo>
                      <a:pt x="544" y="188"/>
                    </a:lnTo>
                    <a:lnTo>
                      <a:pt x="502" y="179"/>
                    </a:lnTo>
                    <a:lnTo>
                      <a:pt x="462" y="166"/>
                    </a:lnTo>
                    <a:lnTo>
                      <a:pt x="424" y="148"/>
                    </a:lnTo>
                    <a:lnTo>
                      <a:pt x="388" y="127"/>
                    </a:lnTo>
                    <a:lnTo>
                      <a:pt x="493" y="0"/>
                    </a:lnTo>
                    <a:lnTo>
                      <a:pt x="73" y="152"/>
                    </a:lnTo>
                    <a:lnTo>
                      <a:pt x="31" y="403"/>
                    </a:lnTo>
                    <a:lnTo>
                      <a:pt x="33" y="405"/>
                    </a:lnTo>
                    <a:lnTo>
                      <a:pt x="0" y="588"/>
                    </a:lnTo>
                    <a:lnTo>
                      <a:pt x="104" y="463"/>
                    </a:lnTo>
                    <a:lnTo>
                      <a:pt x="155" y="498"/>
                    </a:lnTo>
                    <a:lnTo>
                      <a:pt x="208" y="530"/>
                    </a:lnTo>
                    <a:lnTo>
                      <a:pt x="262" y="557"/>
                    </a:lnTo>
                    <a:lnTo>
                      <a:pt x="319" y="580"/>
                    </a:lnTo>
                    <a:lnTo>
                      <a:pt x="377" y="600"/>
                    </a:lnTo>
                    <a:lnTo>
                      <a:pt x="435" y="615"/>
                    </a:lnTo>
                    <a:lnTo>
                      <a:pt x="496" y="627"/>
                    </a:lnTo>
                    <a:lnTo>
                      <a:pt x="557" y="634"/>
                    </a:lnTo>
                    <a:lnTo>
                      <a:pt x="618" y="636"/>
                    </a:lnTo>
                    <a:lnTo>
                      <a:pt x="679" y="634"/>
                    </a:lnTo>
                    <a:lnTo>
                      <a:pt x="740" y="628"/>
                    </a:lnTo>
                    <a:lnTo>
                      <a:pt x="801" y="617"/>
                    </a:lnTo>
                    <a:lnTo>
                      <a:pt x="859" y="603"/>
                    </a:lnTo>
                    <a:lnTo>
                      <a:pt x="917" y="585"/>
                    </a:lnTo>
                    <a:lnTo>
                      <a:pt x="974" y="561"/>
                    </a:lnTo>
                    <a:lnTo>
                      <a:pt x="1029" y="534"/>
                    </a:lnTo>
                    <a:lnTo>
                      <a:pt x="795" y="398"/>
                    </a:lnTo>
                    <a:lnTo>
                      <a:pt x="792" y="161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295"/>
              </a:p>
            </p:txBody>
          </p:sp>
          <p:sp>
            <p:nvSpPr>
              <p:cNvPr id="49163" name="Freeform 11"/>
              <p:cNvSpPr>
                <a:spLocks/>
              </p:cNvSpPr>
              <p:nvPr/>
            </p:nvSpPr>
            <p:spPr bwMode="auto">
              <a:xfrm>
                <a:off x="1379" y="1591"/>
                <a:ext cx="1020" cy="1411"/>
              </a:xfrm>
              <a:custGeom>
                <a:avLst/>
                <a:gdLst/>
                <a:ahLst/>
                <a:cxnLst>
                  <a:cxn ang="0">
                    <a:pos x="648" y="639"/>
                  </a:cxn>
                  <a:cxn ang="0">
                    <a:pos x="621" y="603"/>
                  </a:cxn>
                  <a:cxn ang="0">
                    <a:pos x="599" y="563"/>
                  </a:cxn>
                  <a:cxn ang="0">
                    <a:pos x="580" y="522"/>
                  </a:cxn>
                  <a:cxn ang="0">
                    <a:pos x="566" y="480"/>
                  </a:cxn>
                  <a:cxn ang="0">
                    <a:pos x="556" y="436"/>
                  </a:cxn>
                  <a:cxn ang="0">
                    <a:pos x="551" y="392"/>
                  </a:cxn>
                  <a:cxn ang="0">
                    <a:pos x="550" y="347"/>
                  </a:cxn>
                  <a:cxn ang="0">
                    <a:pos x="554" y="302"/>
                  </a:cxn>
                  <a:cxn ang="0">
                    <a:pos x="696" y="368"/>
                  </a:cxn>
                  <a:cxn ang="0">
                    <a:pos x="445" y="0"/>
                  </a:cxn>
                  <a:cxn ang="0">
                    <a:pos x="0" y="44"/>
                  </a:cxn>
                  <a:cxn ang="0">
                    <a:pos x="148" y="113"/>
                  </a:cxn>
                  <a:cxn ang="0">
                    <a:pos x="133" y="173"/>
                  </a:cxn>
                  <a:cxn ang="0">
                    <a:pos x="121" y="233"/>
                  </a:cxn>
                  <a:cxn ang="0">
                    <a:pos x="116" y="295"/>
                  </a:cxn>
                  <a:cxn ang="0">
                    <a:pos x="112" y="357"/>
                  </a:cxn>
                  <a:cxn ang="0">
                    <a:pos x="114" y="418"/>
                  </a:cxn>
                  <a:cxn ang="0">
                    <a:pos x="120" y="479"/>
                  </a:cxn>
                  <a:cxn ang="0">
                    <a:pos x="131" y="540"/>
                  </a:cxn>
                  <a:cxn ang="0">
                    <a:pos x="145" y="599"/>
                  </a:cxn>
                  <a:cxn ang="0">
                    <a:pos x="163" y="659"/>
                  </a:cxn>
                  <a:cxn ang="0">
                    <a:pos x="187" y="716"/>
                  </a:cxn>
                  <a:cxn ang="0">
                    <a:pos x="214" y="771"/>
                  </a:cxn>
                  <a:cxn ang="0">
                    <a:pos x="244" y="825"/>
                  </a:cxn>
                  <a:cxn ang="0">
                    <a:pos x="278" y="876"/>
                  </a:cxn>
                  <a:cxn ang="0">
                    <a:pos x="316" y="925"/>
                  </a:cxn>
                  <a:cxn ang="0">
                    <a:pos x="357" y="970"/>
                  </a:cxn>
                  <a:cxn ang="0">
                    <a:pos x="399" y="730"/>
                  </a:cxn>
                  <a:cxn ang="0">
                    <a:pos x="648" y="639"/>
                  </a:cxn>
                </a:cxnLst>
                <a:rect l="0" t="0" r="r" b="b"/>
                <a:pathLst>
                  <a:path w="697" h="971">
                    <a:moveTo>
                      <a:pt x="648" y="639"/>
                    </a:moveTo>
                    <a:lnTo>
                      <a:pt x="621" y="603"/>
                    </a:lnTo>
                    <a:lnTo>
                      <a:pt x="599" y="563"/>
                    </a:lnTo>
                    <a:lnTo>
                      <a:pt x="580" y="522"/>
                    </a:lnTo>
                    <a:lnTo>
                      <a:pt x="566" y="480"/>
                    </a:lnTo>
                    <a:lnTo>
                      <a:pt x="556" y="436"/>
                    </a:lnTo>
                    <a:lnTo>
                      <a:pt x="551" y="392"/>
                    </a:lnTo>
                    <a:lnTo>
                      <a:pt x="550" y="347"/>
                    </a:lnTo>
                    <a:lnTo>
                      <a:pt x="554" y="302"/>
                    </a:lnTo>
                    <a:lnTo>
                      <a:pt x="696" y="368"/>
                    </a:lnTo>
                    <a:lnTo>
                      <a:pt x="445" y="0"/>
                    </a:lnTo>
                    <a:lnTo>
                      <a:pt x="0" y="44"/>
                    </a:lnTo>
                    <a:lnTo>
                      <a:pt x="148" y="113"/>
                    </a:lnTo>
                    <a:lnTo>
                      <a:pt x="133" y="173"/>
                    </a:lnTo>
                    <a:lnTo>
                      <a:pt x="121" y="233"/>
                    </a:lnTo>
                    <a:lnTo>
                      <a:pt x="116" y="295"/>
                    </a:lnTo>
                    <a:lnTo>
                      <a:pt x="112" y="357"/>
                    </a:lnTo>
                    <a:lnTo>
                      <a:pt x="114" y="418"/>
                    </a:lnTo>
                    <a:lnTo>
                      <a:pt x="120" y="479"/>
                    </a:lnTo>
                    <a:lnTo>
                      <a:pt x="131" y="540"/>
                    </a:lnTo>
                    <a:lnTo>
                      <a:pt x="145" y="599"/>
                    </a:lnTo>
                    <a:lnTo>
                      <a:pt x="163" y="659"/>
                    </a:lnTo>
                    <a:lnTo>
                      <a:pt x="187" y="716"/>
                    </a:lnTo>
                    <a:lnTo>
                      <a:pt x="214" y="771"/>
                    </a:lnTo>
                    <a:lnTo>
                      <a:pt x="244" y="825"/>
                    </a:lnTo>
                    <a:lnTo>
                      <a:pt x="278" y="876"/>
                    </a:lnTo>
                    <a:lnTo>
                      <a:pt x="316" y="925"/>
                    </a:lnTo>
                    <a:lnTo>
                      <a:pt x="357" y="970"/>
                    </a:lnTo>
                    <a:lnTo>
                      <a:pt x="399" y="730"/>
                    </a:lnTo>
                    <a:lnTo>
                      <a:pt x="648" y="639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1295"/>
              </a:p>
            </p:txBody>
          </p:sp>
        </p:grpSp>
        <p:sp>
          <p:nvSpPr>
            <p:cNvPr id="49164" name="Rectangle 12"/>
            <p:cNvSpPr>
              <a:spLocks noChangeArrowheads="1"/>
            </p:cNvSpPr>
            <p:nvPr/>
          </p:nvSpPr>
          <p:spPr bwMode="auto">
            <a:xfrm>
              <a:off x="3275013" y="3811588"/>
              <a:ext cx="839787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295" dirty="0">
                <a:latin typeface="Arial" pitchFamily="34" charset="0"/>
              </a:endParaRPr>
            </a:p>
          </p:txBody>
        </p:sp>
        <p:sp>
          <p:nvSpPr>
            <p:cNvPr id="49165" name="Rectangle 13"/>
            <p:cNvSpPr>
              <a:spLocks noChangeArrowheads="1"/>
            </p:cNvSpPr>
            <p:nvPr/>
          </p:nvSpPr>
          <p:spPr bwMode="auto">
            <a:xfrm>
              <a:off x="4098925" y="2303463"/>
              <a:ext cx="841375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295" dirty="0">
                <a:latin typeface="Arial" pitchFamily="34" charset="0"/>
              </a:endParaRPr>
            </a:p>
          </p:txBody>
        </p:sp>
        <p:sp>
          <p:nvSpPr>
            <p:cNvPr id="49166" name="Rectangle 14"/>
            <p:cNvSpPr>
              <a:spLocks noChangeArrowheads="1"/>
            </p:cNvSpPr>
            <p:nvPr/>
          </p:nvSpPr>
          <p:spPr bwMode="auto">
            <a:xfrm>
              <a:off x="5834063" y="2578100"/>
              <a:ext cx="838200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295" dirty="0">
                <a:latin typeface="Arial" pitchFamily="34" charset="0"/>
              </a:endParaRPr>
            </a:p>
          </p:txBody>
        </p:sp>
        <p:sp>
          <p:nvSpPr>
            <p:cNvPr id="49167" name="Rectangle 15"/>
            <p:cNvSpPr>
              <a:spLocks noChangeArrowheads="1"/>
            </p:cNvSpPr>
            <p:nvPr/>
          </p:nvSpPr>
          <p:spPr bwMode="auto">
            <a:xfrm>
              <a:off x="6189663" y="4313238"/>
              <a:ext cx="841375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295" dirty="0">
                <a:latin typeface="Arial" pitchFamily="34" charset="0"/>
              </a:endParaRPr>
            </a:p>
          </p:txBody>
        </p:sp>
        <p:sp>
          <p:nvSpPr>
            <p:cNvPr id="49168" name="Rectangle 16"/>
            <p:cNvSpPr>
              <a:spLocks noChangeArrowheads="1"/>
            </p:cNvSpPr>
            <p:nvPr/>
          </p:nvSpPr>
          <p:spPr bwMode="auto">
            <a:xfrm>
              <a:off x="4479925" y="5094288"/>
              <a:ext cx="841375" cy="2444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295" dirty="0">
                <a:latin typeface="Arial" pitchFamily="34" charset="0"/>
              </a:endParaRPr>
            </a:p>
          </p:txBody>
        </p:sp>
      </p:grpSp>
      <p:grpSp>
        <p:nvGrpSpPr>
          <p:cNvPr id="10" name="53 Grupo"/>
          <p:cNvGrpSpPr/>
          <p:nvPr/>
        </p:nvGrpSpPr>
        <p:grpSpPr>
          <a:xfrm>
            <a:off x="3649046" y="3802955"/>
            <a:ext cx="2760577" cy="3031063"/>
            <a:chOff x="2994025" y="1130300"/>
            <a:chExt cx="4325938" cy="4749800"/>
          </a:xfrm>
        </p:grpSpPr>
        <p:grpSp>
          <p:nvGrpSpPr>
            <p:cNvPr id="11" name="Group 17"/>
            <p:cNvGrpSpPr>
              <a:grpSpLocks/>
            </p:cNvGrpSpPr>
            <p:nvPr/>
          </p:nvGrpSpPr>
          <p:grpSpPr bwMode="auto">
            <a:xfrm>
              <a:off x="2994025" y="1130300"/>
              <a:ext cx="4325938" cy="4749800"/>
              <a:chOff x="1436" y="649"/>
              <a:chExt cx="2725" cy="2992"/>
            </a:xfrm>
          </p:grpSpPr>
          <p:sp>
            <p:nvSpPr>
              <p:cNvPr id="49170" name="Freeform 18"/>
              <p:cNvSpPr>
                <a:spLocks/>
              </p:cNvSpPr>
              <p:nvPr/>
            </p:nvSpPr>
            <p:spPr bwMode="auto">
              <a:xfrm>
                <a:off x="2831" y="844"/>
                <a:ext cx="1265" cy="1029"/>
              </a:xfrm>
              <a:custGeom>
                <a:avLst/>
                <a:gdLst/>
                <a:ahLst/>
                <a:cxnLst>
                  <a:cxn ang="0">
                    <a:pos x="192" y="710"/>
                  </a:cxn>
                  <a:cxn ang="0">
                    <a:pos x="657" y="711"/>
                  </a:cxn>
                  <a:cxn ang="0">
                    <a:pos x="731" y="583"/>
                  </a:cxn>
                  <a:cxn ang="0">
                    <a:pos x="801" y="452"/>
                  </a:cxn>
                  <a:cxn ang="0">
                    <a:pos x="868" y="319"/>
                  </a:cxn>
                  <a:cxn ang="0">
                    <a:pos x="729" y="400"/>
                  </a:cxn>
                  <a:cxn ang="0">
                    <a:pos x="694" y="349"/>
                  </a:cxn>
                  <a:cxn ang="0">
                    <a:pos x="655" y="301"/>
                  </a:cxn>
                  <a:cxn ang="0">
                    <a:pos x="613" y="256"/>
                  </a:cxn>
                  <a:cxn ang="0">
                    <a:pos x="567" y="213"/>
                  </a:cxn>
                  <a:cxn ang="0">
                    <a:pos x="519" y="175"/>
                  </a:cxn>
                  <a:cxn ang="0">
                    <a:pos x="467" y="140"/>
                  </a:cxn>
                  <a:cxn ang="0">
                    <a:pos x="415" y="108"/>
                  </a:cxn>
                  <a:cxn ang="0">
                    <a:pos x="360" y="80"/>
                  </a:cxn>
                  <a:cxn ang="0">
                    <a:pos x="302" y="56"/>
                  </a:cxn>
                  <a:cxn ang="0">
                    <a:pos x="244" y="36"/>
                  </a:cxn>
                  <a:cxn ang="0">
                    <a:pos x="184" y="21"/>
                  </a:cxn>
                  <a:cxn ang="0">
                    <a:pos x="123" y="9"/>
                  </a:cxn>
                  <a:cxn ang="0">
                    <a:pos x="61" y="2"/>
                  </a:cxn>
                  <a:cxn ang="0">
                    <a:pos x="0" y="0"/>
                  </a:cxn>
                  <a:cxn ang="0">
                    <a:pos x="164" y="206"/>
                  </a:cxn>
                  <a:cxn ang="0">
                    <a:pos x="63" y="445"/>
                  </a:cxn>
                  <a:cxn ang="0">
                    <a:pos x="104" y="455"/>
                  </a:cxn>
                  <a:cxn ang="0">
                    <a:pos x="145" y="468"/>
                  </a:cxn>
                  <a:cxn ang="0">
                    <a:pos x="184" y="485"/>
                  </a:cxn>
                  <a:cxn ang="0">
                    <a:pos x="221" y="505"/>
                  </a:cxn>
                  <a:cxn ang="0">
                    <a:pos x="256" y="530"/>
                  </a:cxn>
                  <a:cxn ang="0">
                    <a:pos x="290" y="557"/>
                  </a:cxn>
                  <a:cxn ang="0">
                    <a:pos x="320" y="587"/>
                  </a:cxn>
                  <a:cxn ang="0">
                    <a:pos x="348" y="620"/>
                  </a:cxn>
                  <a:cxn ang="0">
                    <a:pos x="192" y="710"/>
                  </a:cxn>
                </a:cxnLst>
                <a:rect l="0" t="0" r="r" b="b"/>
                <a:pathLst>
                  <a:path w="869" h="712">
                    <a:moveTo>
                      <a:pt x="192" y="710"/>
                    </a:moveTo>
                    <a:lnTo>
                      <a:pt x="657" y="711"/>
                    </a:lnTo>
                    <a:lnTo>
                      <a:pt x="731" y="583"/>
                    </a:lnTo>
                    <a:lnTo>
                      <a:pt x="801" y="452"/>
                    </a:lnTo>
                    <a:lnTo>
                      <a:pt x="868" y="319"/>
                    </a:lnTo>
                    <a:lnTo>
                      <a:pt x="729" y="400"/>
                    </a:lnTo>
                    <a:lnTo>
                      <a:pt x="694" y="349"/>
                    </a:lnTo>
                    <a:lnTo>
                      <a:pt x="655" y="301"/>
                    </a:lnTo>
                    <a:lnTo>
                      <a:pt x="613" y="256"/>
                    </a:lnTo>
                    <a:lnTo>
                      <a:pt x="567" y="213"/>
                    </a:lnTo>
                    <a:lnTo>
                      <a:pt x="519" y="175"/>
                    </a:lnTo>
                    <a:lnTo>
                      <a:pt x="467" y="140"/>
                    </a:lnTo>
                    <a:lnTo>
                      <a:pt x="415" y="108"/>
                    </a:lnTo>
                    <a:lnTo>
                      <a:pt x="360" y="80"/>
                    </a:lnTo>
                    <a:lnTo>
                      <a:pt x="302" y="56"/>
                    </a:lnTo>
                    <a:lnTo>
                      <a:pt x="244" y="36"/>
                    </a:lnTo>
                    <a:lnTo>
                      <a:pt x="184" y="21"/>
                    </a:lnTo>
                    <a:lnTo>
                      <a:pt x="123" y="9"/>
                    </a:lnTo>
                    <a:lnTo>
                      <a:pt x="61" y="2"/>
                    </a:lnTo>
                    <a:lnTo>
                      <a:pt x="0" y="0"/>
                    </a:lnTo>
                    <a:lnTo>
                      <a:pt x="164" y="206"/>
                    </a:lnTo>
                    <a:lnTo>
                      <a:pt x="63" y="445"/>
                    </a:lnTo>
                    <a:lnTo>
                      <a:pt x="104" y="455"/>
                    </a:lnTo>
                    <a:lnTo>
                      <a:pt x="145" y="468"/>
                    </a:lnTo>
                    <a:lnTo>
                      <a:pt x="184" y="485"/>
                    </a:lnTo>
                    <a:lnTo>
                      <a:pt x="221" y="505"/>
                    </a:lnTo>
                    <a:lnTo>
                      <a:pt x="256" y="530"/>
                    </a:lnTo>
                    <a:lnTo>
                      <a:pt x="290" y="557"/>
                    </a:lnTo>
                    <a:lnTo>
                      <a:pt x="320" y="587"/>
                    </a:lnTo>
                    <a:lnTo>
                      <a:pt x="348" y="620"/>
                    </a:lnTo>
                    <a:lnTo>
                      <a:pt x="192" y="710"/>
                    </a:lnTo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49171" name="Freeform 19"/>
              <p:cNvSpPr>
                <a:spLocks/>
              </p:cNvSpPr>
              <p:nvPr/>
            </p:nvSpPr>
            <p:spPr bwMode="auto">
              <a:xfrm>
                <a:off x="3191" y="1601"/>
                <a:ext cx="970" cy="1237"/>
              </a:xfrm>
              <a:custGeom>
                <a:avLst/>
                <a:gdLst/>
                <a:ahLst/>
                <a:cxnLst>
                  <a:cxn ang="0">
                    <a:pos x="205" y="855"/>
                  </a:cxn>
                  <a:cxn ang="0">
                    <a:pos x="666" y="846"/>
                  </a:cxn>
                  <a:cxn ang="0">
                    <a:pos x="523" y="764"/>
                  </a:cxn>
                  <a:cxn ang="0">
                    <a:pos x="551" y="709"/>
                  </a:cxn>
                  <a:cxn ang="0">
                    <a:pos x="574" y="653"/>
                  </a:cxn>
                  <a:cxn ang="0">
                    <a:pos x="593" y="595"/>
                  </a:cxn>
                  <a:cxn ang="0">
                    <a:pos x="608" y="535"/>
                  </a:cxn>
                  <a:cxn ang="0">
                    <a:pos x="619" y="476"/>
                  </a:cxn>
                  <a:cxn ang="0">
                    <a:pos x="625" y="415"/>
                  </a:cxn>
                  <a:cxn ang="0">
                    <a:pos x="627" y="354"/>
                  </a:cxn>
                  <a:cxn ang="0">
                    <a:pos x="625" y="293"/>
                  </a:cxn>
                  <a:cxn ang="0">
                    <a:pos x="618" y="233"/>
                  </a:cxn>
                  <a:cxn ang="0">
                    <a:pos x="607" y="172"/>
                  </a:cxn>
                  <a:cxn ang="0">
                    <a:pos x="592" y="114"/>
                  </a:cxn>
                  <a:cxn ang="0">
                    <a:pos x="572" y="56"/>
                  </a:cxn>
                  <a:cxn ang="0">
                    <a:pos x="549" y="0"/>
                  </a:cxn>
                  <a:cxn ang="0">
                    <a:pos x="427" y="219"/>
                  </a:cxn>
                  <a:cxn ang="0">
                    <a:pos x="163" y="216"/>
                  </a:cxn>
                  <a:cxn ang="0">
                    <a:pos x="174" y="255"/>
                  </a:cxn>
                  <a:cxn ang="0">
                    <a:pos x="181" y="298"/>
                  </a:cxn>
                  <a:cxn ang="0">
                    <a:pos x="184" y="340"/>
                  </a:cxn>
                  <a:cxn ang="0">
                    <a:pos x="183" y="381"/>
                  </a:cxn>
                  <a:cxn ang="0">
                    <a:pos x="178" y="423"/>
                  </a:cxn>
                  <a:cxn ang="0">
                    <a:pos x="170" y="464"/>
                  </a:cxn>
                  <a:cxn ang="0">
                    <a:pos x="158" y="505"/>
                  </a:cxn>
                  <a:cxn ang="0">
                    <a:pos x="142" y="544"/>
                  </a:cxn>
                  <a:cxn ang="0">
                    <a:pos x="0" y="465"/>
                  </a:cxn>
                  <a:cxn ang="0">
                    <a:pos x="205" y="855"/>
                  </a:cxn>
                </a:cxnLst>
                <a:rect l="0" t="0" r="r" b="b"/>
                <a:pathLst>
                  <a:path w="667" h="856">
                    <a:moveTo>
                      <a:pt x="205" y="855"/>
                    </a:moveTo>
                    <a:lnTo>
                      <a:pt x="666" y="846"/>
                    </a:lnTo>
                    <a:lnTo>
                      <a:pt x="523" y="764"/>
                    </a:lnTo>
                    <a:lnTo>
                      <a:pt x="551" y="709"/>
                    </a:lnTo>
                    <a:lnTo>
                      <a:pt x="574" y="653"/>
                    </a:lnTo>
                    <a:lnTo>
                      <a:pt x="593" y="595"/>
                    </a:lnTo>
                    <a:lnTo>
                      <a:pt x="608" y="535"/>
                    </a:lnTo>
                    <a:lnTo>
                      <a:pt x="619" y="476"/>
                    </a:lnTo>
                    <a:lnTo>
                      <a:pt x="625" y="415"/>
                    </a:lnTo>
                    <a:lnTo>
                      <a:pt x="627" y="354"/>
                    </a:lnTo>
                    <a:lnTo>
                      <a:pt x="625" y="293"/>
                    </a:lnTo>
                    <a:lnTo>
                      <a:pt x="618" y="233"/>
                    </a:lnTo>
                    <a:lnTo>
                      <a:pt x="607" y="172"/>
                    </a:lnTo>
                    <a:lnTo>
                      <a:pt x="592" y="114"/>
                    </a:lnTo>
                    <a:lnTo>
                      <a:pt x="572" y="56"/>
                    </a:lnTo>
                    <a:lnTo>
                      <a:pt x="549" y="0"/>
                    </a:lnTo>
                    <a:lnTo>
                      <a:pt x="427" y="219"/>
                    </a:lnTo>
                    <a:lnTo>
                      <a:pt x="163" y="216"/>
                    </a:lnTo>
                    <a:lnTo>
                      <a:pt x="174" y="255"/>
                    </a:lnTo>
                    <a:lnTo>
                      <a:pt x="181" y="298"/>
                    </a:lnTo>
                    <a:lnTo>
                      <a:pt x="184" y="340"/>
                    </a:lnTo>
                    <a:lnTo>
                      <a:pt x="183" y="381"/>
                    </a:lnTo>
                    <a:lnTo>
                      <a:pt x="178" y="423"/>
                    </a:lnTo>
                    <a:lnTo>
                      <a:pt x="170" y="464"/>
                    </a:lnTo>
                    <a:lnTo>
                      <a:pt x="158" y="505"/>
                    </a:lnTo>
                    <a:lnTo>
                      <a:pt x="142" y="544"/>
                    </a:lnTo>
                    <a:lnTo>
                      <a:pt x="0" y="465"/>
                    </a:lnTo>
                    <a:lnTo>
                      <a:pt x="205" y="855"/>
                    </a:ln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49172" name="Freeform 20"/>
              <p:cNvSpPr>
                <a:spLocks/>
              </p:cNvSpPr>
              <p:nvPr/>
            </p:nvSpPr>
            <p:spPr bwMode="auto">
              <a:xfrm>
                <a:off x="2578" y="2508"/>
                <a:ext cx="1276" cy="1133"/>
              </a:xfrm>
              <a:custGeom>
                <a:avLst/>
                <a:gdLst/>
                <a:ahLst/>
                <a:cxnLst>
                  <a:cxn ang="0">
                    <a:pos x="0" y="391"/>
                  </a:cxn>
                  <a:cxn ang="0">
                    <a:pos x="220" y="783"/>
                  </a:cxn>
                  <a:cxn ang="0">
                    <a:pos x="220" y="603"/>
                  </a:cxn>
                  <a:cxn ang="0">
                    <a:pos x="279" y="599"/>
                  </a:cxn>
                  <a:cxn ang="0">
                    <a:pos x="337" y="588"/>
                  </a:cxn>
                  <a:cxn ang="0">
                    <a:pos x="394" y="575"/>
                  </a:cxn>
                  <a:cxn ang="0">
                    <a:pos x="450" y="558"/>
                  </a:cxn>
                  <a:cxn ang="0">
                    <a:pos x="505" y="537"/>
                  </a:cxn>
                  <a:cxn ang="0">
                    <a:pos x="559" y="513"/>
                  </a:cxn>
                  <a:cxn ang="0">
                    <a:pos x="611" y="485"/>
                  </a:cxn>
                  <a:cxn ang="0">
                    <a:pos x="661" y="454"/>
                  </a:cxn>
                  <a:cxn ang="0">
                    <a:pos x="708" y="418"/>
                  </a:cxn>
                  <a:cxn ang="0">
                    <a:pos x="755" y="380"/>
                  </a:cxn>
                  <a:cxn ang="0">
                    <a:pos x="799" y="338"/>
                  </a:cxn>
                  <a:cxn ang="0">
                    <a:pos x="838" y="293"/>
                  </a:cxn>
                  <a:cxn ang="0">
                    <a:pos x="876" y="246"/>
                  </a:cxn>
                  <a:cxn ang="0">
                    <a:pos x="610" y="260"/>
                  </a:cxn>
                  <a:cxn ang="0">
                    <a:pos x="489" y="27"/>
                  </a:cxn>
                  <a:cxn ang="0">
                    <a:pos x="464" y="50"/>
                  </a:cxn>
                  <a:cxn ang="0">
                    <a:pos x="438" y="73"/>
                  </a:cxn>
                  <a:cxn ang="0">
                    <a:pos x="405" y="95"/>
                  </a:cxn>
                  <a:cxn ang="0">
                    <a:pos x="371" y="116"/>
                  </a:cxn>
                  <a:cxn ang="0">
                    <a:pos x="336" y="132"/>
                  </a:cxn>
                  <a:cxn ang="0">
                    <a:pos x="298" y="147"/>
                  </a:cxn>
                  <a:cxn ang="0">
                    <a:pos x="259" y="156"/>
                  </a:cxn>
                  <a:cxn ang="0">
                    <a:pos x="220" y="163"/>
                  </a:cxn>
                  <a:cxn ang="0">
                    <a:pos x="220" y="0"/>
                  </a:cxn>
                  <a:cxn ang="0">
                    <a:pos x="0" y="391"/>
                  </a:cxn>
                </a:cxnLst>
                <a:rect l="0" t="0" r="r" b="b"/>
                <a:pathLst>
                  <a:path w="877" h="784">
                    <a:moveTo>
                      <a:pt x="0" y="391"/>
                    </a:moveTo>
                    <a:lnTo>
                      <a:pt x="220" y="783"/>
                    </a:lnTo>
                    <a:lnTo>
                      <a:pt x="220" y="603"/>
                    </a:lnTo>
                    <a:lnTo>
                      <a:pt x="279" y="599"/>
                    </a:lnTo>
                    <a:lnTo>
                      <a:pt x="337" y="588"/>
                    </a:lnTo>
                    <a:lnTo>
                      <a:pt x="394" y="575"/>
                    </a:lnTo>
                    <a:lnTo>
                      <a:pt x="450" y="558"/>
                    </a:lnTo>
                    <a:lnTo>
                      <a:pt x="505" y="537"/>
                    </a:lnTo>
                    <a:lnTo>
                      <a:pt x="559" y="513"/>
                    </a:lnTo>
                    <a:lnTo>
                      <a:pt x="611" y="485"/>
                    </a:lnTo>
                    <a:lnTo>
                      <a:pt x="661" y="454"/>
                    </a:lnTo>
                    <a:lnTo>
                      <a:pt x="708" y="418"/>
                    </a:lnTo>
                    <a:lnTo>
                      <a:pt x="755" y="380"/>
                    </a:lnTo>
                    <a:lnTo>
                      <a:pt x="799" y="338"/>
                    </a:lnTo>
                    <a:lnTo>
                      <a:pt x="838" y="293"/>
                    </a:lnTo>
                    <a:lnTo>
                      <a:pt x="876" y="246"/>
                    </a:lnTo>
                    <a:lnTo>
                      <a:pt x="610" y="260"/>
                    </a:lnTo>
                    <a:lnTo>
                      <a:pt x="489" y="27"/>
                    </a:lnTo>
                    <a:lnTo>
                      <a:pt x="464" y="50"/>
                    </a:lnTo>
                    <a:lnTo>
                      <a:pt x="438" y="73"/>
                    </a:lnTo>
                    <a:lnTo>
                      <a:pt x="405" y="95"/>
                    </a:lnTo>
                    <a:lnTo>
                      <a:pt x="371" y="116"/>
                    </a:lnTo>
                    <a:lnTo>
                      <a:pt x="336" y="132"/>
                    </a:lnTo>
                    <a:lnTo>
                      <a:pt x="298" y="147"/>
                    </a:lnTo>
                    <a:lnTo>
                      <a:pt x="259" y="156"/>
                    </a:lnTo>
                    <a:lnTo>
                      <a:pt x="220" y="163"/>
                    </a:lnTo>
                    <a:lnTo>
                      <a:pt x="220" y="0"/>
                    </a:lnTo>
                    <a:lnTo>
                      <a:pt x="0" y="391"/>
                    </a:lnTo>
                  </a:path>
                </a:pathLst>
              </a:custGeom>
              <a:solidFill>
                <a:schemeClr val="accent4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49173" name="Freeform 21"/>
              <p:cNvSpPr>
                <a:spLocks/>
              </p:cNvSpPr>
              <p:nvPr/>
            </p:nvSpPr>
            <p:spPr bwMode="auto">
              <a:xfrm>
                <a:off x="1501" y="2368"/>
                <a:ext cx="1212" cy="1010"/>
              </a:xfrm>
              <a:custGeom>
                <a:avLst/>
                <a:gdLst/>
                <a:ahLst/>
                <a:cxnLst>
                  <a:cxn ang="0">
                    <a:pos x="292" y="0"/>
                  </a:cxn>
                  <a:cxn ang="0">
                    <a:pos x="0" y="352"/>
                  </a:cxn>
                  <a:cxn ang="0">
                    <a:pos x="163" y="293"/>
                  </a:cxn>
                  <a:cxn ang="0">
                    <a:pos x="198" y="344"/>
                  </a:cxn>
                  <a:cxn ang="0">
                    <a:pos x="236" y="392"/>
                  </a:cxn>
                  <a:cxn ang="0">
                    <a:pos x="277" y="438"/>
                  </a:cxn>
                  <a:cxn ang="0">
                    <a:pos x="322" y="480"/>
                  </a:cxn>
                  <a:cxn ang="0">
                    <a:pos x="370" y="520"/>
                  </a:cxn>
                  <a:cxn ang="0">
                    <a:pos x="419" y="555"/>
                  </a:cxn>
                  <a:cxn ang="0">
                    <a:pos x="472" y="588"/>
                  </a:cxn>
                  <a:cxn ang="0">
                    <a:pos x="527" y="616"/>
                  </a:cxn>
                  <a:cxn ang="0">
                    <a:pos x="583" y="641"/>
                  </a:cxn>
                  <a:cxn ang="0">
                    <a:pos x="641" y="662"/>
                  </a:cxn>
                  <a:cxn ang="0">
                    <a:pos x="700" y="678"/>
                  </a:cxn>
                  <a:cxn ang="0">
                    <a:pos x="762" y="690"/>
                  </a:cxn>
                  <a:cxn ang="0">
                    <a:pos x="822" y="698"/>
                  </a:cxn>
                  <a:cxn ang="0">
                    <a:pos x="702" y="494"/>
                  </a:cxn>
                  <a:cxn ang="0">
                    <a:pos x="832" y="256"/>
                  </a:cxn>
                  <a:cxn ang="0">
                    <a:pos x="787" y="247"/>
                  </a:cxn>
                  <a:cxn ang="0">
                    <a:pos x="745" y="233"/>
                  </a:cxn>
                  <a:cxn ang="0">
                    <a:pos x="704" y="214"/>
                  </a:cxn>
                  <a:cxn ang="0">
                    <a:pos x="665" y="192"/>
                  </a:cxn>
                  <a:cxn ang="0">
                    <a:pos x="630" y="165"/>
                  </a:cxn>
                  <a:cxn ang="0">
                    <a:pos x="596" y="136"/>
                  </a:cxn>
                  <a:cxn ang="0">
                    <a:pos x="736" y="84"/>
                  </a:cxn>
                  <a:cxn ang="0">
                    <a:pos x="292" y="0"/>
                  </a:cxn>
                </a:cxnLst>
                <a:rect l="0" t="0" r="r" b="b"/>
                <a:pathLst>
                  <a:path w="833" h="699">
                    <a:moveTo>
                      <a:pt x="292" y="0"/>
                    </a:moveTo>
                    <a:lnTo>
                      <a:pt x="0" y="352"/>
                    </a:lnTo>
                    <a:lnTo>
                      <a:pt x="163" y="293"/>
                    </a:lnTo>
                    <a:lnTo>
                      <a:pt x="198" y="344"/>
                    </a:lnTo>
                    <a:lnTo>
                      <a:pt x="236" y="392"/>
                    </a:lnTo>
                    <a:lnTo>
                      <a:pt x="277" y="438"/>
                    </a:lnTo>
                    <a:lnTo>
                      <a:pt x="322" y="480"/>
                    </a:lnTo>
                    <a:lnTo>
                      <a:pt x="370" y="520"/>
                    </a:lnTo>
                    <a:lnTo>
                      <a:pt x="419" y="555"/>
                    </a:lnTo>
                    <a:lnTo>
                      <a:pt x="472" y="588"/>
                    </a:lnTo>
                    <a:lnTo>
                      <a:pt x="527" y="616"/>
                    </a:lnTo>
                    <a:lnTo>
                      <a:pt x="583" y="641"/>
                    </a:lnTo>
                    <a:lnTo>
                      <a:pt x="641" y="662"/>
                    </a:lnTo>
                    <a:lnTo>
                      <a:pt x="700" y="678"/>
                    </a:lnTo>
                    <a:lnTo>
                      <a:pt x="762" y="690"/>
                    </a:lnTo>
                    <a:lnTo>
                      <a:pt x="822" y="698"/>
                    </a:lnTo>
                    <a:lnTo>
                      <a:pt x="702" y="494"/>
                    </a:lnTo>
                    <a:lnTo>
                      <a:pt x="832" y="256"/>
                    </a:lnTo>
                    <a:lnTo>
                      <a:pt x="787" y="247"/>
                    </a:lnTo>
                    <a:lnTo>
                      <a:pt x="745" y="233"/>
                    </a:lnTo>
                    <a:lnTo>
                      <a:pt x="704" y="214"/>
                    </a:lnTo>
                    <a:lnTo>
                      <a:pt x="665" y="192"/>
                    </a:lnTo>
                    <a:lnTo>
                      <a:pt x="630" y="165"/>
                    </a:lnTo>
                    <a:lnTo>
                      <a:pt x="596" y="136"/>
                    </a:lnTo>
                    <a:lnTo>
                      <a:pt x="736" y="84"/>
                    </a:lnTo>
                    <a:lnTo>
                      <a:pt x="292" y="0"/>
                    </a:lnTo>
                  </a:path>
                </a:pathLst>
              </a:custGeom>
              <a:solidFill>
                <a:schemeClr val="accent5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49174" name="Freeform 22"/>
              <p:cNvSpPr>
                <a:spLocks/>
              </p:cNvSpPr>
              <p:nvPr/>
            </p:nvSpPr>
            <p:spPr bwMode="auto">
              <a:xfrm>
                <a:off x="1750" y="649"/>
                <a:ext cx="1262" cy="1125"/>
              </a:xfrm>
              <a:custGeom>
                <a:avLst/>
                <a:gdLst/>
                <a:ahLst/>
                <a:cxnLst>
                  <a:cxn ang="0">
                    <a:pos x="379" y="778"/>
                  </a:cxn>
                  <a:cxn ang="0">
                    <a:pos x="402" y="748"/>
                  </a:cxn>
                  <a:cxn ang="0">
                    <a:pos x="425" y="721"/>
                  </a:cxn>
                  <a:cxn ang="0">
                    <a:pos x="452" y="694"/>
                  </a:cxn>
                  <a:cxn ang="0">
                    <a:pos x="480" y="671"/>
                  </a:cxn>
                  <a:cxn ang="0">
                    <a:pos x="514" y="646"/>
                  </a:cxn>
                  <a:cxn ang="0">
                    <a:pos x="550" y="626"/>
                  </a:cxn>
                  <a:cxn ang="0">
                    <a:pos x="588" y="609"/>
                  </a:cxn>
                  <a:cxn ang="0">
                    <a:pos x="627" y="594"/>
                  </a:cxn>
                  <a:cxn ang="0">
                    <a:pos x="668" y="585"/>
                  </a:cxn>
                  <a:cxn ang="0">
                    <a:pos x="692" y="750"/>
                  </a:cxn>
                  <a:cxn ang="0">
                    <a:pos x="866" y="349"/>
                  </a:cxn>
                  <a:cxn ang="0">
                    <a:pos x="605" y="0"/>
                  </a:cxn>
                  <a:cxn ang="0">
                    <a:pos x="606" y="149"/>
                  </a:cxn>
                  <a:cxn ang="0">
                    <a:pos x="545" y="162"/>
                  </a:cxn>
                  <a:cxn ang="0">
                    <a:pos x="484" y="180"/>
                  </a:cxn>
                  <a:cxn ang="0">
                    <a:pos x="425" y="201"/>
                  </a:cxn>
                  <a:cxn ang="0">
                    <a:pos x="368" y="225"/>
                  </a:cxn>
                  <a:cxn ang="0">
                    <a:pos x="313" y="255"/>
                  </a:cxn>
                  <a:cxn ang="0">
                    <a:pos x="259" y="287"/>
                  </a:cxn>
                  <a:cxn ang="0">
                    <a:pos x="208" y="325"/>
                  </a:cxn>
                  <a:cxn ang="0">
                    <a:pos x="160" y="366"/>
                  </a:cxn>
                  <a:cxn ang="0">
                    <a:pos x="115" y="411"/>
                  </a:cxn>
                  <a:cxn ang="0">
                    <a:pos x="74" y="458"/>
                  </a:cxn>
                  <a:cxn ang="0">
                    <a:pos x="35" y="509"/>
                  </a:cxn>
                  <a:cxn ang="0">
                    <a:pos x="0" y="563"/>
                  </a:cxn>
                  <a:cxn ang="0">
                    <a:pos x="247" y="564"/>
                  </a:cxn>
                  <a:cxn ang="0">
                    <a:pos x="379" y="778"/>
                  </a:cxn>
                </a:cxnLst>
                <a:rect l="0" t="0" r="r" b="b"/>
                <a:pathLst>
                  <a:path w="867" h="779">
                    <a:moveTo>
                      <a:pt x="379" y="778"/>
                    </a:moveTo>
                    <a:lnTo>
                      <a:pt x="402" y="748"/>
                    </a:lnTo>
                    <a:lnTo>
                      <a:pt x="425" y="721"/>
                    </a:lnTo>
                    <a:lnTo>
                      <a:pt x="452" y="694"/>
                    </a:lnTo>
                    <a:lnTo>
                      <a:pt x="480" y="671"/>
                    </a:lnTo>
                    <a:lnTo>
                      <a:pt x="514" y="646"/>
                    </a:lnTo>
                    <a:lnTo>
                      <a:pt x="550" y="626"/>
                    </a:lnTo>
                    <a:lnTo>
                      <a:pt x="588" y="609"/>
                    </a:lnTo>
                    <a:lnTo>
                      <a:pt x="627" y="594"/>
                    </a:lnTo>
                    <a:lnTo>
                      <a:pt x="668" y="585"/>
                    </a:lnTo>
                    <a:lnTo>
                      <a:pt x="692" y="750"/>
                    </a:lnTo>
                    <a:lnTo>
                      <a:pt x="866" y="349"/>
                    </a:lnTo>
                    <a:lnTo>
                      <a:pt x="605" y="0"/>
                    </a:lnTo>
                    <a:lnTo>
                      <a:pt x="606" y="149"/>
                    </a:lnTo>
                    <a:lnTo>
                      <a:pt x="545" y="162"/>
                    </a:lnTo>
                    <a:lnTo>
                      <a:pt x="484" y="180"/>
                    </a:lnTo>
                    <a:lnTo>
                      <a:pt x="425" y="201"/>
                    </a:lnTo>
                    <a:lnTo>
                      <a:pt x="368" y="225"/>
                    </a:lnTo>
                    <a:lnTo>
                      <a:pt x="313" y="255"/>
                    </a:lnTo>
                    <a:lnTo>
                      <a:pt x="259" y="287"/>
                    </a:lnTo>
                    <a:lnTo>
                      <a:pt x="208" y="325"/>
                    </a:lnTo>
                    <a:lnTo>
                      <a:pt x="160" y="366"/>
                    </a:lnTo>
                    <a:lnTo>
                      <a:pt x="115" y="411"/>
                    </a:lnTo>
                    <a:lnTo>
                      <a:pt x="74" y="458"/>
                    </a:lnTo>
                    <a:lnTo>
                      <a:pt x="35" y="509"/>
                    </a:lnTo>
                    <a:lnTo>
                      <a:pt x="0" y="563"/>
                    </a:lnTo>
                    <a:lnTo>
                      <a:pt x="247" y="564"/>
                    </a:lnTo>
                    <a:lnTo>
                      <a:pt x="379" y="778"/>
                    </a:lnTo>
                  </a:path>
                </a:pathLst>
              </a:custGeom>
              <a:solidFill>
                <a:schemeClr val="tx1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  <p:sp>
            <p:nvSpPr>
              <p:cNvPr id="49175" name="Freeform 23"/>
              <p:cNvSpPr>
                <a:spLocks/>
              </p:cNvSpPr>
              <p:nvPr/>
            </p:nvSpPr>
            <p:spPr bwMode="auto">
              <a:xfrm>
                <a:off x="1436" y="1503"/>
                <a:ext cx="989" cy="1127"/>
              </a:xfrm>
              <a:custGeom>
                <a:avLst/>
                <a:gdLst/>
                <a:ahLst/>
                <a:cxnLst>
                  <a:cxn ang="0">
                    <a:pos x="448" y="0"/>
                  </a:cxn>
                  <a:cxn ang="0">
                    <a:pos x="0" y="1"/>
                  </a:cxn>
                  <a:cxn ang="0">
                    <a:pos x="141" y="82"/>
                  </a:cxn>
                  <a:cxn ang="0">
                    <a:pos x="120" y="138"/>
                  </a:cxn>
                  <a:cxn ang="0">
                    <a:pos x="102" y="196"/>
                  </a:cxn>
                  <a:cxn ang="0">
                    <a:pos x="89" y="253"/>
                  </a:cxn>
                  <a:cxn ang="0">
                    <a:pos x="80" y="313"/>
                  </a:cxn>
                  <a:cxn ang="0">
                    <a:pos x="74" y="373"/>
                  </a:cxn>
                  <a:cxn ang="0">
                    <a:pos x="73" y="431"/>
                  </a:cxn>
                  <a:cxn ang="0">
                    <a:pos x="75" y="491"/>
                  </a:cxn>
                  <a:cxn ang="0">
                    <a:pos x="82" y="551"/>
                  </a:cxn>
                  <a:cxn ang="0">
                    <a:pos x="93" y="609"/>
                  </a:cxn>
                  <a:cxn ang="0">
                    <a:pos x="107" y="668"/>
                  </a:cxn>
                  <a:cxn ang="0">
                    <a:pos x="126" y="724"/>
                  </a:cxn>
                  <a:cxn ang="0">
                    <a:pos x="148" y="779"/>
                  </a:cxn>
                  <a:cxn ang="0">
                    <a:pos x="324" y="566"/>
                  </a:cxn>
                  <a:cxn ang="0">
                    <a:pos x="551" y="603"/>
                  </a:cxn>
                  <a:cxn ang="0">
                    <a:pos x="535" y="562"/>
                  </a:cxn>
                  <a:cxn ang="0">
                    <a:pos x="523" y="521"/>
                  </a:cxn>
                  <a:cxn ang="0">
                    <a:pos x="516" y="478"/>
                  </a:cxn>
                  <a:cxn ang="0">
                    <a:pos x="512" y="435"/>
                  </a:cxn>
                  <a:cxn ang="0">
                    <a:pos x="513" y="391"/>
                  </a:cxn>
                  <a:cxn ang="0">
                    <a:pos x="518" y="348"/>
                  </a:cxn>
                  <a:cxn ang="0">
                    <a:pos x="528" y="306"/>
                  </a:cxn>
                  <a:cxn ang="0">
                    <a:pos x="679" y="392"/>
                  </a:cxn>
                  <a:cxn ang="0">
                    <a:pos x="448" y="0"/>
                  </a:cxn>
                </a:cxnLst>
                <a:rect l="0" t="0" r="r" b="b"/>
                <a:pathLst>
                  <a:path w="680" h="780">
                    <a:moveTo>
                      <a:pt x="448" y="0"/>
                    </a:moveTo>
                    <a:lnTo>
                      <a:pt x="0" y="1"/>
                    </a:lnTo>
                    <a:lnTo>
                      <a:pt x="141" y="82"/>
                    </a:lnTo>
                    <a:lnTo>
                      <a:pt x="120" y="138"/>
                    </a:lnTo>
                    <a:lnTo>
                      <a:pt x="102" y="196"/>
                    </a:lnTo>
                    <a:lnTo>
                      <a:pt x="89" y="253"/>
                    </a:lnTo>
                    <a:lnTo>
                      <a:pt x="80" y="313"/>
                    </a:lnTo>
                    <a:lnTo>
                      <a:pt x="74" y="373"/>
                    </a:lnTo>
                    <a:lnTo>
                      <a:pt x="73" y="431"/>
                    </a:lnTo>
                    <a:lnTo>
                      <a:pt x="75" y="491"/>
                    </a:lnTo>
                    <a:lnTo>
                      <a:pt x="82" y="551"/>
                    </a:lnTo>
                    <a:lnTo>
                      <a:pt x="93" y="609"/>
                    </a:lnTo>
                    <a:lnTo>
                      <a:pt x="107" y="668"/>
                    </a:lnTo>
                    <a:lnTo>
                      <a:pt x="126" y="724"/>
                    </a:lnTo>
                    <a:lnTo>
                      <a:pt x="148" y="779"/>
                    </a:lnTo>
                    <a:lnTo>
                      <a:pt x="324" y="566"/>
                    </a:lnTo>
                    <a:lnTo>
                      <a:pt x="551" y="603"/>
                    </a:lnTo>
                    <a:lnTo>
                      <a:pt x="535" y="562"/>
                    </a:lnTo>
                    <a:lnTo>
                      <a:pt x="523" y="521"/>
                    </a:lnTo>
                    <a:lnTo>
                      <a:pt x="516" y="478"/>
                    </a:lnTo>
                    <a:lnTo>
                      <a:pt x="512" y="435"/>
                    </a:lnTo>
                    <a:lnTo>
                      <a:pt x="513" y="391"/>
                    </a:lnTo>
                    <a:lnTo>
                      <a:pt x="518" y="348"/>
                    </a:lnTo>
                    <a:lnTo>
                      <a:pt x="528" y="306"/>
                    </a:lnTo>
                    <a:lnTo>
                      <a:pt x="679" y="392"/>
                    </a:lnTo>
                    <a:lnTo>
                      <a:pt x="448" y="0"/>
                    </a:ln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7139" tIns="50513" rIns="97139" bIns="49347" numCol="1" anchor="ctr" anchorCtr="0" compatLnSpc="1">
                <a:prstTxWarp prst="textNoShape">
                  <a:avLst/>
                </a:prstTxWarp>
              </a:bodyPr>
              <a:lstStyle/>
              <a:p>
                <a:endParaRPr lang="es-ES" sz="2159"/>
              </a:p>
            </p:txBody>
          </p:sp>
        </p:grpSp>
        <p:sp>
          <p:nvSpPr>
            <p:cNvPr id="49176" name="Rectangle 24"/>
            <p:cNvSpPr>
              <a:spLocks noChangeArrowheads="1"/>
            </p:cNvSpPr>
            <p:nvPr/>
          </p:nvSpPr>
          <p:spPr bwMode="auto">
            <a:xfrm>
              <a:off x="3214688" y="3236913"/>
              <a:ext cx="922337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  <p:sp>
          <p:nvSpPr>
            <p:cNvPr id="49177" name="Rectangle 25"/>
            <p:cNvSpPr>
              <a:spLocks noChangeArrowheads="1"/>
            </p:cNvSpPr>
            <p:nvPr/>
          </p:nvSpPr>
          <p:spPr bwMode="auto">
            <a:xfrm>
              <a:off x="4138613" y="1984375"/>
              <a:ext cx="833437" cy="24447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  <p:sp>
          <p:nvSpPr>
            <p:cNvPr id="49178" name="Rectangle 26"/>
            <p:cNvSpPr>
              <a:spLocks noChangeArrowheads="1"/>
            </p:cNvSpPr>
            <p:nvPr/>
          </p:nvSpPr>
          <p:spPr bwMode="auto">
            <a:xfrm>
              <a:off x="5713413" y="2195513"/>
              <a:ext cx="833437" cy="2444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  <p:sp>
          <p:nvSpPr>
            <p:cNvPr id="49179" name="Rectangle 27"/>
            <p:cNvSpPr>
              <a:spLocks noChangeArrowheads="1"/>
            </p:cNvSpPr>
            <p:nvPr/>
          </p:nvSpPr>
          <p:spPr bwMode="auto">
            <a:xfrm>
              <a:off x="6219825" y="3549650"/>
              <a:ext cx="955675" cy="24447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  <p:sp>
          <p:nvSpPr>
            <p:cNvPr id="49180" name="Rectangle 28"/>
            <p:cNvSpPr>
              <a:spLocks noChangeArrowheads="1"/>
            </p:cNvSpPr>
            <p:nvPr/>
          </p:nvSpPr>
          <p:spPr bwMode="auto">
            <a:xfrm>
              <a:off x="5330825" y="4781550"/>
              <a:ext cx="839788" cy="244475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solidFill>
                    <a:schemeClr val="bg1"/>
                  </a:solidFill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  <p:sp>
          <p:nvSpPr>
            <p:cNvPr id="49181" name="Rectangle 29"/>
            <p:cNvSpPr>
              <a:spLocks noChangeArrowheads="1"/>
            </p:cNvSpPr>
            <p:nvPr/>
          </p:nvSpPr>
          <p:spPr bwMode="auto">
            <a:xfrm>
              <a:off x="3822700" y="4551363"/>
              <a:ext cx="836613" cy="244475"/>
            </a:xfrm>
            <a:prstGeom prst="rect">
              <a:avLst/>
            </a:prstGeom>
            <a:solidFill>
              <a:schemeClr val="accent5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</a:bodyPr>
            <a:lstStyle/>
            <a:p>
              <a:pPr algn="ctr" defTabSz="986912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" sz="1295">
                  <a:latin typeface="Arial" pitchFamily="34" charset="0"/>
                </a:rPr>
                <a:t>Texto</a:t>
              </a:r>
              <a:endParaRPr lang="es-ES" sz="1943" dirty="0">
                <a:latin typeface="Arial" pitchFamily="34" charset="0"/>
              </a:endParaRPr>
            </a:p>
          </p:txBody>
        </p:sp>
      </p:grpSp>
      <p:sp>
        <p:nvSpPr>
          <p:cNvPr id="73" name="Título 7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4" name="Espaço Reservado para Texto 7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pSp>
        <p:nvGrpSpPr>
          <p:cNvPr id="55" name="54 Grupo"/>
          <p:cNvGrpSpPr/>
          <p:nvPr/>
        </p:nvGrpSpPr>
        <p:grpSpPr>
          <a:xfrm>
            <a:off x="8390459" y="515590"/>
            <a:ext cx="1929539" cy="1907670"/>
            <a:chOff x="2554288" y="838200"/>
            <a:chExt cx="4762500" cy="4708525"/>
          </a:xfrm>
          <a:solidFill>
            <a:schemeClr val="accent3"/>
          </a:solidFill>
        </p:grpSpPr>
        <p:grpSp>
          <p:nvGrpSpPr>
            <p:cNvPr id="56" name="Group 4"/>
            <p:cNvGrpSpPr>
              <a:grpSpLocks/>
            </p:cNvGrpSpPr>
            <p:nvPr/>
          </p:nvGrpSpPr>
          <p:grpSpPr bwMode="auto">
            <a:xfrm>
              <a:off x="2554287" y="838201"/>
              <a:ext cx="4762503" cy="4708526"/>
              <a:chOff x="1297" y="642"/>
              <a:chExt cx="3000" cy="2966"/>
            </a:xfrm>
            <a:grpFill/>
            <a:effectLst/>
          </p:grpSpPr>
          <p:sp>
            <p:nvSpPr>
              <p:cNvPr id="65" name="Freeform 5"/>
              <p:cNvSpPr>
                <a:spLocks/>
              </p:cNvSpPr>
              <p:nvPr/>
            </p:nvSpPr>
            <p:spPr bwMode="auto">
              <a:xfrm>
                <a:off x="1921" y="2543"/>
                <a:ext cx="903" cy="896"/>
              </a:xfrm>
              <a:custGeom>
                <a:avLst/>
                <a:gdLst/>
                <a:ahLst/>
                <a:cxnLst>
                  <a:cxn ang="0">
                    <a:pos x="0" y="158"/>
                  </a:cxn>
                  <a:cxn ang="0">
                    <a:pos x="0" y="498"/>
                  </a:cxn>
                  <a:cxn ang="0">
                    <a:pos x="54" y="407"/>
                  </a:cxn>
                  <a:cxn ang="0">
                    <a:pos x="56" y="402"/>
                  </a:cxn>
                  <a:cxn ang="0">
                    <a:pos x="107" y="439"/>
                  </a:cxn>
                  <a:cxn ang="0">
                    <a:pos x="160" y="473"/>
                  </a:cxn>
                  <a:cxn ang="0">
                    <a:pos x="217" y="503"/>
                  </a:cxn>
                  <a:cxn ang="0">
                    <a:pos x="275" y="528"/>
                  </a:cxn>
                  <a:cxn ang="0">
                    <a:pos x="334" y="549"/>
                  </a:cxn>
                  <a:cxn ang="0">
                    <a:pos x="396" y="565"/>
                  </a:cxn>
                  <a:cxn ang="0">
                    <a:pos x="457" y="578"/>
                  </a:cxn>
                  <a:cxn ang="0">
                    <a:pos x="520" y="586"/>
                  </a:cxn>
                  <a:cxn ang="0">
                    <a:pos x="583" y="589"/>
                  </a:cxn>
                  <a:cxn ang="0">
                    <a:pos x="465" y="417"/>
                  </a:cxn>
                  <a:cxn ang="0">
                    <a:pos x="580" y="241"/>
                  </a:cxn>
                  <a:cxn ang="0">
                    <a:pos x="532" y="238"/>
                  </a:cxn>
                  <a:cxn ang="0">
                    <a:pos x="485" y="231"/>
                  </a:cxn>
                  <a:cxn ang="0">
                    <a:pos x="438" y="218"/>
                  </a:cxn>
                  <a:cxn ang="0">
                    <a:pos x="393" y="202"/>
                  </a:cxn>
                  <a:cxn ang="0">
                    <a:pos x="349" y="182"/>
                  </a:cxn>
                  <a:cxn ang="0">
                    <a:pos x="307" y="157"/>
                  </a:cxn>
                  <a:cxn ang="0">
                    <a:pos x="269" y="129"/>
                  </a:cxn>
                  <a:cxn ang="0">
                    <a:pos x="233" y="96"/>
                  </a:cxn>
                  <a:cxn ang="0">
                    <a:pos x="289" y="0"/>
                  </a:cxn>
                  <a:cxn ang="0">
                    <a:pos x="0" y="158"/>
                  </a:cxn>
                </a:cxnLst>
                <a:rect l="0" t="0" r="r" b="b"/>
                <a:pathLst>
                  <a:path w="584" h="590">
                    <a:moveTo>
                      <a:pt x="0" y="158"/>
                    </a:moveTo>
                    <a:lnTo>
                      <a:pt x="0" y="498"/>
                    </a:lnTo>
                    <a:lnTo>
                      <a:pt x="54" y="407"/>
                    </a:lnTo>
                    <a:lnTo>
                      <a:pt x="56" y="402"/>
                    </a:lnTo>
                    <a:lnTo>
                      <a:pt x="107" y="439"/>
                    </a:lnTo>
                    <a:lnTo>
                      <a:pt x="160" y="473"/>
                    </a:lnTo>
                    <a:lnTo>
                      <a:pt x="217" y="503"/>
                    </a:lnTo>
                    <a:lnTo>
                      <a:pt x="275" y="528"/>
                    </a:lnTo>
                    <a:lnTo>
                      <a:pt x="334" y="549"/>
                    </a:lnTo>
                    <a:lnTo>
                      <a:pt x="396" y="565"/>
                    </a:lnTo>
                    <a:lnTo>
                      <a:pt x="457" y="578"/>
                    </a:lnTo>
                    <a:lnTo>
                      <a:pt x="520" y="586"/>
                    </a:lnTo>
                    <a:lnTo>
                      <a:pt x="583" y="589"/>
                    </a:lnTo>
                    <a:lnTo>
                      <a:pt x="465" y="417"/>
                    </a:lnTo>
                    <a:lnTo>
                      <a:pt x="580" y="241"/>
                    </a:lnTo>
                    <a:lnTo>
                      <a:pt x="532" y="238"/>
                    </a:lnTo>
                    <a:lnTo>
                      <a:pt x="485" y="231"/>
                    </a:lnTo>
                    <a:lnTo>
                      <a:pt x="438" y="218"/>
                    </a:lnTo>
                    <a:lnTo>
                      <a:pt x="393" y="202"/>
                    </a:lnTo>
                    <a:lnTo>
                      <a:pt x="349" y="182"/>
                    </a:lnTo>
                    <a:lnTo>
                      <a:pt x="307" y="157"/>
                    </a:lnTo>
                    <a:lnTo>
                      <a:pt x="269" y="129"/>
                    </a:lnTo>
                    <a:lnTo>
                      <a:pt x="233" y="96"/>
                    </a:lnTo>
                    <a:lnTo>
                      <a:pt x="289" y="0"/>
                    </a:lnTo>
                    <a:lnTo>
                      <a:pt x="0" y="158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66" name="Freeform 6"/>
              <p:cNvSpPr>
                <a:spLocks/>
              </p:cNvSpPr>
              <p:nvPr/>
            </p:nvSpPr>
            <p:spPr bwMode="auto">
              <a:xfrm>
                <a:off x="2703" y="2682"/>
                <a:ext cx="1073" cy="926"/>
              </a:xfrm>
              <a:custGeom>
                <a:avLst/>
                <a:gdLst/>
                <a:ahLst/>
                <a:cxnLst>
                  <a:cxn ang="0">
                    <a:pos x="692" y="238"/>
                  </a:cxn>
                  <a:cxn ang="0">
                    <a:pos x="482" y="190"/>
                  </a:cxn>
                  <a:cxn ang="0">
                    <a:pos x="441" y="0"/>
                  </a:cxn>
                  <a:cxn ang="0">
                    <a:pos x="409" y="27"/>
                  </a:cxn>
                  <a:cxn ang="0">
                    <a:pos x="374" y="52"/>
                  </a:cxn>
                  <a:cxn ang="0">
                    <a:pos x="337" y="74"/>
                  </a:cxn>
                  <a:cxn ang="0">
                    <a:pos x="299" y="93"/>
                  </a:cxn>
                  <a:cxn ang="0">
                    <a:pos x="259" y="110"/>
                  </a:cxn>
                  <a:cxn ang="0">
                    <a:pos x="219" y="121"/>
                  </a:cxn>
                  <a:cxn ang="0">
                    <a:pos x="177" y="130"/>
                  </a:cxn>
                  <a:cxn ang="0">
                    <a:pos x="177" y="29"/>
                  </a:cxn>
                  <a:cxn ang="0">
                    <a:pos x="0" y="326"/>
                  </a:cxn>
                  <a:cxn ang="0">
                    <a:pos x="177" y="609"/>
                  </a:cxn>
                  <a:cxn ang="0">
                    <a:pos x="177" y="486"/>
                  </a:cxn>
                  <a:cxn ang="0">
                    <a:pos x="177" y="480"/>
                  </a:cxn>
                  <a:cxn ang="0">
                    <a:pos x="233" y="473"/>
                  </a:cxn>
                  <a:cxn ang="0">
                    <a:pos x="288" y="462"/>
                  </a:cxn>
                  <a:cxn ang="0">
                    <a:pos x="343" y="447"/>
                  </a:cxn>
                  <a:cxn ang="0">
                    <a:pos x="396" y="428"/>
                  </a:cxn>
                  <a:cxn ang="0">
                    <a:pos x="448" y="406"/>
                  </a:cxn>
                  <a:cxn ang="0">
                    <a:pos x="498" y="382"/>
                  </a:cxn>
                  <a:cxn ang="0">
                    <a:pos x="547" y="353"/>
                  </a:cxn>
                  <a:cxn ang="0">
                    <a:pos x="598" y="318"/>
                  </a:cxn>
                  <a:cxn ang="0">
                    <a:pos x="646" y="280"/>
                  </a:cxn>
                  <a:cxn ang="0">
                    <a:pos x="692" y="238"/>
                  </a:cxn>
                </a:cxnLst>
                <a:rect l="0" t="0" r="r" b="b"/>
                <a:pathLst>
                  <a:path w="693" h="610">
                    <a:moveTo>
                      <a:pt x="692" y="238"/>
                    </a:moveTo>
                    <a:lnTo>
                      <a:pt x="482" y="190"/>
                    </a:lnTo>
                    <a:lnTo>
                      <a:pt x="441" y="0"/>
                    </a:lnTo>
                    <a:lnTo>
                      <a:pt x="409" y="27"/>
                    </a:lnTo>
                    <a:lnTo>
                      <a:pt x="374" y="52"/>
                    </a:lnTo>
                    <a:lnTo>
                      <a:pt x="337" y="74"/>
                    </a:lnTo>
                    <a:lnTo>
                      <a:pt x="299" y="93"/>
                    </a:lnTo>
                    <a:lnTo>
                      <a:pt x="259" y="110"/>
                    </a:lnTo>
                    <a:lnTo>
                      <a:pt x="219" y="121"/>
                    </a:lnTo>
                    <a:lnTo>
                      <a:pt x="177" y="130"/>
                    </a:lnTo>
                    <a:lnTo>
                      <a:pt x="177" y="29"/>
                    </a:lnTo>
                    <a:lnTo>
                      <a:pt x="0" y="326"/>
                    </a:lnTo>
                    <a:lnTo>
                      <a:pt x="177" y="609"/>
                    </a:lnTo>
                    <a:lnTo>
                      <a:pt x="177" y="486"/>
                    </a:lnTo>
                    <a:lnTo>
                      <a:pt x="177" y="480"/>
                    </a:lnTo>
                    <a:lnTo>
                      <a:pt x="233" y="473"/>
                    </a:lnTo>
                    <a:lnTo>
                      <a:pt x="288" y="462"/>
                    </a:lnTo>
                    <a:lnTo>
                      <a:pt x="343" y="447"/>
                    </a:lnTo>
                    <a:lnTo>
                      <a:pt x="396" y="428"/>
                    </a:lnTo>
                    <a:lnTo>
                      <a:pt x="448" y="406"/>
                    </a:lnTo>
                    <a:lnTo>
                      <a:pt x="498" y="382"/>
                    </a:lnTo>
                    <a:lnTo>
                      <a:pt x="547" y="353"/>
                    </a:lnTo>
                    <a:lnTo>
                      <a:pt x="598" y="318"/>
                    </a:lnTo>
                    <a:lnTo>
                      <a:pt x="646" y="280"/>
                    </a:lnTo>
                    <a:lnTo>
                      <a:pt x="692" y="238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67" name="Freeform 7"/>
              <p:cNvSpPr>
                <a:spLocks/>
              </p:cNvSpPr>
              <p:nvPr/>
            </p:nvSpPr>
            <p:spPr bwMode="auto">
              <a:xfrm>
                <a:off x="3359" y="2059"/>
                <a:ext cx="803" cy="1001"/>
              </a:xfrm>
              <a:custGeom>
                <a:avLst/>
                <a:gdLst/>
                <a:ahLst/>
                <a:cxnLst>
                  <a:cxn ang="0">
                    <a:pos x="171" y="85"/>
                  </a:cxn>
                  <a:cxn ang="0">
                    <a:pos x="165" y="128"/>
                  </a:cxn>
                  <a:cxn ang="0">
                    <a:pos x="154" y="170"/>
                  </a:cxn>
                  <a:cxn ang="0">
                    <a:pos x="140" y="212"/>
                  </a:cxn>
                  <a:cxn ang="0">
                    <a:pos x="124" y="251"/>
                  </a:cxn>
                  <a:cxn ang="0">
                    <a:pos x="103" y="289"/>
                  </a:cxn>
                  <a:cxn ang="0">
                    <a:pos x="80" y="326"/>
                  </a:cxn>
                  <a:cxn ang="0">
                    <a:pos x="0" y="246"/>
                  </a:cxn>
                  <a:cxn ang="0">
                    <a:pos x="89" y="573"/>
                  </a:cxn>
                  <a:cxn ang="0">
                    <a:pos x="411" y="658"/>
                  </a:cxn>
                  <a:cxn ang="0">
                    <a:pos x="333" y="577"/>
                  </a:cxn>
                  <a:cxn ang="0">
                    <a:pos x="327" y="573"/>
                  </a:cxn>
                  <a:cxn ang="0">
                    <a:pos x="364" y="523"/>
                  </a:cxn>
                  <a:cxn ang="0">
                    <a:pos x="397" y="471"/>
                  </a:cxn>
                  <a:cxn ang="0">
                    <a:pos x="427" y="417"/>
                  </a:cxn>
                  <a:cxn ang="0">
                    <a:pos x="452" y="361"/>
                  </a:cxn>
                  <a:cxn ang="0">
                    <a:pos x="474" y="303"/>
                  </a:cxn>
                  <a:cxn ang="0">
                    <a:pos x="491" y="244"/>
                  </a:cxn>
                  <a:cxn ang="0">
                    <a:pos x="504" y="184"/>
                  </a:cxn>
                  <a:cxn ang="0">
                    <a:pos x="513" y="122"/>
                  </a:cxn>
                  <a:cxn ang="0">
                    <a:pos x="518" y="61"/>
                  </a:cxn>
                  <a:cxn ang="0">
                    <a:pos x="518" y="0"/>
                  </a:cxn>
                  <a:cxn ang="0">
                    <a:pos x="380" y="136"/>
                  </a:cxn>
                  <a:cxn ang="0">
                    <a:pos x="171" y="85"/>
                  </a:cxn>
                </a:cxnLst>
                <a:rect l="0" t="0" r="r" b="b"/>
                <a:pathLst>
                  <a:path w="519" h="659">
                    <a:moveTo>
                      <a:pt x="171" y="85"/>
                    </a:moveTo>
                    <a:lnTo>
                      <a:pt x="165" y="128"/>
                    </a:lnTo>
                    <a:lnTo>
                      <a:pt x="154" y="170"/>
                    </a:lnTo>
                    <a:lnTo>
                      <a:pt x="140" y="212"/>
                    </a:lnTo>
                    <a:lnTo>
                      <a:pt x="124" y="251"/>
                    </a:lnTo>
                    <a:lnTo>
                      <a:pt x="103" y="289"/>
                    </a:lnTo>
                    <a:lnTo>
                      <a:pt x="80" y="326"/>
                    </a:lnTo>
                    <a:lnTo>
                      <a:pt x="0" y="246"/>
                    </a:lnTo>
                    <a:lnTo>
                      <a:pt x="89" y="573"/>
                    </a:lnTo>
                    <a:lnTo>
                      <a:pt x="411" y="658"/>
                    </a:lnTo>
                    <a:lnTo>
                      <a:pt x="333" y="577"/>
                    </a:lnTo>
                    <a:lnTo>
                      <a:pt x="327" y="573"/>
                    </a:lnTo>
                    <a:lnTo>
                      <a:pt x="364" y="523"/>
                    </a:lnTo>
                    <a:lnTo>
                      <a:pt x="397" y="471"/>
                    </a:lnTo>
                    <a:lnTo>
                      <a:pt x="427" y="417"/>
                    </a:lnTo>
                    <a:lnTo>
                      <a:pt x="452" y="361"/>
                    </a:lnTo>
                    <a:lnTo>
                      <a:pt x="474" y="303"/>
                    </a:lnTo>
                    <a:lnTo>
                      <a:pt x="491" y="244"/>
                    </a:lnTo>
                    <a:lnTo>
                      <a:pt x="504" y="184"/>
                    </a:lnTo>
                    <a:lnTo>
                      <a:pt x="513" y="122"/>
                    </a:lnTo>
                    <a:lnTo>
                      <a:pt x="518" y="61"/>
                    </a:lnTo>
                    <a:lnTo>
                      <a:pt x="518" y="0"/>
                    </a:lnTo>
                    <a:lnTo>
                      <a:pt x="380" y="136"/>
                    </a:lnTo>
                    <a:lnTo>
                      <a:pt x="171" y="85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68" name="Freeform 8"/>
              <p:cNvSpPr>
                <a:spLocks/>
              </p:cNvSpPr>
              <p:nvPr/>
            </p:nvSpPr>
            <p:spPr bwMode="auto">
              <a:xfrm>
                <a:off x="3414" y="1193"/>
                <a:ext cx="883" cy="1028"/>
              </a:xfrm>
              <a:custGeom>
                <a:avLst/>
                <a:gdLst/>
                <a:ahLst/>
                <a:cxnLst>
                  <a:cxn ang="0">
                    <a:pos x="0" y="245"/>
                  </a:cxn>
                  <a:cxn ang="0">
                    <a:pos x="28" y="279"/>
                  </a:cxn>
                  <a:cxn ang="0">
                    <a:pos x="52" y="315"/>
                  </a:cxn>
                  <a:cxn ang="0">
                    <a:pos x="74" y="352"/>
                  </a:cxn>
                  <a:cxn ang="0">
                    <a:pos x="93" y="391"/>
                  </a:cxn>
                  <a:cxn ang="0">
                    <a:pos x="107" y="432"/>
                  </a:cxn>
                  <a:cxn ang="0">
                    <a:pos x="119" y="475"/>
                  </a:cxn>
                  <a:cxn ang="0">
                    <a:pos x="128" y="516"/>
                  </a:cxn>
                  <a:cxn ang="0">
                    <a:pos x="133" y="560"/>
                  </a:cxn>
                  <a:cxn ang="0">
                    <a:pos x="127" y="561"/>
                  </a:cxn>
                  <a:cxn ang="0">
                    <a:pos x="8" y="594"/>
                  </a:cxn>
                  <a:cxn ang="0">
                    <a:pos x="337" y="676"/>
                  </a:cxn>
                  <a:cxn ang="0">
                    <a:pos x="570" y="443"/>
                  </a:cxn>
                  <a:cxn ang="0">
                    <a:pos x="469" y="470"/>
                  </a:cxn>
                  <a:cxn ang="0">
                    <a:pos x="459" y="412"/>
                  </a:cxn>
                  <a:cxn ang="0">
                    <a:pos x="444" y="354"/>
                  </a:cxn>
                  <a:cxn ang="0">
                    <a:pos x="425" y="299"/>
                  </a:cxn>
                  <a:cxn ang="0">
                    <a:pos x="403" y="244"/>
                  </a:cxn>
                  <a:cxn ang="0">
                    <a:pos x="378" y="191"/>
                  </a:cxn>
                  <a:cxn ang="0">
                    <a:pos x="347" y="140"/>
                  </a:cxn>
                  <a:cxn ang="0">
                    <a:pos x="315" y="90"/>
                  </a:cxn>
                  <a:cxn ang="0">
                    <a:pos x="279" y="44"/>
                  </a:cxn>
                  <a:cxn ang="0">
                    <a:pos x="240" y="0"/>
                  </a:cxn>
                  <a:cxn ang="0">
                    <a:pos x="191" y="200"/>
                  </a:cxn>
                  <a:cxn ang="0">
                    <a:pos x="0" y="245"/>
                  </a:cxn>
                </a:cxnLst>
                <a:rect l="0" t="0" r="r" b="b"/>
                <a:pathLst>
                  <a:path w="571" h="677">
                    <a:moveTo>
                      <a:pt x="0" y="245"/>
                    </a:moveTo>
                    <a:lnTo>
                      <a:pt x="28" y="279"/>
                    </a:lnTo>
                    <a:lnTo>
                      <a:pt x="52" y="315"/>
                    </a:lnTo>
                    <a:lnTo>
                      <a:pt x="74" y="352"/>
                    </a:lnTo>
                    <a:lnTo>
                      <a:pt x="93" y="391"/>
                    </a:lnTo>
                    <a:lnTo>
                      <a:pt x="107" y="432"/>
                    </a:lnTo>
                    <a:lnTo>
                      <a:pt x="119" y="475"/>
                    </a:lnTo>
                    <a:lnTo>
                      <a:pt x="128" y="516"/>
                    </a:lnTo>
                    <a:lnTo>
                      <a:pt x="133" y="560"/>
                    </a:lnTo>
                    <a:lnTo>
                      <a:pt x="127" y="561"/>
                    </a:lnTo>
                    <a:lnTo>
                      <a:pt x="8" y="594"/>
                    </a:lnTo>
                    <a:lnTo>
                      <a:pt x="337" y="676"/>
                    </a:lnTo>
                    <a:lnTo>
                      <a:pt x="570" y="443"/>
                    </a:lnTo>
                    <a:lnTo>
                      <a:pt x="469" y="470"/>
                    </a:lnTo>
                    <a:lnTo>
                      <a:pt x="459" y="412"/>
                    </a:lnTo>
                    <a:lnTo>
                      <a:pt x="444" y="354"/>
                    </a:lnTo>
                    <a:lnTo>
                      <a:pt x="425" y="299"/>
                    </a:lnTo>
                    <a:lnTo>
                      <a:pt x="403" y="244"/>
                    </a:lnTo>
                    <a:lnTo>
                      <a:pt x="378" y="191"/>
                    </a:lnTo>
                    <a:lnTo>
                      <a:pt x="347" y="140"/>
                    </a:lnTo>
                    <a:lnTo>
                      <a:pt x="315" y="90"/>
                    </a:lnTo>
                    <a:lnTo>
                      <a:pt x="279" y="44"/>
                    </a:lnTo>
                    <a:lnTo>
                      <a:pt x="240" y="0"/>
                    </a:lnTo>
                    <a:lnTo>
                      <a:pt x="191" y="200"/>
                    </a:lnTo>
                    <a:lnTo>
                      <a:pt x="0" y="245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69" name="Freeform 9"/>
              <p:cNvSpPr>
                <a:spLocks/>
              </p:cNvSpPr>
              <p:nvPr/>
            </p:nvSpPr>
            <p:spPr bwMode="auto">
              <a:xfrm>
                <a:off x="2830" y="786"/>
                <a:ext cx="969" cy="799"/>
              </a:xfrm>
              <a:custGeom>
                <a:avLst/>
                <a:gdLst/>
                <a:ahLst/>
                <a:cxnLst>
                  <a:cxn ang="0">
                    <a:pos x="213" y="525"/>
                  </a:cxn>
                  <a:cxn ang="0">
                    <a:pos x="545" y="445"/>
                  </a:cxn>
                  <a:cxn ang="0">
                    <a:pos x="625" y="115"/>
                  </a:cxn>
                  <a:cxn ang="0">
                    <a:pos x="545" y="193"/>
                  </a:cxn>
                  <a:cxn ang="0">
                    <a:pos x="536" y="203"/>
                  </a:cxn>
                  <a:cxn ang="0">
                    <a:pos x="489" y="167"/>
                  </a:cxn>
                  <a:cxn ang="0">
                    <a:pos x="442" y="134"/>
                  </a:cxn>
                  <a:cxn ang="0">
                    <a:pos x="391" y="104"/>
                  </a:cxn>
                  <a:cxn ang="0">
                    <a:pos x="338" y="79"/>
                  </a:cxn>
                  <a:cxn ang="0">
                    <a:pos x="285" y="57"/>
                  </a:cxn>
                  <a:cxn ang="0">
                    <a:pos x="230" y="37"/>
                  </a:cxn>
                  <a:cxn ang="0">
                    <a:pos x="173" y="22"/>
                  </a:cxn>
                  <a:cxn ang="0">
                    <a:pos x="116" y="12"/>
                  </a:cxn>
                  <a:cxn ang="0">
                    <a:pos x="58" y="4"/>
                  </a:cxn>
                  <a:cxn ang="0">
                    <a:pos x="0" y="0"/>
                  </a:cxn>
                  <a:cxn ang="0">
                    <a:pos x="130" y="196"/>
                  </a:cxn>
                  <a:cxn ang="0">
                    <a:pos x="32" y="348"/>
                  </a:cxn>
                  <a:cxn ang="0">
                    <a:pos x="79" y="355"/>
                  </a:cxn>
                  <a:cxn ang="0">
                    <a:pos x="124" y="365"/>
                  </a:cxn>
                  <a:cxn ang="0">
                    <a:pos x="168" y="380"/>
                  </a:cxn>
                  <a:cxn ang="0">
                    <a:pos x="211" y="398"/>
                  </a:cxn>
                  <a:cxn ang="0">
                    <a:pos x="251" y="422"/>
                  </a:cxn>
                  <a:cxn ang="0">
                    <a:pos x="291" y="447"/>
                  </a:cxn>
                  <a:cxn ang="0">
                    <a:pos x="213" y="525"/>
                  </a:cxn>
                </a:cxnLst>
                <a:rect l="0" t="0" r="r" b="b"/>
                <a:pathLst>
                  <a:path w="626" h="526">
                    <a:moveTo>
                      <a:pt x="213" y="525"/>
                    </a:moveTo>
                    <a:lnTo>
                      <a:pt x="545" y="445"/>
                    </a:lnTo>
                    <a:lnTo>
                      <a:pt x="625" y="115"/>
                    </a:lnTo>
                    <a:lnTo>
                      <a:pt x="545" y="193"/>
                    </a:lnTo>
                    <a:lnTo>
                      <a:pt x="536" y="203"/>
                    </a:lnTo>
                    <a:lnTo>
                      <a:pt x="489" y="167"/>
                    </a:lnTo>
                    <a:lnTo>
                      <a:pt x="442" y="134"/>
                    </a:lnTo>
                    <a:lnTo>
                      <a:pt x="391" y="104"/>
                    </a:lnTo>
                    <a:lnTo>
                      <a:pt x="338" y="79"/>
                    </a:lnTo>
                    <a:lnTo>
                      <a:pt x="285" y="57"/>
                    </a:lnTo>
                    <a:lnTo>
                      <a:pt x="230" y="37"/>
                    </a:lnTo>
                    <a:lnTo>
                      <a:pt x="173" y="22"/>
                    </a:lnTo>
                    <a:lnTo>
                      <a:pt x="116" y="12"/>
                    </a:lnTo>
                    <a:lnTo>
                      <a:pt x="58" y="4"/>
                    </a:lnTo>
                    <a:lnTo>
                      <a:pt x="0" y="0"/>
                    </a:lnTo>
                    <a:lnTo>
                      <a:pt x="130" y="196"/>
                    </a:lnTo>
                    <a:lnTo>
                      <a:pt x="32" y="348"/>
                    </a:lnTo>
                    <a:lnTo>
                      <a:pt x="79" y="355"/>
                    </a:lnTo>
                    <a:lnTo>
                      <a:pt x="124" y="365"/>
                    </a:lnTo>
                    <a:lnTo>
                      <a:pt x="168" y="380"/>
                    </a:lnTo>
                    <a:lnTo>
                      <a:pt x="211" y="398"/>
                    </a:lnTo>
                    <a:lnTo>
                      <a:pt x="251" y="422"/>
                    </a:lnTo>
                    <a:lnTo>
                      <a:pt x="291" y="447"/>
                    </a:lnTo>
                    <a:lnTo>
                      <a:pt x="213" y="525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70" name="Freeform 10"/>
              <p:cNvSpPr>
                <a:spLocks/>
              </p:cNvSpPr>
              <p:nvPr/>
            </p:nvSpPr>
            <p:spPr bwMode="auto">
              <a:xfrm>
                <a:off x="1953" y="642"/>
                <a:ext cx="1018" cy="885"/>
              </a:xfrm>
              <a:custGeom>
                <a:avLst/>
                <a:gdLst/>
                <a:ahLst/>
                <a:cxnLst>
                  <a:cxn ang="0">
                    <a:pos x="252" y="554"/>
                  </a:cxn>
                  <a:cxn ang="0">
                    <a:pos x="286" y="530"/>
                  </a:cxn>
                  <a:cxn ang="0">
                    <a:pos x="322" y="509"/>
                  </a:cxn>
                  <a:cxn ang="0">
                    <a:pos x="361" y="491"/>
                  </a:cxn>
                  <a:cxn ang="0">
                    <a:pos x="400" y="477"/>
                  </a:cxn>
                  <a:cxn ang="0">
                    <a:pos x="441" y="466"/>
                  </a:cxn>
                  <a:cxn ang="0">
                    <a:pos x="482" y="458"/>
                  </a:cxn>
                  <a:cxn ang="0">
                    <a:pos x="482" y="459"/>
                  </a:cxn>
                  <a:cxn ang="0">
                    <a:pos x="482" y="582"/>
                  </a:cxn>
                  <a:cxn ang="0">
                    <a:pos x="657" y="292"/>
                  </a:cxn>
                  <a:cxn ang="0">
                    <a:pos x="482" y="0"/>
                  </a:cxn>
                  <a:cxn ang="0">
                    <a:pos x="482" y="107"/>
                  </a:cxn>
                  <a:cxn ang="0">
                    <a:pos x="424" y="114"/>
                  </a:cxn>
                  <a:cxn ang="0">
                    <a:pos x="368" y="124"/>
                  </a:cxn>
                  <a:cxn ang="0">
                    <a:pos x="312" y="139"/>
                  </a:cxn>
                  <a:cxn ang="0">
                    <a:pos x="256" y="158"/>
                  </a:cxn>
                  <a:cxn ang="0">
                    <a:pos x="203" y="180"/>
                  </a:cxn>
                  <a:cxn ang="0">
                    <a:pos x="151" y="205"/>
                  </a:cxn>
                  <a:cxn ang="0">
                    <a:pos x="101" y="235"/>
                  </a:cxn>
                  <a:cxn ang="0">
                    <a:pos x="49" y="270"/>
                  </a:cxn>
                  <a:cxn ang="0">
                    <a:pos x="0" y="308"/>
                  </a:cxn>
                  <a:cxn ang="0">
                    <a:pos x="211" y="357"/>
                  </a:cxn>
                  <a:cxn ang="0">
                    <a:pos x="252" y="554"/>
                  </a:cxn>
                </a:cxnLst>
                <a:rect l="0" t="0" r="r" b="b"/>
                <a:pathLst>
                  <a:path w="658" h="583">
                    <a:moveTo>
                      <a:pt x="252" y="554"/>
                    </a:moveTo>
                    <a:lnTo>
                      <a:pt x="286" y="530"/>
                    </a:lnTo>
                    <a:lnTo>
                      <a:pt x="322" y="509"/>
                    </a:lnTo>
                    <a:lnTo>
                      <a:pt x="361" y="491"/>
                    </a:lnTo>
                    <a:lnTo>
                      <a:pt x="400" y="477"/>
                    </a:lnTo>
                    <a:lnTo>
                      <a:pt x="441" y="466"/>
                    </a:lnTo>
                    <a:lnTo>
                      <a:pt x="482" y="458"/>
                    </a:lnTo>
                    <a:lnTo>
                      <a:pt x="482" y="459"/>
                    </a:lnTo>
                    <a:lnTo>
                      <a:pt x="482" y="582"/>
                    </a:lnTo>
                    <a:lnTo>
                      <a:pt x="657" y="292"/>
                    </a:lnTo>
                    <a:lnTo>
                      <a:pt x="482" y="0"/>
                    </a:lnTo>
                    <a:lnTo>
                      <a:pt x="482" y="107"/>
                    </a:lnTo>
                    <a:lnTo>
                      <a:pt x="424" y="114"/>
                    </a:lnTo>
                    <a:lnTo>
                      <a:pt x="368" y="124"/>
                    </a:lnTo>
                    <a:lnTo>
                      <a:pt x="312" y="139"/>
                    </a:lnTo>
                    <a:lnTo>
                      <a:pt x="256" y="158"/>
                    </a:lnTo>
                    <a:lnTo>
                      <a:pt x="203" y="180"/>
                    </a:lnTo>
                    <a:lnTo>
                      <a:pt x="151" y="205"/>
                    </a:lnTo>
                    <a:lnTo>
                      <a:pt x="101" y="235"/>
                    </a:lnTo>
                    <a:lnTo>
                      <a:pt x="49" y="270"/>
                    </a:lnTo>
                    <a:lnTo>
                      <a:pt x="0" y="308"/>
                    </a:lnTo>
                    <a:lnTo>
                      <a:pt x="211" y="357"/>
                    </a:lnTo>
                    <a:lnTo>
                      <a:pt x="252" y="554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71" name="Freeform 11"/>
              <p:cNvSpPr>
                <a:spLocks/>
              </p:cNvSpPr>
              <p:nvPr/>
            </p:nvSpPr>
            <p:spPr bwMode="auto">
              <a:xfrm>
                <a:off x="1492" y="1096"/>
                <a:ext cx="869" cy="958"/>
              </a:xfrm>
              <a:custGeom>
                <a:avLst/>
                <a:gdLst/>
                <a:ahLst/>
                <a:cxnLst>
                  <a:cxn ang="0">
                    <a:pos x="350" y="629"/>
                  </a:cxn>
                  <a:cxn ang="0">
                    <a:pos x="357" y="583"/>
                  </a:cxn>
                  <a:cxn ang="0">
                    <a:pos x="368" y="536"/>
                  </a:cxn>
                  <a:cxn ang="0">
                    <a:pos x="383" y="491"/>
                  </a:cxn>
                  <a:cxn ang="0">
                    <a:pos x="401" y="447"/>
                  </a:cxn>
                  <a:cxn ang="0">
                    <a:pos x="423" y="405"/>
                  </a:cxn>
                  <a:cxn ang="0">
                    <a:pos x="450" y="367"/>
                  </a:cxn>
                  <a:cxn ang="0">
                    <a:pos x="480" y="330"/>
                  </a:cxn>
                  <a:cxn ang="0">
                    <a:pos x="561" y="411"/>
                  </a:cxn>
                  <a:cxn ang="0">
                    <a:pos x="487" y="86"/>
                  </a:cxn>
                  <a:cxn ang="0">
                    <a:pos x="487" y="85"/>
                  </a:cxn>
                  <a:cxn ang="0">
                    <a:pos x="151" y="0"/>
                  </a:cxn>
                  <a:cxn ang="0">
                    <a:pos x="230" y="80"/>
                  </a:cxn>
                  <a:cxn ang="0">
                    <a:pos x="234" y="83"/>
                  </a:cxn>
                  <a:cxn ang="0">
                    <a:pos x="194" y="130"/>
                  </a:cxn>
                  <a:cxn ang="0">
                    <a:pos x="158" y="177"/>
                  </a:cxn>
                  <a:cxn ang="0">
                    <a:pos x="124" y="228"/>
                  </a:cxn>
                  <a:cxn ang="0">
                    <a:pos x="94" y="281"/>
                  </a:cxn>
                  <a:cxn ang="0">
                    <a:pos x="69" y="336"/>
                  </a:cxn>
                  <a:cxn ang="0">
                    <a:pos x="47" y="393"/>
                  </a:cxn>
                  <a:cxn ang="0">
                    <a:pos x="29" y="450"/>
                  </a:cxn>
                  <a:cxn ang="0">
                    <a:pos x="15" y="510"/>
                  </a:cxn>
                  <a:cxn ang="0">
                    <a:pos x="5" y="570"/>
                  </a:cxn>
                  <a:cxn ang="0">
                    <a:pos x="0" y="630"/>
                  </a:cxn>
                  <a:cxn ang="0">
                    <a:pos x="168" y="518"/>
                  </a:cxn>
                  <a:cxn ang="0">
                    <a:pos x="350" y="629"/>
                  </a:cxn>
                </a:cxnLst>
                <a:rect l="0" t="0" r="r" b="b"/>
                <a:pathLst>
                  <a:path w="562" h="631">
                    <a:moveTo>
                      <a:pt x="350" y="629"/>
                    </a:moveTo>
                    <a:lnTo>
                      <a:pt x="357" y="583"/>
                    </a:lnTo>
                    <a:lnTo>
                      <a:pt x="368" y="536"/>
                    </a:lnTo>
                    <a:lnTo>
                      <a:pt x="383" y="491"/>
                    </a:lnTo>
                    <a:lnTo>
                      <a:pt x="401" y="447"/>
                    </a:lnTo>
                    <a:lnTo>
                      <a:pt x="423" y="405"/>
                    </a:lnTo>
                    <a:lnTo>
                      <a:pt x="450" y="367"/>
                    </a:lnTo>
                    <a:lnTo>
                      <a:pt x="480" y="330"/>
                    </a:lnTo>
                    <a:lnTo>
                      <a:pt x="561" y="411"/>
                    </a:lnTo>
                    <a:lnTo>
                      <a:pt x="487" y="86"/>
                    </a:lnTo>
                    <a:lnTo>
                      <a:pt x="487" y="85"/>
                    </a:lnTo>
                    <a:lnTo>
                      <a:pt x="151" y="0"/>
                    </a:lnTo>
                    <a:lnTo>
                      <a:pt x="230" y="80"/>
                    </a:lnTo>
                    <a:lnTo>
                      <a:pt x="234" y="83"/>
                    </a:lnTo>
                    <a:lnTo>
                      <a:pt x="194" y="130"/>
                    </a:lnTo>
                    <a:lnTo>
                      <a:pt x="158" y="177"/>
                    </a:lnTo>
                    <a:lnTo>
                      <a:pt x="124" y="228"/>
                    </a:lnTo>
                    <a:lnTo>
                      <a:pt x="94" y="281"/>
                    </a:lnTo>
                    <a:lnTo>
                      <a:pt x="69" y="336"/>
                    </a:lnTo>
                    <a:lnTo>
                      <a:pt x="47" y="393"/>
                    </a:lnTo>
                    <a:lnTo>
                      <a:pt x="29" y="450"/>
                    </a:lnTo>
                    <a:lnTo>
                      <a:pt x="15" y="510"/>
                    </a:lnTo>
                    <a:lnTo>
                      <a:pt x="5" y="570"/>
                    </a:lnTo>
                    <a:lnTo>
                      <a:pt x="0" y="630"/>
                    </a:lnTo>
                    <a:lnTo>
                      <a:pt x="168" y="518"/>
                    </a:lnTo>
                    <a:lnTo>
                      <a:pt x="350" y="629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  <p:sp>
            <p:nvSpPr>
              <p:cNvPr id="72" name="Freeform 12"/>
              <p:cNvSpPr>
                <a:spLocks/>
              </p:cNvSpPr>
              <p:nvPr/>
            </p:nvSpPr>
            <p:spPr bwMode="auto">
              <a:xfrm>
                <a:off x="1297" y="1931"/>
                <a:ext cx="902" cy="1121"/>
              </a:xfrm>
              <a:custGeom>
                <a:avLst/>
                <a:gdLst/>
                <a:ahLst/>
                <a:cxnLst>
                  <a:cxn ang="0">
                    <a:pos x="578" y="440"/>
                  </a:cxn>
                  <a:cxn ang="0">
                    <a:pos x="552" y="401"/>
                  </a:cxn>
                  <a:cxn ang="0">
                    <a:pos x="529" y="359"/>
                  </a:cxn>
                  <a:cxn ang="0">
                    <a:pos x="510" y="316"/>
                  </a:cxn>
                  <a:cxn ang="0">
                    <a:pos x="495" y="271"/>
                  </a:cxn>
                  <a:cxn ang="0">
                    <a:pos x="483" y="226"/>
                  </a:cxn>
                  <a:cxn ang="0">
                    <a:pos x="476" y="179"/>
                  </a:cxn>
                  <a:cxn ang="0">
                    <a:pos x="582" y="179"/>
                  </a:cxn>
                  <a:cxn ang="0">
                    <a:pos x="301" y="0"/>
                  </a:cxn>
                  <a:cxn ang="0">
                    <a:pos x="299" y="1"/>
                  </a:cxn>
                  <a:cxn ang="0">
                    <a:pos x="0" y="179"/>
                  </a:cxn>
                  <a:cxn ang="0">
                    <a:pos x="112" y="179"/>
                  </a:cxn>
                  <a:cxn ang="0">
                    <a:pos x="127" y="179"/>
                  </a:cxn>
                  <a:cxn ang="0">
                    <a:pos x="133" y="241"/>
                  </a:cxn>
                  <a:cxn ang="0">
                    <a:pos x="145" y="302"/>
                  </a:cxn>
                  <a:cxn ang="0">
                    <a:pos x="159" y="363"/>
                  </a:cxn>
                  <a:cxn ang="0">
                    <a:pos x="178" y="423"/>
                  </a:cxn>
                  <a:cxn ang="0">
                    <a:pos x="202" y="481"/>
                  </a:cxn>
                  <a:cxn ang="0">
                    <a:pos x="230" y="537"/>
                  </a:cxn>
                  <a:cxn ang="0">
                    <a:pos x="261" y="590"/>
                  </a:cxn>
                  <a:cxn ang="0">
                    <a:pos x="297" y="642"/>
                  </a:cxn>
                  <a:cxn ang="0">
                    <a:pos x="335" y="691"/>
                  </a:cxn>
                  <a:cxn ang="0">
                    <a:pos x="378" y="737"/>
                  </a:cxn>
                  <a:cxn ang="0">
                    <a:pos x="378" y="540"/>
                  </a:cxn>
                  <a:cxn ang="0">
                    <a:pos x="578" y="440"/>
                  </a:cxn>
                </a:cxnLst>
                <a:rect l="0" t="0" r="r" b="b"/>
                <a:pathLst>
                  <a:path w="583" h="738">
                    <a:moveTo>
                      <a:pt x="578" y="440"/>
                    </a:moveTo>
                    <a:lnTo>
                      <a:pt x="552" y="401"/>
                    </a:lnTo>
                    <a:lnTo>
                      <a:pt x="529" y="359"/>
                    </a:lnTo>
                    <a:lnTo>
                      <a:pt x="510" y="316"/>
                    </a:lnTo>
                    <a:lnTo>
                      <a:pt x="495" y="271"/>
                    </a:lnTo>
                    <a:lnTo>
                      <a:pt x="483" y="226"/>
                    </a:lnTo>
                    <a:lnTo>
                      <a:pt x="476" y="179"/>
                    </a:lnTo>
                    <a:lnTo>
                      <a:pt x="582" y="179"/>
                    </a:lnTo>
                    <a:lnTo>
                      <a:pt x="301" y="0"/>
                    </a:lnTo>
                    <a:lnTo>
                      <a:pt x="299" y="1"/>
                    </a:lnTo>
                    <a:lnTo>
                      <a:pt x="0" y="179"/>
                    </a:lnTo>
                    <a:lnTo>
                      <a:pt x="112" y="179"/>
                    </a:lnTo>
                    <a:lnTo>
                      <a:pt x="127" y="179"/>
                    </a:lnTo>
                    <a:lnTo>
                      <a:pt x="133" y="241"/>
                    </a:lnTo>
                    <a:lnTo>
                      <a:pt x="145" y="302"/>
                    </a:lnTo>
                    <a:lnTo>
                      <a:pt x="159" y="363"/>
                    </a:lnTo>
                    <a:lnTo>
                      <a:pt x="178" y="423"/>
                    </a:lnTo>
                    <a:lnTo>
                      <a:pt x="202" y="481"/>
                    </a:lnTo>
                    <a:lnTo>
                      <a:pt x="230" y="537"/>
                    </a:lnTo>
                    <a:lnTo>
                      <a:pt x="261" y="590"/>
                    </a:lnTo>
                    <a:lnTo>
                      <a:pt x="297" y="642"/>
                    </a:lnTo>
                    <a:lnTo>
                      <a:pt x="335" y="691"/>
                    </a:lnTo>
                    <a:lnTo>
                      <a:pt x="378" y="737"/>
                    </a:lnTo>
                    <a:lnTo>
                      <a:pt x="378" y="540"/>
                    </a:lnTo>
                    <a:lnTo>
                      <a:pt x="578" y="440"/>
                    </a:lnTo>
                  </a:path>
                </a:pathLst>
              </a:custGeom>
              <a:grpFill/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7139" tIns="50513" rIns="97139" anchor="ctr"/>
              <a:lstStyle/>
              <a:p>
                <a:endParaRPr lang="es-ES" sz="1079"/>
              </a:p>
            </p:txBody>
          </p:sp>
        </p:grpSp>
        <p:sp>
          <p:nvSpPr>
            <p:cNvPr id="57" name="Rectangle 13"/>
            <p:cNvSpPr>
              <a:spLocks noChangeArrowheads="1"/>
            </p:cNvSpPr>
            <p:nvPr/>
          </p:nvSpPr>
          <p:spPr bwMode="auto">
            <a:xfrm>
              <a:off x="3141663" y="2278063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4146550" y="1493838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5416550" y="1557338"/>
              <a:ext cx="708025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60" name="Rectangle 16"/>
            <p:cNvSpPr>
              <a:spLocks noChangeArrowheads="1"/>
            </p:cNvSpPr>
            <p:nvPr/>
          </p:nvSpPr>
          <p:spPr bwMode="auto">
            <a:xfrm>
              <a:off x="6199188" y="2497138"/>
              <a:ext cx="708025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61" name="Rectangle 17"/>
            <p:cNvSpPr>
              <a:spLocks noChangeArrowheads="1"/>
            </p:cNvSpPr>
            <p:nvPr/>
          </p:nvSpPr>
          <p:spPr bwMode="auto">
            <a:xfrm>
              <a:off x="6172200" y="3732213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62" name="Rectangle 18"/>
            <p:cNvSpPr>
              <a:spLocks noChangeArrowheads="1"/>
            </p:cNvSpPr>
            <p:nvPr/>
          </p:nvSpPr>
          <p:spPr bwMode="auto">
            <a:xfrm>
              <a:off x="5216525" y="4654550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63" name="Rectangle 19"/>
            <p:cNvSpPr>
              <a:spLocks noChangeArrowheads="1"/>
            </p:cNvSpPr>
            <p:nvPr/>
          </p:nvSpPr>
          <p:spPr bwMode="auto">
            <a:xfrm>
              <a:off x="3873500" y="4535488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  <p:sp>
          <p:nvSpPr>
            <p:cNvPr id="64" name="Rectangle 20"/>
            <p:cNvSpPr>
              <a:spLocks noChangeArrowheads="1"/>
            </p:cNvSpPr>
            <p:nvPr/>
          </p:nvSpPr>
          <p:spPr bwMode="auto">
            <a:xfrm>
              <a:off x="3005138" y="3498850"/>
              <a:ext cx="704850" cy="193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 anchorCtr="1"/>
            <a:lstStyle/>
            <a:p>
              <a:pPr defTabSz="849841">
                <a:spcBef>
                  <a:spcPct val="30000"/>
                </a:spcBef>
              </a:pPr>
              <a:r>
                <a:rPr lang="en-US" sz="1079"/>
                <a:t>Texto</a:t>
              </a:r>
              <a:endParaRPr lang="en-US" sz="1079" dirty="0"/>
            </a:p>
          </p:txBody>
        </p:sp>
      </p:grpSp>
    </p:spTree>
    <p:extLst>
      <p:ext uri="{BB962C8B-B14F-4D97-AF65-F5344CB8AC3E}">
        <p14:creationId xmlns:p14="http://schemas.microsoft.com/office/powerpoint/2010/main" val="3353424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apas</a:t>
            </a:r>
            <a:endParaRPr lang="pt-BR" dirty="0"/>
          </a:p>
        </p:txBody>
      </p:sp>
      <p:sp>
        <p:nvSpPr>
          <p:cNvPr id="504" name="Espaço Reservado para Texto 50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3 Rectángulo"/>
          <p:cNvSpPr/>
          <p:nvPr/>
        </p:nvSpPr>
        <p:spPr>
          <a:xfrm>
            <a:off x="-1" y="6411596"/>
            <a:ext cx="10691813" cy="5440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 err="1">
                <a:solidFill>
                  <a:schemeClr val="bg1"/>
                </a:solidFill>
              </a:rPr>
              <a:t>En</a:t>
            </a:r>
            <a:r>
              <a:rPr lang="pt-BR" sz="1511" dirty="0">
                <a:solidFill>
                  <a:schemeClr val="bg1"/>
                </a:solidFill>
              </a:rPr>
              <a:t>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Intranet (</a:t>
            </a:r>
            <a:r>
              <a:rPr lang="pt-BR" sz="1511" dirty="0" err="1">
                <a:solidFill>
                  <a:schemeClr val="bg1"/>
                </a:solidFill>
              </a:rPr>
              <a:t>access</a:t>
            </a:r>
            <a:r>
              <a:rPr lang="pt-BR" sz="1511" dirty="0">
                <a:solidFill>
                  <a:schemeClr val="bg1"/>
                </a:solidFill>
              </a:rPr>
              <a:t> </a:t>
            </a:r>
            <a:r>
              <a:rPr lang="pt-BR" sz="1511" dirty="0" err="1">
                <a:solidFill>
                  <a:schemeClr val="bg1"/>
                </a:solidFill>
              </a:rPr>
              <a:t>to</a:t>
            </a:r>
            <a:r>
              <a:rPr lang="pt-BR" sz="1511" dirty="0">
                <a:solidFill>
                  <a:schemeClr val="bg1"/>
                </a:solidFill>
              </a:rPr>
              <a:t> EPC Server -&gt; </a:t>
            </a:r>
            <a:r>
              <a:rPr lang="pt-BR" sz="1511" dirty="0" err="1">
                <a:solidFill>
                  <a:schemeClr val="bg1"/>
                </a:solidFill>
              </a:rPr>
              <a:t>Internal</a:t>
            </a:r>
            <a:r>
              <a:rPr lang="pt-BR" sz="1511" dirty="0">
                <a:solidFill>
                  <a:schemeClr val="bg1"/>
                </a:solidFill>
              </a:rPr>
              <a:t> </a:t>
            </a:r>
            <a:r>
              <a:rPr lang="pt-BR" sz="1511" dirty="0" err="1">
                <a:solidFill>
                  <a:schemeClr val="bg1"/>
                </a:solidFill>
              </a:rPr>
              <a:t>Resources</a:t>
            </a:r>
            <a:r>
              <a:rPr lang="pt-BR" sz="1511" dirty="0">
                <a:solidFill>
                  <a:schemeClr val="bg1"/>
                </a:solidFill>
              </a:rPr>
              <a:t>) </a:t>
            </a:r>
            <a:r>
              <a:rPr lang="pt-BR" sz="1511" dirty="0" err="1">
                <a:solidFill>
                  <a:schemeClr val="bg1"/>
                </a:solidFill>
              </a:rPr>
              <a:t>hay</a:t>
            </a:r>
            <a:r>
              <a:rPr lang="pt-BR" sz="1511" dirty="0">
                <a:solidFill>
                  <a:schemeClr val="bg1"/>
                </a:solidFill>
              </a:rPr>
              <a:t> más mapas</a:t>
            </a:r>
          </a:p>
        </p:txBody>
      </p:sp>
      <p:grpSp>
        <p:nvGrpSpPr>
          <p:cNvPr id="6" name="5 Grupo"/>
          <p:cNvGrpSpPr/>
          <p:nvPr/>
        </p:nvGrpSpPr>
        <p:grpSpPr>
          <a:xfrm>
            <a:off x="398571" y="1126454"/>
            <a:ext cx="9638665" cy="4956708"/>
            <a:chOff x="325317" y="970632"/>
            <a:chExt cx="8930255" cy="4592406"/>
          </a:xfrm>
        </p:grpSpPr>
        <p:grpSp>
          <p:nvGrpSpPr>
            <p:cNvPr id="7" name="5 Grupo"/>
            <p:cNvGrpSpPr/>
            <p:nvPr/>
          </p:nvGrpSpPr>
          <p:grpSpPr>
            <a:xfrm>
              <a:off x="325317" y="970632"/>
              <a:ext cx="8930255" cy="4509792"/>
              <a:chOff x="7" y="1550924"/>
              <a:chExt cx="8930255" cy="4509792"/>
            </a:xfrm>
            <a:solidFill>
              <a:schemeClr val="accent5">
                <a:lumMod val="20000"/>
                <a:lumOff val="80000"/>
              </a:schemeClr>
            </a:solidFill>
          </p:grpSpPr>
          <p:sp>
            <p:nvSpPr>
              <p:cNvPr id="13" name="12 Forma libre"/>
              <p:cNvSpPr/>
              <p:nvPr/>
            </p:nvSpPr>
            <p:spPr>
              <a:xfrm>
                <a:off x="3814763" y="2740819"/>
                <a:ext cx="414655" cy="423862"/>
              </a:xfrm>
              <a:custGeom>
                <a:avLst/>
                <a:gdLst>
                  <a:gd name="connsiteX0" fmla="*/ 266700 w 418703"/>
                  <a:gd name="connsiteY0" fmla="*/ 64294 h 423862"/>
                  <a:gd name="connsiteX1" fmla="*/ 292893 w 418703"/>
                  <a:gd name="connsiteY1" fmla="*/ 19050 h 423862"/>
                  <a:gd name="connsiteX2" fmla="*/ 304800 w 418703"/>
                  <a:gd name="connsiteY2" fmla="*/ 0 h 423862"/>
                  <a:gd name="connsiteX3" fmla="*/ 319087 w 418703"/>
                  <a:gd name="connsiteY3" fmla="*/ 19050 h 423862"/>
                  <a:gd name="connsiteX4" fmla="*/ 364331 w 418703"/>
                  <a:gd name="connsiteY4" fmla="*/ 23812 h 423862"/>
                  <a:gd name="connsiteX5" fmla="*/ 392906 w 418703"/>
                  <a:gd name="connsiteY5" fmla="*/ 33337 h 423862"/>
                  <a:gd name="connsiteX6" fmla="*/ 395287 w 418703"/>
                  <a:gd name="connsiteY6" fmla="*/ 57150 h 423862"/>
                  <a:gd name="connsiteX7" fmla="*/ 414337 w 418703"/>
                  <a:gd name="connsiteY7" fmla="*/ 100012 h 423862"/>
                  <a:gd name="connsiteX8" fmla="*/ 411956 w 418703"/>
                  <a:gd name="connsiteY8" fmla="*/ 116681 h 423862"/>
                  <a:gd name="connsiteX9" fmla="*/ 373856 w 418703"/>
                  <a:gd name="connsiteY9" fmla="*/ 111919 h 423862"/>
                  <a:gd name="connsiteX10" fmla="*/ 352425 w 418703"/>
                  <a:gd name="connsiteY10" fmla="*/ 123825 h 423862"/>
                  <a:gd name="connsiteX11" fmla="*/ 350043 w 418703"/>
                  <a:gd name="connsiteY11" fmla="*/ 145256 h 423862"/>
                  <a:gd name="connsiteX12" fmla="*/ 228600 w 418703"/>
                  <a:gd name="connsiteY12" fmla="*/ 204787 h 423862"/>
                  <a:gd name="connsiteX13" fmla="*/ 221456 w 418703"/>
                  <a:gd name="connsiteY13" fmla="*/ 240506 h 423862"/>
                  <a:gd name="connsiteX14" fmla="*/ 221456 w 418703"/>
                  <a:gd name="connsiteY14" fmla="*/ 285750 h 423862"/>
                  <a:gd name="connsiteX15" fmla="*/ 133350 w 418703"/>
                  <a:gd name="connsiteY15" fmla="*/ 285750 h 423862"/>
                  <a:gd name="connsiteX16" fmla="*/ 133350 w 418703"/>
                  <a:gd name="connsiteY16" fmla="*/ 359569 h 423862"/>
                  <a:gd name="connsiteX17" fmla="*/ 107156 w 418703"/>
                  <a:gd name="connsiteY17" fmla="*/ 373856 h 423862"/>
                  <a:gd name="connsiteX18" fmla="*/ 107156 w 418703"/>
                  <a:gd name="connsiteY18" fmla="*/ 423862 h 423862"/>
                  <a:gd name="connsiteX19" fmla="*/ 0 w 418703"/>
                  <a:gd name="connsiteY19" fmla="*/ 421481 h 423862"/>
                  <a:gd name="connsiteX20" fmla="*/ 33337 w 418703"/>
                  <a:gd name="connsiteY20" fmla="*/ 352425 h 423862"/>
                  <a:gd name="connsiteX21" fmla="*/ 50006 w 418703"/>
                  <a:gd name="connsiteY21" fmla="*/ 328612 h 423862"/>
                  <a:gd name="connsiteX22" fmla="*/ 69056 w 418703"/>
                  <a:gd name="connsiteY22" fmla="*/ 278606 h 423862"/>
                  <a:gd name="connsiteX23" fmla="*/ 95250 w 418703"/>
                  <a:gd name="connsiteY23" fmla="*/ 266700 h 423862"/>
                  <a:gd name="connsiteX24" fmla="*/ 107156 w 418703"/>
                  <a:gd name="connsiteY24" fmla="*/ 235744 h 423862"/>
                  <a:gd name="connsiteX25" fmla="*/ 176212 w 418703"/>
                  <a:gd name="connsiteY25" fmla="*/ 200025 h 423862"/>
                  <a:gd name="connsiteX26" fmla="*/ 197643 w 418703"/>
                  <a:gd name="connsiteY26" fmla="*/ 161925 h 423862"/>
                  <a:gd name="connsiteX27" fmla="*/ 195262 w 418703"/>
                  <a:gd name="connsiteY27" fmla="*/ 130969 h 423862"/>
                  <a:gd name="connsiteX28" fmla="*/ 221456 w 418703"/>
                  <a:gd name="connsiteY28" fmla="*/ 90487 h 423862"/>
                  <a:gd name="connsiteX29" fmla="*/ 266700 w 418703"/>
                  <a:gd name="connsiteY29" fmla="*/ 64294 h 423862"/>
                  <a:gd name="connsiteX0" fmla="*/ 266700 w 418703"/>
                  <a:gd name="connsiteY0" fmla="*/ 64294 h 423862"/>
                  <a:gd name="connsiteX1" fmla="*/ 292893 w 418703"/>
                  <a:gd name="connsiteY1" fmla="*/ 19050 h 423862"/>
                  <a:gd name="connsiteX2" fmla="*/ 304800 w 418703"/>
                  <a:gd name="connsiteY2" fmla="*/ 0 h 423862"/>
                  <a:gd name="connsiteX3" fmla="*/ 319087 w 418703"/>
                  <a:gd name="connsiteY3" fmla="*/ 19050 h 423862"/>
                  <a:gd name="connsiteX4" fmla="*/ 364331 w 418703"/>
                  <a:gd name="connsiteY4" fmla="*/ 23812 h 423862"/>
                  <a:gd name="connsiteX5" fmla="*/ 392906 w 418703"/>
                  <a:gd name="connsiteY5" fmla="*/ 33337 h 423862"/>
                  <a:gd name="connsiteX6" fmla="*/ 395287 w 418703"/>
                  <a:gd name="connsiteY6" fmla="*/ 57150 h 423862"/>
                  <a:gd name="connsiteX7" fmla="*/ 414337 w 418703"/>
                  <a:gd name="connsiteY7" fmla="*/ 100012 h 423862"/>
                  <a:gd name="connsiteX8" fmla="*/ 411956 w 418703"/>
                  <a:gd name="connsiteY8" fmla="*/ 116681 h 423862"/>
                  <a:gd name="connsiteX9" fmla="*/ 373856 w 418703"/>
                  <a:gd name="connsiteY9" fmla="*/ 111919 h 423862"/>
                  <a:gd name="connsiteX10" fmla="*/ 352425 w 418703"/>
                  <a:gd name="connsiteY10" fmla="*/ 123825 h 423862"/>
                  <a:gd name="connsiteX11" fmla="*/ 350043 w 418703"/>
                  <a:gd name="connsiteY11" fmla="*/ 145256 h 423862"/>
                  <a:gd name="connsiteX12" fmla="*/ 228600 w 418703"/>
                  <a:gd name="connsiteY12" fmla="*/ 204787 h 423862"/>
                  <a:gd name="connsiteX13" fmla="*/ 221456 w 418703"/>
                  <a:gd name="connsiteY13" fmla="*/ 240506 h 423862"/>
                  <a:gd name="connsiteX14" fmla="*/ 221456 w 418703"/>
                  <a:gd name="connsiteY14" fmla="*/ 285750 h 423862"/>
                  <a:gd name="connsiteX15" fmla="*/ 133350 w 418703"/>
                  <a:gd name="connsiteY15" fmla="*/ 285750 h 423862"/>
                  <a:gd name="connsiteX16" fmla="*/ 133350 w 418703"/>
                  <a:gd name="connsiteY16" fmla="*/ 359569 h 423862"/>
                  <a:gd name="connsiteX17" fmla="*/ 107156 w 418703"/>
                  <a:gd name="connsiteY17" fmla="*/ 373856 h 423862"/>
                  <a:gd name="connsiteX18" fmla="*/ 107156 w 418703"/>
                  <a:gd name="connsiteY18" fmla="*/ 423862 h 423862"/>
                  <a:gd name="connsiteX19" fmla="*/ 0 w 418703"/>
                  <a:gd name="connsiteY19" fmla="*/ 421481 h 423862"/>
                  <a:gd name="connsiteX20" fmla="*/ 33337 w 418703"/>
                  <a:gd name="connsiteY20" fmla="*/ 352425 h 423862"/>
                  <a:gd name="connsiteX21" fmla="*/ 50006 w 418703"/>
                  <a:gd name="connsiteY21" fmla="*/ 328612 h 423862"/>
                  <a:gd name="connsiteX22" fmla="*/ 69056 w 418703"/>
                  <a:gd name="connsiteY22" fmla="*/ 278606 h 423862"/>
                  <a:gd name="connsiteX23" fmla="*/ 95250 w 418703"/>
                  <a:gd name="connsiteY23" fmla="*/ 266700 h 423862"/>
                  <a:gd name="connsiteX24" fmla="*/ 107156 w 418703"/>
                  <a:gd name="connsiteY24" fmla="*/ 235744 h 423862"/>
                  <a:gd name="connsiteX25" fmla="*/ 176212 w 418703"/>
                  <a:gd name="connsiteY25" fmla="*/ 200025 h 423862"/>
                  <a:gd name="connsiteX26" fmla="*/ 197643 w 418703"/>
                  <a:gd name="connsiteY26" fmla="*/ 161925 h 423862"/>
                  <a:gd name="connsiteX27" fmla="*/ 195262 w 418703"/>
                  <a:gd name="connsiteY27" fmla="*/ 130969 h 423862"/>
                  <a:gd name="connsiteX28" fmla="*/ 221456 w 418703"/>
                  <a:gd name="connsiteY28" fmla="*/ 90487 h 423862"/>
                  <a:gd name="connsiteX29" fmla="*/ 266700 w 418703"/>
                  <a:gd name="connsiteY29" fmla="*/ 64294 h 423862"/>
                  <a:gd name="connsiteX0" fmla="*/ 266700 w 418703"/>
                  <a:gd name="connsiteY0" fmla="*/ 64294 h 423862"/>
                  <a:gd name="connsiteX1" fmla="*/ 292893 w 418703"/>
                  <a:gd name="connsiteY1" fmla="*/ 19050 h 423862"/>
                  <a:gd name="connsiteX2" fmla="*/ 304800 w 418703"/>
                  <a:gd name="connsiteY2" fmla="*/ 0 h 423862"/>
                  <a:gd name="connsiteX3" fmla="*/ 319087 w 418703"/>
                  <a:gd name="connsiteY3" fmla="*/ 19050 h 423862"/>
                  <a:gd name="connsiteX4" fmla="*/ 364331 w 418703"/>
                  <a:gd name="connsiteY4" fmla="*/ 23812 h 423862"/>
                  <a:gd name="connsiteX5" fmla="*/ 392906 w 418703"/>
                  <a:gd name="connsiteY5" fmla="*/ 33337 h 423862"/>
                  <a:gd name="connsiteX6" fmla="*/ 395287 w 418703"/>
                  <a:gd name="connsiteY6" fmla="*/ 57150 h 423862"/>
                  <a:gd name="connsiteX7" fmla="*/ 414337 w 418703"/>
                  <a:gd name="connsiteY7" fmla="*/ 100012 h 423862"/>
                  <a:gd name="connsiteX8" fmla="*/ 411956 w 418703"/>
                  <a:gd name="connsiteY8" fmla="*/ 116681 h 423862"/>
                  <a:gd name="connsiteX9" fmla="*/ 373856 w 418703"/>
                  <a:gd name="connsiteY9" fmla="*/ 111919 h 423862"/>
                  <a:gd name="connsiteX10" fmla="*/ 352425 w 418703"/>
                  <a:gd name="connsiteY10" fmla="*/ 123825 h 423862"/>
                  <a:gd name="connsiteX11" fmla="*/ 350043 w 418703"/>
                  <a:gd name="connsiteY11" fmla="*/ 145256 h 423862"/>
                  <a:gd name="connsiteX12" fmla="*/ 228600 w 418703"/>
                  <a:gd name="connsiteY12" fmla="*/ 204787 h 423862"/>
                  <a:gd name="connsiteX13" fmla="*/ 221456 w 418703"/>
                  <a:gd name="connsiteY13" fmla="*/ 240506 h 423862"/>
                  <a:gd name="connsiteX14" fmla="*/ 221456 w 418703"/>
                  <a:gd name="connsiteY14" fmla="*/ 285750 h 423862"/>
                  <a:gd name="connsiteX15" fmla="*/ 133350 w 418703"/>
                  <a:gd name="connsiteY15" fmla="*/ 285750 h 423862"/>
                  <a:gd name="connsiteX16" fmla="*/ 133350 w 418703"/>
                  <a:gd name="connsiteY16" fmla="*/ 359569 h 423862"/>
                  <a:gd name="connsiteX17" fmla="*/ 107156 w 418703"/>
                  <a:gd name="connsiteY17" fmla="*/ 373856 h 423862"/>
                  <a:gd name="connsiteX18" fmla="*/ 107156 w 418703"/>
                  <a:gd name="connsiteY18" fmla="*/ 423862 h 423862"/>
                  <a:gd name="connsiteX19" fmla="*/ 0 w 418703"/>
                  <a:gd name="connsiteY19" fmla="*/ 421481 h 423862"/>
                  <a:gd name="connsiteX20" fmla="*/ 33337 w 418703"/>
                  <a:gd name="connsiteY20" fmla="*/ 352425 h 423862"/>
                  <a:gd name="connsiteX21" fmla="*/ 50006 w 418703"/>
                  <a:gd name="connsiteY21" fmla="*/ 328612 h 423862"/>
                  <a:gd name="connsiteX22" fmla="*/ 69056 w 418703"/>
                  <a:gd name="connsiteY22" fmla="*/ 278606 h 423862"/>
                  <a:gd name="connsiteX23" fmla="*/ 95250 w 418703"/>
                  <a:gd name="connsiteY23" fmla="*/ 266700 h 423862"/>
                  <a:gd name="connsiteX24" fmla="*/ 107156 w 418703"/>
                  <a:gd name="connsiteY24" fmla="*/ 235744 h 423862"/>
                  <a:gd name="connsiteX25" fmla="*/ 176212 w 418703"/>
                  <a:gd name="connsiteY25" fmla="*/ 200025 h 423862"/>
                  <a:gd name="connsiteX26" fmla="*/ 197643 w 418703"/>
                  <a:gd name="connsiteY26" fmla="*/ 161925 h 423862"/>
                  <a:gd name="connsiteX27" fmla="*/ 195262 w 418703"/>
                  <a:gd name="connsiteY27" fmla="*/ 130969 h 423862"/>
                  <a:gd name="connsiteX28" fmla="*/ 221456 w 418703"/>
                  <a:gd name="connsiteY28" fmla="*/ 90487 h 423862"/>
                  <a:gd name="connsiteX29" fmla="*/ 266700 w 418703"/>
                  <a:gd name="connsiteY29" fmla="*/ 64294 h 423862"/>
                  <a:gd name="connsiteX0" fmla="*/ 266700 w 422275"/>
                  <a:gd name="connsiteY0" fmla="*/ 64294 h 423862"/>
                  <a:gd name="connsiteX1" fmla="*/ 292893 w 422275"/>
                  <a:gd name="connsiteY1" fmla="*/ 19050 h 423862"/>
                  <a:gd name="connsiteX2" fmla="*/ 304800 w 422275"/>
                  <a:gd name="connsiteY2" fmla="*/ 0 h 423862"/>
                  <a:gd name="connsiteX3" fmla="*/ 319087 w 422275"/>
                  <a:gd name="connsiteY3" fmla="*/ 19050 h 423862"/>
                  <a:gd name="connsiteX4" fmla="*/ 364331 w 422275"/>
                  <a:gd name="connsiteY4" fmla="*/ 23812 h 423862"/>
                  <a:gd name="connsiteX5" fmla="*/ 392906 w 422275"/>
                  <a:gd name="connsiteY5" fmla="*/ 33337 h 423862"/>
                  <a:gd name="connsiteX6" fmla="*/ 395287 w 422275"/>
                  <a:gd name="connsiteY6" fmla="*/ 57150 h 423862"/>
                  <a:gd name="connsiteX7" fmla="*/ 414337 w 422275"/>
                  <a:gd name="connsiteY7" fmla="*/ 100012 h 423862"/>
                  <a:gd name="connsiteX8" fmla="*/ 411956 w 422275"/>
                  <a:gd name="connsiteY8" fmla="*/ 116681 h 423862"/>
                  <a:gd name="connsiteX9" fmla="*/ 352425 w 422275"/>
                  <a:gd name="connsiteY9" fmla="*/ 123825 h 423862"/>
                  <a:gd name="connsiteX10" fmla="*/ 350043 w 422275"/>
                  <a:gd name="connsiteY10" fmla="*/ 145256 h 423862"/>
                  <a:gd name="connsiteX11" fmla="*/ 228600 w 422275"/>
                  <a:gd name="connsiteY11" fmla="*/ 204787 h 423862"/>
                  <a:gd name="connsiteX12" fmla="*/ 221456 w 422275"/>
                  <a:gd name="connsiteY12" fmla="*/ 240506 h 423862"/>
                  <a:gd name="connsiteX13" fmla="*/ 221456 w 422275"/>
                  <a:gd name="connsiteY13" fmla="*/ 285750 h 423862"/>
                  <a:gd name="connsiteX14" fmla="*/ 133350 w 422275"/>
                  <a:gd name="connsiteY14" fmla="*/ 285750 h 423862"/>
                  <a:gd name="connsiteX15" fmla="*/ 133350 w 422275"/>
                  <a:gd name="connsiteY15" fmla="*/ 359569 h 423862"/>
                  <a:gd name="connsiteX16" fmla="*/ 107156 w 422275"/>
                  <a:gd name="connsiteY16" fmla="*/ 373856 h 423862"/>
                  <a:gd name="connsiteX17" fmla="*/ 107156 w 422275"/>
                  <a:gd name="connsiteY17" fmla="*/ 423862 h 423862"/>
                  <a:gd name="connsiteX18" fmla="*/ 0 w 422275"/>
                  <a:gd name="connsiteY18" fmla="*/ 421481 h 423862"/>
                  <a:gd name="connsiteX19" fmla="*/ 33337 w 422275"/>
                  <a:gd name="connsiteY19" fmla="*/ 352425 h 423862"/>
                  <a:gd name="connsiteX20" fmla="*/ 50006 w 422275"/>
                  <a:gd name="connsiteY20" fmla="*/ 328612 h 423862"/>
                  <a:gd name="connsiteX21" fmla="*/ 69056 w 422275"/>
                  <a:gd name="connsiteY21" fmla="*/ 278606 h 423862"/>
                  <a:gd name="connsiteX22" fmla="*/ 95250 w 422275"/>
                  <a:gd name="connsiteY22" fmla="*/ 266700 h 423862"/>
                  <a:gd name="connsiteX23" fmla="*/ 107156 w 422275"/>
                  <a:gd name="connsiteY23" fmla="*/ 235744 h 423862"/>
                  <a:gd name="connsiteX24" fmla="*/ 176212 w 422275"/>
                  <a:gd name="connsiteY24" fmla="*/ 200025 h 423862"/>
                  <a:gd name="connsiteX25" fmla="*/ 197643 w 422275"/>
                  <a:gd name="connsiteY25" fmla="*/ 161925 h 423862"/>
                  <a:gd name="connsiteX26" fmla="*/ 195262 w 422275"/>
                  <a:gd name="connsiteY26" fmla="*/ 130969 h 423862"/>
                  <a:gd name="connsiteX27" fmla="*/ 221456 w 422275"/>
                  <a:gd name="connsiteY27" fmla="*/ 90487 h 423862"/>
                  <a:gd name="connsiteX28" fmla="*/ 266700 w 422275"/>
                  <a:gd name="connsiteY28" fmla="*/ 64294 h 423862"/>
                  <a:gd name="connsiteX0" fmla="*/ 266700 w 414655"/>
                  <a:gd name="connsiteY0" fmla="*/ 64294 h 423862"/>
                  <a:gd name="connsiteX1" fmla="*/ 292893 w 414655"/>
                  <a:gd name="connsiteY1" fmla="*/ 19050 h 423862"/>
                  <a:gd name="connsiteX2" fmla="*/ 304800 w 414655"/>
                  <a:gd name="connsiteY2" fmla="*/ 0 h 423862"/>
                  <a:gd name="connsiteX3" fmla="*/ 319087 w 414655"/>
                  <a:gd name="connsiteY3" fmla="*/ 19050 h 423862"/>
                  <a:gd name="connsiteX4" fmla="*/ 364331 w 414655"/>
                  <a:gd name="connsiteY4" fmla="*/ 23812 h 423862"/>
                  <a:gd name="connsiteX5" fmla="*/ 392906 w 414655"/>
                  <a:gd name="connsiteY5" fmla="*/ 33337 h 423862"/>
                  <a:gd name="connsiteX6" fmla="*/ 395287 w 414655"/>
                  <a:gd name="connsiteY6" fmla="*/ 57150 h 423862"/>
                  <a:gd name="connsiteX7" fmla="*/ 414337 w 414655"/>
                  <a:gd name="connsiteY7" fmla="*/ 100012 h 423862"/>
                  <a:gd name="connsiteX8" fmla="*/ 397197 w 414655"/>
                  <a:gd name="connsiteY8" fmla="*/ 112117 h 423862"/>
                  <a:gd name="connsiteX9" fmla="*/ 352425 w 414655"/>
                  <a:gd name="connsiteY9" fmla="*/ 123825 h 423862"/>
                  <a:gd name="connsiteX10" fmla="*/ 350043 w 414655"/>
                  <a:gd name="connsiteY10" fmla="*/ 145256 h 423862"/>
                  <a:gd name="connsiteX11" fmla="*/ 228600 w 414655"/>
                  <a:gd name="connsiteY11" fmla="*/ 204787 h 423862"/>
                  <a:gd name="connsiteX12" fmla="*/ 221456 w 414655"/>
                  <a:gd name="connsiteY12" fmla="*/ 240506 h 423862"/>
                  <a:gd name="connsiteX13" fmla="*/ 221456 w 414655"/>
                  <a:gd name="connsiteY13" fmla="*/ 285750 h 423862"/>
                  <a:gd name="connsiteX14" fmla="*/ 133350 w 414655"/>
                  <a:gd name="connsiteY14" fmla="*/ 285750 h 423862"/>
                  <a:gd name="connsiteX15" fmla="*/ 133350 w 414655"/>
                  <a:gd name="connsiteY15" fmla="*/ 359569 h 423862"/>
                  <a:gd name="connsiteX16" fmla="*/ 107156 w 414655"/>
                  <a:gd name="connsiteY16" fmla="*/ 373856 h 423862"/>
                  <a:gd name="connsiteX17" fmla="*/ 107156 w 414655"/>
                  <a:gd name="connsiteY17" fmla="*/ 423862 h 423862"/>
                  <a:gd name="connsiteX18" fmla="*/ 0 w 414655"/>
                  <a:gd name="connsiteY18" fmla="*/ 421481 h 423862"/>
                  <a:gd name="connsiteX19" fmla="*/ 33337 w 414655"/>
                  <a:gd name="connsiteY19" fmla="*/ 352425 h 423862"/>
                  <a:gd name="connsiteX20" fmla="*/ 50006 w 414655"/>
                  <a:gd name="connsiteY20" fmla="*/ 328612 h 423862"/>
                  <a:gd name="connsiteX21" fmla="*/ 69056 w 414655"/>
                  <a:gd name="connsiteY21" fmla="*/ 278606 h 423862"/>
                  <a:gd name="connsiteX22" fmla="*/ 95250 w 414655"/>
                  <a:gd name="connsiteY22" fmla="*/ 266700 h 423862"/>
                  <a:gd name="connsiteX23" fmla="*/ 107156 w 414655"/>
                  <a:gd name="connsiteY23" fmla="*/ 235744 h 423862"/>
                  <a:gd name="connsiteX24" fmla="*/ 176212 w 414655"/>
                  <a:gd name="connsiteY24" fmla="*/ 200025 h 423862"/>
                  <a:gd name="connsiteX25" fmla="*/ 197643 w 414655"/>
                  <a:gd name="connsiteY25" fmla="*/ 161925 h 423862"/>
                  <a:gd name="connsiteX26" fmla="*/ 195262 w 414655"/>
                  <a:gd name="connsiteY26" fmla="*/ 130969 h 423862"/>
                  <a:gd name="connsiteX27" fmla="*/ 221456 w 414655"/>
                  <a:gd name="connsiteY27" fmla="*/ 90487 h 423862"/>
                  <a:gd name="connsiteX28" fmla="*/ 266700 w 414655"/>
                  <a:gd name="connsiteY28" fmla="*/ 64294 h 4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14655" h="423862">
                    <a:moveTo>
                      <a:pt x="266700" y="64294"/>
                    </a:moveTo>
                    <a:cubicBezTo>
                      <a:pt x="276621" y="47030"/>
                      <a:pt x="286543" y="29766"/>
                      <a:pt x="292893" y="19050"/>
                    </a:cubicBezTo>
                    <a:cubicBezTo>
                      <a:pt x="299243" y="8334"/>
                      <a:pt x="300434" y="0"/>
                      <a:pt x="304800" y="0"/>
                    </a:cubicBezTo>
                    <a:cubicBezTo>
                      <a:pt x="309166" y="0"/>
                      <a:pt x="309165" y="15081"/>
                      <a:pt x="319087" y="19050"/>
                    </a:cubicBezTo>
                    <a:cubicBezTo>
                      <a:pt x="329009" y="23019"/>
                      <a:pt x="352028" y="21431"/>
                      <a:pt x="364331" y="23812"/>
                    </a:cubicBezTo>
                    <a:cubicBezTo>
                      <a:pt x="376634" y="26193"/>
                      <a:pt x="387747" y="27781"/>
                      <a:pt x="392906" y="33337"/>
                    </a:cubicBezTo>
                    <a:cubicBezTo>
                      <a:pt x="398065" y="38893"/>
                      <a:pt x="391715" y="46038"/>
                      <a:pt x="395287" y="57150"/>
                    </a:cubicBezTo>
                    <a:cubicBezTo>
                      <a:pt x="398859" y="68262"/>
                      <a:pt x="414019" y="90851"/>
                      <a:pt x="414337" y="100012"/>
                    </a:cubicBezTo>
                    <a:cubicBezTo>
                      <a:pt x="414655" y="109173"/>
                      <a:pt x="407516" y="108148"/>
                      <a:pt x="397197" y="112117"/>
                    </a:cubicBezTo>
                    <a:cubicBezTo>
                      <a:pt x="386878" y="116086"/>
                      <a:pt x="360284" y="118302"/>
                      <a:pt x="352425" y="123825"/>
                    </a:cubicBezTo>
                    <a:cubicBezTo>
                      <a:pt x="344566" y="129348"/>
                      <a:pt x="370680" y="131762"/>
                      <a:pt x="350043" y="145256"/>
                    </a:cubicBezTo>
                    <a:cubicBezTo>
                      <a:pt x="329406" y="158750"/>
                      <a:pt x="250031" y="188912"/>
                      <a:pt x="228600" y="204787"/>
                    </a:cubicBezTo>
                    <a:lnTo>
                      <a:pt x="221456" y="240506"/>
                    </a:lnTo>
                    <a:cubicBezTo>
                      <a:pt x="220265" y="254000"/>
                      <a:pt x="232965" y="277416"/>
                      <a:pt x="221456" y="285750"/>
                    </a:cubicBezTo>
                    <a:lnTo>
                      <a:pt x="133350" y="285750"/>
                    </a:lnTo>
                    <a:lnTo>
                      <a:pt x="133350" y="359569"/>
                    </a:lnTo>
                    <a:cubicBezTo>
                      <a:pt x="124619" y="364331"/>
                      <a:pt x="111918" y="361553"/>
                      <a:pt x="107156" y="373856"/>
                    </a:cubicBezTo>
                    <a:lnTo>
                      <a:pt x="107156" y="423862"/>
                    </a:lnTo>
                    <a:lnTo>
                      <a:pt x="0" y="421481"/>
                    </a:lnTo>
                    <a:lnTo>
                      <a:pt x="33337" y="352425"/>
                    </a:lnTo>
                    <a:lnTo>
                      <a:pt x="50006" y="328612"/>
                    </a:lnTo>
                    <a:lnTo>
                      <a:pt x="69056" y="278606"/>
                    </a:lnTo>
                    <a:lnTo>
                      <a:pt x="95250" y="266700"/>
                    </a:lnTo>
                    <a:lnTo>
                      <a:pt x="107156" y="235744"/>
                    </a:lnTo>
                    <a:lnTo>
                      <a:pt x="176212" y="200025"/>
                    </a:lnTo>
                    <a:lnTo>
                      <a:pt x="197643" y="161925"/>
                    </a:lnTo>
                    <a:lnTo>
                      <a:pt x="195262" y="130969"/>
                    </a:lnTo>
                    <a:lnTo>
                      <a:pt x="221456" y="90487"/>
                    </a:lnTo>
                    <a:lnTo>
                      <a:pt x="266700" y="6429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s-ES" sz="2159">
                  <a:latin typeface="Times New Roman" pitchFamily="18" charset="0"/>
                </a:endParaRPr>
              </a:p>
            </p:txBody>
          </p:sp>
          <p:grpSp>
            <p:nvGrpSpPr>
              <p:cNvPr id="14" name="493 Grupo"/>
              <p:cNvGrpSpPr>
                <a:grpSpLocks/>
              </p:cNvGrpSpPr>
              <p:nvPr/>
            </p:nvGrpSpPr>
            <p:grpSpPr bwMode="auto">
              <a:xfrm>
                <a:off x="7" y="1550924"/>
                <a:ext cx="8930255" cy="4509792"/>
                <a:chOff x="107269" y="1174073"/>
                <a:chExt cx="8930255" cy="4510416"/>
              </a:xfrm>
              <a:grpFill/>
            </p:grpSpPr>
            <p:sp>
              <p:nvSpPr>
                <p:cNvPr id="15" name="Freeform 4"/>
                <p:cNvSpPr>
                  <a:spLocks/>
                </p:cNvSpPr>
                <p:nvPr/>
              </p:nvSpPr>
              <p:spPr bwMode="auto">
                <a:xfrm>
                  <a:off x="7087749" y="3345821"/>
                  <a:ext cx="7103" cy="7103"/>
                </a:xfrm>
                <a:custGeom>
                  <a:avLst/>
                  <a:gdLst>
                    <a:gd name="T0" fmla="*/ 7103 w 12"/>
                    <a:gd name="T1" fmla="*/ 0 h 2"/>
                    <a:gd name="T2" fmla="*/ 0 w 12"/>
                    <a:gd name="T3" fmla="*/ 7103 h 2"/>
                    <a:gd name="T4" fmla="*/ 0 w 12"/>
                    <a:gd name="T5" fmla="*/ 0 h 2"/>
                    <a:gd name="T6" fmla="*/ 7103 w 12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2"/>
                    <a:gd name="T14" fmla="*/ 12 w 1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2">
                      <a:moveTo>
                        <a:pt x="12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" name="Freeform 5"/>
                <p:cNvSpPr>
                  <a:spLocks/>
                </p:cNvSpPr>
                <p:nvPr/>
              </p:nvSpPr>
              <p:spPr bwMode="auto">
                <a:xfrm>
                  <a:off x="7226257" y="3264136"/>
                  <a:ext cx="266363" cy="241503"/>
                </a:xfrm>
                <a:custGeom>
                  <a:avLst/>
                  <a:gdLst>
                    <a:gd name="T0" fmla="*/ 266363 w 337"/>
                    <a:gd name="T1" fmla="*/ 99620 h 320"/>
                    <a:gd name="T2" fmla="*/ 241861 w 337"/>
                    <a:gd name="T3" fmla="*/ 98111 h 320"/>
                    <a:gd name="T4" fmla="*/ 240280 w 337"/>
                    <a:gd name="T5" fmla="*/ 98111 h 320"/>
                    <a:gd name="T6" fmla="*/ 228424 w 337"/>
                    <a:gd name="T7" fmla="*/ 136600 h 320"/>
                    <a:gd name="T8" fmla="*/ 231586 w 337"/>
                    <a:gd name="T9" fmla="*/ 138864 h 320"/>
                    <a:gd name="T10" fmla="*/ 226843 w 337"/>
                    <a:gd name="T11" fmla="*/ 150939 h 320"/>
                    <a:gd name="T12" fmla="*/ 207874 w 337"/>
                    <a:gd name="T13" fmla="*/ 159996 h 320"/>
                    <a:gd name="T14" fmla="*/ 197599 w 337"/>
                    <a:gd name="T15" fmla="*/ 177354 h 320"/>
                    <a:gd name="T16" fmla="*/ 199179 w 337"/>
                    <a:gd name="T17" fmla="*/ 190184 h 320"/>
                    <a:gd name="T18" fmla="*/ 203922 w 337"/>
                    <a:gd name="T19" fmla="*/ 190184 h 320"/>
                    <a:gd name="T20" fmla="*/ 196018 w 337"/>
                    <a:gd name="T21" fmla="*/ 197731 h 320"/>
                    <a:gd name="T22" fmla="*/ 191275 w 337"/>
                    <a:gd name="T23" fmla="*/ 209806 h 320"/>
                    <a:gd name="T24" fmla="*/ 184952 w 337"/>
                    <a:gd name="T25" fmla="*/ 230183 h 320"/>
                    <a:gd name="T26" fmla="*/ 150175 w 337"/>
                    <a:gd name="T27" fmla="*/ 241503 h 320"/>
                    <a:gd name="T28" fmla="*/ 145433 w 337"/>
                    <a:gd name="T29" fmla="*/ 227164 h 320"/>
                    <a:gd name="T30" fmla="*/ 140690 w 337"/>
                    <a:gd name="T31" fmla="*/ 221126 h 320"/>
                    <a:gd name="T32" fmla="*/ 124092 w 337"/>
                    <a:gd name="T33" fmla="*/ 222636 h 320"/>
                    <a:gd name="T34" fmla="*/ 107494 w 337"/>
                    <a:gd name="T35" fmla="*/ 213579 h 320"/>
                    <a:gd name="T36" fmla="*/ 91686 w 337"/>
                    <a:gd name="T37" fmla="*/ 222636 h 320"/>
                    <a:gd name="T38" fmla="*/ 76668 w 337"/>
                    <a:gd name="T39" fmla="*/ 224145 h 320"/>
                    <a:gd name="T40" fmla="*/ 71926 w 337"/>
                    <a:gd name="T41" fmla="*/ 209806 h 320"/>
                    <a:gd name="T42" fmla="*/ 49004 w 337"/>
                    <a:gd name="T43" fmla="*/ 212070 h 320"/>
                    <a:gd name="T44" fmla="*/ 50585 w 337"/>
                    <a:gd name="T45" fmla="*/ 209806 h 320"/>
                    <a:gd name="T46" fmla="*/ 44262 w 337"/>
                    <a:gd name="T47" fmla="*/ 212070 h 320"/>
                    <a:gd name="T48" fmla="*/ 32406 w 337"/>
                    <a:gd name="T49" fmla="*/ 209806 h 320"/>
                    <a:gd name="T50" fmla="*/ 27664 w 337"/>
                    <a:gd name="T51" fmla="*/ 180373 h 320"/>
                    <a:gd name="T52" fmla="*/ 27664 w 337"/>
                    <a:gd name="T53" fmla="*/ 158486 h 320"/>
                    <a:gd name="T54" fmla="*/ 10275 w 337"/>
                    <a:gd name="T55" fmla="*/ 146411 h 320"/>
                    <a:gd name="T56" fmla="*/ 13437 w 337"/>
                    <a:gd name="T57" fmla="*/ 144902 h 320"/>
                    <a:gd name="T58" fmla="*/ 6323 w 337"/>
                    <a:gd name="T59" fmla="*/ 132072 h 320"/>
                    <a:gd name="T60" fmla="*/ 7904 w 337"/>
                    <a:gd name="T61" fmla="*/ 123016 h 320"/>
                    <a:gd name="T62" fmla="*/ 0 w 337"/>
                    <a:gd name="T63" fmla="*/ 101129 h 320"/>
                    <a:gd name="T64" fmla="*/ 7904 w 337"/>
                    <a:gd name="T65" fmla="*/ 86790 h 320"/>
                    <a:gd name="T66" fmla="*/ 4742 w 337"/>
                    <a:gd name="T67" fmla="*/ 86790 h 320"/>
                    <a:gd name="T68" fmla="*/ 18179 w 337"/>
                    <a:gd name="T69" fmla="*/ 66413 h 320"/>
                    <a:gd name="T70" fmla="*/ 24502 w 337"/>
                    <a:gd name="T71" fmla="*/ 85281 h 320"/>
                    <a:gd name="T72" fmla="*/ 50585 w 337"/>
                    <a:gd name="T73" fmla="*/ 99620 h 320"/>
                    <a:gd name="T74" fmla="*/ 85363 w 337"/>
                    <a:gd name="T75" fmla="*/ 92073 h 320"/>
                    <a:gd name="T76" fmla="*/ 94847 w 337"/>
                    <a:gd name="T77" fmla="*/ 80753 h 320"/>
                    <a:gd name="T78" fmla="*/ 130415 w 337"/>
                    <a:gd name="T79" fmla="*/ 88300 h 320"/>
                    <a:gd name="T80" fmla="*/ 151756 w 337"/>
                    <a:gd name="T81" fmla="*/ 80753 h 320"/>
                    <a:gd name="T82" fmla="*/ 163612 w 337"/>
                    <a:gd name="T83" fmla="*/ 55848 h 320"/>
                    <a:gd name="T84" fmla="*/ 169935 w 337"/>
                    <a:gd name="T85" fmla="*/ 41508 h 320"/>
                    <a:gd name="T86" fmla="*/ 176258 w 337"/>
                    <a:gd name="T87" fmla="*/ 20377 h 320"/>
                    <a:gd name="T88" fmla="*/ 181791 w 337"/>
                    <a:gd name="T89" fmla="*/ 0 h 320"/>
                    <a:gd name="T90" fmla="*/ 205503 w 337"/>
                    <a:gd name="T91" fmla="*/ 3019 h 320"/>
                    <a:gd name="T92" fmla="*/ 228424 w 337"/>
                    <a:gd name="T93" fmla="*/ 6038 h 320"/>
                    <a:gd name="T94" fmla="*/ 225262 w 337"/>
                    <a:gd name="T95" fmla="*/ 10566 h 320"/>
                    <a:gd name="T96" fmla="*/ 226843 w 337"/>
                    <a:gd name="T97" fmla="*/ 13585 h 320"/>
                    <a:gd name="T98" fmla="*/ 232376 w 337"/>
                    <a:gd name="T99" fmla="*/ 21886 h 320"/>
                    <a:gd name="T100" fmla="*/ 226843 w 337"/>
                    <a:gd name="T101" fmla="*/ 20377 h 320"/>
                    <a:gd name="T102" fmla="*/ 217359 w 337"/>
                    <a:gd name="T103" fmla="*/ 21886 h 320"/>
                    <a:gd name="T104" fmla="*/ 222101 w 337"/>
                    <a:gd name="T105" fmla="*/ 33961 h 320"/>
                    <a:gd name="T106" fmla="*/ 241861 w 337"/>
                    <a:gd name="T107" fmla="*/ 61885 h 320"/>
                    <a:gd name="T108" fmla="*/ 237118 w 337"/>
                    <a:gd name="T109" fmla="*/ 71696 h 320"/>
                    <a:gd name="T110" fmla="*/ 251346 w 337"/>
                    <a:gd name="T111" fmla="*/ 86790 h 320"/>
                    <a:gd name="T112" fmla="*/ 266363 w 337"/>
                    <a:gd name="T113" fmla="*/ 99620 h 320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337"/>
                    <a:gd name="T172" fmla="*/ 0 h 320"/>
                    <a:gd name="T173" fmla="*/ 337 w 337"/>
                    <a:gd name="T174" fmla="*/ 320 h 320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337" h="320">
                      <a:moveTo>
                        <a:pt x="337" y="132"/>
                      </a:moveTo>
                      <a:lnTo>
                        <a:pt x="306" y="130"/>
                      </a:lnTo>
                      <a:lnTo>
                        <a:pt x="304" y="130"/>
                      </a:lnTo>
                      <a:lnTo>
                        <a:pt x="289" y="181"/>
                      </a:lnTo>
                      <a:lnTo>
                        <a:pt x="293" y="184"/>
                      </a:lnTo>
                      <a:lnTo>
                        <a:pt x="287" y="200"/>
                      </a:lnTo>
                      <a:lnTo>
                        <a:pt x="263" y="212"/>
                      </a:lnTo>
                      <a:lnTo>
                        <a:pt x="250" y="235"/>
                      </a:lnTo>
                      <a:lnTo>
                        <a:pt x="252" y="252"/>
                      </a:lnTo>
                      <a:lnTo>
                        <a:pt x="258" y="252"/>
                      </a:lnTo>
                      <a:lnTo>
                        <a:pt x="248" y="262"/>
                      </a:lnTo>
                      <a:lnTo>
                        <a:pt x="242" y="278"/>
                      </a:lnTo>
                      <a:lnTo>
                        <a:pt x="234" y="305"/>
                      </a:lnTo>
                      <a:lnTo>
                        <a:pt x="190" y="320"/>
                      </a:lnTo>
                      <a:lnTo>
                        <a:pt x="184" y="301"/>
                      </a:lnTo>
                      <a:lnTo>
                        <a:pt x="178" y="293"/>
                      </a:lnTo>
                      <a:lnTo>
                        <a:pt x="157" y="295"/>
                      </a:lnTo>
                      <a:lnTo>
                        <a:pt x="136" y="283"/>
                      </a:lnTo>
                      <a:lnTo>
                        <a:pt x="116" y="295"/>
                      </a:lnTo>
                      <a:lnTo>
                        <a:pt x="97" y="297"/>
                      </a:lnTo>
                      <a:lnTo>
                        <a:pt x="91" y="278"/>
                      </a:lnTo>
                      <a:lnTo>
                        <a:pt x="62" y="281"/>
                      </a:lnTo>
                      <a:lnTo>
                        <a:pt x="64" y="278"/>
                      </a:lnTo>
                      <a:lnTo>
                        <a:pt x="56" y="281"/>
                      </a:lnTo>
                      <a:lnTo>
                        <a:pt x="41" y="278"/>
                      </a:lnTo>
                      <a:lnTo>
                        <a:pt x="35" y="239"/>
                      </a:lnTo>
                      <a:lnTo>
                        <a:pt x="35" y="210"/>
                      </a:lnTo>
                      <a:lnTo>
                        <a:pt x="13" y="194"/>
                      </a:lnTo>
                      <a:lnTo>
                        <a:pt x="17" y="192"/>
                      </a:lnTo>
                      <a:lnTo>
                        <a:pt x="8" y="175"/>
                      </a:lnTo>
                      <a:lnTo>
                        <a:pt x="10" y="163"/>
                      </a:lnTo>
                      <a:lnTo>
                        <a:pt x="0" y="134"/>
                      </a:lnTo>
                      <a:lnTo>
                        <a:pt x="10" y="115"/>
                      </a:lnTo>
                      <a:lnTo>
                        <a:pt x="6" y="115"/>
                      </a:lnTo>
                      <a:lnTo>
                        <a:pt x="23" y="88"/>
                      </a:lnTo>
                      <a:lnTo>
                        <a:pt x="31" y="113"/>
                      </a:lnTo>
                      <a:lnTo>
                        <a:pt x="64" y="132"/>
                      </a:lnTo>
                      <a:lnTo>
                        <a:pt x="108" y="122"/>
                      </a:lnTo>
                      <a:lnTo>
                        <a:pt x="120" y="107"/>
                      </a:lnTo>
                      <a:lnTo>
                        <a:pt x="165" y="117"/>
                      </a:lnTo>
                      <a:lnTo>
                        <a:pt x="192" y="107"/>
                      </a:lnTo>
                      <a:lnTo>
                        <a:pt x="207" y="74"/>
                      </a:lnTo>
                      <a:lnTo>
                        <a:pt x="215" y="55"/>
                      </a:lnTo>
                      <a:lnTo>
                        <a:pt x="223" y="27"/>
                      </a:lnTo>
                      <a:lnTo>
                        <a:pt x="230" y="0"/>
                      </a:lnTo>
                      <a:lnTo>
                        <a:pt x="260" y="4"/>
                      </a:lnTo>
                      <a:lnTo>
                        <a:pt x="289" y="8"/>
                      </a:lnTo>
                      <a:lnTo>
                        <a:pt x="285" y="14"/>
                      </a:lnTo>
                      <a:lnTo>
                        <a:pt x="287" y="18"/>
                      </a:lnTo>
                      <a:lnTo>
                        <a:pt x="294" y="29"/>
                      </a:lnTo>
                      <a:lnTo>
                        <a:pt x="287" y="27"/>
                      </a:lnTo>
                      <a:lnTo>
                        <a:pt x="275" y="29"/>
                      </a:lnTo>
                      <a:lnTo>
                        <a:pt x="281" y="45"/>
                      </a:lnTo>
                      <a:lnTo>
                        <a:pt x="306" y="82"/>
                      </a:lnTo>
                      <a:lnTo>
                        <a:pt x="300" y="95"/>
                      </a:lnTo>
                      <a:lnTo>
                        <a:pt x="318" y="115"/>
                      </a:lnTo>
                      <a:lnTo>
                        <a:pt x="337" y="13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" name="Freeform 6"/>
                <p:cNvSpPr>
                  <a:spLocks/>
                </p:cNvSpPr>
                <p:nvPr/>
              </p:nvSpPr>
              <p:spPr bwMode="auto">
                <a:xfrm>
                  <a:off x="6864004" y="3233948"/>
                  <a:ext cx="282345" cy="319636"/>
                </a:xfrm>
                <a:custGeom>
                  <a:avLst/>
                  <a:gdLst>
                    <a:gd name="T0" fmla="*/ 282345 w 368"/>
                    <a:gd name="T1" fmla="*/ 245251 h 434"/>
                    <a:gd name="T2" fmla="*/ 279276 w 368"/>
                    <a:gd name="T3" fmla="*/ 248197 h 434"/>
                    <a:gd name="T4" fmla="*/ 276207 w 368"/>
                    <a:gd name="T5" fmla="*/ 284285 h 434"/>
                    <a:gd name="T6" fmla="*/ 271604 w 368"/>
                    <a:gd name="T7" fmla="*/ 319636 h 434"/>
                    <a:gd name="T8" fmla="*/ 260095 w 368"/>
                    <a:gd name="T9" fmla="*/ 307852 h 434"/>
                    <a:gd name="T10" fmla="*/ 257026 w 368"/>
                    <a:gd name="T11" fmla="*/ 315217 h 434"/>
                    <a:gd name="T12" fmla="*/ 243216 w 368"/>
                    <a:gd name="T13" fmla="*/ 309325 h 434"/>
                    <a:gd name="T14" fmla="*/ 243216 w 368"/>
                    <a:gd name="T15" fmla="*/ 319636 h 434"/>
                    <a:gd name="T16" fmla="*/ 218664 w 368"/>
                    <a:gd name="T17" fmla="*/ 293859 h 434"/>
                    <a:gd name="T18" fmla="*/ 204854 w 368"/>
                    <a:gd name="T19" fmla="*/ 281339 h 434"/>
                    <a:gd name="T20" fmla="*/ 191810 w 368"/>
                    <a:gd name="T21" fmla="*/ 268082 h 434"/>
                    <a:gd name="T22" fmla="*/ 176466 w 368"/>
                    <a:gd name="T23" fmla="*/ 254089 h 434"/>
                    <a:gd name="T24" fmla="*/ 163423 w 368"/>
                    <a:gd name="T25" fmla="*/ 240832 h 434"/>
                    <a:gd name="T26" fmla="*/ 152681 w 368"/>
                    <a:gd name="T27" fmla="*/ 216528 h 434"/>
                    <a:gd name="T28" fmla="*/ 142707 w 368"/>
                    <a:gd name="T29" fmla="*/ 193697 h 434"/>
                    <a:gd name="T30" fmla="*/ 138104 w 368"/>
                    <a:gd name="T31" fmla="*/ 190751 h 434"/>
                    <a:gd name="T32" fmla="*/ 124293 w 368"/>
                    <a:gd name="T33" fmla="*/ 169392 h 434"/>
                    <a:gd name="T34" fmla="*/ 109716 w 368"/>
                    <a:gd name="T35" fmla="*/ 148034 h 434"/>
                    <a:gd name="T36" fmla="*/ 102043 w 368"/>
                    <a:gd name="T37" fmla="*/ 129622 h 434"/>
                    <a:gd name="T38" fmla="*/ 93603 w 368"/>
                    <a:gd name="T39" fmla="*/ 111210 h 434"/>
                    <a:gd name="T40" fmla="*/ 72888 w 368"/>
                    <a:gd name="T41" fmla="*/ 92798 h 434"/>
                    <a:gd name="T42" fmla="*/ 56009 w 368"/>
                    <a:gd name="T43" fmla="*/ 69966 h 434"/>
                    <a:gd name="T44" fmla="*/ 36828 w 368"/>
                    <a:gd name="T45" fmla="*/ 50818 h 434"/>
                    <a:gd name="T46" fmla="*/ 17647 w 368"/>
                    <a:gd name="T47" fmla="*/ 32405 h 434"/>
                    <a:gd name="T48" fmla="*/ 0 w 368"/>
                    <a:gd name="T49" fmla="*/ 0 h 434"/>
                    <a:gd name="T50" fmla="*/ 17647 w 368"/>
                    <a:gd name="T51" fmla="*/ 2946 h 434"/>
                    <a:gd name="T52" fmla="*/ 36828 w 368"/>
                    <a:gd name="T53" fmla="*/ 5155 h 434"/>
                    <a:gd name="T54" fmla="*/ 56009 w 368"/>
                    <a:gd name="T55" fmla="*/ 9574 h 434"/>
                    <a:gd name="T56" fmla="*/ 79793 w 368"/>
                    <a:gd name="T57" fmla="*/ 35351 h 434"/>
                    <a:gd name="T58" fmla="*/ 82862 w 368"/>
                    <a:gd name="T59" fmla="*/ 41243 h 434"/>
                    <a:gd name="T60" fmla="*/ 105112 w 368"/>
                    <a:gd name="T61" fmla="*/ 61129 h 434"/>
                    <a:gd name="T62" fmla="*/ 128897 w 368"/>
                    <a:gd name="T63" fmla="*/ 81014 h 434"/>
                    <a:gd name="T64" fmla="*/ 148078 w 368"/>
                    <a:gd name="T65" fmla="*/ 100899 h 434"/>
                    <a:gd name="T66" fmla="*/ 146543 w 368"/>
                    <a:gd name="T67" fmla="*/ 91325 h 434"/>
                    <a:gd name="T68" fmla="*/ 169560 w 368"/>
                    <a:gd name="T69" fmla="*/ 108264 h 434"/>
                    <a:gd name="T70" fmla="*/ 182604 w 368"/>
                    <a:gd name="T71" fmla="*/ 123730 h 434"/>
                    <a:gd name="T72" fmla="*/ 206388 w 368"/>
                    <a:gd name="T73" fmla="*/ 141406 h 434"/>
                    <a:gd name="T74" fmla="*/ 210992 w 368"/>
                    <a:gd name="T75" fmla="*/ 142879 h 434"/>
                    <a:gd name="T76" fmla="*/ 225569 w 368"/>
                    <a:gd name="T77" fmla="*/ 155399 h 434"/>
                    <a:gd name="T78" fmla="*/ 215595 w 368"/>
                    <a:gd name="T79" fmla="*/ 161291 h 434"/>
                    <a:gd name="T80" fmla="*/ 218664 w 368"/>
                    <a:gd name="T81" fmla="*/ 167183 h 434"/>
                    <a:gd name="T82" fmla="*/ 215595 w 368"/>
                    <a:gd name="T83" fmla="*/ 169392 h 434"/>
                    <a:gd name="T84" fmla="*/ 218664 w 368"/>
                    <a:gd name="T85" fmla="*/ 179703 h 434"/>
                    <a:gd name="T86" fmla="*/ 239379 w 368"/>
                    <a:gd name="T87" fmla="*/ 184122 h 434"/>
                    <a:gd name="T88" fmla="*/ 243216 w 368"/>
                    <a:gd name="T89" fmla="*/ 205480 h 434"/>
                    <a:gd name="T90" fmla="*/ 247819 w 368"/>
                    <a:gd name="T91" fmla="*/ 211372 h 434"/>
                    <a:gd name="T92" fmla="*/ 249354 w 368"/>
                    <a:gd name="T93" fmla="*/ 222420 h 434"/>
                    <a:gd name="T94" fmla="*/ 268535 w 368"/>
                    <a:gd name="T95" fmla="*/ 222420 h 434"/>
                    <a:gd name="T96" fmla="*/ 282345 w 368"/>
                    <a:gd name="T97" fmla="*/ 245251 h 434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68"/>
                    <a:gd name="T148" fmla="*/ 0 h 434"/>
                    <a:gd name="T149" fmla="*/ 368 w 368"/>
                    <a:gd name="T150" fmla="*/ 434 h 434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68" h="434">
                      <a:moveTo>
                        <a:pt x="368" y="333"/>
                      </a:moveTo>
                      <a:lnTo>
                        <a:pt x="364" y="337"/>
                      </a:lnTo>
                      <a:lnTo>
                        <a:pt x="360" y="386"/>
                      </a:lnTo>
                      <a:lnTo>
                        <a:pt x="354" y="434"/>
                      </a:lnTo>
                      <a:lnTo>
                        <a:pt x="339" y="418"/>
                      </a:lnTo>
                      <a:lnTo>
                        <a:pt x="335" y="428"/>
                      </a:lnTo>
                      <a:lnTo>
                        <a:pt x="317" y="420"/>
                      </a:lnTo>
                      <a:lnTo>
                        <a:pt x="317" y="434"/>
                      </a:lnTo>
                      <a:lnTo>
                        <a:pt x="285" y="399"/>
                      </a:lnTo>
                      <a:lnTo>
                        <a:pt x="267" y="382"/>
                      </a:lnTo>
                      <a:lnTo>
                        <a:pt x="250" y="364"/>
                      </a:lnTo>
                      <a:lnTo>
                        <a:pt x="230" y="345"/>
                      </a:lnTo>
                      <a:lnTo>
                        <a:pt x="213" y="327"/>
                      </a:lnTo>
                      <a:lnTo>
                        <a:pt x="199" y="294"/>
                      </a:lnTo>
                      <a:lnTo>
                        <a:pt x="186" y="263"/>
                      </a:lnTo>
                      <a:lnTo>
                        <a:pt x="180" y="259"/>
                      </a:lnTo>
                      <a:lnTo>
                        <a:pt x="162" y="230"/>
                      </a:lnTo>
                      <a:lnTo>
                        <a:pt x="143" y="201"/>
                      </a:lnTo>
                      <a:lnTo>
                        <a:pt x="133" y="176"/>
                      </a:lnTo>
                      <a:lnTo>
                        <a:pt x="122" y="151"/>
                      </a:lnTo>
                      <a:lnTo>
                        <a:pt x="95" y="126"/>
                      </a:lnTo>
                      <a:lnTo>
                        <a:pt x="73" y="95"/>
                      </a:lnTo>
                      <a:lnTo>
                        <a:pt x="48" y="69"/>
                      </a:lnTo>
                      <a:lnTo>
                        <a:pt x="23" y="44"/>
                      </a:lnTo>
                      <a:lnTo>
                        <a:pt x="0" y="0"/>
                      </a:lnTo>
                      <a:lnTo>
                        <a:pt x="23" y="4"/>
                      </a:lnTo>
                      <a:lnTo>
                        <a:pt x="48" y="7"/>
                      </a:lnTo>
                      <a:lnTo>
                        <a:pt x="73" y="13"/>
                      </a:lnTo>
                      <a:lnTo>
                        <a:pt x="104" y="48"/>
                      </a:lnTo>
                      <a:lnTo>
                        <a:pt x="108" y="56"/>
                      </a:lnTo>
                      <a:lnTo>
                        <a:pt x="137" y="83"/>
                      </a:lnTo>
                      <a:lnTo>
                        <a:pt x="168" y="110"/>
                      </a:lnTo>
                      <a:lnTo>
                        <a:pt x="193" y="137"/>
                      </a:lnTo>
                      <a:lnTo>
                        <a:pt x="191" y="124"/>
                      </a:lnTo>
                      <a:lnTo>
                        <a:pt x="221" y="147"/>
                      </a:lnTo>
                      <a:lnTo>
                        <a:pt x="238" y="168"/>
                      </a:lnTo>
                      <a:lnTo>
                        <a:pt x="269" y="192"/>
                      </a:lnTo>
                      <a:lnTo>
                        <a:pt x="275" y="194"/>
                      </a:lnTo>
                      <a:lnTo>
                        <a:pt x="294" y="211"/>
                      </a:lnTo>
                      <a:lnTo>
                        <a:pt x="281" y="219"/>
                      </a:lnTo>
                      <a:lnTo>
                        <a:pt x="285" y="227"/>
                      </a:lnTo>
                      <a:lnTo>
                        <a:pt x="281" y="230"/>
                      </a:lnTo>
                      <a:lnTo>
                        <a:pt x="285" y="244"/>
                      </a:lnTo>
                      <a:lnTo>
                        <a:pt x="312" y="250"/>
                      </a:lnTo>
                      <a:lnTo>
                        <a:pt x="317" y="279"/>
                      </a:lnTo>
                      <a:lnTo>
                        <a:pt x="323" y="287"/>
                      </a:lnTo>
                      <a:lnTo>
                        <a:pt x="325" y="302"/>
                      </a:lnTo>
                      <a:lnTo>
                        <a:pt x="350" y="302"/>
                      </a:lnTo>
                      <a:lnTo>
                        <a:pt x="368" y="33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" name="Freeform 7"/>
                <p:cNvSpPr>
                  <a:spLocks/>
                </p:cNvSpPr>
                <p:nvPr/>
              </p:nvSpPr>
              <p:spPr bwMode="auto">
                <a:xfrm>
                  <a:off x="7810480" y="3399093"/>
                  <a:ext cx="259260" cy="248606"/>
                </a:xfrm>
                <a:custGeom>
                  <a:avLst/>
                  <a:gdLst>
                    <a:gd name="T0" fmla="*/ 197980 w 330"/>
                    <a:gd name="T1" fmla="*/ 209432 h 330"/>
                    <a:gd name="T2" fmla="*/ 202694 w 330"/>
                    <a:gd name="T3" fmla="*/ 219225 h 330"/>
                    <a:gd name="T4" fmla="*/ 231763 w 330"/>
                    <a:gd name="T5" fmla="*/ 232786 h 330"/>
                    <a:gd name="T6" fmla="*/ 248261 w 330"/>
                    <a:gd name="T7" fmla="*/ 225252 h 330"/>
                    <a:gd name="T8" fmla="*/ 252975 w 330"/>
                    <a:gd name="T9" fmla="*/ 178544 h 330"/>
                    <a:gd name="T10" fmla="*/ 257689 w 330"/>
                    <a:gd name="T11" fmla="*/ 131837 h 330"/>
                    <a:gd name="T12" fmla="*/ 259260 w 330"/>
                    <a:gd name="T13" fmla="*/ 85129 h 330"/>
                    <a:gd name="T14" fmla="*/ 241976 w 330"/>
                    <a:gd name="T15" fmla="*/ 57255 h 330"/>
                    <a:gd name="T16" fmla="*/ 176768 w 330"/>
                    <a:gd name="T17" fmla="*/ 29381 h 330"/>
                    <a:gd name="T18" fmla="*/ 135915 w 330"/>
                    <a:gd name="T19" fmla="*/ 57255 h 330"/>
                    <a:gd name="T20" fmla="*/ 95848 w 330"/>
                    <a:gd name="T21" fmla="*/ 73075 h 330"/>
                    <a:gd name="T22" fmla="*/ 85634 w 330"/>
                    <a:gd name="T23" fmla="*/ 66295 h 330"/>
                    <a:gd name="T24" fmla="*/ 79349 w 330"/>
                    <a:gd name="T25" fmla="*/ 21094 h 330"/>
                    <a:gd name="T26" fmla="*/ 51852 w 330"/>
                    <a:gd name="T27" fmla="*/ 3013 h 330"/>
                    <a:gd name="T28" fmla="*/ 4714 w 330"/>
                    <a:gd name="T29" fmla="*/ 15067 h 330"/>
                    <a:gd name="T30" fmla="*/ 19641 w 330"/>
                    <a:gd name="T31" fmla="*/ 35408 h 330"/>
                    <a:gd name="T32" fmla="*/ 51852 w 330"/>
                    <a:gd name="T33" fmla="*/ 51228 h 330"/>
                    <a:gd name="T34" fmla="*/ 69922 w 330"/>
                    <a:gd name="T35" fmla="*/ 55748 h 330"/>
                    <a:gd name="T36" fmla="*/ 65208 w 330"/>
                    <a:gd name="T37" fmla="*/ 60268 h 330"/>
                    <a:gd name="T38" fmla="*/ 33782 w 330"/>
                    <a:gd name="T39" fmla="*/ 66295 h 330"/>
                    <a:gd name="T40" fmla="*/ 45567 w 330"/>
                    <a:gd name="T41" fmla="*/ 89649 h 330"/>
                    <a:gd name="T42" fmla="*/ 54995 w 330"/>
                    <a:gd name="T43" fmla="*/ 102456 h 330"/>
                    <a:gd name="T44" fmla="*/ 66779 w 330"/>
                    <a:gd name="T45" fmla="*/ 92662 h 330"/>
                    <a:gd name="T46" fmla="*/ 95848 w 330"/>
                    <a:gd name="T47" fmla="*/ 100949 h 330"/>
                    <a:gd name="T48" fmla="*/ 114703 w 330"/>
                    <a:gd name="T49" fmla="*/ 116016 h 330"/>
                    <a:gd name="T50" fmla="*/ 152413 w 330"/>
                    <a:gd name="T51" fmla="*/ 130330 h 330"/>
                    <a:gd name="T52" fmla="*/ 181482 w 330"/>
                    <a:gd name="T53" fmla="*/ 150670 h 330"/>
                    <a:gd name="T54" fmla="*/ 202694 w 330"/>
                    <a:gd name="T55" fmla="*/ 187585 h 330"/>
                    <a:gd name="T56" fmla="*/ 204265 w 330"/>
                    <a:gd name="T57" fmla="*/ 194365 h 330"/>
                    <a:gd name="T58" fmla="*/ 194838 w 330"/>
                    <a:gd name="T59" fmla="*/ 203405 h 330"/>
                    <a:gd name="T60" fmla="*/ 163412 w 330"/>
                    <a:gd name="T61" fmla="*/ 228266 h 330"/>
                    <a:gd name="T62" fmla="*/ 196409 w 330"/>
                    <a:gd name="T63" fmla="*/ 207925 h 33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30"/>
                    <a:gd name="T97" fmla="*/ 0 h 330"/>
                    <a:gd name="T98" fmla="*/ 330 w 330"/>
                    <a:gd name="T99" fmla="*/ 330 h 33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30" h="330">
                      <a:moveTo>
                        <a:pt x="250" y="276"/>
                      </a:moveTo>
                      <a:lnTo>
                        <a:pt x="252" y="278"/>
                      </a:lnTo>
                      <a:lnTo>
                        <a:pt x="250" y="295"/>
                      </a:lnTo>
                      <a:lnTo>
                        <a:pt x="258" y="291"/>
                      </a:lnTo>
                      <a:lnTo>
                        <a:pt x="287" y="287"/>
                      </a:lnTo>
                      <a:lnTo>
                        <a:pt x="295" y="309"/>
                      </a:lnTo>
                      <a:lnTo>
                        <a:pt x="314" y="330"/>
                      </a:lnTo>
                      <a:lnTo>
                        <a:pt x="316" y="299"/>
                      </a:lnTo>
                      <a:lnTo>
                        <a:pt x="320" y="268"/>
                      </a:lnTo>
                      <a:lnTo>
                        <a:pt x="322" y="237"/>
                      </a:lnTo>
                      <a:lnTo>
                        <a:pt x="324" y="206"/>
                      </a:lnTo>
                      <a:lnTo>
                        <a:pt x="328" y="175"/>
                      </a:lnTo>
                      <a:lnTo>
                        <a:pt x="328" y="144"/>
                      </a:lnTo>
                      <a:lnTo>
                        <a:pt x="330" y="113"/>
                      </a:lnTo>
                      <a:lnTo>
                        <a:pt x="330" y="82"/>
                      </a:lnTo>
                      <a:lnTo>
                        <a:pt x="308" y="76"/>
                      </a:lnTo>
                      <a:lnTo>
                        <a:pt x="268" y="59"/>
                      </a:lnTo>
                      <a:lnTo>
                        <a:pt x="225" y="39"/>
                      </a:lnTo>
                      <a:lnTo>
                        <a:pt x="204" y="57"/>
                      </a:lnTo>
                      <a:lnTo>
                        <a:pt x="173" y="76"/>
                      </a:lnTo>
                      <a:lnTo>
                        <a:pt x="138" y="111"/>
                      </a:lnTo>
                      <a:lnTo>
                        <a:pt x="122" y="97"/>
                      </a:lnTo>
                      <a:lnTo>
                        <a:pt x="111" y="80"/>
                      </a:lnTo>
                      <a:lnTo>
                        <a:pt x="109" y="88"/>
                      </a:lnTo>
                      <a:lnTo>
                        <a:pt x="101" y="45"/>
                      </a:lnTo>
                      <a:lnTo>
                        <a:pt x="101" y="28"/>
                      </a:lnTo>
                      <a:lnTo>
                        <a:pt x="97" y="10"/>
                      </a:lnTo>
                      <a:lnTo>
                        <a:pt x="66" y="4"/>
                      </a:lnTo>
                      <a:lnTo>
                        <a:pt x="35" y="0"/>
                      </a:lnTo>
                      <a:lnTo>
                        <a:pt x="6" y="20"/>
                      </a:lnTo>
                      <a:lnTo>
                        <a:pt x="0" y="37"/>
                      </a:lnTo>
                      <a:lnTo>
                        <a:pt x="25" y="47"/>
                      </a:lnTo>
                      <a:lnTo>
                        <a:pt x="43" y="68"/>
                      </a:lnTo>
                      <a:lnTo>
                        <a:pt x="66" y="68"/>
                      </a:lnTo>
                      <a:lnTo>
                        <a:pt x="91" y="68"/>
                      </a:lnTo>
                      <a:lnTo>
                        <a:pt x="89" y="74"/>
                      </a:lnTo>
                      <a:lnTo>
                        <a:pt x="87" y="78"/>
                      </a:lnTo>
                      <a:lnTo>
                        <a:pt x="83" y="80"/>
                      </a:lnTo>
                      <a:lnTo>
                        <a:pt x="72" y="78"/>
                      </a:lnTo>
                      <a:lnTo>
                        <a:pt x="43" y="88"/>
                      </a:lnTo>
                      <a:lnTo>
                        <a:pt x="29" y="94"/>
                      </a:lnTo>
                      <a:lnTo>
                        <a:pt x="58" y="119"/>
                      </a:lnTo>
                      <a:lnTo>
                        <a:pt x="54" y="134"/>
                      </a:lnTo>
                      <a:lnTo>
                        <a:pt x="70" y="136"/>
                      </a:lnTo>
                      <a:lnTo>
                        <a:pt x="91" y="101"/>
                      </a:lnTo>
                      <a:lnTo>
                        <a:pt x="85" y="123"/>
                      </a:lnTo>
                      <a:lnTo>
                        <a:pt x="114" y="134"/>
                      </a:lnTo>
                      <a:lnTo>
                        <a:pt x="122" y="134"/>
                      </a:lnTo>
                      <a:lnTo>
                        <a:pt x="120" y="144"/>
                      </a:lnTo>
                      <a:lnTo>
                        <a:pt x="146" y="154"/>
                      </a:lnTo>
                      <a:lnTo>
                        <a:pt x="169" y="163"/>
                      </a:lnTo>
                      <a:lnTo>
                        <a:pt x="194" y="173"/>
                      </a:lnTo>
                      <a:lnTo>
                        <a:pt x="219" y="183"/>
                      </a:lnTo>
                      <a:lnTo>
                        <a:pt x="231" y="200"/>
                      </a:lnTo>
                      <a:lnTo>
                        <a:pt x="248" y="243"/>
                      </a:lnTo>
                      <a:lnTo>
                        <a:pt x="258" y="249"/>
                      </a:lnTo>
                      <a:lnTo>
                        <a:pt x="242" y="249"/>
                      </a:lnTo>
                      <a:lnTo>
                        <a:pt x="260" y="258"/>
                      </a:lnTo>
                      <a:lnTo>
                        <a:pt x="244" y="258"/>
                      </a:lnTo>
                      <a:lnTo>
                        <a:pt x="248" y="270"/>
                      </a:lnTo>
                      <a:lnTo>
                        <a:pt x="227" y="268"/>
                      </a:lnTo>
                      <a:lnTo>
                        <a:pt x="208" y="303"/>
                      </a:lnTo>
                      <a:lnTo>
                        <a:pt x="237" y="297"/>
                      </a:lnTo>
                      <a:lnTo>
                        <a:pt x="250" y="27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" name="Freeform 8"/>
                <p:cNvSpPr>
                  <a:spLocks/>
                </p:cNvSpPr>
                <p:nvPr/>
              </p:nvSpPr>
              <p:spPr bwMode="auto">
                <a:xfrm>
                  <a:off x="7485517" y="3340493"/>
                  <a:ext cx="174024" cy="207763"/>
                </a:xfrm>
                <a:custGeom>
                  <a:avLst/>
                  <a:gdLst>
                    <a:gd name="T0" fmla="*/ 174024 w 215"/>
                    <a:gd name="T1" fmla="*/ 5957 h 279"/>
                    <a:gd name="T2" fmla="*/ 166739 w 215"/>
                    <a:gd name="T3" fmla="*/ 0 h 279"/>
                    <a:gd name="T4" fmla="*/ 140029 w 215"/>
                    <a:gd name="T5" fmla="*/ 24574 h 279"/>
                    <a:gd name="T6" fmla="*/ 105224 w 215"/>
                    <a:gd name="T7" fmla="*/ 18617 h 279"/>
                    <a:gd name="T8" fmla="*/ 70419 w 215"/>
                    <a:gd name="T9" fmla="*/ 14149 h 279"/>
                    <a:gd name="T10" fmla="*/ 55040 w 215"/>
                    <a:gd name="T11" fmla="*/ 12659 h 279"/>
                    <a:gd name="T12" fmla="*/ 44518 w 215"/>
                    <a:gd name="T13" fmla="*/ 24574 h 279"/>
                    <a:gd name="T14" fmla="*/ 38042 w 215"/>
                    <a:gd name="T15" fmla="*/ 24574 h 279"/>
                    <a:gd name="T16" fmla="*/ 25092 w 215"/>
                    <a:gd name="T17" fmla="*/ 47659 h 279"/>
                    <a:gd name="T18" fmla="*/ 26711 w 215"/>
                    <a:gd name="T19" fmla="*/ 72233 h 279"/>
                    <a:gd name="T20" fmla="*/ 23473 w 215"/>
                    <a:gd name="T21" fmla="*/ 69254 h 279"/>
                    <a:gd name="T22" fmla="*/ 12951 w 215"/>
                    <a:gd name="T23" fmla="*/ 95318 h 279"/>
                    <a:gd name="T24" fmla="*/ 0 w 215"/>
                    <a:gd name="T25" fmla="*/ 122871 h 279"/>
                    <a:gd name="T26" fmla="*/ 3238 w 215"/>
                    <a:gd name="T27" fmla="*/ 147445 h 279"/>
                    <a:gd name="T28" fmla="*/ 16188 w 215"/>
                    <a:gd name="T29" fmla="*/ 150423 h 279"/>
                    <a:gd name="T30" fmla="*/ 14569 w 215"/>
                    <a:gd name="T31" fmla="*/ 170529 h 279"/>
                    <a:gd name="T32" fmla="*/ 14569 w 215"/>
                    <a:gd name="T33" fmla="*/ 190636 h 279"/>
                    <a:gd name="T34" fmla="*/ 16188 w 215"/>
                    <a:gd name="T35" fmla="*/ 207763 h 279"/>
                    <a:gd name="T36" fmla="*/ 39661 w 215"/>
                    <a:gd name="T37" fmla="*/ 203295 h 279"/>
                    <a:gd name="T38" fmla="*/ 38042 w 215"/>
                    <a:gd name="T39" fmla="*/ 169040 h 279"/>
                    <a:gd name="T40" fmla="*/ 38042 w 215"/>
                    <a:gd name="T41" fmla="*/ 134041 h 279"/>
                    <a:gd name="T42" fmla="*/ 55040 w 215"/>
                    <a:gd name="T43" fmla="*/ 122871 h 279"/>
                    <a:gd name="T44" fmla="*/ 56659 w 215"/>
                    <a:gd name="T45" fmla="*/ 139998 h 279"/>
                    <a:gd name="T46" fmla="*/ 59897 w 215"/>
                    <a:gd name="T47" fmla="*/ 153402 h 279"/>
                    <a:gd name="T48" fmla="*/ 70419 w 215"/>
                    <a:gd name="T49" fmla="*/ 167551 h 279"/>
                    <a:gd name="T50" fmla="*/ 75276 w 215"/>
                    <a:gd name="T51" fmla="*/ 184678 h 279"/>
                    <a:gd name="T52" fmla="*/ 83370 w 215"/>
                    <a:gd name="T53" fmla="*/ 180210 h 279"/>
                    <a:gd name="T54" fmla="*/ 101986 w 215"/>
                    <a:gd name="T55" fmla="*/ 170529 h 279"/>
                    <a:gd name="T56" fmla="*/ 108461 w 215"/>
                    <a:gd name="T57" fmla="*/ 167551 h 279"/>
                    <a:gd name="T58" fmla="*/ 91464 w 215"/>
                    <a:gd name="T59" fmla="*/ 142977 h 279"/>
                    <a:gd name="T60" fmla="*/ 94701 w 215"/>
                    <a:gd name="T61" fmla="*/ 137019 h 279"/>
                    <a:gd name="T62" fmla="*/ 81751 w 215"/>
                    <a:gd name="T63" fmla="*/ 116913 h 279"/>
                    <a:gd name="T64" fmla="*/ 69610 w 215"/>
                    <a:gd name="T65" fmla="*/ 98296 h 279"/>
                    <a:gd name="T66" fmla="*/ 78513 w 215"/>
                    <a:gd name="T67" fmla="*/ 99786 h 279"/>
                    <a:gd name="T68" fmla="*/ 98748 w 215"/>
                    <a:gd name="T69" fmla="*/ 86382 h 279"/>
                    <a:gd name="T70" fmla="*/ 118174 w 215"/>
                    <a:gd name="T71" fmla="*/ 72233 h 279"/>
                    <a:gd name="T72" fmla="*/ 123840 w 215"/>
                    <a:gd name="T73" fmla="*/ 73722 h 279"/>
                    <a:gd name="T74" fmla="*/ 119793 w 215"/>
                    <a:gd name="T75" fmla="*/ 63297 h 279"/>
                    <a:gd name="T76" fmla="*/ 110080 w 215"/>
                    <a:gd name="T77" fmla="*/ 67765 h 279"/>
                    <a:gd name="T78" fmla="*/ 76894 w 215"/>
                    <a:gd name="T79" fmla="*/ 72233 h 279"/>
                    <a:gd name="T80" fmla="*/ 55040 w 215"/>
                    <a:gd name="T81" fmla="*/ 86382 h 279"/>
                    <a:gd name="T82" fmla="*/ 33186 w 215"/>
                    <a:gd name="T83" fmla="*/ 59574 h 279"/>
                    <a:gd name="T84" fmla="*/ 42899 w 215"/>
                    <a:gd name="T85" fmla="*/ 34999 h 279"/>
                    <a:gd name="T86" fmla="*/ 81751 w 215"/>
                    <a:gd name="T87" fmla="*/ 35744 h 279"/>
                    <a:gd name="T88" fmla="*/ 119793 w 215"/>
                    <a:gd name="T89" fmla="*/ 37234 h 279"/>
                    <a:gd name="T90" fmla="*/ 157026 w 215"/>
                    <a:gd name="T91" fmla="*/ 32021 h 279"/>
                    <a:gd name="T92" fmla="*/ 174024 w 215"/>
                    <a:gd name="T93" fmla="*/ 5957 h 279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15"/>
                    <a:gd name="T142" fmla="*/ 0 h 279"/>
                    <a:gd name="T143" fmla="*/ 215 w 215"/>
                    <a:gd name="T144" fmla="*/ 279 h 279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15" h="279">
                      <a:moveTo>
                        <a:pt x="215" y="8"/>
                      </a:moveTo>
                      <a:lnTo>
                        <a:pt x="206" y="0"/>
                      </a:lnTo>
                      <a:lnTo>
                        <a:pt x="173" y="33"/>
                      </a:lnTo>
                      <a:lnTo>
                        <a:pt x="130" y="25"/>
                      </a:lnTo>
                      <a:lnTo>
                        <a:pt x="87" y="19"/>
                      </a:lnTo>
                      <a:lnTo>
                        <a:pt x="68" y="17"/>
                      </a:lnTo>
                      <a:lnTo>
                        <a:pt x="55" y="33"/>
                      </a:lnTo>
                      <a:lnTo>
                        <a:pt x="47" y="33"/>
                      </a:lnTo>
                      <a:lnTo>
                        <a:pt x="31" y="64"/>
                      </a:lnTo>
                      <a:lnTo>
                        <a:pt x="33" y="97"/>
                      </a:lnTo>
                      <a:lnTo>
                        <a:pt x="29" y="93"/>
                      </a:lnTo>
                      <a:lnTo>
                        <a:pt x="16" y="128"/>
                      </a:lnTo>
                      <a:lnTo>
                        <a:pt x="0" y="165"/>
                      </a:lnTo>
                      <a:lnTo>
                        <a:pt x="4" y="198"/>
                      </a:lnTo>
                      <a:lnTo>
                        <a:pt x="20" y="202"/>
                      </a:lnTo>
                      <a:lnTo>
                        <a:pt x="18" y="229"/>
                      </a:lnTo>
                      <a:lnTo>
                        <a:pt x="18" y="256"/>
                      </a:lnTo>
                      <a:lnTo>
                        <a:pt x="20" y="279"/>
                      </a:lnTo>
                      <a:lnTo>
                        <a:pt x="49" y="273"/>
                      </a:lnTo>
                      <a:lnTo>
                        <a:pt x="47" y="227"/>
                      </a:lnTo>
                      <a:lnTo>
                        <a:pt x="47" y="180"/>
                      </a:lnTo>
                      <a:lnTo>
                        <a:pt x="68" y="165"/>
                      </a:lnTo>
                      <a:lnTo>
                        <a:pt x="70" y="188"/>
                      </a:lnTo>
                      <a:lnTo>
                        <a:pt x="74" y="206"/>
                      </a:lnTo>
                      <a:lnTo>
                        <a:pt x="87" y="225"/>
                      </a:lnTo>
                      <a:lnTo>
                        <a:pt x="93" y="248"/>
                      </a:lnTo>
                      <a:lnTo>
                        <a:pt x="103" y="242"/>
                      </a:lnTo>
                      <a:lnTo>
                        <a:pt x="126" y="229"/>
                      </a:lnTo>
                      <a:lnTo>
                        <a:pt x="134" y="225"/>
                      </a:lnTo>
                      <a:lnTo>
                        <a:pt x="113" y="192"/>
                      </a:lnTo>
                      <a:lnTo>
                        <a:pt x="117" y="184"/>
                      </a:lnTo>
                      <a:lnTo>
                        <a:pt x="101" y="157"/>
                      </a:lnTo>
                      <a:lnTo>
                        <a:pt x="86" y="132"/>
                      </a:lnTo>
                      <a:lnTo>
                        <a:pt x="97" y="134"/>
                      </a:lnTo>
                      <a:lnTo>
                        <a:pt x="122" y="116"/>
                      </a:lnTo>
                      <a:lnTo>
                        <a:pt x="146" y="97"/>
                      </a:lnTo>
                      <a:lnTo>
                        <a:pt x="153" y="99"/>
                      </a:lnTo>
                      <a:lnTo>
                        <a:pt x="148" y="85"/>
                      </a:lnTo>
                      <a:lnTo>
                        <a:pt x="136" y="91"/>
                      </a:lnTo>
                      <a:lnTo>
                        <a:pt x="95" y="97"/>
                      </a:lnTo>
                      <a:lnTo>
                        <a:pt x="68" y="116"/>
                      </a:lnTo>
                      <a:lnTo>
                        <a:pt x="41" y="80"/>
                      </a:lnTo>
                      <a:lnTo>
                        <a:pt x="53" y="47"/>
                      </a:lnTo>
                      <a:lnTo>
                        <a:pt x="101" y="48"/>
                      </a:lnTo>
                      <a:lnTo>
                        <a:pt x="148" y="50"/>
                      </a:lnTo>
                      <a:lnTo>
                        <a:pt x="194" y="43"/>
                      </a:lnTo>
                      <a:lnTo>
                        <a:pt x="215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" name="Freeform 9"/>
                <p:cNvSpPr>
                  <a:spLocks/>
                </p:cNvSpPr>
                <p:nvPr/>
              </p:nvSpPr>
              <p:spPr bwMode="auto">
                <a:xfrm>
                  <a:off x="7125039" y="3558911"/>
                  <a:ext cx="237951" cy="78133"/>
                </a:xfrm>
                <a:custGeom>
                  <a:avLst/>
                  <a:gdLst>
                    <a:gd name="T0" fmla="*/ 237951 w 306"/>
                    <a:gd name="T1" fmla="*/ 78133 h 106"/>
                    <a:gd name="T2" fmla="*/ 234841 w 306"/>
                    <a:gd name="T3" fmla="*/ 74447 h 106"/>
                    <a:gd name="T4" fmla="*/ 236396 w 306"/>
                    <a:gd name="T5" fmla="*/ 53071 h 106"/>
                    <a:gd name="T6" fmla="*/ 216955 w 306"/>
                    <a:gd name="T7" fmla="*/ 50123 h 106"/>
                    <a:gd name="T8" fmla="*/ 197515 w 306"/>
                    <a:gd name="T9" fmla="*/ 47175 h 106"/>
                    <a:gd name="T10" fmla="*/ 189739 w 306"/>
                    <a:gd name="T11" fmla="*/ 30221 h 106"/>
                    <a:gd name="T12" fmla="*/ 159412 w 306"/>
                    <a:gd name="T13" fmla="*/ 21376 h 106"/>
                    <a:gd name="T14" fmla="*/ 147747 w 306"/>
                    <a:gd name="T15" fmla="*/ 12531 h 106"/>
                    <a:gd name="T16" fmla="*/ 135305 w 306"/>
                    <a:gd name="T17" fmla="*/ 24324 h 106"/>
                    <a:gd name="T18" fmla="*/ 115865 w 306"/>
                    <a:gd name="T19" fmla="*/ 24324 h 106"/>
                    <a:gd name="T20" fmla="*/ 94869 w 306"/>
                    <a:gd name="T21" fmla="*/ 24324 h 106"/>
                    <a:gd name="T22" fmla="*/ 83983 w 306"/>
                    <a:gd name="T23" fmla="*/ 15479 h 106"/>
                    <a:gd name="T24" fmla="*/ 54433 w 306"/>
                    <a:gd name="T25" fmla="*/ 1474 h 106"/>
                    <a:gd name="T26" fmla="*/ 20996 w 306"/>
                    <a:gd name="T27" fmla="*/ 0 h 106"/>
                    <a:gd name="T28" fmla="*/ 7776 w 306"/>
                    <a:gd name="T29" fmla="*/ 18428 h 106"/>
                    <a:gd name="T30" fmla="*/ 0 w 306"/>
                    <a:gd name="T31" fmla="*/ 21376 h 106"/>
                    <a:gd name="T32" fmla="*/ 27217 w 306"/>
                    <a:gd name="T33" fmla="*/ 28747 h 106"/>
                    <a:gd name="T34" fmla="*/ 27217 w 306"/>
                    <a:gd name="T35" fmla="*/ 35381 h 106"/>
                    <a:gd name="T36" fmla="*/ 54433 w 306"/>
                    <a:gd name="T37" fmla="*/ 42752 h 106"/>
                    <a:gd name="T38" fmla="*/ 81650 w 306"/>
                    <a:gd name="T39" fmla="*/ 48649 h 106"/>
                    <a:gd name="T40" fmla="*/ 105756 w 306"/>
                    <a:gd name="T41" fmla="*/ 54546 h 106"/>
                    <a:gd name="T42" fmla="*/ 129862 w 306"/>
                    <a:gd name="T43" fmla="*/ 58231 h 106"/>
                    <a:gd name="T44" fmla="*/ 162522 w 306"/>
                    <a:gd name="T45" fmla="*/ 62654 h 106"/>
                    <a:gd name="T46" fmla="*/ 195960 w 306"/>
                    <a:gd name="T47" fmla="*/ 67076 h 106"/>
                    <a:gd name="T48" fmla="*/ 216955 w 306"/>
                    <a:gd name="T49" fmla="*/ 72973 h 106"/>
                    <a:gd name="T50" fmla="*/ 237951 w 306"/>
                    <a:gd name="T51" fmla="*/ 78133 h 10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306"/>
                    <a:gd name="T79" fmla="*/ 0 h 106"/>
                    <a:gd name="T80" fmla="*/ 306 w 306"/>
                    <a:gd name="T81" fmla="*/ 106 h 10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306" h="106">
                      <a:moveTo>
                        <a:pt x="306" y="106"/>
                      </a:moveTo>
                      <a:lnTo>
                        <a:pt x="302" y="101"/>
                      </a:lnTo>
                      <a:lnTo>
                        <a:pt x="304" y="72"/>
                      </a:lnTo>
                      <a:lnTo>
                        <a:pt x="279" y="68"/>
                      </a:lnTo>
                      <a:lnTo>
                        <a:pt x="254" y="64"/>
                      </a:lnTo>
                      <a:lnTo>
                        <a:pt x="244" y="41"/>
                      </a:lnTo>
                      <a:lnTo>
                        <a:pt x="205" y="29"/>
                      </a:lnTo>
                      <a:lnTo>
                        <a:pt x="190" y="17"/>
                      </a:lnTo>
                      <a:lnTo>
                        <a:pt x="174" y="33"/>
                      </a:lnTo>
                      <a:lnTo>
                        <a:pt x="149" y="33"/>
                      </a:lnTo>
                      <a:lnTo>
                        <a:pt x="122" y="33"/>
                      </a:lnTo>
                      <a:lnTo>
                        <a:pt x="108" y="21"/>
                      </a:lnTo>
                      <a:lnTo>
                        <a:pt x="70" y="2"/>
                      </a:lnTo>
                      <a:lnTo>
                        <a:pt x="27" y="0"/>
                      </a:lnTo>
                      <a:lnTo>
                        <a:pt x="10" y="25"/>
                      </a:lnTo>
                      <a:lnTo>
                        <a:pt x="0" y="29"/>
                      </a:lnTo>
                      <a:lnTo>
                        <a:pt x="35" y="39"/>
                      </a:lnTo>
                      <a:lnTo>
                        <a:pt x="35" y="48"/>
                      </a:lnTo>
                      <a:lnTo>
                        <a:pt x="70" y="58"/>
                      </a:lnTo>
                      <a:lnTo>
                        <a:pt x="105" y="66"/>
                      </a:lnTo>
                      <a:lnTo>
                        <a:pt x="136" y="74"/>
                      </a:lnTo>
                      <a:lnTo>
                        <a:pt x="167" y="79"/>
                      </a:lnTo>
                      <a:lnTo>
                        <a:pt x="209" y="85"/>
                      </a:lnTo>
                      <a:lnTo>
                        <a:pt x="252" y="91"/>
                      </a:lnTo>
                      <a:lnTo>
                        <a:pt x="279" y="99"/>
                      </a:lnTo>
                      <a:lnTo>
                        <a:pt x="306" y="10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" name="Freeform 10"/>
                <p:cNvSpPr>
                  <a:spLocks/>
                </p:cNvSpPr>
                <p:nvPr/>
              </p:nvSpPr>
              <p:spPr bwMode="auto">
                <a:xfrm>
                  <a:off x="7593838" y="3629941"/>
                  <a:ext cx="108321" cy="53273"/>
                </a:xfrm>
                <a:custGeom>
                  <a:avLst/>
                  <a:gdLst>
                    <a:gd name="T0" fmla="*/ 108321 w 132"/>
                    <a:gd name="T1" fmla="*/ 0 h 74"/>
                    <a:gd name="T2" fmla="*/ 66470 w 132"/>
                    <a:gd name="T3" fmla="*/ 1440 h 74"/>
                    <a:gd name="T4" fmla="*/ 41031 w 132"/>
                    <a:gd name="T5" fmla="*/ 12238 h 74"/>
                    <a:gd name="T6" fmla="*/ 13950 w 132"/>
                    <a:gd name="T7" fmla="*/ 25197 h 74"/>
                    <a:gd name="T8" fmla="*/ 1641 w 132"/>
                    <a:gd name="T9" fmla="*/ 44634 h 74"/>
                    <a:gd name="T10" fmla="*/ 0 w 132"/>
                    <a:gd name="T11" fmla="*/ 47514 h 74"/>
                    <a:gd name="T12" fmla="*/ 3282 w 132"/>
                    <a:gd name="T13" fmla="*/ 53273 h 74"/>
                    <a:gd name="T14" fmla="*/ 36107 w 132"/>
                    <a:gd name="T15" fmla="*/ 34555 h 74"/>
                    <a:gd name="T16" fmla="*/ 73035 w 132"/>
                    <a:gd name="T17" fmla="*/ 16558 h 74"/>
                    <a:gd name="T18" fmla="*/ 108321 w 132"/>
                    <a:gd name="T19" fmla="*/ 0 h 7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32"/>
                    <a:gd name="T31" fmla="*/ 0 h 74"/>
                    <a:gd name="T32" fmla="*/ 132 w 132"/>
                    <a:gd name="T33" fmla="*/ 74 h 7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32" h="74">
                      <a:moveTo>
                        <a:pt x="132" y="0"/>
                      </a:moveTo>
                      <a:lnTo>
                        <a:pt x="81" y="2"/>
                      </a:lnTo>
                      <a:lnTo>
                        <a:pt x="50" y="17"/>
                      </a:lnTo>
                      <a:lnTo>
                        <a:pt x="17" y="35"/>
                      </a:lnTo>
                      <a:lnTo>
                        <a:pt x="2" y="62"/>
                      </a:lnTo>
                      <a:lnTo>
                        <a:pt x="0" y="66"/>
                      </a:lnTo>
                      <a:lnTo>
                        <a:pt x="4" y="74"/>
                      </a:lnTo>
                      <a:lnTo>
                        <a:pt x="44" y="48"/>
                      </a:lnTo>
                      <a:lnTo>
                        <a:pt x="89" y="23"/>
                      </a:lnTo>
                      <a:lnTo>
                        <a:pt x="13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" name="Freeform 11"/>
                <p:cNvSpPr>
                  <a:spLocks/>
                </p:cNvSpPr>
                <p:nvPr/>
              </p:nvSpPr>
              <p:spPr bwMode="auto">
                <a:xfrm>
                  <a:off x="7716365" y="3328063"/>
                  <a:ext cx="35515" cy="88788"/>
                </a:xfrm>
                <a:custGeom>
                  <a:avLst/>
                  <a:gdLst>
                    <a:gd name="T0" fmla="*/ 35515 w 48"/>
                    <a:gd name="T1" fmla="*/ 56855 h 114"/>
                    <a:gd name="T2" fmla="*/ 19977 w 48"/>
                    <a:gd name="T3" fmla="*/ 35827 h 114"/>
                    <a:gd name="T4" fmla="*/ 31816 w 48"/>
                    <a:gd name="T5" fmla="*/ 24144 h 114"/>
                    <a:gd name="T6" fmla="*/ 24417 w 48"/>
                    <a:gd name="T7" fmla="*/ 17913 h 114"/>
                    <a:gd name="T8" fmla="*/ 15538 w 48"/>
                    <a:gd name="T9" fmla="*/ 25702 h 114"/>
                    <a:gd name="T10" fmla="*/ 8879 w 48"/>
                    <a:gd name="T11" fmla="*/ 38942 h 114"/>
                    <a:gd name="T12" fmla="*/ 7399 w 48"/>
                    <a:gd name="T13" fmla="*/ 31154 h 114"/>
                    <a:gd name="T14" fmla="*/ 12578 w 48"/>
                    <a:gd name="T15" fmla="*/ 11683 h 114"/>
                    <a:gd name="T16" fmla="*/ 12578 w 48"/>
                    <a:gd name="T17" fmla="*/ 0 h 114"/>
                    <a:gd name="T18" fmla="*/ 0 w 48"/>
                    <a:gd name="T19" fmla="*/ 21029 h 114"/>
                    <a:gd name="T20" fmla="*/ 2960 w 48"/>
                    <a:gd name="T21" fmla="*/ 42057 h 114"/>
                    <a:gd name="T22" fmla="*/ 5919 w 48"/>
                    <a:gd name="T23" fmla="*/ 63086 h 114"/>
                    <a:gd name="T24" fmla="*/ 21457 w 48"/>
                    <a:gd name="T25" fmla="*/ 88788 h 114"/>
                    <a:gd name="T26" fmla="*/ 10359 w 48"/>
                    <a:gd name="T27" fmla="*/ 53740 h 114"/>
                    <a:gd name="T28" fmla="*/ 35515 w 48"/>
                    <a:gd name="T29" fmla="*/ 56855 h 11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114"/>
                    <a:gd name="T47" fmla="*/ 48 w 48"/>
                    <a:gd name="T48" fmla="*/ 114 h 11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114">
                      <a:moveTo>
                        <a:pt x="48" y="73"/>
                      </a:moveTo>
                      <a:lnTo>
                        <a:pt x="27" y="46"/>
                      </a:lnTo>
                      <a:lnTo>
                        <a:pt x="43" y="31"/>
                      </a:lnTo>
                      <a:lnTo>
                        <a:pt x="33" y="23"/>
                      </a:lnTo>
                      <a:lnTo>
                        <a:pt x="21" y="33"/>
                      </a:lnTo>
                      <a:lnTo>
                        <a:pt x="12" y="50"/>
                      </a:lnTo>
                      <a:lnTo>
                        <a:pt x="10" y="40"/>
                      </a:lnTo>
                      <a:lnTo>
                        <a:pt x="17" y="15"/>
                      </a:lnTo>
                      <a:lnTo>
                        <a:pt x="17" y="0"/>
                      </a:lnTo>
                      <a:lnTo>
                        <a:pt x="0" y="27"/>
                      </a:lnTo>
                      <a:lnTo>
                        <a:pt x="4" y="54"/>
                      </a:lnTo>
                      <a:lnTo>
                        <a:pt x="8" y="81"/>
                      </a:lnTo>
                      <a:lnTo>
                        <a:pt x="29" y="114"/>
                      </a:lnTo>
                      <a:lnTo>
                        <a:pt x="14" y="69"/>
                      </a:lnTo>
                      <a:lnTo>
                        <a:pt x="48" y="7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" name="Freeform 12"/>
                <p:cNvSpPr>
                  <a:spLocks/>
                </p:cNvSpPr>
                <p:nvPr/>
              </p:nvSpPr>
              <p:spPr bwMode="auto">
                <a:xfrm>
                  <a:off x="7723468" y="3470123"/>
                  <a:ext cx="72806" cy="30188"/>
                </a:xfrm>
                <a:custGeom>
                  <a:avLst/>
                  <a:gdLst>
                    <a:gd name="T0" fmla="*/ 72806 w 98"/>
                    <a:gd name="T1" fmla="*/ 24318 h 36"/>
                    <a:gd name="T2" fmla="*/ 69091 w 98"/>
                    <a:gd name="T3" fmla="*/ 30188 h 36"/>
                    <a:gd name="T4" fmla="*/ 40118 w 98"/>
                    <a:gd name="T5" fmla="*/ 14255 h 36"/>
                    <a:gd name="T6" fmla="*/ 18573 w 98"/>
                    <a:gd name="T7" fmla="*/ 15933 h 36"/>
                    <a:gd name="T8" fmla="*/ 3715 w 98"/>
                    <a:gd name="T9" fmla="*/ 10901 h 36"/>
                    <a:gd name="T10" fmla="*/ 0 w 98"/>
                    <a:gd name="T11" fmla="*/ 17610 h 36"/>
                    <a:gd name="T12" fmla="*/ 2972 w 98"/>
                    <a:gd name="T13" fmla="*/ 7547 h 36"/>
                    <a:gd name="T14" fmla="*/ 17087 w 98"/>
                    <a:gd name="T15" fmla="*/ 0 h 36"/>
                    <a:gd name="T16" fmla="*/ 38632 w 98"/>
                    <a:gd name="T17" fmla="*/ 1677 h 36"/>
                    <a:gd name="T18" fmla="*/ 61662 w 98"/>
                    <a:gd name="T19" fmla="*/ 4193 h 36"/>
                    <a:gd name="T20" fmla="*/ 72806 w 98"/>
                    <a:gd name="T21" fmla="*/ 24318 h 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8"/>
                    <a:gd name="T34" fmla="*/ 0 h 36"/>
                    <a:gd name="T35" fmla="*/ 98 w 98"/>
                    <a:gd name="T36" fmla="*/ 36 h 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8" h="36">
                      <a:moveTo>
                        <a:pt x="98" y="29"/>
                      </a:moveTo>
                      <a:lnTo>
                        <a:pt x="93" y="36"/>
                      </a:lnTo>
                      <a:lnTo>
                        <a:pt x="54" y="17"/>
                      </a:lnTo>
                      <a:lnTo>
                        <a:pt x="25" y="19"/>
                      </a:lnTo>
                      <a:lnTo>
                        <a:pt x="5" y="13"/>
                      </a:lnTo>
                      <a:lnTo>
                        <a:pt x="0" y="21"/>
                      </a:lnTo>
                      <a:lnTo>
                        <a:pt x="4" y="9"/>
                      </a:lnTo>
                      <a:lnTo>
                        <a:pt x="23" y="0"/>
                      </a:lnTo>
                      <a:lnTo>
                        <a:pt x="52" y="2"/>
                      </a:lnTo>
                      <a:lnTo>
                        <a:pt x="83" y="5"/>
                      </a:lnTo>
                      <a:lnTo>
                        <a:pt x="98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" name="Freeform 13"/>
                <p:cNvSpPr>
                  <a:spLocks/>
                </p:cNvSpPr>
                <p:nvPr/>
              </p:nvSpPr>
              <p:spPr bwMode="auto">
                <a:xfrm>
                  <a:off x="7499723" y="3624614"/>
                  <a:ext cx="87012" cy="12430"/>
                </a:xfrm>
                <a:custGeom>
                  <a:avLst/>
                  <a:gdLst>
                    <a:gd name="T0" fmla="*/ 87012 w 108"/>
                    <a:gd name="T1" fmla="*/ 1184 h 21"/>
                    <a:gd name="T2" fmla="*/ 87012 w 108"/>
                    <a:gd name="T3" fmla="*/ 0 h 21"/>
                    <a:gd name="T4" fmla="*/ 80567 w 108"/>
                    <a:gd name="T5" fmla="*/ 0 h 21"/>
                    <a:gd name="T6" fmla="*/ 71704 w 108"/>
                    <a:gd name="T7" fmla="*/ 5919 h 21"/>
                    <a:gd name="T8" fmla="*/ 57202 w 108"/>
                    <a:gd name="T9" fmla="*/ 5919 h 21"/>
                    <a:gd name="T10" fmla="*/ 35449 w 108"/>
                    <a:gd name="T11" fmla="*/ 2368 h 21"/>
                    <a:gd name="T12" fmla="*/ 13696 w 108"/>
                    <a:gd name="T13" fmla="*/ 0 h 21"/>
                    <a:gd name="T14" fmla="*/ 0 w 108"/>
                    <a:gd name="T15" fmla="*/ 9470 h 21"/>
                    <a:gd name="T16" fmla="*/ 10474 w 108"/>
                    <a:gd name="T17" fmla="*/ 12430 h 21"/>
                    <a:gd name="T18" fmla="*/ 37061 w 108"/>
                    <a:gd name="T19" fmla="*/ 12430 h 21"/>
                    <a:gd name="T20" fmla="*/ 65259 w 108"/>
                    <a:gd name="T21" fmla="*/ 11246 h 21"/>
                    <a:gd name="T22" fmla="*/ 87012 w 108"/>
                    <a:gd name="T23" fmla="*/ 1184 h 2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08"/>
                    <a:gd name="T37" fmla="*/ 0 h 21"/>
                    <a:gd name="T38" fmla="*/ 108 w 108"/>
                    <a:gd name="T39" fmla="*/ 21 h 2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08" h="21">
                      <a:moveTo>
                        <a:pt x="108" y="2"/>
                      </a:moveTo>
                      <a:lnTo>
                        <a:pt x="108" y="0"/>
                      </a:lnTo>
                      <a:lnTo>
                        <a:pt x="100" y="0"/>
                      </a:lnTo>
                      <a:lnTo>
                        <a:pt x="89" y="10"/>
                      </a:lnTo>
                      <a:lnTo>
                        <a:pt x="71" y="10"/>
                      </a:lnTo>
                      <a:lnTo>
                        <a:pt x="44" y="4"/>
                      </a:lnTo>
                      <a:lnTo>
                        <a:pt x="17" y="0"/>
                      </a:lnTo>
                      <a:lnTo>
                        <a:pt x="0" y="16"/>
                      </a:lnTo>
                      <a:lnTo>
                        <a:pt x="13" y="21"/>
                      </a:lnTo>
                      <a:lnTo>
                        <a:pt x="46" y="21"/>
                      </a:lnTo>
                      <a:lnTo>
                        <a:pt x="81" y="19"/>
                      </a:lnTo>
                      <a:lnTo>
                        <a:pt x="108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" name="Freeform 14"/>
                <p:cNvSpPr>
                  <a:spLocks/>
                </p:cNvSpPr>
                <p:nvPr/>
              </p:nvSpPr>
              <p:spPr bwMode="auto">
                <a:xfrm>
                  <a:off x="7132142" y="3434608"/>
                  <a:ext cx="35515" cy="42618"/>
                </a:xfrm>
                <a:custGeom>
                  <a:avLst/>
                  <a:gdLst>
                    <a:gd name="T0" fmla="*/ 35515 w 54"/>
                    <a:gd name="T1" fmla="*/ 30127 h 58"/>
                    <a:gd name="T2" fmla="*/ 32884 w 54"/>
                    <a:gd name="T3" fmla="*/ 42618 h 58"/>
                    <a:gd name="T4" fmla="*/ 15127 w 54"/>
                    <a:gd name="T5" fmla="*/ 30127 h 58"/>
                    <a:gd name="T6" fmla="*/ 8550 w 54"/>
                    <a:gd name="T7" fmla="*/ 15431 h 58"/>
                    <a:gd name="T8" fmla="*/ 0 w 54"/>
                    <a:gd name="T9" fmla="*/ 11757 h 58"/>
                    <a:gd name="T10" fmla="*/ 9865 w 54"/>
                    <a:gd name="T11" fmla="*/ 2939 h 58"/>
                    <a:gd name="T12" fmla="*/ 15127 w 54"/>
                    <a:gd name="T13" fmla="*/ 0 h 58"/>
                    <a:gd name="T14" fmla="*/ 23019 w 54"/>
                    <a:gd name="T15" fmla="*/ 22779 h 58"/>
                    <a:gd name="T16" fmla="*/ 35515 w 54"/>
                    <a:gd name="T17" fmla="*/ 30127 h 5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4"/>
                    <a:gd name="T28" fmla="*/ 0 h 58"/>
                    <a:gd name="T29" fmla="*/ 54 w 54"/>
                    <a:gd name="T30" fmla="*/ 58 h 5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4" h="58">
                      <a:moveTo>
                        <a:pt x="54" y="41"/>
                      </a:moveTo>
                      <a:lnTo>
                        <a:pt x="50" y="58"/>
                      </a:lnTo>
                      <a:lnTo>
                        <a:pt x="23" y="41"/>
                      </a:lnTo>
                      <a:lnTo>
                        <a:pt x="13" y="21"/>
                      </a:lnTo>
                      <a:lnTo>
                        <a:pt x="0" y="16"/>
                      </a:lnTo>
                      <a:lnTo>
                        <a:pt x="15" y="4"/>
                      </a:lnTo>
                      <a:lnTo>
                        <a:pt x="23" y="0"/>
                      </a:lnTo>
                      <a:lnTo>
                        <a:pt x="35" y="31"/>
                      </a:lnTo>
                      <a:lnTo>
                        <a:pt x="54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" name="Freeform 15"/>
                <p:cNvSpPr>
                  <a:spLocks/>
                </p:cNvSpPr>
                <p:nvPr/>
              </p:nvSpPr>
              <p:spPr bwMode="auto">
                <a:xfrm>
                  <a:off x="7419814" y="3619287"/>
                  <a:ext cx="65703" cy="28412"/>
                </a:xfrm>
                <a:custGeom>
                  <a:avLst/>
                  <a:gdLst>
                    <a:gd name="T0" fmla="*/ 65703 w 81"/>
                    <a:gd name="T1" fmla="*/ 16235 h 35"/>
                    <a:gd name="T2" fmla="*/ 60836 w 81"/>
                    <a:gd name="T3" fmla="*/ 9741 h 35"/>
                    <a:gd name="T4" fmla="*/ 53536 w 81"/>
                    <a:gd name="T5" fmla="*/ 11365 h 35"/>
                    <a:gd name="T6" fmla="*/ 30012 w 81"/>
                    <a:gd name="T7" fmla="*/ 0 h 35"/>
                    <a:gd name="T8" fmla="*/ 42180 w 81"/>
                    <a:gd name="T9" fmla="*/ 16235 h 35"/>
                    <a:gd name="T10" fmla="*/ 26768 w 81"/>
                    <a:gd name="T11" fmla="*/ 14612 h 35"/>
                    <a:gd name="T12" fmla="*/ 6489 w 81"/>
                    <a:gd name="T13" fmla="*/ 12988 h 35"/>
                    <a:gd name="T14" fmla="*/ 0 w 81"/>
                    <a:gd name="T15" fmla="*/ 28412 h 35"/>
                    <a:gd name="T16" fmla="*/ 21901 w 81"/>
                    <a:gd name="T17" fmla="*/ 23541 h 35"/>
                    <a:gd name="T18" fmla="*/ 45424 w 81"/>
                    <a:gd name="T19" fmla="*/ 19483 h 35"/>
                    <a:gd name="T20" fmla="*/ 55158 w 81"/>
                    <a:gd name="T21" fmla="*/ 21918 h 35"/>
                    <a:gd name="T22" fmla="*/ 53536 w 81"/>
                    <a:gd name="T23" fmla="*/ 20294 h 35"/>
                    <a:gd name="T24" fmla="*/ 65703 w 81"/>
                    <a:gd name="T25" fmla="*/ 16235 h 3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1"/>
                    <a:gd name="T40" fmla="*/ 0 h 35"/>
                    <a:gd name="T41" fmla="*/ 81 w 81"/>
                    <a:gd name="T42" fmla="*/ 35 h 3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1" h="35">
                      <a:moveTo>
                        <a:pt x="81" y="20"/>
                      </a:moveTo>
                      <a:lnTo>
                        <a:pt x="75" y="12"/>
                      </a:lnTo>
                      <a:lnTo>
                        <a:pt x="66" y="14"/>
                      </a:lnTo>
                      <a:lnTo>
                        <a:pt x="37" y="0"/>
                      </a:lnTo>
                      <a:lnTo>
                        <a:pt x="52" y="20"/>
                      </a:lnTo>
                      <a:lnTo>
                        <a:pt x="33" y="18"/>
                      </a:lnTo>
                      <a:lnTo>
                        <a:pt x="8" y="16"/>
                      </a:lnTo>
                      <a:lnTo>
                        <a:pt x="0" y="35"/>
                      </a:lnTo>
                      <a:lnTo>
                        <a:pt x="27" y="29"/>
                      </a:lnTo>
                      <a:lnTo>
                        <a:pt x="56" y="24"/>
                      </a:lnTo>
                      <a:lnTo>
                        <a:pt x="68" y="27"/>
                      </a:lnTo>
                      <a:lnTo>
                        <a:pt x="66" y="25"/>
                      </a:lnTo>
                      <a:lnTo>
                        <a:pt x="81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" name="Freeform 16"/>
                <p:cNvSpPr>
                  <a:spLocks/>
                </p:cNvSpPr>
                <p:nvPr/>
              </p:nvSpPr>
              <p:spPr bwMode="auto">
                <a:xfrm>
                  <a:off x="7478414" y="3660129"/>
                  <a:ext cx="49721" cy="23085"/>
                </a:xfrm>
                <a:custGeom>
                  <a:avLst/>
                  <a:gdLst>
                    <a:gd name="T0" fmla="*/ 49721 w 60"/>
                    <a:gd name="T1" fmla="*/ 18617 h 31"/>
                    <a:gd name="T2" fmla="*/ 29833 w 60"/>
                    <a:gd name="T3" fmla="*/ 23085 h 31"/>
                    <a:gd name="T4" fmla="*/ 5801 w 60"/>
                    <a:gd name="T5" fmla="*/ 8191 h 31"/>
                    <a:gd name="T6" fmla="*/ 0 w 60"/>
                    <a:gd name="T7" fmla="*/ 0 h 31"/>
                    <a:gd name="T8" fmla="*/ 29833 w 60"/>
                    <a:gd name="T9" fmla="*/ 0 h 31"/>
                    <a:gd name="T10" fmla="*/ 49721 w 60"/>
                    <a:gd name="T11" fmla="*/ 18617 h 3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0"/>
                    <a:gd name="T19" fmla="*/ 0 h 31"/>
                    <a:gd name="T20" fmla="*/ 60 w 60"/>
                    <a:gd name="T21" fmla="*/ 31 h 3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0" h="31">
                      <a:moveTo>
                        <a:pt x="60" y="25"/>
                      </a:moveTo>
                      <a:lnTo>
                        <a:pt x="36" y="31"/>
                      </a:lnTo>
                      <a:lnTo>
                        <a:pt x="7" y="11"/>
                      </a:lnTo>
                      <a:lnTo>
                        <a:pt x="0" y="0"/>
                      </a:lnTo>
                      <a:lnTo>
                        <a:pt x="36" y="0"/>
                      </a:lnTo>
                      <a:lnTo>
                        <a:pt x="60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" name="Freeform 17"/>
                <p:cNvSpPr>
                  <a:spLocks/>
                </p:cNvSpPr>
                <p:nvPr/>
              </p:nvSpPr>
              <p:spPr bwMode="auto">
                <a:xfrm>
                  <a:off x="7673747" y="3477226"/>
                  <a:ext cx="35515" cy="23085"/>
                </a:xfrm>
                <a:custGeom>
                  <a:avLst/>
                  <a:gdLst>
                    <a:gd name="T0" fmla="*/ 35515 w 42"/>
                    <a:gd name="T1" fmla="*/ 9552 h 29"/>
                    <a:gd name="T2" fmla="*/ 22831 w 42"/>
                    <a:gd name="T3" fmla="*/ 23085 h 29"/>
                    <a:gd name="T4" fmla="*/ 0 w 42"/>
                    <a:gd name="T5" fmla="*/ 9552 h 29"/>
                    <a:gd name="T6" fmla="*/ 10993 w 42"/>
                    <a:gd name="T7" fmla="*/ 0 h 29"/>
                    <a:gd name="T8" fmla="*/ 35515 w 42"/>
                    <a:gd name="T9" fmla="*/ 9552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2"/>
                    <a:gd name="T16" fmla="*/ 0 h 29"/>
                    <a:gd name="T17" fmla="*/ 42 w 42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2" h="29">
                      <a:moveTo>
                        <a:pt x="42" y="12"/>
                      </a:moveTo>
                      <a:lnTo>
                        <a:pt x="27" y="29"/>
                      </a:lnTo>
                      <a:lnTo>
                        <a:pt x="0" y="12"/>
                      </a:lnTo>
                      <a:lnTo>
                        <a:pt x="13" y="0"/>
                      </a:lnTo>
                      <a:lnTo>
                        <a:pt x="42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" name="Freeform 18"/>
                <p:cNvSpPr>
                  <a:spLocks/>
                </p:cNvSpPr>
                <p:nvPr/>
              </p:nvSpPr>
              <p:spPr bwMode="auto">
                <a:xfrm>
                  <a:off x="7362990" y="3624614"/>
                  <a:ext cx="35515" cy="12430"/>
                </a:xfrm>
                <a:custGeom>
                  <a:avLst/>
                  <a:gdLst>
                    <a:gd name="T0" fmla="*/ 35515 w 37"/>
                    <a:gd name="T1" fmla="*/ 5650 h 22"/>
                    <a:gd name="T2" fmla="*/ 31676 w 37"/>
                    <a:gd name="T3" fmla="*/ 1130 h 22"/>
                    <a:gd name="T4" fmla="*/ 0 w 37"/>
                    <a:gd name="T5" fmla="*/ 0 h 22"/>
                    <a:gd name="T6" fmla="*/ 19197 w 37"/>
                    <a:gd name="T7" fmla="*/ 12430 h 22"/>
                    <a:gd name="T8" fmla="*/ 35515 w 37"/>
                    <a:gd name="T9" fmla="*/ 5650 h 2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7"/>
                    <a:gd name="T16" fmla="*/ 0 h 22"/>
                    <a:gd name="T17" fmla="*/ 37 w 37"/>
                    <a:gd name="T18" fmla="*/ 22 h 2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7" h="22">
                      <a:moveTo>
                        <a:pt x="37" y="10"/>
                      </a:moveTo>
                      <a:lnTo>
                        <a:pt x="33" y="2"/>
                      </a:lnTo>
                      <a:lnTo>
                        <a:pt x="0" y="0"/>
                      </a:lnTo>
                      <a:lnTo>
                        <a:pt x="20" y="22"/>
                      </a:lnTo>
                      <a:lnTo>
                        <a:pt x="37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" name="Freeform 19"/>
                <p:cNvSpPr>
                  <a:spLocks/>
                </p:cNvSpPr>
                <p:nvPr/>
              </p:nvSpPr>
              <p:spPr bwMode="auto">
                <a:xfrm>
                  <a:off x="6915501" y="3345821"/>
                  <a:ext cx="21309" cy="30188"/>
                </a:xfrm>
                <a:custGeom>
                  <a:avLst/>
                  <a:gdLst>
                    <a:gd name="T0" fmla="*/ 21309 w 30"/>
                    <a:gd name="T1" fmla="*/ 16388 h 35"/>
                    <a:gd name="T2" fmla="*/ 18468 w 30"/>
                    <a:gd name="T3" fmla="*/ 30188 h 35"/>
                    <a:gd name="T4" fmla="*/ 0 w 30"/>
                    <a:gd name="T5" fmla="*/ 3450 h 35"/>
                    <a:gd name="T6" fmla="*/ 5682 w 30"/>
                    <a:gd name="T7" fmla="*/ 0 h 35"/>
                    <a:gd name="T8" fmla="*/ 21309 w 30"/>
                    <a:gd name="T9" fmla="*/ 16388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0"/>
                    <a:gd name="T16" fmla="*/ 0 h 35"/>
                    <a:gd name="T17" fmla="*/ 30 w 30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0" h="35">
                      <a:moveTo>
                        <a:pt x="30" y="19"/>
                      </a:moveTo>
                      <a:lnTo>
                        <a:pt x="26" y="35"/>
                      </a:ln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30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" name="Freeform 20"/>
                <p:cNvSpPr>
                  <a:spLocks/>
                </p:cNvSpPr>
                <p:nvPr/>
              </p:nvSpPr>
              <p:spPr bwMode="auto">
                <a:xfrm>
                  <a:off x="7398505" y="3624614"/>
                  <a:ext cx="21309" cy="17758"/>
                </a:xfrm>
                <a:custGeom>
                  <a:avLst/>
                  <a:gdLst>
                    <a:gd name="T0" fmla="*/ 21309 w 25"/>
                    <a:gd name="T1" fmla="*/ 5262 h 27"/>
                    <a:gd name="T2" fmla="*/ 12785 w 25"/>
                    <a:gd name="T3" fmla="*/ 0 h 27"/>
                    <a:gd name="T4" fmla="*/ 0 w 25"/>
                    <a:gd name="T5" fmla="*/ 13812 h 27"/>
                    <a:gd name="T6" fmla="*/ 9376 w 25"/>
                    <a:gd name="T7" fmla="*/ 17758 h 27"/>
                    <a:gd name="T8" fmla="*/ 21309 w 25"/>
                    <a:gd name="T9" fmla="*/ 5262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5"/>
                    <a:gd name="T16" fmla="*/ 0 h 27"/>
                    <a:gd name="T17" fmla="*/ 25 w 25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5" h="27">
                      <a:moveTo>
                        <a:pt x="25" y="8"/>
                      </a:moveTo>
                      <a:lnTo>
                        <a:pt x="15" y="0"/>
                      </a:lnTo>
                      <a:lnTo>
                        <a:pt x="0" y="21"/>
                      </a:lnTo>
                      <a:lnTo>
                        <a:pt x="11" y="27"/>
                      </a:lnTo>
                      <a:lnTo>
                        <a:pt x="25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" name="Freeform 21"/>
                <p:cNvSpPr>
                  <a:spLocks/>
                </p:cNvSpPr>
                <p:nvPr/>
              </p:nvSpPr>
              <p:spPr bwMode="auto">
                <a:xfrm>
                  <a:off x="7188967" y="3464796"/>
                  <a:ext cx="21309" cy="17758"/>
                </a:xfrm>
                <a:custGeom>
                  <a:avLst/>
                  <a:gdLst>
                    <a:gd name="T0" fmla="*/ 21309 w 23"/>
                    <a:gd name="T1" fmla="*/ 6765 h 21"/>
                    <a:gd name="T2" fmla="*/ 11118 w 23"/>
                    <a:gd name="T3" fmla="*/ 16067 h 21"/>
                    <a:gd name="T4" fmla="*/ 0 w 23"/>
                    <a:gd name="T5" fmla="*/ 17758 h 21"/>
                    <a:gd name="T6" fmla="*/ 0 w 23"/>
                    <a:gd name="T7" fmla="*/ 0 h 21"/>
                    <a:gd name="T8" fmla="*/ 21309 w 23"/>
                    <a:gd name="T9" fmla="*/ 6765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21"/>
                    <a:gd name="T17" fmla="*/ 23 w 23"/>
                    <a:gd name="T18" fmla="*/ 21 h 2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21">
                      <a:moveTo>
                        <a:pt x="23" y="8"/>
                      </a:moveTo>
                      <a:lnTo>
                        <a:pt x="12" y="19"/>
                      </a:lnTo>
                      <a:lnTo>
                        <a:pt x="0" y="21"/>
                      </a:lnTo>
                      <a:lnTo>
                        <a:pt x="0" y="0"/>
                      </a:lnTo>
                      <a:lnTo>
                        <a:pt x="23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" name="Freeform 22"/>
                <p:cNvSpPr>
                  <a:spLocks/>
                </p:cNvSpPr>
                <p:nvPr/>
              </p:nvSpPr>
              <p:spPr bwMode="auto">
                <a:xfrm>
                  <a:off x="7579632" y="3518069"/>
                  <a:ext cx="14206" cy="35515"/>
                </a:xfrm>
                <a:custGeom>
                  <a:avLst/>
                  <a:gdLst>
                    <a:gd name="T0" fmla="*/ 14206 w 20"/>
                    <a:gd name="T1" fmla="*/ 23934 h 46"/>
                    <a:gd name="T2" fmla="*/ 11365 w 20"/>
                    <a:gd name="T3" fmla="*/ 20846 h 46"/>
                    <a:gd name="T4" fmla="*/ 12785 w 20"/>
                    <a:gd name="T5" fmla="*/ 6949 h 46"/>
                    <a:gd name="T6" fmla="*/ 12785 w 20"/>
                    <a:gd name="T7" fmla="*/ 0 h 46"/>
                    <a:gd name="T8" fmla="*/ 0 w 20"/>
                    <a:gd name="T9" fmla="*/ 35515 h 46"/>
                    <a:gd name="T10" fmla="*/ 14206 w 20"/>
                    <a:gd name="T11" fmla="*/ 23934 h 4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0"/>
                    <a:gd name="T19" fmla="*/ 0 h 46"/>
                    <a:gd name="T20" fmla="*/ 20 w 20"/>
                    <a:gd name="T21" fmla="*/ 46 h 4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0" h="46">
                      <a:moveTo>
                        <a:pt x="20" y="31"/>
                      </a:moveTo>
                      <a:lnTo>
                        <a:pt x="16" y="27"/>
                      </a:lnTo>
                      <a:lnTo>
                        <a:pt x="18" y="9"/>
                      </a:lnTo>
                      <a:lnTo>
                        <a:pt x="18" y="0"/>
                      </a:lnTo>
                      <a:lnTo>
                        <a:pt x="0" y="46"/>
                      </a:lnTo>
                      <a:lnTo>
                        <a:pt x="20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" name="Freeform 23"/>
                <p:cNvSpPr>
                  <a:spLocks/>
                </p:cNvSpPr>
                <p:nvPr/>
              </p:nvSpPr>
              <p:spPr bwMode="auto">
                <a:xfrm>
                  <a:off x="7890388" y="3548257"/>
                  <a:ext cx="7103" cy="23085"/>
                </a:xfrm>
                <a:custGeom>
                  <a:avLst/>
                  <a:gdLst>
                    <a:gd name="T0" fmla="*/ 7103 w 11"/>
                    <a:gd name="T1" fmla="*/ 18810 h 27"/>
                    <a:gd name="T2" fmla="*/ 6457 w 11"/>
                    <a:gd name="T3" fmla="*/ 0 h 27"/>
                    <a:gd name="T4" fmla="*/ 0 w 11"/>
                    <a:gd name="T5" fmla="*/ 5130 h 27"/>
                    <a:gd name="T6" fmla="*/ 0 w 11"/>
                    <a:gd name="T7" fmla="*/ 23085 h 27"/>
                    <a:gd name="T8" fmla="*/ 7103 w 11"/>
                    <a:gd name="T9" fmla="*/ 1881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27"/>
                    <a:gd name="T17" fmla="*/ 11 w 11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27">
                      <a:moveTo>
                        <a:pt x="11" y="22"/>
                      </a:moveTo>
                      <a:lnTo>
                        <a:pt x="10" y="0"/>
                      </a:lnTo>
                      <a:lnTo>
                        <a:pt x="0" y="6"/>
                      </a:lnTo>
                      <a:lnTo>
                        <a:pt x="0" y="27"/>
                      </a:lnTo>
                      <a:lnTo>
                        <a:pt x="11" y="2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" name="Freeform 24"/>
                <p:cNvSpPr>
                  <a:spLocks/>
                </p:cNvSpPr>
                <p:nvPr/>
              </p:nvSpPr>
              <p:spPr bwMode="auto">
                <a:xfrm>
                  <a:off x="6958119" y="3416851"/>
                  <a:ext cx="14206" cy="24861"/>
                </a:xfrm>
                <a:custGeom>
                  <a:avLst/>
                  <a:gdLst>
                    <a:gd name="T0" fmla="*/ 14206 w 19"/>
                    <a:gd name="T1" fmla="*/ 24861 h 27"/>
                    <a:gd name="T2" fmla="*/ 4486 w 19"/>
                    <a:gd name="T3" fmla="*/ 24861 h 27"/>
                    <a:gd name="T4" fmla="*/ 0 w 19"/>
                    <a:gd name="T5" fmla="*/ 0 h 27"/>
                    <a:gd name="T6" fmla="*/ 14206 w 19"/>
                    <a:gd name="T7" fmla="*/ 24861 h 2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27"/>
                    <a:gd name="T14" fmla="*/ 19 w 19"/>
                    <a:gd name="T15" fmla="*/ 27 h 2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27">
                      <a:moveTo>
                        <a:pt x="19" y="27"/>
                      </a:moveTo>
                      <a:lnTo>
                        <a:pt x="6" y="27"/>
                      </a:lnTo>
                      <a:lnTo>
                        <a:pt x="0" y="0"/>
                      </a:lnTo>
                      <a:lnTo>
                        <a:pt x="19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" name="Freeform 25"/>
                <p:cNvSpPr>
                  <a:spLocks/>
                </p:cNvSpPr>
                <p:nvPr/>
              </p:nvSpPr>
              <p:spPr bwMode="auto">
                <a:xfrm>
                  <a:off x="7572529" y="3523396"/>
                  <a:ext cx="14206" cy="17758"/>
                </a:xfrm>
                <a:custGeom>
                  <a:avLst/>
                  <a:gdLst>
                    <a:gd name="T0" fmla="*/ 14206 w 13"/>
                    <a:gd name="T1" fmla="*/ 7611 h 28"/>
                    <a:gd name="T2" fmla="*/ 14206 w 13"/>
                    <a:gd name="T3" fmla="*/ 0 h 28"/>
                    <a:gd name="T4" fmla="*/ 5464 w 13"/>
                    <a:gd name="T5" fmla="*/ 2537 h 28"/>
                    <a:gd name="T6" fmla="*/ 0 w 13"/>
                    <a:gd name="T7" fmla="*/ 17758 h 28"/>
                    <a:gd name="T8" fmla="*/ 14206 w 13"/>
                    <a:gd name="T9" fmla="*/ 7611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"/>
                    <a:gd name="T16" fmla="*/ 0 h 28"/>
                    <a:gd name="T17" fmla="*/ 13 w 13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" h="28">
                      <a:moveTo>
                        <a:pt x="13" y="12"/>
                      </a:moveTo>
                      <a:lnTo>
                        <a:pt x="13" y="0"/>
                      </a:lnTo>
                      <a:lnTo>
                        <a:pt x="5" y="4"/>
                      </a:lnTo>
                      <a:lnTo>
                        <a:pt x="0" y="28"/>
                      </a:lnTo>
                      <a:lnTo>
                        <a:pt x="13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" name="Freeform 26"/>
                <p:cNvSpPr>
                  <a:spLocks/>
                </p:cNvSpPr>
                <p:nvPr/>
              </p:nvSpPr>
              <p:spPr bwMode="auto">
                <a:xfrm>
                  <a:off x="7629353" y="3441711"/>
                  <a:ext cx="30188" cy="0"/>
                </a:xfrm>
                <a:custGeom>
                  <a:avLst/>
                  <a:gdLst>
                    <a:gd name="T0" fmla="*/ 30188 w 33"/>
                    <a:gd name="T1" fmla="*/ 0 h 8"/>
                    <a:gd name="T2" fmla="*/ 14637 w 33"/>
                    <a:gd name="T3" fmla="*/ 0 h 8"/>
                    <a:gd name="T4" fmla="*/ 0 w 33"/>
                    <a:gd name="T5" fmla="*/ 0 h 8"/>
                    <a:gd name="T6" fmla="*/ 30188 w 33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3"/>
                    <a:gd name="T13" fmla="*/ 0 h 8"/>
                    <a:gd name="T14" fmla="*/ 33 w 33"/>
                    <a:gd name="T15" fmla="*/ 0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3" h="8">
                      <a:moveTo>
                        <a:pt x="33" y="8"/>
                      </a:move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33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" name="Freeform 27"/>
                <p:cNvSpPr>
                  <a:spLocks/>
                </p:cNvSpPr>
                <p:nvPr/>
              </p:nvSpPr>
              <p:spPr bwMode="auto">
                <a:xfrm>
                  <a:off x="7883285" y="3571341"/>
                  <a:ext cx="7103" cy="12430"/>
                </a:xfrm>
                <a:custGeom>
                  <a:avLst/>
                  <a:gdLst>
                    <a:gd name="T0" fmla="*/ 7103 w 12"/>
                    <a:gd name="T1" fmla="*/ 6215 h 24"/>
                    <a:gd name="T2" fmla="*/ 1184 w 12"/>
                    <a:gd name="T3" fmla="*/ 12430 h 24"/>
                    <a:gd name="T4" fmla="*/ 0 w 12"/>
                    <a:gd name="T5" fmla="*/ 0 h 24"/>
                    <a:gd name="T6" fmla="*/ 7103 w 12"/>
                    <a:gd name="T7" fmla="*/ 6215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24"/>
                    <a:gd name="T14" fmla="*/ 12 w 12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24">
                      <a:moveTo>
                        <a:pt x="12" y="12"/>
                      </a:moveTo>
                      <a:lnTo>
                        <a:pt x="2" y="24"/>
                      </a:lnTo>
                      <a:lnTo>
                        <a:pt x="0" y="0"/>
                      </a:lnTo>
                      <a:lnTo>
                        <a:pt x="12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" name="Freeform 28"/>
                <p:cNvSpPr>
                  <a:spLocks/>
                </p:cNvSpPr>
                <p:nvPr/>
              </p:nvSpPr>
              <p:spPr bwMode="auto">
                <a:xfrm>
                  <a:off x="7318596" y="3583772"/>
                  <a:ext cx="37291" cy="10655"/>
                </a:xfrm>
                <a:custGeom>
                  <a:avLst/>
                  <a:gdLst>
                    <a:gd name="T0" fmla="*/ 37291 w 47"/>
                    <a:gd name="T1" fmla="*/ 0 h 5"/>
                    <a:gd name="T2" fmla="*/ 11108 w 47"/>
                    <a:gd name="T3" fmla="*/ 10655 h 5"/>
                    <a:gd name="T4" fmla="*/ 0 w 47"/>
                    <a:gd name="T5" fmla="*/ 4262 h 5"/>
                    <a:gd name="T6" fmla="*/ 37291 w 47"/>
                    <a:gd name="T7" fmla="*/ 0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7"/>
                    <a:gd name="T13" fmla="*/ 0 h 5"/>
                    <a:gd name="T14" fmla="*/ 47 w 47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7" h="5">
                      <a:moveTo>
                        <a:pt x="47" y="0"/>
                      </a:moveTo>
                      <a:lnTo>
                        <a:pt x="14" y="5"/>
                      </a:lnTo>
                      <a:lnTo>
                        <a:pt x="0" y="2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" name="Freeform 29"/>
                <p:cNvSpPr>
                  <a:spLocks/>
                </p:cNvSpPr>
                <p:nvPr/>
              </p:nvSpPr>
              <p:spPr bwMode="auto">
                <a:xfrm>
                  <a:off x="7355887" y="3251706"/>
                  <a:ext cx="28412" cy="23085"/>
                </a:xfrm>
                <a:custGeom>
                  <a:avLst/>
                  <a:gdLst>
                    <a:gd name="T0" fmla="*/ 16497 w 31"/>
                    <a:gd name="T1" fmla="*/ 23085 h 35"/>
                    <a:gd name="T2" fmla="*/ 0 w 31"/>
                    <a:gd name="T3" fmla="*/ 9234 h 35"/>
                    <a:gd name="T4" fmla="*/ 28412 w 31"/>
                    <a:gd name="T5" fmla="*/ 0 h 35"/>
                    <a:gd name="T6" fmla="*/ 28412 w 31"/>
                    <a:gd name="T7" fmla="*/ 1319 h 35"/>
                    <a:gd name="T8" fmla="*/ 23829 w 31"/>
                    <a:gd name="T9" fmla="*/ 12532 h 35"/>
                    <a:gd name="T10" fmla="*/ 16497 w 31"/>
                    <a:gd name="T11" fmla="*/ 23085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1"/>
                    <a:gd name="T19" fmla="*/ 0 h 35"/>
                    <a:gd name="T20" fmla="*/ 31 w 31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1" h="35">
                      <a:moveTo>
                        <a:pt x="18" y="35"/>
                      </a:moveTo>
                      <a:lnTo>
                        <a:pt x="0" y="14"/>
                      </a:lnTo>
                      <a:lnTo>
                        <a:pt x="31" y="0"/>
                      </a:lnTo>
                      <a:lnTo>
                        <a:pt x="31" y="2"/>
                      </a:lnTo>
                      <a:lnTo>
                        <a:pt x="26" y="19"/>
                      </a:lnTo>
                      <a:lnTo>
                        <a:pt x="18" y="3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" name="Freeform 30"/>
                <p:cNvSpPr>
                  <a:spLocks/>
                </p:cNvSpPr>
                <p:nvPr/>
              </p:nvSpPr>
              <p:spPr bwMode="auto">
                <a:xfrm>
                  <a:off x="8510126" y="3193106"/>
                  <a:ext cx="7103" cy="5327"/>
                </a:xfrm>
                <a:custGeom>
                  <a:avLst/>
                  <a:gdLst>
                    <a:gd name="T0" fmla="*/ 2368 w 6"/>
                    <a:gd name="T1" fmla="*/ 0 h 8"/>
                    <a:gd name="T2" fmla="*/ 0 w 6"/>
                    <a:gd name="T3" fmla="*/ 1332 h 8"/>
                    <a:gd name="T4" fmla="*/ 2368 w 6"/>
                    <a:gd name="T5" fmla="*/ 3995 h 8"/>
                    <a:gd name="T6" fmla="*/ 4735 w 6"/>
                    <a:gd name="T7" fmla="*/ 5327 h 8"/>
                    <a:gd name="T8" fmla="*/ 7103 w 6"/>
                    <a:gd name="T9" fmla="*/ 5327 h 8"/>
                    <a:gd name="T10" fmla="*/ 7103 w 6"/>
                    <a:gd name="T11" fmla="*/ 3995 h 8"/>
                    <a:gd name="T12" fmla="*/ 7103 w 6"/>
                    <a:gd name="T13" fmla="*/ 2664 h 8"/>
                    <a:gd name="T14" fmla="*/ 7103 w 6"/>
                    <a:gd name="T15" fmla="*/ 1332 h 8"/>
                    <a:gd name="T16" fmla="*/ 4735 w 6"/>
                    <a:gd name="T17" fmla="*/ 1332 h 8"/>
                    <a:gd name="T18" fmla="*/ 2368 w 6"/>
                    <a:gd name="T19" fmla="*/ 0 h 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8"/>
                    <a:gd name="T32" fmla="*/ 6 w 6"/>
                    <a:gd name="T33" fmla="*/ 8 h 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8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6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6" y="6"/>
                      </a:lnTo>
                      <a:lnTo>
                        <a:pt x="6" y="4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" name="Freeform 31"/>
                <p:cNvSpPr>
                  <a:spLocks/>
                </p:cNvSpPr>
                <p:nvPr/>
              </p:nvSpPr>
              <p:spPr bwMode="auto">
                <a:xfrm>
                  <a:off x="8639756" y="3239275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2"/>
                    <a:gd name="T17" fmla="*/ 4 w 4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2"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" name="Freeform 32"/>
                <p:cNvSpPr>
                  <a:spLocks/>
                </p:cNvSpPr>
                <p:nvPr/>
              </p:nvSpPr>
              <p:spPr bwMode="auto">
                <a:xfrm>
                  <a:off x="7975625" y="3114972"/>
                  <a:ext cx="7103" cy="7103"/>
                </a:xfrm>
                <a:custGeom>
                  <a:avLst/>
                  <a:gdLst>
                    <a:gd name="T0" fmla="*/ 4735 w 6"/>
                    <a:gd name="T1" fmla="*/ 2368 h 6"/>
                    <a:gd name="T2" fmla="*/ 2368 w 6"/>
                    <a:gd name="T3" fmla="*/ 2368 h 6"/>
                    <a:gd name="T4" fmla="*/ 0 w 6"/>
                    <a:gd name="T5" fmla="*/ 7103 h 6"/>
                    <a:gd name="T6" fmla="*/ 2368 w 6"/>
                    <a:gd name="T7" fmla="*/ 2368 h 6"/>
                    <a:gd name="T8" fmla="*/ 2368 w 6"/>
                    <a:gd name="T9" fmla="*/ 0 h 6"/>
                    <a:gd name="T10" fmla="*/ 2368 w 6"/>
                    <a:gd name="T11" fmla="*/ 2368 h 6"/>
                    <a:gd name="T12" fmla="*/ 4735 w 6"/>
                    <a:gd name="T13" fmla="*/ 0 h 6"/>
                    <a:gd name="T14" fmla="*/ 4735 w 6"/>
                    <a:gd name="T15" fmla="*/ 2368 h 6"/>
                    <a:gd name="T16" fmla="*/ 7103 w 6"/>
                    <a:gd name="T17" fmla="*/ 2368 h 6"/>
                    <a:gd name="T18" fmla="*/ 4735 w 6"/>
                    <a:gd name="T19" fmla="*/ 2368 h 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"/>
                    <a:gd name="T31" fmla="*/ 0 h 6"/>
                    <a:gd name="T32" fmla="*/ 6 w 6"/>
                    <a:gd name="T33" fmla="*/ 6 h 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" h="6"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0" y="6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" name="Rectangle 33"/>
                <p:cNvSpPr>
                  <a:spLocks noChangeArrowheads="1"/>
                </p:cNvSpPr>
                <p:nvPr/>
              </p:nvSpPr>
              <p:spPr bwMode="auto">
                <a:xfrm>
                  <a:off x="8337878" y="3180675"/>
                  <a:ext cx="0" cy="0"/>
                </a:xfrm>
                <a:prstGeom prst="rect">
                  <a:avLst/>
                </a:prstGeom>
                <a:grpFill/>
                <a:ln w="6350">
                  <a:solidFill>
                    <a:schemeClr val="accent6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 eaLnBrk="0" hangingPunct="0"/>
                  <a:endParaRPr lang="es-ES" sz="1079">
                    <a:latin typeface="Arial" charset="0"/>
                  </a:endParaRPr>
                </a:p>
              </p:txBody>
            </p:sp>
            <p:sp>
              <p:nvSpPr>
                <p:cNvPr id="45" name="Freeform 34"/>
                <p:cNvSpPr>
                  <a:spLocks/>
                </p:cNvSpPr>
                <p:nvPr/>
              </p:nvSpPr>
              <p:spPr bwMode="auto">
                <a:xfrm>
                  <a:off x="8344981" y="3180675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" name="Freeform 35"/>
                <p:cNvSpPr>
                  <a:spLocks/>
                </p:cNvSpPr>
                <p:nvPr/>
              </p:nvSpPr>
              <p:spPr bwMode="auto">
                <a:xfrm>
                  <a:off x="7247566" y="3198433"/>
                  <a:ext cx="245054" cy="165145"/>
                </a:xfrm>
                <a:custGeom>
                  <a:avLst/>
                  <a:gdLst>
                    <a:gd name="T0" fmla="*/ 183790 w 320"/>
                    <a:gd name="T1" fmla="*/ 0 h 229"/>
                    <a:gd name="T2" fmla="*/ 199106 w 320"/>
                    <a:gd name="T3" fmla="*/ 11539 h 229"/>
                    <a:gd name="T4" fmla="*/ 199106 w 320"/>
                    <a:gd name="T5" fmla="*/ 28125 h 229"/>
                    <a:gd name="T6" fmla="*/ 210593 w 320"/>
                    <a:gd name="T7" fmla="*/ 23798 h 229"/>
                    <a:gd name="T8" fmla="*/ 210593 w 320"/>
                    <a:gd name="T9" fmla="*/ 31010 h 229"/>
                    <a:gd name="T10" fmla="*/ 215188 w 320"/>
                    <a:gd name="T11" fmla="*/ 32452 h 229"/>
                    <a:gd name="T12" fmla="*/ 245054 w 320"/>
                    <a:gd name="T13" fmla="*/ 46154 h 229"/>
                    <a:gd name="T14" fmla="*/ 219783 w 320"/>
                    <a:gd name="T15" fmla="*/ 53366 h 229"/>
                    <a:gd name="T16" fmla="*/ 225909 w 320"/>
                    <a:gd name="T17" fmla="*/ 67068 h 229"/>
                    <a:gd name="T18" fmla="*/ 207530 w 320"/>
                    <a:gd name="T19" fmla="*/ 71395 h 229"/>
                    <a:gd name="T20" fmla="*/ 203701 w 320"/>
                    <a:gd name="T21" fmla="*/ 75722 h 229"/>
                    <a:gd name="T22" fmla="*/ 181493 w 320"/>
                    <a:gd name="T23" fmla="*/ 72837 h 229"/>
                    <a:gd name="T24" fmla="*/ 158519 w 320"/>
                    <a:gd name="T25" fmla="*/ 69952 h 229"/>
                    <a:gd name="T26" fmla="*/ 153159 w 320"/>
                    <a:gd name="T27" fmla="*/ 89423 h 229"/>
                    <a:gd name="T28" fmla="*/ 147032 w 320"/>
                    <a:gd name="T29" fmla="*/ 109616 h 229"/>
                    <a:gd name="T30" fmla="*/ 140906 w 320"/>
                    <a:gd name="T31" fmla="*/ 123318 h 229"/>
                    <a:gd name="T32" fmla="*/ 129419 w 320"/>
                    <a:gd name="T33" fmla="*/ 147116 h 229"/>
                    <a:gd name="T34" fmla="*/ 108743 w 320"/>
                    <a:gd name="T35" fmla="*/ 154328 h 229"/>
                    <a:gd name="T36" fmla="*/ 74282 w 320"/>
                    <a:gd name="T37" fmla="*/ 147116 h 229"/>
                    <a:gd name="T38" fmla="*/ 65092 w 320"/>
                    <a:gd name="T39" fmla="*/ 157933 h 229"/>
                    <a:gd name="T40" fmla="*/ 31398 w 320"/>
                    <a:gd name="T41" fmla="*/ 165145 h 229"/>
                    <a:gd name="T42" fmla="*/ 6126 w 320"/>
                    <a:gd name="T43" fmla="*/ 151443 h 229"/>
                    <a:gd name="T44" fmla="*/ 0 w 320"/>
                    <a:gd name="T45" fmla="*/ 133414 h 229"/>
                    <a:gd name="T46" fmla="*/ 1532 w 320"/>
                    <a:gd name="T47" fmla="*/ 135578 h 229"/>
                    <a:gd name="T48" fmla="*/ 22208 w 320"/>
                    <a:gd name="T49" fmla="*/ 145674 h 229"/>
                    <a:gd name="T50" fmla="*/ 41353 w 320"/>
                    <a:gd name="T51" fmla="*/ 152885 h 229"/>
                    <a:gd name="T52" fmla="*/ 37524 w 320"/>
                    <a:gd name="T53" fmla="*/ 151443 h 229"/>
                    <a:gd name="T54" fmla="*/ 41353 w 320"/>
                    <a:gd name="T55" fmla="*/ 145674 h 229"/>
                    <a:gd name="T56" fmla="*/ 42884 w 320"/>
                    <a:gd name="T57" fmla="*/ 131972 h 229"/>
                    <a:gd name="T58" fmla="*/ 44416 w 320"/>
                    <a:gd name="T59" fmla="*/ 126203 h 229"/>
                    <a:gd name="T60" fmla="*/ 45948 w 320"/>
                    <a:gd name="T61" fmla="*/ 116106 h 229"/>
                    <a:gd name="T62" fmla="*/ 63561 w 320"/>
                    <a:gd name="T63" fmla="*/ 110337 h 229"/>
                    <a:gd name="T64" fmla="*/ 81940 w 320"/>
                    <a:gd name="T65" fmla="*/ 105289 h 229"/>
                    <a:gd name="T66" fmla="*/ 98022 w 320"/>
                    <a:gd name="T67" fmla="*/ 85818 h 229"/>
                    <a:gd name="T68" fmla="*/ 112572 w 320"/>
                    <a:gd name="T69" fmla="*/ 64904 h 229"/>
                    <a:gd name="T70" fmla="*/ 126356 w 320"/>
                    <a:gd name="T71" fmla="*/ 80048 h 229"/>
                    <a:gd name="T72" fmla="*/ 132482 w 320"/>
                    <a:gd name="T73" fmla="*/ 68510 h 229"/>
                    <a:gd name="T74" fmla="*/ 136311 w 320"/>
                    <a:gd name="T75" fmla="*/ 56250 h 229"/>
                    <a:gd name="T76" fmla="*/ 142438 w 320"/>
                    <a:gd name="T77" fmla="*/ 71395 h 229"/>
                    <a:gd name="T78" fmla="*/ 142438 w 320"/>
                    <a:gd name="T79" fmla="*/ 59135 h 229"/>
                    <a:gd name="T80" fmla="*/ 148564 w 320"/>
                    <a:gd name="T81" fmla="*/ 53366 h 229"/>
                    <a:gd name="T82" fmla="*/ 145501 w 320"/>
                    <a:gd name="T83" fmla="*/ 44712 h 229"/>
                    <a:gd name="T84" fmla="*/ 151627 w 320"/>
                    <a:gd name="T85" fmla="*/ 38221 h 229"/>
                    <a:gd name="T86" fmla="*/ 163114 w 320"/>
                    <a:gd name="T87" fmla="*/ 19471 h 229"/>
                    <a:gd name="T88" fmla="*/ 176898 w 320"/>
                    <a:gd name="T89" fmla="*/ 0 h 229"/>
                    <a:gd name="T90" fmla="*/ 178430 w 320"/>
                    <a:gd name="T91" fmla="*/ 7212 h 229"/>
                    <a:gd name="T92" fmla="*/ 183790 w 320"/>
                    <a:gd name="T93" fmla="*/ 0 h 229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320"/>
                    <a:gd name="T142" fmla="*/ 0 h 229"/>
                    <a:gd name="T143" fmla="*/ 320 w 320"/>
                    <a:gd name="T144" fmla="*/ 229 h 229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320" h="229">
                      <a:moveTo>
                        <a:pt x="240" y="0"/>
                      </a:moveTo>
                      <a:lnTo>
                        <a:pt x="260" y="16"/>
                      </a:lnTo>
                      <a:lnTo>
                        <a:pt x="260" y="39"/>
                      </a:lnTo>
                      <a:lnTo>
                        <a:pt x="275" y="33"/>
                      </a:lnTo>
                      <a:lnTo>
                        <a:pt x="275" y="43"/>
                      </a:lnTo>
                      <a:lnTo>
                        <a:pt x="281" y="45"/>
                      </a:lnTo>
                      <a:lnTo>
                        <a:pt x="320" y="64"/>
                      </a:lnTo>
                      <a:lnTo>
                        <a:pt x="287" y="74"/>
                      </a:lnTo>
                      <a:lnTo>
                        <a:pt x="295" y="93"/>
                      </a:lnTo>
                      <a:lnTo>
                        <a:pt x="271" y="99"/>
                      </a:lnTo>
                      <a:lnTo>
                        <a:pt x="266" y="105"/>
                      </a:lnTo>
                      <a:lnTo>
                        <a:pt x="237" y="101"/>
                      </a:lnTo>
                      <a:lnTo>
                        <a:pt x="207" y="97"/>
                      </a:lnTo>
                      <a:lnTo>
                        <a:pt x="200" y="124"/>
                      </a:lnTo>
                      <a:lnTo>
                        <a:pt x="192" y="152"/>
                      </a:lnTo>
                      <a:lnTo>
                        <a:pt x="184" y="171"/>
                      </a:lnTo>
                      <a:lnTo>
                        <a:pt x="169" y="204"/>
                      </a:lnTo>
                      <a:lnTo>
                        <a:pt x="142" y="214"/>
                      </a:lnTo>
                      <a:lnTo>
                        <a:pt x="97" y="204"/>
                      </a:lnTo>
                      <a:lnTo>
                        <a:pt x="85" y="219"/>
                      </a:lnTo>
                      <a:lnTo>
                        <a:pt x="41" y="229"/>
                      </a:lnTo>
                      <a:lnTo>
                        <a:pt x="8" y="210"/>
                      </a:lnTo>
                      <a:lnTo>
                        <a:pt x="0" y="185"/>
                      </a:lnTo>
                      <a:lnTo>
                        <a:pt x="2" y="188"/>
                      </a:lnTo>
                      <a:lnTo>
                        <a:pt x="29" y="202"/>
                      </a:lnTo>
                      <a:lnTo>
                        <a:pt x="54" y="212"/>
                      </a:lnTo>
                      <a:lnTo>
                        <a:pt x="49" y="210"/>
                      </a:lnTo>
                      <a:lnTo>
                        <a:pt x="54" y="202"/>
                      </a:lnTo>
                      <a:lnTo>
                        <a:pt x="56" y="183"/>
                      </a:lnTo>
                      <a:lnTo>
                        <a:pt x="58" y="175"/>
                      </a:lnTo>
                      <a:lnTo>
                        <a:pt x="60" y="161"/>
                      </a:lnTo>
                      <a:lnTo>
                        <a:pt x="83" y="153"/>
                      </a:lnTo>
                      <a:lnTo>
                        <a:pt x="107" y="146"/>
                      </a:lnTo>
                      <a:lnTo>
                        <a:pt x="128" y="119"/>
                      </a:lnTo>
                      <a:lnTo>
                        <a:pt x="147" y="90"/>
                      </a:lnTo>
                      <a:lnTo>
                        <a:pt x="165" y="111"/>
                      </a:lnTo>
                      <a:lnTo>
                        <a:pt x="173" y="95"/>
                      </a:lnTo>
                      <a:lnTo>
                        <a:pt x="178" y="78"/>
                      </a:lnTo>
                      <a:lnTo>
                        <a:pt x="186" y="99"/>
                      </a:lnTo>
                      <a:lnTo>
                        <a:pt x="186" y="82"/>
                      </a:lnTo>
                      <a:lnTo>
                        <a:pt x="194" y="74"/>
                      </a:lnTo>
                      <a:lnTo>
                        <a:pt x="190" y="62"/>
                      </a:lnTo>
                      <a:lnTo>
                        <a:pt x="198" y="53"/>
                      </a:lnTo>
                      <a:lnTo>
                        <a:pt x="213" y="27"/>
                      </a:lnTo>
                      <a:lnTo>
                        <a:pt x="231" y="0"/>
                      </a:lnTo>
                      <a:lnTo>
                        <a:pt x="233" y="10"/>
                      </a:lnTo>
                      <a:lnTo>
                        <a:pt x="24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" name="Freeform 36"/>
                <p:cNvSpPr>
                  <a:spLocks/>
                </p:cNvSpPr>
                <p:nvPr/>
              </p:nvSpPr>
              <p:spPr bwMode="auto">
                <a:xfrm>
                  <a:off x="6986531" y="3203760"/>
                  <a:ext cx="117200" cy="142060"/>
                </a:xfrm>
                <a:custGeom>
                  <a:avLst/>
                  <a:gdLst>
                    <a:gd name="T0" fmla="*/ 98195 w 148"/>
                    <a:gd name="T1" fmla="*/ 142060 h 198"/>
                    <a:gd name="T2" fmla="*/ 68103 w 148"/>
                    <a:gd name="T3" fmla="*/ 121253 h 198"/>
                    <a:gd name="T4" fmla="*/ 35635 w 148"/>
                    <a:gd name="T5" fmla="*/ 99729 h 198"/>
                    <a:gd name="T6" fmla="*/ 22173 w 148"/>
                    <a:gd name="T7" fmla="*/ 69595 h 198"/>
                    <a:gd name="T8" fmla="*/ 11086 w 148"/>
                    <a:gd name="T9" fmla="*/ 37309 h 198"/>
                    <a:gd name="T10" fmla="*/ 0 w 148"/>
                    <a:gd name="T11" fmla="*/ 4305 h 198"/>
                    <a:gd name="T12" fmla="*/ 1584 w 148"/>
                    <a:gd name="T13" fmla="*/ 0 h 198"/>
                    <a:gd name="T14" fmla="*/ 22965 w 148"/>
                    <a:gd name="T15" fmla="*/ 9327 h 198"/>
                    <a:gd name="T16" fmla="*/ 24549 w 148"/>
                    <a:gd name="T17" fmla="*/ 20807 h 198"/>
                    <a:gd name="T18" fmla="*/ 43554 w 148"/>
                    <a:gd name="T19" fmla="*/ 20807 h 198"/>
                    <a:gd name="T20" fmla="*/ 53849 w 148"/>
                    <a:gd name="T21" fmla="*/ 9327 h 198"/>
                    <a:gd name="T22" fmla="*/ 71270 w 148"/>
                    <a:gd name="T23" fmla="*/ 25112 h 198"/>
                    <a:gd name="T24" fmla="*/ 86316 w 148"/>
                    <a:gd name="T25" fmla="*/ 40179 h 198"/>
                    <a:gd name="T26" fmla="*/ 89484 w 148"/>
                    <a:gd name="T27" fmla="*/ 66725 h 198"/>
                    <a:gd name="T28" fmla="*/ 92651 w 148"/>
                    <a:gd name="T29" fmla="*/ 93272 h 198"/>
                    <a:gd name="T30" fmla="*/ 104530 w 148"/>
                    <a:gd name="T31" fmla="*/ 116948 h 198"/>
                    <a:gd name="T32" fmla="*/ 117200 w 148"/>
                    <a:gd name="T33" fmla="*/ 140625 h 198"/>
                    <a:gd name="T34" fmla="*/ 107697 w 148"/>
                    <a:gd name="T35" fmla="*/ 136320 h 198"/>
                    <a:gd name="T36" fmla="*/ 98195 w 148"/>
                    <a:gd name="T37" fmla="*/ 142060 h 19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8"/>
                    <a:gd name="T58" fmla="*/ 0 h 198"/>
                    <a:gd name="T59" fmla="*/ 148 w 148"/>
                    <a:gd name="T60" fmla="*/ 198 h 19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8" h="198">
                      <a:moveTo>
                        <a:pt x="124" y="198"/>
                      </a:moveTo>
                      <a:lnTo>
                        <a:pt x="86" y="169"/>
                      </a:lnTo>
                      <a:lnTo>
                        <a:pt x="45" y="139"/>
                      </a:lnTo>
                      <a:lnTo>
                        <a:pt x="28" y="97"/>
                      </a:lnTo>
                      <a:lnTo>
                        <a:pt x="14" y="52"/>
                      </a:lnTo>
                      <a:lnTo>
                        <a:pt x="0" y="6"/>
                      </a:lnTo>
                      <a:lnTo>
                        <a:pt x="2" y="0"/>
                      </a:lnTo>
                      <a:lnTo>
                        <a:pt x="29" y="13"/>
                      </a:lnTo>
                      <a:lnTo>
                        <a:pt x="31" y="29"/>
                      </a:lnTo>
                      <a:lnTo>
                        <a:pt x="55" y="29"/>
                      </a:lnTo>
                      <a:lnTo>
                        <a:pt x="68" y="13"/>
                      </a:lnTo>
                      <a:lnTo>
                        <a:pt x="90" y="35"/>
                      </a:lnTo>
                      <a:lnTo>
                        <a:pt x="109" y="56"/>
                      </a:lnTo>
                      <a:lnTo>
                        <a:pt x="113" y="93"/>
                      </a:lnTo>
                      <a:lnTo>
                        <a:pt x="117" y="130"/>
                      </a:lnTo>
                      <a:lnTo>
                        <a:pt x="132" y="163"/>
                      </a:lnTo>
                      <a:lnTo>
                        <a:pt x="148" y="196"/>
                      </a:lnTo>
                      <a:lnTo>
                        <a:pt x="136" y="190"/>
                      </a:lnTo>
                      <a:lnTo>
                        <a:pt x="124" y="19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" name="Freeform 37"/>
                <p:cNvSpPr>
                  <a:spLocks/>
                </p:cNvSpPr>
                <p:nvPr/>
              </p:nvSpPr>
              <p:spPr bwMode="auto">
                <a:xfrm>
                  <a:off x="8785367" y="3180675"/>
                  <a:ext cx="7103" cy="0"/>
                </a:xfrm>
                <a:custGeom>
                  <a:avLst/>
                  <a:gdLst>
                    <a:gd name="T0" fmla="*/ 7103 w 4"/>
                    <a:gd name="T1" fmla="*/ 0 h 2"/>
                    <a:gd name="T2" fmla="*/ 3552 w 4"/>
                    <a:gd name="T3" fmla="*/ 0 h 2"/>
                    <a:gd name="T4" fmla="*/ 0 w 4"/>
                    <a:gd name="T5" fmla="*/ 0 h 2"/>
                    <a:gd name="T6" fmla="*/ 7103 w 4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2"/>
                    <a:gd name="T14" fmla="*/ 4 w 4"/>
                    <a:gd name="T15" fmla="*/ 0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2"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" name="Freeform 38"/>
                <p:cNvSpPr>
                  <a:spLocks/>
                </p:cNvSpPr>
                <p:nvPr/>
              </p:nvSpPr>
              <p:spPr bwMode="auto">
                <a:xfrm>
                  <a:off x="8870603" y="3186003"/>
                  <a:ext cx="0" cy="0"/>
                </a:xfrm>
                <a:custGeom>
                  <a:avLst/>
                  <a:gdLst>
                    <a:gd name="T0" fmla="*/ 0 h 1"/>
                    <a:gd name="T1" fmla="*/ 0 h 1"/>
                    <a:gd name="T2" fmla="*/ 0 h 1"/>
                    <a:gd name="T3" fmla="*/ 0 60000 65536"/>
                    <a:gd name="T4" fmla="*/ 0 60000 65536"/>
                    <a:gd name="T5" fmla="*/ 0 60000 65536"/>
                    <a:gd name="T6" fmla="*/ 0 h 1"/>
                    <a:gd name="T7" fmla="*/ 1 h 1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T6" r="0" b="T7"/>
                  <a:pathLst>
                    <a:path h="1">
                      <a:moveTo>
                        <a:pt x="0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0" name="Freeform 39"/>
                <p:cNvSpPr>
                  <a:spLocks/>
                </p:cNvSpPr>
                <p:nvPr/>
              </p:nvSpPr>
              <p:spPr bwMode="auto">
                <a:xfrm>
                  <a:off x="8778264" y="3228621"/>
                  <a:ext cx="0" cy="5327"/>
                </a:xfrm>
                <a:custGeom>
                  <a:avLst/>
                  <a:gdLst>
                    <a:gd name="T0" fmla="*/ 5327 h 2"/>
                    <a:gd name="T1" fmla="*/ 0 h 2"/>
                    <a:gd name="T2" fmla="*/ 5327 h 2"/>
                    <a:gd name="T3" fmla="*/ 0 60000 65536"/>
                    <a:gd name="T4" fmla="*/ 0 60000 65536"/>
                    <a:gd name="T5" fmla="*/ 0 60000 65536"/>
                    <a:gd name="T6" fmla="*/ 0 h 2"/>
                    <a:gd name="T7" fmla="*/ 2 h 2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T6" r="0" b="T7"/>
                  <a:pathLst>
                    <a:path h="2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1" name="Rectangle 40"/>
                <p:cNvSpPr>
                  <a:spLocks noChangeArrowheads="1"/>
                </p:cNvSpPr>
                <p:nvPr/>
              </p:nvSpPr>
              <p:spPr bwMode="auto">
                <a:xfrm>
                  <a:off x="8748076" y="3406196"/>
                  <a:ext cx="0" cy="0"/>
                </a:xfrm>
                <a:prstGeom prst="rect">
                  <a:avLst/>
                </a:prstGeom>
                <a:grpFill/>
                <a:ln w="6350">
                  <a:solidFill>
                    <a:schemeClr val="accent6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 eaLnBrk="0" hangingPunct="0"/>
                  <a:endParaRPr lang="es-ES" sz="1079">
                    <a:latin typeface="Arial" charset="0"/>
                  </a:endParaRPr>
                </a:p>
              </p:txBody>
            </p:sp>
            <p:sp>
              <p:nvSpPr>
                <p:cNvPr id="52" name="Freeform 41"/>
                <p:cNvSpPr>
                  <a:spLocks/>
                </p:cNvSpPr>
                <p:nvPr/>
              </p:nvSpPr>
              <p:spPr bwMode="auto">
                <a:xfrm>
                  <a:off x="7890388" y="3168245"/>
                  <a:ext cx="0" cy="12430"/>
                </a:xfrm>
                <a:custGeom>
                  <a:avLst/>
                  <a:gdLst>
                    <a:gd name="T0" fmla="*/ 0 w 6"/>
                    <a:gd name="T1" fmla="*/ 7769 h 16"/>
                    <a:gd name="T2" fmla="*/ 0 w 6"/>
                    <a:gd name="T3" fmla="*/ 6215 h 16"/>
                    <a:gd name="T4" fmla="*/ 0 w 6"/>
                    <a:gd name="T5" fmla="*/ 4661 h 16"/>
                    <a:gd name="T6" fmla="*/ 0 w 6"/>
                    <a:gd name="T7" fmla="*/ 3108 h 16"/>
                    <a:gd name="T8" fmla="*/ 0 w 6"/>
                    <a:gd name="T9" fmla="*/ 3108 h 16"/>
                    <a:gd name="T10" fmla="*/ 0 w 6"/>
                    <a:gd name="T11" fmla="*/ 0 h 16"/>
                    <a:gd name="T12" fmla="*/ 0 w 6"/>
                    <a:gd name="T13" fmla="*/ 3108 h 16"/>
                    <a:gd name="T14" fmla="*/ 0 w 6"/>
                    <a:gd name="T15" fmla="*/ 7769 h 16"/>
                    <a:gd name="T16" fmla="*/ 0 w 6"/>
                    <a:gd name="T17" fmla="*/ 10876 h 16"/>
                    <a:gd name="T18" fmla="*/ 0 w 6"/>
                    <a:gd name="T19" fmla="*/ 12430 h 16"/>
                    <a:gd name="T20" fmla="*/ 0 w 6"/>
                    <a:gd name="T21" fmla="*/ 10876 h 16"/>
                    <a:gd name="T22" fmla="*/ 0 w 6"/>
                    <a:gd name="T23" fmla="*/ 9322 h 16"/>
                    <a:gd name="T24" fmla="*/ 0 w 6"/>
                    <a:gd name="T25" fmla="*/ 7769 h 1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"/>
                    <a:gd name="T40" fmla="*/ 0 h 16"/>
                    <a:gd name="T41" fmla="*/ 0 w 6"/>
                    <a:gd name="T42" fmla="*/ 16 h 1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" h="16">
                      <a:moveTo>
                        <a:pt x="2" y="10"/>
                      </a:moveTo>
                      <a:lnTo>
                        <a:pt x="2" y="8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6" y="4"/>
                      </a:lnTo>
                      <a:lnTo>
                        <a:pt x="6" y="10"/>
                      </a:lnTo>
                      <a:lnTo>
                        <a:pt x="4" y="14"/>
                      </a:lnTo>
                      <a:lnTo>
                        <a:pt x="4" y="16"/>
                      </a:lnTo>
                      <a:lnTo>
                        <a:pt x="2" y="14"/>
                      </a:lnTo>
                      <a:lnTo>
                        <a:pt x="0" y="12"/>
                      </a:lnTo>
                      <a:lnTo>
                        <a:pt x="2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3" name="Freeform 42"/>
                <p:cNvSpPr>
                  <a:spLocks/>
                </p:cNvSpPr>
                <p:nvPr/>
              </p:nvSpPr>
              <p:spPr bwMode="auto">
                <a:xfrm>
                  <a:off x="7890388" y="3180675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w 4"/>
                    <a:gd name="T11" fmla="*/ 0 h 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2"/>
                    <a:gd name="T20" fmla="*/ 4 w 4"/>
                    <a:gd name="T21" fmla="*/ 2 h 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4" name="Freeform 43"/>
                <p:cNvSpPr>
                  <a:spLocks/>
                </p:cNvSpPr>
                <p:nvPr/>
              </p:nvSpPr>
              <p:spPr bwMode="auto">
                <a:xfrm>
                  <a:off x="7890388" y="3180675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5" name="Freeform 44"/>
                <p:cNvSpPr>
                  <a:spLocks/>
                </p:cNvSpPr>
                <p:nvPr/>
              </p:nvSpPr>
              <p:spPr bwMode="auto">
                <a:xfrm>
                  <a:off x="7883285" y="3198433"/>
                  <a:ext cx="0" cy="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2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6" name="Freeform 45"/>
                <p:cNvSpPr>
                  <a:spLocks/>
                </p:cNvSpPr>
                <p:nvPr/>
              </p:nvSpPr>
              <p:spPr bwMode="auto">
                <a:xfrm>
                  <a:off x="7890388" y="3186003"/>
                  <a:ext cx="0" cy="7103"/>
                </a:xfrm>
                <a:custGeom>
                  <a:avLst/>
                  <a:gdLst>
                    <a:gd name="T0" fmla="*/ 3552 h 4"/>
                    <a:gd name="T1" fmla="*/ 0 h 4"/>
                    <a:gd name="T2" fmla="*/ 7103 h 4"/>
                    <a:gd name="T3" fmla="*/ 3552 h 4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4"/>
                    <a:gd name="T9" fmla="*/ 4 h 4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4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7" name="Freeform 46"/>
                <p:cNvSpPr>
                  <a:spLocks/>
                </p:cNvSpPr>
                <p:nvPr/>
              </p:nvSpPr>
              <p:spPr bwMode="auto">
                <a:xfrm>
                  <a:off x="8055533" y="3464796"/>
                  <a:ext cx="259260" cy="225521"/>
                </a:xfrm>
                <a:custGeom>
                  <a:avLst/>
                  <a:gdLst>
                    <a:gd name="T0" fmla="*/ 259260 w 328"/>
                    <a:gd name="T1" fmla="*/ 215877 h 304"/>
                    <a:gd name="T2" fmla="*/ 248194 w 328"/>
                    <a:gd name="T3" fmla="*/ 220328 h 304"/>
                    <a:gd name="T4" fmla="*/ 248194 w 328"/>
                    <a:gd name="T5" fmla="*/ 225521 h 304"/>
                    <a:gd name="T6" fmla="*/ 233176 w 328"/>
                    <a:gd name="T7" fmla="*/ 222554 h 304"/>
                    <a:gd name="T8" fmla="*/ 208673 w 328"/>
                    <a:gd name="T9" fmla="*/ 218844 h 304"/>
                    <a:gd name="T10" fmla="*/ 184169 w 328"/>
                    <a:gd name="T11" fmla="*/ 212910 h 304"/>
                    <a:gd name="T12" fmla="*/ 169942 w 328"/>
                    <a:gd name="T13" fmla="*/ 198073 h 304"/>
                    <a:gd name="T14" fmla="*/ 156505 w 328"/>
                    <a:gd name="T15" fmla="*/ 183978 h 304"/>
                    <a:gd name="T16" fmla="*/ 142277 w 328"/>
                    <a:gd name="T17" fmla="*/ 168399 h 304"/>
                    <a:gd name="T18" fmla="*/ 128840 w 328"/>
                    <a:gd name="T19" fmla="*/ 150595 h 304"/>
                    <a:gd name="T20" fmla="*/ 94851 w 328"/>
                    <a:gd name="T21" fmla="*/ 139467 h 304"/>
                    <a:gd name="T22" fmla="*/ 93270 w 328"/>
                    <a:gd name="T23" fmla="*/ 145402 h 304"/>
                    <a:gd name="T24" fmla="*/ 76671 w 328"/>
                    <a:gd name="T25" fmla="*/ 140951 h 304"/>
                    <a:gd name="T26" fmla="*/ 78252 w 328"/>
                    <a:gd name="T27" fmla="*/ 153562 h 304"/>
                    <a:gd name="T28" fmla="*/ 68767 w 328"/>
                    <a:gd name="T29" fmla="*/ 152078 h 304"/>
                    <a:gd name="T30" fmla="*/ 71929 w 328"/>
                    <a:gd name="T31" fmla="*/ 159497 h 304"/>
                    <a:gd name="T32" fmla="*/ 35569 w 328"/>
                    <a:gd name="T33" fmla="*/ 158013 h 304"/>
                    <a:gd name="T34" fmla="*/ 64815 w 328"/>
                    <a:gd name="T35" fmla="*/ 173592 h 304"/>
                    <a:gd name="T36" fmla="*/ 52168 w 328"/>
                    <a:gd name="T37" fmla="*/ 185461 h 304"/>
                    <a:gd name="T38" fmla="*/ 26084 w 328"/>
                    <a:gd name="T39" fmla="*/ 185461 h 304"/>
                    <a:gd name="T40" fmla="*/ 0 w 328"/>
                    <a:gd name="T41" fmla="*/ 183978 h 304"/>
                    <a:gd name="T42" fmla="*/ 1581 w 328"/>
                    <a:gd name="T43" fmla="*/ 160980 h 304"/>
                    <a:gd name="T44" fmla="*/ 4743 w 328"/>
                    <a:gd name="T45" fmla="*/ 137983 h 304"/>
                    <a:gd name="T46" fmla="*/ 6323 w 328"/>
                    <a:gd name="T47" fmla="*/ 114986 h 304"/>
                    <a:gd name="T48" fmla="*/ 7904 w 328"/>
                    <a:gd name="T49" fmla="*/ 91989 h 304"/>
                    <a:gd name="T50" fmla="*/ 11066 w 328"/>
                    <a:gd name="T51" fmla="*/ 68992 h 304"/>
                    <a:gd name="T52" fmla="*/ 11066 w 328"/>
                    <a:gd name="T53" fmla="*/ 45994 h 304"/>
                    <a:gd name="T54" fmla="*/ 12647 w 328"/>
                    <a:gd name="T55" fmla="*/ 22997 h 304"/>
                    <a:gd name="T56" fmla="*/ 12647 w 328"/>
                    <a:gd name="T57" fmla="*/ 0 h 304"/>
                    <a:gd name="T58" fmla="*/ 38731 w 328"/>
                    <a:gd name="T59" fmla="*/ 9644 h 304"/>
                    <a:gd name="T60" fmla="*/ 63234 w 328"/>
                    <a:gd name="T61" fmla="*/ 21514 h 304"/>
                    <a:gd name="T62" fmla="*/ 89318 w 328"/>
                    <a:gd name="T63" fmla="*/ 31899 h 304"/>
                    <a:gd name="T64" fmla="*/ 115402 w 328"/>
                    <a:gd name="T65" fmla="*/ 43027 h 304"/>
                    <a:gd name="T66" fmla="*/ 138325 w 328"/>
                    <a:gd name="T67" fmla="*/ 70475 h 304"/>
                    <a:gd name="T68" fmla="*/ 138325 w 328"/>
                    <a:gd name="T69" fmla="*/ 81603 h 304"/>
                    <a:gd name="T70" fmla="*/ 161247 w 328"/>
                    <a:gd name="T71" fmla="*/ 91989 h 304"/>
                    <a:gd name="T72" fmla="*/ 184169 w 328"/>
                    <a:gd name="T73" fmla="*/ 100891 h 304"/>
                    <a:gd name="T74" fmla="*/ 187331 w 328"/>
                    <a:gd name="T75" fmla="*/ 116470 h 304"/>
                    <a:gd name="T76" fmla="*/ 164409 w 328"/>
                    <a:gd name="T77" fmla="*/ 119437 h 304"/>
                    <a:gd name="T78" fmla="*/ 176265 w 328"/>
                    <a:gd name="T79" fmla="*/ 143918 h 304"/>
                    <a:gd name="T80" fmla="*/ 192864 w 328"/>
                    <a:gd name="T81" fmla="*/ 159497 h 304"/>
                    <a:gd name="T82" fmla="*/ 205511 w 328"/>
                    <a:gd name="T83" fmla="*/ 183978 h 304"/>
                    <a:gd name="T84" fmla="*/ 220529 w 328"/>
                    <a:gd name="T85" fmla="*/ 185461 h 304"/>
                    <a:gd name="T86" fmla="*/ 220529 w 328"/>
                    <a:gd name="T87" fmla="*/ 195847 h 304"/>
                    <a:gd name="T88" fmla="*/ 234757 w 328"/>
                    <a:gd name="T89" fmla="*/ 202524 h 304"/>
                    <a:gd name="T90" fmla="*/ 231595 w 328"/>
                    <a:gd name="T91" fmla="*/ 208459 h 304"/>
                    <a:gd name="T92" fmla="*/ 259260 w 328"/>
                    <a:gd name="T93" fmla="*/ 215877 h 30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328"/>
                    <a:gd name="T142" fmla="*/ 0 h 304"/>
                    <a:gd name="T143" fmla="*/ 328 w 328"/>
                    <a:gd name="T144" fmla="*/ 304 h 304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328" h="304">
                      <a:moveTo>
                        <a:pt x="328" y="291"/>
                      </a:moveTo>
                      <a:lnTo>
                        <a:pt x="314" y="297"/>
                      </a:lnTo>
                      <a:lnTo>
                        <a:pt x="314" y="304"/>
                      </a:lnTo>
                      <a:lnTo>
                        <a:pt x="295" y="300"/>
                      </a:lnTo>
                      <a:lnTo>
                        <a:pt x="264" y="295"/>
                      </a:lnTo>
                      <a:lnTo>
                        <a:pt x="233" y="287"/>
                      </a:lnTo>
                      <a:lnTo>
                        <a:pt x="215" y="267"/>
                      </a:lnTo>
                      <a:lnTo>
                        <a:pt x="198" y="248"/>
                      </a:lnTo>
                      <a:lnTo>
                        <a:pt x="180" y="227"/>
                      </a:lnTo>
                      <a:lnTo>
                        <a:pt x="163" y="203"/>
                      </a:lnTo>
                      <a:lnTo>
                        <a:pt x="120" y="188"/>
                      </a:lnTo>
                      <a:lnTo>
                        <a:pt x="118" y="196"/>
                      </a:lnTo>
                      <a:lnTo>
                        <a:pt x="97" y="190"/>
                      </a:lnTo>
                      <a:lnTo>
                        <a:pt x="99" y="207"/>
                      </a:lnTo>
                      <a:lnTo>
                        <a:pt x="87" y="205"/>
                      </a:lnTo>
                      <a:lnTo>
                        <a:pt x="91" y="215"/>
                      </a:lnTo>
                      <a:lnTo>
                        <a:pt x="45" y="213"/>
                      </a:lnTo>
                      <a:lnTo>
                        <a:pt x="82" y="234"/>
                      </a:lnTo>
                      <a:lnTo>
                        <a:pt x="66" y="250"/>
                      </a:lnTo>
                      <a:lnTo>
                        <a:pt x="33" y="250"/>
                      </a:lnTo>
                      <a:lnTo>
                        <a:pt x="0" y="248"/>
                      </a:lnTo>
                      <a:lnTo>
                        <a:pt x="2" y="217"/>
                      </a:lnTo>
                      <a:lnTo>
                        <a:pt x="6" y="186"/>
                      </a:lnTo>
                      <a:lnTo>
                        <a:pt x="8" y="155"/>
                      </a:lnTo>
                      <a:lnTo>
                        <a:pt x="10" y="124"/>
                      </a:lnTo>
                      <a:lnTo>
                        <a:pt x="14" y="93"/>
                      </a:lnTo>
                      <a:lnTo>
                        <a:pt x="14" y="62"/>
                      </a:lnTo>
                      <a:lnTo>
                        <a:pt x="16" y="31"/>
                      </a:lnTo>
                      <a:lnTo>
                        <a:pt x="16" y="0"/>
                      </a:lnTo>
                      <a:lnTo>
                        <a:pt x="49" y="13"/>
                      </a:lnTo>
                      <a:lnTo>
                        <a:pt x="80" y="29"/>
                      </a:lnTo>
                      <a:lnTo>
                        <a:pt x="113" y="43"/>
                      </a:lnTo>
                      <a:lnTo>
                        <a:pt x="146" y="58"/>
                      </a:lnTo>
                      <a:lnTo>
                        <a:pt x="175" y="95"/>
                      </a:lnTo>
                      <a:lnTo>
                        <a:pt x="175" y="110"/>
                      </a:lnTo>
                      <a:lnTo>
                        <a:pt x="204" y="124"/>
                      </a:lnTo>
                      <a:lnTo>
                        <a:pt x="233" y="136"/>
                      </a:lnTo>
                      <a:lnTo>
                        <a:pt x="237" y="157"/>
                      </a:lnTo>
                      <a:lnTo>
                        <a:pt x="208" y="161"/>
                      </a:lnTo>
                      <a:lnTo>
                        <a:pt x="223" y="194"/>
                      </a:lnTo>
                      <a:lnTo>
                        <a:pt x="244" y="215"/>
                      </a:lnTo>
                      <a:lnTo>
                        <a:pt x="260" y="248"/>
                      </a:lnTo>
                      <a:lnTo>
                        <a:pt x="279" y="250"/>
                      </a:lnTo>
                      <a:lnTo>
                        <a:pt x="279" y="264"/>
                      </a:lnTo>
                      <a:lnTo>
                        <a:pt x="297" y="273"/>
                      </a:lnTo>
                      <a:lnTo>
                        <a:pt x="293" y="281"/>
                      </a:lnTo>
                      <a:lnTo>
                        <a:pt x="328" y="29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8" name="Freeform 47"/>
                <p:cNvSpPr>
                  <a:spLocks/>
                </p:cNvSpPr>
                <p:nvPr/>
              </p:nvSpPr>
              <p:spPr bwMode="auto">
                <a:xfrm>
                  <a:off x="8257969" y="3512741"/>
                  <a:ext cx="108321" cy="58600"/>
                </a:xfrm>
                <a:custGeom>
                  <a:avLst/>
                  <a:gdLst>
                    <a:gd name="T0" fmla="*/ 108321 w 140"/>
                    <a:gd name="T1" fmla="*/ 1563 h 75"/>
                    <a:gd name="T2" fmla="*/ 100584 w 140"/>
                    <a:gd name="T3" fmla="*/ 21096 h 75"/>
                    <a:gd name="T4" fmla="*/ 94394 w 140"/>
                    <a:gd name="T5" fmla="*/ 25784 h 75"/>
                    <a:gd name="T6" fmla="*/ 95941 w 140"/>
                    <a:gd name="T7" fmla="*/ 34379 h 75"/>
                    <a:gd name="T8" fmla="*/ 78146 w 140"/>
                    <a:gd name="T9" fmla="*/ 43755 h 75"/>
                    <a:gd name="T10" fmla="*/ 43328 w 140"/>
                    <a:gd name="T11" fmla="*/ 58600 h 75"/>
                    <a:gd name="T12" fmla="*/ 22438 w 140"/>
                    <a:gd name="T13" fmla="*/ 54693 h 75"/>
                    <a:gd name="T14" fmla="*/ 6190 w 140"/>
                    <a:gd name="T15" fmla="*/ 45317 h 75"/>
                    <a:gd name="T16" fmla="*/ 0 w 140"/>
                    <a:gd name="T17" fmla="*/ 35941 h 75"/>
                    <a:gd name="T18" fmla="*/ 35591 w 140"/>
                    <a:gd name="T19" fmla="*/ 37504 h 75"/>
                    <a:gd name="T20" fmla="*/ 44876 w 140"/>
                    <a:gd name="T21" fmla="*/ 22659 h 75"/>
                    <a:gd name="T22" fmla="*/ 44876 w 140"/>
                    <a:gd name="T23" fmla="*/ 30472 h 75"/>
                    <a:gd name="T24" fmla="*/ 58803 w 140"/>
                    <a:gd name="T25" fmla="*/ 37504 h 75"/>
                    <a:gd name="T26" fmla="*/ 84336 w 140"/>
                    <a:gd name="T27" fmla="*/ 19533 h 75"/>
                    <a:gd name="T28" fmla="*/ 84336 w 140"/>
                    <a:gd name="T29" fmla="*/ 1563 h 75"/>
                    <a:gd name="T30" fmla="*/ 97489 w 140"/>
                    <a:gd name="T31" fmla="*/ 0 h 75"/>
                    <a:gd name="T32" fmla="*/ 108321 w 140"/>
                    <a:gd name="T33" fmla="*/ 1563 h 7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40"/>
                    <a:gd name="T52" fmla="*/ 0 h 75"/>
                    <a:gd name="T53" fmla="*/ 140 w 140"/>
                    <a:gd name="T54" fmla="*/ 75 h 7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40" h="75">
                      <a:moveTo>
                        <a:pt x="140" y="2"/>
                      </a:moveTo>
                      <a:lnTo>
                        <a:pt x="130" y="27"/>
                      </a:lnTo>
                      <a:lnTo>
                        <a:pt x="122" y="33"/>
                      </a:lnTo>
                      <a:lnTo>
                        <a:pt x="124" y="44"/>
                      </a:lnTo>
                      <a:lnTo>
                        <a:pt x="101" y="56"/>
                      </a:lnTo>
                      <a:lnTo>
                        <a:pt x="56" y="75"/>
                      </a:lnTo>
                      <a:lnTo>
                        <a:pt x="29" y="70"/>
                      </a:lnTo>
                      <a:lnTo>
                        <a:pt x="8" y="58"/>
                      </a:lnTo>
                      <a:lnTo>
                        <a:pt x="0" y="46"/>
                      </a:lnTo>
                      <a:lnTo>
                        <a:pt x="46" y="48"/>
                      </a:lnTo>
                      <a:lnTo>
                        <a:pt x="58" y="29"/>
                      </a:lnTo>
                      <a:lnTo>
                        <a:pt x="58" y="39"/>
                      </a:lnTo>
                      <a:lnTo>
                        <a:pt x="76" y="48"/>
                      </a:lnTo>
                      <a:lnTo>
                        <a:pt x="109" y="25"/>
                      </a:lnTo>
                      <a:lnTo>
                        <a:pt x="109" y="2"/>
                      </a:lnTo>
                      <a:lnTo>
                        <a:pt x="126" y="0"/>
                      </a:lnTo>
                      <a:lnTo>
                        <a:pt x="14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9" name="Freeform 48"/>
                <p:cNvSpPr>
                  <a:spLocks/>
                </p:cNvSpPr>
                <p:nvPr/>
              </p:nvSpPr>
              <p:spPr bwMode="auto">
                <a:xfrm>
                  <a:off x="8423114" y="3541154"/>
                  <a:ext cx="30188" cy="42618"/>
                </a:xfrm>
                <a:custGeom>
                  <a:avLst/>
                  <a:gdLst>
                    <a:gd name="T0" fmla="*/ 30188 w 39"/>
                    <a:gd name="T1" fmla="*/ 38052 h 56"/>
                    <a:gd name="T2" fmla="*/ 22447 w 39"/>
                    <a:gd name="T3" fmla="*/ 42618 h 56"/>
                    <a:gd name="T4" fmla="*/ 6192 w 39"/>
                    <a:gd name="T5" fmla="*/ 23592 h 56"/>
                    <a:gd name="T6" fmla="*/ 0 w 39"/>
                    <a:gd name="T7" fmla="*/ 0 h 56"/>
                    <a:gd name="T8" fmla="*/ 15481 w 39"/>
                    <a:gd name="T9" fmla="*/ 19026 h 56"/>
                    <a:gd name="T10" fmla="*/ 30188 w 39"/>
                    <a:gd name="T11" fmla="*/ 38052 h 5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9"/>
                    <a:gd name="T19" fmla="*/ 0 h 56"/>
                    <a:gd name="T20" fmla="*/ 39 w 39"/>
                    <a:gd name="T21" fmla="*/ 56 h 5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9" h="56">
                      <a:moveTo>
                        <a:pt x="39" y="50"/>
                      </a:moveTo>
                      <a:lnTo>
                        <a:pt x="29" y="56"/>
                      </a:lnTo>
                      <a:lnTo>
                        <a:pt x="8" y="31"/>
                      </a:lnTo>
                      <a:lnTo>
                        <a:pt x="0" y="0"/>
                      </a:lnTo>
                      <a:lnTo>
                        <a:pt x="20" y="25"/>
                      </a:lnTo>
                      <a:lnTo>
                        <a:pt x="39" y="5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0" name="Freeform 49"/>
                <p:cNvSpPr>
                  <a:spLocks/>
                </p:cNvSpPr>
                <p:nvPr/>
              </p:nvSpPr>
              <p:spPr bwMode="auto">
                <a:xfrm>
                  <a:off x="8330775" y="3464796"/>
                  <a:ext cx="49721" cy="58600"/>
                </a:xfrm>
                <a:custGeom>
                  <a:avLst/>
                  <a:gdLst>
                    <a:gd name="T0" fmla="*/ 49721 w 74"/>
                    <a:gd name="T1" fmla="*/ 48706 h 77"/>
                    <a:gd name="T2" fmla="*/ 43002 w 74"/>
                    <a:gd name="T3" fmla="*/ 58600 h 77"/>
                    <a:gd name="T4" fmla="*/ 27548 w 74"/>
                    <a:gd name="T5" fmla="*/ 23592 h 77"/>
                    <a:gd name="T6" fmla="*/ 14110 w 74"/>
                    <a:gd name="T7" fmla="*/ 11416 h 77"/>
                    <a:gd name="T8" fmla="*/ 0 w 74"/>
                    <a:gd name="T9" fmla="*/ 0 h 77"/>
                    <a:gd name="T10" fmla="*/ 1344 w 74"/>
                    <a:gd name="T11" fmla="*/ 0 h 77"/>
                    <a:gd name="T12" fmla="*/ 19485 w 74"/>
                    <a:gd name="T13" fmla="*/ 14460 h 77"/>
                    <a:gd name="T14" fmla="*/ 37627 w 74"/>
                    <a:gd name="T15" fmla="*/ 30442 h 77"/>
                    <a:gd name="T16" fmla="*/ 49721 w 74"/>
                    <a:gd name="T17" fmla="*/ 48706 h 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4"/>
                    <a:gd name="T28" fmla="*/ 0 h 77"/>
                    <a:gd name="T29" fmla="*/ 74 w 74"/>
                    <a:gd name="T30" fmla="*/ 77 h 7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4" h="77">
                      <a:moveTo>
                        <a:pt x="74" y="64"/>
                      </a:moveTo>
                      <a:lnTo>
                        <a:pt x="64" y="77"/>
                      </a:lnTo>
                      <a:lnTo>
                        <a:pt x="41" y="31"/>
                      </a:lnTo>
                      <a:lnTo>
                        <a:pt x="21" y="15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9" y="19"/>
                      </a:lnTo>
                      <a:lnTo>
                        <a:pt x="56" y="40"/>
                      </a:lnTo>
                      <a:lnTo>
                        <a:pt x="74" y="6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1" name="Freeform 50"/>
                <p:cNvSpPr>
                  <a:spLocks/>
                </p:cNvSpPr>
                <p:nvPr/>
              </p:nvSpPr>
              <p:spPr bwMode="auto">
                <a:xfrm>
                  <a:off x="8314793" y="3672559"/>
                  <a:ext cx="8879" cy="5327"/>
                </a:xfrm>
                <a:custGeom>
                  <a:avLst/>
                  <a:gdLst>
                    <a:gd name="T0" fmla="*/ 8879 w 13"/>
                    <a:gd name="T1" fmla="*/ 2664 h 12"/>
                    <a:gd name="T2" fmla="*/ 2732 w 13"/>
                    <a:gd name="T3" fmla="*/ 5327 h 12"/>
                    <a:gd name="T4" fmla="*/ 0 w 13"/>
                    <a:gd name="T5" fmla="*/ 0 h 12"/>
                    <a:gd name="T6" fmla="*/ 8879 w 13"/>
                    <a:gd name="T7" fmla="*/ 2664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"/>
                    <a:gd name="T13" fmla="*/ 0 h 12"/>
                    <a:gd name="T14" fmla="*/ 13 w 13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" h="12">
                      <a:moveTo>
                        <a:pt x="13" y="6"/>
                      </a:moveTo>
                      <a:lnTo>
                        <a:pt x="4" y="12"/>
                      </a:lnTo>
                      <a:lnTo>
                        <a:pt x="0" y="0"/>
                      </a:lnTo>
                      <a:lnTo>
                        <a:pt x="13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2" name="Freeform 51"/>
                <p:cNvSpPr>
                  <a:spLocks/>
                </p:cNvSpPr>
                <p:nvPr/>
              </p:nvSpPr>
              <p:spPr bwMode="auto">
                <a:xfrm>
                  <a:off x="8149648" y="2955155"/>
                  <a:ext cx="7103" cy="7103"/>
                </a:xfrm>
                <a:custGeom>
                  <a:avLst/>
                  <a:gdLst>
                    <a:gd name="T0" fmla="*/ 7103 w 4"/>
                    <a:gd name="T1" fmla="*/ 0 h 8"/>
                    <a:gd name="T2" fmla="*/ 3552 w 4"/>
                    <a:gd name="T3" fmla="*/ 1776 h 8"/>
                    <a:gd name="T4" fmla="*/ 0 w 4"/>
                    <a:gd name="T5" fmla="*/ 3552 h 8"/>
                    <a:gd name="T6" fmla="*/ 3552 w 4"/>
                    <a:gd name="T7" fmla="*/ 7103 h 8"/>
                    <a:gd name="T8" fmla="*/ 7103 w 4"/>
                    <a:gd name="T9" fmla="*/ 7103 h 8"/>
                    <a:gd name="T10" fmla="*/ 7103 w 4"/>
                    <a:gd name="T11" fmla="*/ 5327 h 8"/>
                    <a:gd name="T12" fmla="*/ 7103 w 4"/>
                    <a:gd name="T13" fmla="*/ 3552 h 8"/>
                    <a:gd name="T14" fmla="*/ 7103 w 4"/>
                    <a:gd name="T15" fmla="*/ 0 h 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"/>
                    <a:gd name="T25" fmla="*/ 0 h 8"/>
                    <a:gd name="T26" fmla="*/ 4 w 4"/>
                    <a:gd name="T27" fmla="*/ 8 h 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" h="8">
                      <a:moveTo>
                        <a:pt x="4" y="0"/>
                      </a:move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8"/>
                      </a:lnTo>
                      <a:lnTo>
                        <a:pt x="4" y="8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3" name="Freeform 52"/>
                <p:cNvSpPr>
                  <a:spLocks/>
                </p:cNvSpPr>
                <p:nvPr/>
              </p:nvSpPr>
              <p:spPr bwMode="auto">
                <a:xfrm>
                  <a:off x="8149648" y="2962258"/>
                  <a:ext cx="7103" cy="0"/>
                </a:xfrm>
                <a:custGeom>
                  <a:avLst/>
                  <a:gdLst>
                    <a:gd name="T0" fmla="*/ 3552 w 4"/>
                    <a:gd name="T1" fmla="*/ 0 h 6"/>
                    <a:gd name="T2" fmla="*/ 0 w 4"/>
                    <a:gd name="T3" fmla="*/ 0 h 6"/>
                    <a:gd name="T4" fmla="*/ 0 w 4"/>
                    <a:gd name="T5" fmla="*/ 0 h 6"/>
                    <a:gd name="T6" fmla="*/ 3552 w 4"/>
                    <a:gd name="T7" fmla="*/ 0 h 6"/>
                    <a:gd name="T8" fmla="*/ 7103 w 4"/>
                    <a:gd name="T9" fmla="*/ 0 h 6"/>
                    <a:gd name="T10" fmla="*/ 3552 w 4"/>
                    <a:gd name="T11" fmla="*/ 0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6"/>
                    <a:gd name="T20" fmla="*/ 4 w 4"/>
                    <a:gd name="T21" fmla="*/ 0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6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4" name="Freeform 53"/>
                <p:cNvSpPr>
                  <a:spLocks/>
                </p:cNvSpPr>
                <p:nvPr/>
              </p:nvSpPr>
              <p:spPr bwMode="auto">
                <a:xfrm>
                  <a:off x="8142545" y="2985342"/>
                  <a:ext cx="7103" cy="0"/>
                </a:xfrm>
                <a:custGeom>
                  <a:avLst/>
                  <a:gdLst>
                    <a:gd name="T0" fmla="*/ 1421 w 5"/>
                    <a:gd name="T1" fmla="*/ 0 h 4"/>
                    <a:gd name="T2" fmla="*/ 0 w 5"/>
                    <a:gd name="T3" fmla="*/ 0 h 4"/>
                    <a:gd name="T4" fmla="*/ 4262 w 5"/>
                    <a:gd name="T5" fmla="*/ 0 h 4"/>
                    <a:gd name="T6" fmla="*/ 7103 w 5"/>
                    <a:gd name="T7" fmla="*/ 0 h 4"/>
                    <a:gd name="T8" fmla="*/ 1421 w 5"/>
                    <a:gd name="T9" fmla="*/ 0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4"/>
                    <a:gd name="T17" fmla="*/ 5 w 5"/>
                    <a:gd name="T18" fmla="*/ 0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4">
                      <a:moveTo>
                        <a:pt x="1" y="4"/>
                      </a:moveTo>
                      <a:lnTo>
                        <a:pt x="0" y="4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1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5" name="Freeform 54"/>
                <p:cNvSpPr>
                  <a:spLocks/>
                </p:cNvSpPr>
                <p:nvPr/>
              </p:nvSpPr>
              <p:spPr bwMode="auto">
                <a:xfrm>
                  <a:off x="8135442" y="2873470"/>
                  <a:ext cx="0" cy="5327"/>
                </a:xfrm>
                <a:custGeom>
                  <a:avLst/>
                  <a:gdLst>
                    <a:gd name="T0" fmla="*/ 0 w 2"/>
                    <a:gd name="T1" fmla="*/ 1776 h 6"/>
                    <a:gd name="T2" fmla="*/ 0 w 2"/>
                    <a:gd name="T3" fmla="*/ 3551 h 6"/>
                    <a:gd name="T4" fmla="*/ 0 w 2"/>
                    <a:gd name="T5" fmla="*/ 5327 h 6"/>
                    <a:gd name="T6" fmla="*/ 0 w 2"/>
                    <a:gd name="T7" fmla="*/ 1776 h 6"/>
                    <a:gd name="T8" fmla="*/ 0 w 2"/>
                    <a:gd name="T9" fmla="*/ 0 h 6"/>
                    <a:gd name="T10" fmla="*/ 0 w 2"/>
                    <a:gd name="T11" fmla="*/ 1776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"/>
                    <a:gd name="T19" fmla="*/ 0 h 6"/>
                    <a:gd name="T20" fmla="*/ 0 w 2"/>
                    <a:gd name="T21" fmla="*/ 6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" h="6">
                      <a:moveTo>
                        <a:pt x="2" y="2"/>
                      </a:move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6" name="Freeform 55"/>
                <p:cNvSpPr>
                  <a:spLocks/>
                </p:cNvSpPr>
                <p:nvPr/>
              </p:nvSpPr>
              <p:spPr bwMode="auto">
                <a:xfrm>
                  <a:off x="8135442" y="2855712"/>
                  <a:ext cx="0" cy="0"/>
                </a:xfrm>
                <a:custGeom>
                  <a:avLst/>
                  <a:gdLst>
                    <a:gd name="T0" fmla="*/ 0 w 2"/>
                    <a:gd name="T1" fmla="*/ 0 h 1"/>
                    <a:gd name="T2" fmla="*/ 0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1"/>
                    <a:gd name="T14" fmla="*/ 2 w 2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7" name="Freeform 56"/>
                <p:cNvSpPr>
                  <a:spLocks/>
                </p:cNvSpPr>
                <p:nvPr/>
              </p:nvSpPr>
              <p:spPr bwMode="auto">
                <a:xfrm>
                  <a:off x="8149648" y="2926743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8" name="Freeform 57"/>
                <p:cNvSpPr>
                  <a:spLocks/>
                </p:cNvSpPr>
                <p:nvPr/>
              </p:nvSpPr>
              <p:spPr bwMode="auto">
                <a:xfrm>
                  <a:off x="6611847" y="2635519"/>
                  <a:ext cx="136733" cy="159818"/>
                </a:xfrm>
                <a:custGeom>
                  <a:avLst/>
                  <a:gdLst>
                    <a:gd name="T0" fmla="*/ 49422 w 166"/>
                    <a:gd name="T1" fmla="*/ 132314 h 215"/>
                    <a:gd name="T2" fmla="*/ 47774 w 166"/>
                    <a:gd name="T3" fmla="*/ 135288 h 215"/>
                    <a:gd name="T4" fmla="*/ 41185 w 166"/>
                    <a:gd name="T5" fmla="*/ 127854 h 215"/>
                    <a:gd name="T6" fmla="*/ 41185 w 166"/>
                    <a:gd name="T7" fmla="*/ 129341 h 215"/>
                    <a:gd name="T8" fmla="*/ 32948 w 166"/>
                    <a:gd name="T9" fmla="*/ 107784 h 215"/>
                    <a:gd name="T10" fmla="*/ 25534 w 166"/>
                    <a:gd name="T11" fmla="*/ 86227 h 215"/>
                    <a:gd name="T12" fmla="*/ 22240 w 166"/>
                    <a:gd name="T13" fmla="*/ 70617 h 215"/>
                    <a:gd name="T14" fmla="*/ 2471 w 166"/>
                    <a:gd name="T15" fmla="*/ 55007 h 215"/>
                    <a:gd name="T16" fmla="*/ 9061 w 166"/>
                    <a:gd name="T17" fmla="*/ 43114 h 215"/>
                    <a:gd name="T18" fmla="*/ 20592 w 166"/>
                    <a:gd name="T19" fmla="*/ 38654 h 215"/>
                    <a:gd name="T20" fmla="*/ 0 w 166"/>
                    <a:gd name="T21" fmla="*/ 20070 h 215"/>
                    <a:gd name="T22" fmla="*/ 0 w 166"/>
                    <a:gd name="T23" fmla="*/ 0 h 215"/>
                    <a:gd name="T24" fmla="*/ 17298 w 166"/>
                    <a:gd name="T25" fmla="*/ 7433 h 215"/>
                    <a:gd name="T26" fmla="*/ 27182 w 166"/>
                    <a:gd name="T27" fmla="*/ 14123 h 215"/>
                    <a:gd name="T28" fmla="*/ 32948 w 166"/>
                    <a:gd name="T29" fmla="*/ 9663 h 215"/>
                    <a:gd name="T30" fmla="*/ 44479 w 166"/>
                    <a:gd name="T31" fmla="*/ 32707 h 215"/>
                    <a:gd name="T32" fmla="*/ 73309 w 166"/>
                    <a:gd name="T33" fmla="*/ 35680 h 215"/>
                    <a:gd name="T34" fmla="*/ 102138 w 166"/>
                    <a:gd name="T35" fmla="*/ 38654 h 215"/>
                    <a:gd name="T36" fmla="*/ 116141 w 166"/>
                    <a:gd name="T37" fmla="*/ 47574 h 215"/>
                    <a:gd name="T38" fmla="*/ 111199 w 166"/>
                    <a:gd name="T39" fmla="*/ 58724 h 215"/>
                    <a:gd name="T40" fmla="*/ 92254 w 166"/>
                    <a:gd name="T41" fmla="*/ 72104 h 215"/>
                    <a:gd name="T42" fmla="*/ 97196 w 166"/>
                    <a:gd name="T43" fmla="*/ 95147 h 215"/>
                    <a:gd name="T44" fmla="*/ 103785 w 166"/>
                    <a:gd name="T45" fmla="*/ 101094 h 215"/>
                    <a:gd name="T46" fmla="*/ 114493 w 166"/>
                    <a:gd name="T47" fmla="*/ 78794 h 215"/>
                    <a:gd name="T48" fmla="*/ 126025 w 166"/>
                    <a:gd name="T49" fmla="*/ 103324 h 215"/>
                    <a:gd name="T50" fmla="*/ 135086 w 166"/>
                    <a:gd name="T51" fmla="*/ 127854 h 215"/>
                    <a:gd name="T52" fmla="*/ 136733 w 166"/>
                    <a:gd name="T53" fmla="*/ 145695 h 215"/>
                    <a:gd name="T54" fmla="*/ 129320 w 166"/>
                    <a:gd name="T55" fmla="*/ 150898 h 215"/>
                    <a:gd name="T56" fmla="*/ 131791 w 166"/>
                    <a:gd name="T57" fmla="*/ 159818 h 215"/>
                    <a:gd name="T58" fmla="*/ 116141 w 166"/>
                    <a:gd name="T59" fmla="*/ 132314 h 215"/>
                    <a:gd name="T60" fmla="*/ 100491 w 166"/>
                    <a:gd name="T61" fmla="*/ 106298 h 215"/>
                    <a:gd name="T62" fmla="*/ 84017 w 166"/>
                    <a:gd name="T63" fmla="*/ 103324 h 215"/>
                    <a:gd name="T64" fmla="*/ 74956 w 166"/>
                    <a:gd name="T65" fmla="*/ 86227 h 215"/>
                    <a:gd name="T66" fmla="*/ 47774 w 166"/>
                    <a:gd name="T67" fmla="*/ 73591 h 215"/>
                    <a:gd name="T68" fmla="*/ 39537 w 166"/>
                    <a:gd name="T69" fmla="*/ 73591 h 215"/>
                    <a:gd name="T70" fmla="*/ 68367 w 166"/>
                    <a:gd name="T71" fmla="*/ 89201 h 215"/>
                    <a:gd name="T72" fmla="*/ 76603 w 166"/>
                    <a:gd name="T73" fmla="*/ 104811 h 215"/>
                    <a:gd name="T74" fmla="*/ 78251 w 166"/>
                    <a:gd name="T75" fmla="*/ 112244 h 215"/>
                    <a:gd name="T76" fmla="*/ 71661 w 166"/>
                    <a:gd name="T77" fmla="*/ 133801 h 215"/>
                    <a:gd name="T78" fmla="*/ 66719 w 166"/>
                    <a:gd name="T79" fmla="*/ 126368 h 215"/>
                    <a:gd name="T80" fmla="*/ 61777 w 166"/>
                    <a:gd name="T81" fmla="*/ 127854 h 215"/>
                    <a:gd name="T82" fmla="*/ 55187 w 166"/>
                    <a:gd name="T83" fmla="*/ 132314 h 215"/>
                    <a:gd name="T84" fmla="*/ 49422 w 166"/>
                    <a:gd name="T85" fmla="*/ 132314 h 215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66"/>
                    <a:gd name="T130" fmla="*/ 0 h 215"/>
                    <a:gd name="T131" fmla="*/ 166 w 166"/>
                    <a:gd name="T132" fmla="*/ 215 h 215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66" h="215">
                      <a:moveTo>
                        <a:pt x="60" y="178"/>
                      </a:moveTo>
                      <a:lnTo>
                        <a:pt x="58" y="182"/>
                      </a:lnTo>
                      <a:lnTo>
                        <a:pt x="50" y="172"/>
                      </a:lnTo>
                      <a:lnTo>
                        <a:pt x="50" y="174"/>
                      </a:lnTo>
                      <a:lnTo>
                        <a:pt x="40" y="145"/>
                      </a:lnTo>
                      <a:lnTo>
                        <a:pt x="31" y="116"/>
                      </a:lnTo>
                      <a:lnTo>
                        <a:pt x="27" y="95"/>
                      </a:lnTo>
                      <a:lnTo>
                        <a:pt x="3" y="74"/>
                      </a:lnTo>
                      <a:lnTo>
                        <a:pt x="11" y="58"/>
                      </a:lnTo>
                      <a:lnTo>
                        <a:pt x="25" y="52"/>
                      </a:lnTo>
                      <a:lnTo>
                        <a:pt x="0" y="27"/>
                      </a:lnTo>
                      <a:lnTo>
                        <a:pt x="0" y="0"/>
                      </a:lnTo>
                      <a:lnTo>
                        <a:pt x="21" y="10"/>
                      </a:lnTo>
                      <a:lnTo>
                        <a:pt x="33" y="19"/>
                      </a:lnTo>
                      <a:lnTo>
                        <a:pt x="40" y="13"/>
                      </a:lnTo>
                      <a:lnTo>
                        <a:pt x="54" y="44"/>
                      </a:lnTo>
                      <a:lnTo>
                        <a:pt x="89" y="48"/>
                      </a:lnTo>
                      <a:lnTo>
                        <a:pt x="124" y="52"/>
                      </a:lnTo>
                      <a:lnTo>
                        <a:pt x="141" y="64"/>
                      </a:lnTo>
                      <a:lnTo>
                        <a:pt x="135" y="79"/>
                      </a:lnTo>
                      <a:lnTo>
                        <a:pt x="112" y="97"/>
                      </a:lnTo>
                      <a:lnTo>
                        <a:pt x="118" y="128"/>
                      </a:lnTo>
                      <a:lnTo>
                        <a:pt x="126" y="136"/>
                      </a:lnTo>
                      <a:lnTo>
                        <a:pt x="139" y="106"/>
                      </a:lnTo>
                      <a:lnTo>
                        <a:pt x="153" y="139"/>
                      </a:lnTo>
                      <a:lnTo>
                        <a:pt x="164" y="172"/>
                      </a:lnTo>
                      <a:lnTo>
                        <a:pt x="166" y="196"/>
                      </a:lnTo>
                      <a:lnTo>
                        <a:pt x="157" y="203"/>
                      </a:lnTo>
                      <a:lnTo>
                        <a:pt x="160" y="215"/>
                      </a:lnTo>
                      <a:lnTo>
                        <a:pt x="141" y="178"/>
                      </a:lnTo>
                      <a:lnTo>
                        <a:pt x="122" y="143"/>
                      </a:lnTo>
                      <a:lnTo>
                        <a:pt x="102" y="139"/>
                      </a:lnTo>
                      <a:lnTo>
                        <a:pt x="91" y="116"/>
                      </a:lnTo>
                      <a:lnTo>
                        <a:pt x="58" y="99"/>
                      </a:lnTo>
                      <a:lnTo>
                        <a:pt x="48" y="99"/>
                      </a:lnTo>
                      <a:lnTo>
                        <a:pt x="83" y="120"/>
                      </a:lnTo>
                      <a:lnTo>
                        <a:pt x="93" y="141"/>
                      </a:lnTo>
                      <a:lnTo>
                        <a:pt x="95" y="151"/>
                      </a:lnTo>
                      <a:lnTo>
                        <a:pt x="87" y="180"/>
                      </a:lnTo>
                      <a:lnTo>
                        <a:pt x="81" y="170"/>
                      </a:lnTo>
                      <a:lnTo>
                        <a:pt x="75" y="172"/>
                      </a:lnTo>
                      <a:lnTo>
                        <a:pt x="67" y="178"/>
                      </a:lnTo>
                      <a:lnTo>
                        <a:pt x="60" y="17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69" name="Freeform 58"/>
                <p:cNvSpPr>
                  <a:spLocks/>
                </p:cNvSpPr>
                <p:nvPr/>
              </p:nvSpPr>
              <p:spPr bwMode="auto">
                <a:xfrm>
                  <a:off x="6626053" y="2589349"/>
                  <a:ext cx="79909" cy="40842"/>
                </a:xfrm>
                <a:custGeom>
                  <a:avLst/>
                  <a:gdLst>
                    <a:gd name="T0" fmla="*/ 50783 w 107"/>
                    <a:gd name="T1" fmla="*/ 4538 h 54"/>
                    <a:gd name="T2" fmla="*/ 16430 w 107"/>
                    <a:gd name="T3" fmla="*/ 0 h 54"/>
                    <a:gd name="T4" fmla="*/ 0 w 107"/>
                    <a:gd name="T5" fmla="*/ 26472 h 54"/>
                    <a:gd name="T6" fmla="*/ 4481 w 107"/>
                    <a:gd name="T7" fmla="*/ 37817 h 54"/>
                    <a:gd name="T8" fmla="*/ 33607 w 107"/>
                    <a:gd name="T9" fmla="*/ 40842 h 54"/>
                    <a:gd name="T10" fmla="*/ 56758 w 107"/>
                    <a:gd name="T11" fmla="*/ 37817 h 54"/>
                    <a:gd name="T12" fmla="*/ 79909 w 107"/>
                    <a:gd name="T13" fmla="*/ 36304 h 54"/>
                    <a:gd name="T14" fmla="*/ 70947 w 107"/>
                    <a:gd name="T15" fmla="*/ 21934 h 54"/>
                    <a:gd name="T16" fmla="*/ 64226 w 107"/>
                    <a:gd name="T17" fmla="*/ 12858 h 54"/>
                    <a:gd name="T18" fmla="*/ 50783 w 107"/>
                    <a:gd name="T19" fmla="*/ 4538 h 5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7"/>
                    <a:gd name="T31" fmla="*/ 0 h 54"/>
                    <a:gd name="T32" fmla="*/ 107 w 107"/>
                    <a:gd name="T33" fmla="*/ 54 h 5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7" h="54">
                      <a:moveTo>
                        <a:pt x="68" y="6"/>
                      </a:moveTo>
                      <a:lnTo>
                        <a:pt x="22" y="0"/>
                      </a:lnTo>
                      <a:lnTo>
                        <a:pt x="0" y="35"/>
                      </a:lnTo>
                      <a:lnTo>
                        <a:pt x="6" y="50"/>
                      </a:lnTo>
                      <a:lnTo>
                        <a:pt x="45" y="54"/>
                      </a:lnTo>
                      <a:lnTo>
                        <a:pt x="76" y="50"/>
                      </a:lnTo>
                      <a:lnTo>
                        <a:pt x="107" y="48"/>
                      </a:lnTo>
                      <a:lnTo>
                        <a:pt x="95" y="29"/>
                      </a:lnTo>
                      <a:lnTo>
                        <a:pt x="86" y="17"/>
                      </a:lnTo>
                      <a:lnTo>
                        <a:pt x="68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0" name="Freeform 59"/>
                <p:cNvSpPr>
                  <a:spLocks/>
                </p:cNvSpPr>
                <p:nvPr/>
              </p:nvSpPr>
              <p:spPr bwMode="auto">
                <a:xfrm>
                  <a:off x="7030925" y="2972912"/>
                  <a:ext cx="136733" cy="124303"/>
                </a:xfrm>
                <a:custGeom>
                  <a:avLst/>
                  <a:gdLst>
                    <a:gd name="T0" fmla="*/ 99014 w 174"/>
                    <a:gd name="T1" fmla="*/ 90953 h 164"/>
                    <a:gd name="T2" fmla="*/ 106086 w 174"/>
                    <a:gd name="T3" fmla="*/ 112934 h 164"/>
                    <a:gd name="T4" fmla="*/ 86440 w 174"/>
                    <a:gd name="T5" fmla="*/ 109902 h 164"/>
                    <a:gd name="T6" fmla="*/ 78582 w 174"/>
                    <a:gd name="T7" fmla="*/ 114450 h 164"/>
                    <a:gd name="T8" fmla="*/ 63652 w 174"/>
                    <a:gd name="T9" fmla="*/ 124303 h 164"/>
                    <a:gd name="T10" fmla="*/ 47149 w 174"/>
                    <a:gd name="T11" fmla="*/ 120513 h 164"/>
                    <a:gd name="T12" fmla="*/ 39291 w 174"/>
                    <a:gd name="T13" fmla="*/ 115966 h 164"/>
                    <a:gd name="T14" fmla="*/ 36148 w 174"/>
                    <a:gd name="T15" fmla="*/ 102323 h 164"/>
                    <a:gd name="T16" fmla="*/ 29075 w 174"/>
                    <a:gd name="T17" fmla="*/ 109902 h 164"/>
                    <a:gd name="T18" fmla="*/ 21217 w 174"/>
                    <a:gd name="T19" fmla="*/ 90953 h 164"/>
                    <a:gd name="T20" fmla="*/ 19646 w 174"/>
                    <a:gd name="T21" fmla="*/ 89438 h 164"/>
                    <a:gd name="T22" fmla="*/ 10216 w 174"/>
                    <a:gd name="T23" fmla="*/ 64425 h 164"/>
                    <a:gd name="T24" fmla="*/ 0 w 174"/>
                    <a:gd name="T25" fmla="*/ 40929 h 164"/>
                    <a:gd name="T26" fmla="*/ 16502 w 174"/>
                    <a:gd name="T27" fmla="*/ 11369 h 164"/>
                    <a:gd name="T28" fmla="*/ 44006 w 174"/>
                    <a:gd name="T29" fmla="*/ 11369 h 164"/>
                    <a:gd name="T30" fmla="*/ 73081 w 174"/>
                    <a:gd name="T31" fmla="*/ 9853 h 164"/>
                    <a:gd name="T32" fmla="*/ 94299 w 174"/>
                    <a:gd name="T33" fmla="*/ 23496 h 164"/>
                    <a:gd name="T34" fmla="*/ 94299 w 174"/>
                    <a:gd name="T35" fmla="*/ 14401 h 164"/>
                    <a:gd name="T36" fmla="*/ 103728 w 174"/>
                    <a:gd name="T37" fmla="*/ 6822 h 164"/>
                    <a:gd name="T38" fmla="*/ 113944 w 174"/>
                    <a:gd name="T39" fmla="*/ 9853 h 164"/>
                    <a:gd name="T40" fmla="*/ 132018 w 174"/>
                    <a:gd name="T41" fmla="*/ 0 h 164"/>
                    <a:gd name="T42" fmla="*/ 132018 w 174"/>
                    <a:gd name="T43" fmla="*/ 26528 h 164"/>
                    <a:gd name="T44" fmla="*/ 135161 w 174"/>
                    <a:gd name="T45" fmla="*/ 48508 h 164"/>
                    <a:gd name="T46" fmla="*/ 136733 w 174"/>
                    <a:gd name="T47" fmla="*/ 72005 h 164"/>
                    <a:gd name="T48" fmla="*/ 112373 w 174"/>
                    <a:gd name="T49" fmla="*/ 83374 h 164"/>
                    <a:gd name="T50" fmla="*/ 99014 w 174"/>
                    <a:gd name="T51" fmla="*/ 90953 h 16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74"/>
                    <a:gd name="T79" fmla="*/ 0 h 164"/>
                    <a:gd name="T80" fmla="*/ 174 w 174"/>
                    <a:gd name="T81" fmla="*/ 164 h 16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74" h="164">
                      <a:moveTo>
                        <a:pt x="126" y="120"/>
                      </a:moveTo>
                      <a:lnTo>
                        <a:pt x="135" y="149"/>
                      </a:lnTo>
                      <a:lnTo>
                        <a:pt x="110" y="145"/>
                      </a:lnTo>
                      <a:lnTo>
                        <a:pt x="100" y="151"/>
                      </a:lnTo>
                      <a:lnTo>
                        <a:pt x="81" y="164"/>
                      </a:lnTo>
                      <a:lnTo>
                        <a:pt x="60" y="159"/>
                      </a:lnTo>
                      <a:lnTo>
                        <a:pt x="50" y="153"/>
                      </a:lnTo>
                      <a:lnTo>
                        <a:pt x="46" y="135"/>
                      </a:lnTo>
                      <a:lnTo>
                        <a:pt x="37" y="145"/>
                      </a:lnTo>
                      <a:lnTo>
                        <a:pt x="27" y="120"/>
                      </a:lnTo>
                      <a:lnTo>
                        <a:pt x="25" y="118"/>
                      </a:lnTo>
                      <a:lnTo>
                        <a:pt x="13" y="85"/>
                      </a:lnTo>
                      <a:lnTo>
                        <a:pt x="0" y="54"/>
                      </a:lnTo>
                      <a:lnTo>
                        <a:pt x="21" y="15"/>
                      </a:lnTo>
                      <a:lnTo>
                        <a:pt x="56" y="15"/>
                      </a:lnTo>
                      <a:lnTo>
                        <a:pt x="93" y="13"/>
                      </a:lnTo>
                      <a:lnTo>
                        <a:pt x="120" y="31"/>
                      </a:lnTo>
                      <a:lnTo>
                        <a:pt x="120" y="19"/>
                      </a:lnTo>
                      <a:lnTo>
                        <a:pt x="132" y="9"/>
                      </a:lnTo>
                      <a:lnTo>
                        <a:pt x="145" y="13"/>
                      </a:lnTo>
                      <a:lnTo>
                        <a:pt x="168" y="0"/>
                      </a:lnTo>
                      <a:lnTo>
                        <a:pt x="168" y="35"/>
                      </a:lnTo>
                      <a:lnTo>
                        <a:pt x="172" y="64"/>
                      </a:lnTo>
                      <a:lnTo>
                        <a:pt x="174" y="95"/>
                      </a:lnTo>
                      <a:lnTo>
                        <a:pt x="143" y="110"/>
                      </a:lnTo>
                      <a:lnTo>
                        <a:pt x="126" y="1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1" name="Freeform 60"/>
                <p:cNvSpPr>
                  <a:spLocks/>
                </p:cNvSpPr>
                <p:nvPr/>
              </p:nvSpPr>
              <p:spPr bwMode="auto">
                <a:xfrm>
                  <a:off x="8135442" y="3003100"/>
                  <a:ext cx="7103" cy="12430"/>
                </a:xfrm>
                <a:custGeom>
                  <a:avLst/>
                  <a:gdLst>
                    <a:gd name="T0" fmla="*/ 1776 w 8"/>
                    <a:gd name="T1" fmla="*/ 12430 h 14"/>
                    <a:gd name="T2" fmla="*/ 0 w 8"/>
                    <a:gd name="T3" fmla="*/ 5327 h 14"/>
                    <a:gd name="T4" fmla="*/ 5327 w 8"/>
                    <a:gd name="T5" fmla="*/ 0 h 14"/>
                    <a:gd name="T6" fmla="*/ 7103 w 8"/>
                    <a:gd name="T7" fmla="*/ 0 h 14"/>
                    <a:gd name="T8" fmla="*/ 1776 w 8"/>
                    <a:gd name="T9" fmla="*/ 1243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4"/>
                    <a:gd name="T17" fmla="*/ 8 w 8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4">
                      <a:moveTo>
                        <a:pt x="2" y="14"/>
                      </a:moveTo>
                      <a:lnTo>
                        <a:pt x="0" y="6"/>
                      </a:ln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2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2" name="Freeform 61"/>
                <p:cNvSpPr>
                  <a:spLocks/>
                </p:cNvSpPr>
                <p:nvPr/>
              </p:nvSpPr>
              <p:spPr bwMode="auto">
                <a:xfrm>
                  <a:off x="7290184" y="2754494"/>
                  <a:ext cx="7103" cy="5327"/>
                </a:xfrm>
                <a:custGeom>
                  <a:avLst/>
                  <a:gdLst>
                    <a:gd name="T0" fmla="*/ 7103 w 6"/>
                    <a:gd name="T1" fmla="*/ 0 h 4"/>
                    <a:gd name="T2" fmla="*/ 4735 w 6"/>
                    <a:gd name="T3" fmla="*/ 5327 h 4"/>
                    <a:gd name="T4" fmla="*/ 0 w 6"/>
                    <a:gd name="T5" fmla="*/ 5327 h 4"/>
                    <a:gd name="T6" fmla="*/ 7103 w 6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4"/>
                    <a:gd name="T14" fmla="*/ 6 w 6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4">
                      <a:moveTo>
                        <a:pt x="6" y="0"/>
                      </a:move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3" name="Freeform 62"/>
                <p:cNvSpPr>
                  <a:spLocks/>
                </p:cNvSpPr>
                <p:nvPr/>
              </p:nvSpPr>
              <p:spPr bwMode="auto">
                <a:xfrm>
                  <a:off x="6951016" y="2749167"/>
                  <a:ext cx="209539" cy="248606"/>
                </a:xfrm>
                <a:custGeom>
                  <a:avLst/>
                  <a:gdLst>
                    <a:gd name="T0" fmla="*/ 117251 w 277"/>
                    <a:gd name="T1" fmla="*/ 63686 h 324"/>
                    <a:gd name="T2" fmla="*/ 110443 w 277"/>
                    <a:gd name="T3" fmla="*/ 55246 h 324"/>
                    <a:gd name="T4" fmla="*/ 95314 w 277"/>
                    <a:gd name="T5" fmla="*/ 42969 h 324"/>
                    <a:gd name="T6" fmla="*/ 83967 w 277"/>
                    <a:gd name="T7" fmla="*/ 49107 h 324"/>
                    <a:gd name="T8" fmla="*/ 64299 w 277"/>
                    <a:gd name="T9" fmla="*/ 32994 h 324"/>
                    <a:gd name="T10" fmla="*/ 62030 w 277"/>
                    <a:gd name="T11" fmla="*/ 19183 h 324"/>
                    <a:gd name="T12" fmla="*/ 40849 w 277"/>
                    <a:gd name="T13" fmla="*/ 0 h 324"/>
                    <a:gd name="T14" fmla="*/ 29502 w 277"/>
                    <a:gd name="T15" fmla="*/ 1535 h 324"/>
                    <a:gd name="T16" fmla="*/ 35554 w 277"/>
                    <a:gd name="T17" fmla="*/ 35296 h 324"/>
                    <a:gd name="T18" fmla="*/ 23450 w 277"/>
                    <a:gd name="T19" fmla="*/ 29925 h 324"/>
                    <a:gd name="T20" fmla="*/ 20424 w 277"/>
                    <a:gd name="T21" fmla="*/ 25321 h 324"/>
                    <a:gd name="T22" fmla="*/ 9078 w 277"/>
                    <a:gd name="T23" fmla="*/ 44504 h 324"/>
                    <a:gd name="T24" fmla="*/ 0 w 277"/>
                    <a:gd name="T25" fmla="*/ 60617 h 324"/>
                    <a:gd name="T26" fmla="*/ 9078 w 277"/>
                    <a:gd name="T27" fmla="*/ 63686 h 324"/>
                    <a:gd name="T28" fmla="*/ 12103 w 277"/>
                    <a:gd name="T29" fmla="*/ 82101 h 324"/>
                    <a:gd name="T30" fmla="*/ 31015 w 277"/>
                    <a:gd name="T31" fmla="*/ 82101 h 324"/>
                    <a:gd name="T32" fmla="*/ 32528 w 277"/>
                    <a:gd name="T33" fmla="*/ 111259 h 324"/>
                    <a:gd name="T34" fmla="*/ 35554 w 277"/>
                    <a:gd name="T35" fmla="*/ 142718 h 324"/>
                    <a:gd name="T36" fmla="*/ 57491 w 277"/>
                    <a:gd name="T37" fmla="*/ 125070 h 324"/>
                    <a:gd name="T38" fmla="*/ 71864 w 277"/>
                    <a:gd name="T39" fmla="*/ 131209 h 324"/>
                    <a:gd name="T40" fmla="*/ 83967 w 277"/>
                    <a:gd name="T41" fmla="*/ 125070 h 324"/>
                    <a:gd name="T42" fmla="*/ 95314 w 277"/>
                    <a:gd name="T43" fmla="*/ 117397 h 324"/>
                    <a:gd name="T44" fmla="*/ 126329 w 277"/>
                    <a:gd name="T45" fmla="*/ 142718 h 324"/>
                    <a:gd name="T46" fmla="*/ 130867 w 277"/>
                    <a:gd name="T47" fmla="*/ 163435 h 324"/>
                    <a:gd name="T48" fmla="*/ 152805 w 277"/>
                    <a:gd name="T49" fmla="*/ 194895 h 324"/>
                    <a:gd name="T50" fmla="*/ 159613 w 277"/>
                    <a:gd name="T51" fmla="*/ 220216 h 324"/>
                    <a:gd name="T52" fmla="*/ 152805 w 277"/>
                    <a:gd name="T53" fmla="*/ 234795 h 324"/>
                    <a:gd name="T54" fmla="*/ 173229 w 277"/>
                    <a:gd name="T55" fmla="*/ 248606 h 324"/>
                    <a:gd name="T56" fmla="*/ 173229 w 277"/>
                    <a:gd name="T57" fmla="*/ 239398 h 324"/>
                    <a:gd name="T58" fmla="*/ 182306 w 277"/>
                    <a:gd name="T59" fmla="*/ 231725 h 324"/>
                    <a:gd name="T60" fmla="*/ 192140 w 277"/>
                    <a:gd name="T61" fmla="*/ 234795 h 324"/>
                    <a:gd name="T62" fmla="*/ 209539 w 277"/>
                    <a:gd name="T63" fmla="*/ 224820 h 324"/>
                    <a:gd name="T64" fmla="*/ 205757 w 277"/>
                    <a:gd name="T65" fmla="*/ 202568 h 324"/>
                    <a:gd name="T66" fmla="*/ 198192 w 277"/>
                    <a:gd name="T67" fmla="*/ 191826 h 324"/>
                    <a:gd name="T68" fmla="*/ 199705 w 277"/>
                    <a:gd name="T69" fmla="*/ 185687 h 324"/>
                    <a:gd name="T70" fmla="*/ 177768 w 277"/>
                    <a:gd name="T71" fmla="*/ 168039 h 324"/>
                    <a:gd name="T72" fmla="*/ 165664 w 277"/>
                    <a:gd name="T73" fmla="*/ 150391 h 324"/>
                    <a:gd name="T74" fmla="*/ 149779 w 277"/>
                    <a:gd name="T75" fmla="*/ 131209 h 324"/>
                    <a:gd name="T76" fmla="*/ 134650 w 277"/>
                    <a:gd name="T77" fmla="*/ 111259 h 324"/>
                    <a:gd name="T78" fmla="*/ 101365 w 277"/>
                    <a:gd name="T79" fmla="*/ 87472 h 324"/>
                    <a:gd name="T80" fmla="*/ 105904 w 277"/>
                    <a:gd name="T81" fmla="*/ 79032 h 324"/>
                    <a:gd name="T82" fmla="*/ 120277 w 277"/>
                    <a:gd name="T83" fmla="*/ 74428 h 324"/>
                    <a:gd name="T84" fmla="*/ 117251 w 277"/>
                    <a:gd name="T85" fmla="*/ 63686 h 32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77"/>
                    <a:gd name="T130" fmla="*/ 0 h 324"/>
                    <a:gd name="T131" fmla="*/ 277 w 277"/>
                    <a:gd name="T132" fmla="*/ 324 h 32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77" h="324">
                      <a:moveTo>
                        <a:pt x="155" y="83"/>
                      </a:moveTo>
                      <a:lnTo>
                        <a:pt x="146" y="72"/>
                      </a:lnTo>
                      <a:lnTo>
                        <a:pt x="126" y="56"/>
                      </a:lnTo>
                      <a:lnTo>
                        <a:pt x="111" y="64"/>
                      </a:lnTo>
                      <a:lnTo>
                        <a:pt x="85" y="43"/>
                      </a:lnTo>
                      <a:lnTo>
                        <a:pt x="82" y="25"/>
                      </a:lnTo>
                      <a:lnTo>
                        <a:pt x="54" y="0"/>
                      </a:lnTo>
                      <a:lnTo>
                        <a:pt x="39" y="2"/>
                      </a:lnTo>
                      <a:lnTo>
                        <a:pt x="47" y="46"/>
                      </a:lnTo>
                      <a:lnTo>
                        <a:pt x="31" y="39"/>
                      </a:lnTo>
                      <a:lnTo>
                        <a:pt x="27" y="33"/>
                      </a:lnTo>
                      <a:lnTo>
                        <a:pt x="12" y="58"/>
                      </a:lnTo>
                      <a:lnTo>
                        <a:pt x="0" y="79"/>
                      </a:lnTo>
                      <a:lnTo>
                        <a:pt x="12" y="83"/>
                      </a:lnTo>
                      <a:lnTo>
                        <a:pt x="16" y="107"/>
                      </a:lnTo>
                      <a:lnTo>
                        <a:pt x="41" y="107"/>
                      </a:lnTo>
                      <a:lnTo>
                        <a:pt x="43" y="145"/>
                      </a:lnTo>
                      <a:lnTo>
                        <a:pt x="47" y="186"/>
                      </a:lnTo>
                      <a:lnTo>
                        <a:pt x="76" y="163"/>
                      </a:lnTo>
                      <a:lnTo>
                        <a:pt x="95" y="171"/>
                      </a:lnTo>
                      <a:lnTo>
                        <a:pt x="111" y="163"/>
                      </a:lnTo>
                      <a:lnTo>
                        <a:pt x="126" y="153"/>
                      </a:lnTo>
                      <a:lnTo>
                        <a:pt x="167" y="186"/>
                      </a:lnTo>
                      <a:lnTo>
                        <a:pt x="173" y="213"/>
                      </a:lnTo>
                      <a:lnTo>
                        <a:pt x="202" y="254"/>
                      </a:lnTo>
                      <a:lnTo>
                        <a:pt x="211" y="287"/>
                      </a:lnTo>
                      <a:lnTo>
                        <a:pt x="202" y="306"/>
                      </a:lnTo>
                      <a:lnTo>
                        <a:pt x="229" y="324"/>
                      </a:lnTo>
                      <a:lnTo>
                        <a:pt x="229" y="312"/>
                      </a:lnTo>
                      <a:lnTo>
                        <a:pt x="241" y="302"/>
                      </a:lnTo>
                      <a:lnTo>
                        <a:pt x="254" y="306"/>
                      </a:lnTo>
                      <a:lnTo>
                        <a:pt x="277" y="293"/>
                      </a:lnTo>
                      <a:lnTo>
                        <a:pt x="272" y="264"/>
                      </a:lnTo>
                      <a:lnTo>
                        <a:pt x="262" y="250"/>
                      </a:lnTo>
                      <a:lnTo>
                        <a:pt x="264" y="242"/>
                      </a:lnTo>
                      <a:lnTo>
                        <a:pt x="235" y="219"/>
                      </a:lnTo>
                      <a:lnTo>
                        <a:pt x="219" y="196"/>
                      </a:lnTo>
                      <a:lnTo>
                        <a:pt x="198" y="171"/>
                      </a:lnTo>
                      <a:lnTo>
                        <a:pt x="178" y="145"/>
                      </a:lnTo>
                      <a:lnTo>
                        <a:pt x="134" y="114"/>
                      </a:lnTo>
                      <a:lnTo>
                        <a:pt x="140" y="103"/>
                      </a:lnTo>
                      <a:lnTo>
                        <a:pt x="159" y="97"/>
                      </a:lnTo>
                      <a:lnTo>
                        <a:pt x="155" y="8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4" name="Freeform 63"/>
                <p:cNvSpPr>
                  <a:spLocks/>
                </p:cNvSpPr>
                <p:nvPr/>
              </p:nvSpPr>
              <p:spPr bwMode="auto">
                <a:xfrm>
                  <a:off x="6734374" y="2582246"/>
                  <a:ext cx="230848" cy="522072"/>
                </a:xfrm>
                <a:custGeom>
                  <a:avLst/>
                  <a:gdLst>
                    <a:gd name="T0" fmla="*/ 126492 w 292"/>
                    <a:gd name="T1" fmla="*/ 129026 h 700"/>
                    <a:gd name="T2" fmla="*/ 125701 w 292"/>
                    <a:gd name="T3" fmla="*/ 105906 h 700"/>
                    <a:gd name="T4" fmla="*/ 140722 w 292"/>
                    <a:gd name="T5" fmla="*/ 72344 h 700"/>
                    <a:gd name="T6" fmla="*/ 129654 w 292"/>
                    <a:gd name="T7" fmla="*/ 26104 h 700"/>
                    <a:gd name="T8" fmla="*/ 98031 w 292"/>
                    <a:gd name="T9" fmla="*/ 0 h 700"/>
                    <a:gd name="T10" fmla="*/ 90126 w 292"/>
                    <a:gd name="T11" fmla="*/ 21629 h 700"/>
                    <a:gd name="T12" fmla="*/ 93288 w 292"/>
                    <a:gd name="T13" fmla="*/ 39528 h 700"/>
                    <a:gd name="T14" fmla="*/ 49016 w 292"/>
                    <a:gd name="T15" fmla="*/ 59665 h 700"/>
                    <a:gd name="T16" fmla="*/ 47435 w 292"/>
                    <a:gd name="T17" fmla="*/ 96956 h 700"/>
                    <a:gd name="T18" fmla="*/ 18183 w 292"/>
                    <a:gd name="T19" fmla="*/ 132010 h 700"/>
                    <a:gd name="T20" fmla="*/ 16602 w 292"/>
                    <a:gd name="T21" fmla="*/ 184963 h 700"/>
                    <a:gd name="T22" fmla="*/ 5534 w 292"/>
                    <a:gd name="T23" fmla="*/ 184963 h 700"/>
                    <a:gd name="T24" fmla="*/ 0 w 292"/>
                    <a:gd name="T25" fmla="*/ 208083 h 700"/>
                    <a:gd name="T26" fmla="*/ 18183 w 292"/>
                    <a:gd name="T27" fmla="*/ 235678 h 700"/>
                    <a:gd name="T28" fmla="*/ 30042 w 292"/>
                    <a:gd name="T29" fmla="*/ 246120 h 700"/>
                    <a:gd name="T30" fmla="*/ 42691 w 292"/>
                    <a:gd name="T31" fmla="*/ 246120 h 700"/>
                    <a:gd name="T32" fmla="*/ 44272 w 292"/>
                    <a:gd name="T33" fmla="*/ 261782 h 700"/>
                    <a:gd name="T34" fmla="*/ 56131 w 292"/>
                    <a:gd name="T35" fmla="*/ 261782 h 700"/>
                    <a:gd name="T36" fmla="*/ 75105 w 292"/>
                    <a:gd name="T37" fmla="*/ 306531 h 700"/>
                    <a:gd name="T38" fmla="*/ 73524 w 292"/>
                    <a:gd name="T39" fmla="*/ 354263 h 700"/>
                    <a:gd name="T40" fmla="*/ 86963 w 292"/>
                    <a:gd name="T41" fmla="*/ 355755 h 700"/>
                    <a:gd name="T42" fmla="*/ 98031 w 292"/>
                    <a:gd name="T43" fmla="*/ 358738 h 700"/>
                    <a:gd name="T44" fmla="*/ 101984 w 292"/>
                    <a:gd name="T45" fmla="*/ 360230 h 700"/>
                    <a:gd name="T46" fmla="*/ 124120 w 292"/>
                    <a:gd name="T47" fmla="*/ 337109 h 700"/>
                    <a:gd name="T48" fmla="*/ 139141 w 292"/>
                    <a:gd name="T49" fmla="*/ 318464 h 700"/>
                    <a:gd name="T50" fmla="*/ 160487 w 292"/>
                    <a:gd name="T51" fmla="*/ 341584 h 700"/>
                    <a:gd name="T52" fmla="*/ 183413 w 292"/>
                    <a:gd name="T53" fmla="*/ 420641 h 700"/>
                    <a:gd name="T54" fmla="*/ 192900 w 292"/>
                    <a:gd name="T55" fmla="*/ 435557 h 700"/>
                    <a:gd name="T56" fmla="*/ 204759 w 292"/>
                    <a:gd name="T57" fmla="*/ 477323 h 700"/>
                    <a:gd name="T58" fmla="*/ 203178 w 292"/>
                    <a:gd name="T59" fmla="*/ 522072 h 700"/>
                    <a:gd name="T60" fmla="*/ 218989 w 292"/>
                    <a:gd name="T61" fmla="*/ 497460 h 700"/>
                    <a:gd name="T62" fmla="*/ 220571 w 292"/>
                    <a:gd name="T63" fmla="*/ 452711 h 700"/>
                    <a:gd name="T64" fmla="*/ 199225 w 292"/>
                    <a:gd name="T65" fmla="*/ 409454 h 700"/>
                    <a:gd name="T66" fmla="*/ 184995 w 292"/>
                    <a:gd name="T67" fmla="*/ 375892 h 700"/>
                    <a:gd name="T68" fmla="*/ 196063 w 292"/>
                    <a:gd name="T69" fmla="*/ 347551 h 700"/>
                    <a:gd name="T70" fmla="*/ 166811 w 292"/>
                    <a:gd name="T71" fmla="*/ 313989 h 700"/>
                    <a:gd name="T72" fmla="*/ 152581 w 292"/>
                    <a:gd name="T73" fmla="*/ 283411 h 700"/>
                    <a:gd name="T74" fmla="*/ 183413 w 292"/>
                    <a:gd name="T75" fmla="*/ 247611 h 700"/>
                    <a:gd name="T76" fmla="*/ 209502 w 292"/>
                    <a:gd name="T77" fmla="*/ 232695 h 700"/>
                    <a:gd name="T78" fmla="*/ 230848 w 292"/>
                    <a:gd name="T79" fmla="*/ 198387 h 700"/>
                    <a:gd name="T80" fmla="*/ 203178 w 292"/>
                    <a:gd name="T81" fmla="*/ 199879 h 700"/>
                    <a:gd name="T82" fmla="*/ 177089 w 292"/>
                    <a:gd name="T83" fmla="*/ 178250 h 700"/>
                    <a:gd name="T84" fmla="*/ 163649 w 292"/>
                    <a:gd name="T85" fmla="*/ 147672 h 700"/>
                    <a:gd name="T86" fmla="*/ 154162 w 292"/>
                    <a:gd name="T87" fmla="*/ 126043 h 700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92"/>
                    <a:gd name="T133" fmla="*/ 0 h 700"/>
                    <a:gd name="T134" fmla="*/ 292 w 292"/>
                    <a:gd name="T135" fmla="*/ 700 h 700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92" h="700">
                      <a:moveTo>
                        <a:pt x="195" y="169"/>
                      </a:moveTo>
                      <a:lnTo>
                        <a:pt x="160" y="173"/>
                      </a:lnTo>
                      <a:lnTo>
                        <a:pt x="160" y="155"/>
                      </a:lnTo>
                      <a:lnTo>
                        <a:pt x="159" y="142"/>
                      </a:lnTo>
                      <a:lnTo>
                        <a:pt x="174" y="113"/>
                      </a:lnTo>
                      <a:lnTo>
                        <a:pt x="178" y="97"/>
                      </a:lnTo>
                      <a:lnTo>
                        <a:pt x="172" y="66"/>
                      </a:lnTo>
                      <a:lnTo>
                        <a:pt x="164" y="35"/>
                      </a:lnTo>
                      <a:lnTo>
                        <a:pt x="151" y="27"/>
                      </a:lnTo>
                      <a:lnTo>
                        <a:pt x="124" y="0"/>
                      </a:lnTo>
                      <a:lnTo>
                        <a:pt x="118" y="12"/>
                      </a:lnTo>
                      <a:lnTo>
                        <a:pt x="114" y="29"/>
                      </a:lnTo>
                      <a:lnTo>
                        <a:pt x="110" y="41"/>
                      </a:lnTo>
                      <a:lnTo>
                        <a:pt x="118" y="53"/>
                      </a:lnTo>
                      <a:lnTo>
                        <a:pt x="93" y="47"/>
                      </a:lnTo>
                      <a:lnTo>
                        <a:pt x="62" y="80"/>
                      </a:lnTo>
                      <a:lnTo>
                        <a:pt x="60" y="113"/>
                      </a:lnTo>
                      <a:lnTo>
                        <a:pt x="60" y="130"/>
                      </a:lnTo>
                      <a:lnTo>
                        <a:pt x="44" y="177"/>
                      </a:lnTo>
                      <a:lnTo>
                        <a:pt x="23" y="177"/>
                      </a:lnTo>
                      <a:lnTo>
                        <a:pt x="21" y="208"/>
                      </a:lnTo>
                      <a:lnTo>
                        <a:pt x="21" y="248"/>
                      </a:lnTo>
                      <a:lnTo>
                        <a:pt x="9" y="248"/>
                      </a:lnTo>
                      <a:lnTo>
                        <a:pt x="7" y="248"/>
                      </a:lnTo>
                      <a:lnTo>
                        <a:pt x="9" y="272"/>
                      </a:lnTo>
                      <a:lnTo>
                        <a:pt x="0" y="279"/>
                      </a:lnTo>
                      <a:lnTo>
                        <a:pt x="21" y="314"/>
                      </a:lnTo>
                      <a:lnTo>
                        <a:pt x="23" y="316"/>
                      </a:lnTo>
                      <a:lnTo>
                        <a:pt x="31" y="309"/>
                      </a:lnTo>
                      <a:lnTo>
                        <a:pt x="38" y="330"/>
                      </a:lnTo>
                      <a:lnTo>
                        <a:pt x="40" y="332"/>
                      </a:lnTo>
                      <a:lnTo>
                        <a:pt x="54" y="330"/>
                      </a:lnTo>
                      <a:lnTo>
                        <a:pt x="65" y="345"/>
                      </a:lnTo>
                      <a:lnTo>
                        <a:pt x="56" y="351"/>
                      </a:lnTo>
                      <a:lnTo>
                        <a:pt x="65" y="365"/>
                      </a:lnTo>
                      <a:lnTo>
                        <a:pt x="71" y="351"/>
                      </a:lnTo>
                      <a:lnTo>
                        <a:pt x="83" y="382"/>
                      </a:lnTo>
                      <a:lnTo>
                        <a:pt x="95" y="411"/>
                      </a:lnTo>
                      <a:lnTo>
                        <a:pt x="93" y="444"/>
                      </a:lnTo>
                      <a:lnTo>
                        <a:pt x="93" y="475"/>
                      </a:lnTo>
                      <a:lnTo>
                        <a:pt x="104" y="456"/>
                      </a:lnTo>
                      <a:lnTo>
                        <a:pt x="110" y="477"/>
                      </a:lnTo>
                      <a:lnTo>
                        <a:pt x="114" y="483"/>
                      </a:lnTo>
                      <a:lnTo>
                        <a:pt x="124" y="481"/>
                      </a:lnTo>
                      <a:lnTo>
                        <a:pt x="129" y="477"/>
                      </a:lnTo>
                      <a:lnTo>
                        <a:pt x="129" y="483"/>
                      </a:lnTo>
                      <a:lnTo>
                        <a:pt x="153" y="464"/>
                      </a:lnTo>
                      <a:lnTo>
                        <a:pt x="157" y="452"/>
                      </a:lnTo>
                      <a:lnTo>
                        <a:pt x="166" y="458"/>
                      </a:lnTo>
                      <a:lnTo>
                        <a:pt x="176" y="427"/>
                      </a:lnTo>
                      <a:lnTo>
                        <a:pt x="188" y="446"/>
                      </a:lnTo>
                      <a:lnTo>
                        <a:pt x="203" y="458"/>
                      </a:lnTo>
                      <a:lnTo>
                        <a:pt x="219" y="512"/>
                      </a:lnTo>
                      <a:lnTo>
                        <a:pt x="232" y="564"/>
                      </a:lnTo>
                      <a:lnTo>
                        <a:pt x="234" y="557"/>
                      </a:lnTo>
                      <a:lnTo>
                        <a:pt x="244" y="584"/>
                      </a:lnTo>
                      <a:lnTo>
                        <a:pt x="254" y="611"/>
                      </a:lnTo>
                      <a:lnTo>
                        <a:pt x="259" y="640"/>
                      </a:lnTo>
                      <a:lnTo>
                        <a:pt x="259" y="671"/>
                      </a:lnTo>
                      <a:lnTo>
                        <a:pt x="257" y="700"/>
                      </a:lnTo>
                      <a:lnTo>
                        <a:pt x="265" y="692"/>
                      </a:lnTo>
                      <a:lnTo>
                        <a:pt x="277" y="667"/>
                      </a:lnTo>
                      <a:lnTo>
                        <a:pt x="288" y="644"/>
                      </a:lnTo>
                      <a:lnTo>
                        <a:pt x="279" y="607"/>
                      </a:lnTo>
                      <a:lnTo>
                        <a:pt x="269" y="574"/>
                      </a:lnTo>
                      <a:lnTo>
                        <a:pt x="252" y="549"/>
                      </a:lnTo>
                      <a:lnTo>
                        <a:pt x="234" y="526"/>
                      </a:lnTo>
                      <a:lnTo>
                        <a:pt x="234" y="504"/>
                      </a:lnTo>
                      <a:lnTo>
                        <a:pt x="238" y="487"/>
                      </a:lnTo>
                      <a:lnTo>
                        <a:pt x="248" y="466"/>
                      </a:lnTo>
                      <a:lnTo>
                        <a:pt x="238" y="462"/>
                      </a:lnTo>
                      <a:lnTo>
                        <a:pt x="211" y="421"/>
                      </a:lnTo>
                      <a:lnTo>
                        <a:pt x="184" y="380"/>
                      </a:lnTo>
                      <a:lnTo>
                        <a:pt x="193" y="380"/>
                      </a:lnTo>
                      <a:lnTo>
                        <a:pt x="199" y="340"/>
                      </a:lnTo>
                      <a:lnTo>
                        <a:pt x="232" y="332"/>
                      </a:lnTo>
                      <a:lnTo>
                        <a:pt x="246" y="316"/>
                      </a:lnTo>
                      <a:lnTo>
                        <a:pt x="265" y="312"/>
                      </a:lnTo>
                      <a:lnTo>
                        <a:pt x="277" y="291"/>
                      </a:lnTo>
                      <a:lnTo>
                        <a:pt x="292" y="266"/>
                      </a:lnTo>
                      <a:lnTo>
                        <a:pt x="283" y="260"/>
                      </a:lnTo>
                      <a:lnTo>
                        <a:pt x="257" y="268"/>
                      </a:lnTo>
                      <a:lnTo>
                        <a:pt x="242" y="246"/>
                      </a:lnTo>
                      <a:lnTo>
                        <a:pt x="224" y="239"/>
                      </a:lnTo>
                      <a:lnTo>
                        <a:pt x="228" y="208"/>
                      </a:lnTo>
                      <a:lnTo>
                        <a:pt x="207" y="198"/>
                      </a:lnTo>
                      <a:lnTo>
                        <a:pt x="197" y="173"/>
                      </a:lnTo>
                      <a:lnTo>
                        <a:pt x="195" y="16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5" name="Freeform 64"/>
                <p:cNvSpPr>
                  <a:spLocks/>
                </p:cNvSpPr>
                <p:nvPr/>
              </p:nvSpPr>
              <p:spPr bwMode="auto">
                <a:xfrm>
                  <a:off x="7478414" y="2861040"/>
                  <a:ext cx="122527" cy="165145"/>
                </a:xfrm>
                <a:custGeom>
                  <a:avLst/>
                  <a:gdLst>
                    <a:gd name="T0" fmla="*/ 23740 w 160"/>
                    <a:gd name="T1" fmla="*/ 105289 h 229"/>
                    <a:gd name="T2" fmla="*/ 23740 w 160"/>
                    <a:gd name="T3" fmla="*/ 116106 h 229"/>
                    <a:gd name="T4" fmla="*/ 3829 w 160"/>
                    <a:gd name="T5" fmla="*/ 87260 h 229"/>
                    <a:gd name="T6" fmla="*/ 0 w 160"/>
                    <a:gd name="T7" fmla="*/ 65625 h 229"/>
                    <a:gd name="T8" fmla="*/ 13018 w 160"/>
                    <a:gd name="T9" fmla="*/ 68510 h 229"/>
                    <a:gd name="T10" fmla="*/ 9955 w 160"/>
                    <a:gd name="T11" fmla="*/ 41106 h 229"/>
                    <a:gd name="T12" fmla="*/ 6892 w 160"/>
                    <a:gd name="T13" fmla="*/ 11539 h 229"/>
                    <a:gd name="T14" fmla="*/ 11487 w 160"/>
                    <a:gd name="T15" fmla="*/ 0 h 229"/>
                    <a:gd name="T16" fmla="*/ 45948 w 160"/>
                    <a:gd name="T17" fmla="*/ 7212 h 229"/>
                    <a:gd name="T18" fmla="*/ 50542 w 160"/>
                    <a:gd name="T19" fmla="*/ 12981 h 229"/>
                    <a:gd name="T20" fmla="*/ 57435 w 160"/>
                    <a:gd name="T21" fmla="*/ 35337 h 229"/>
                    <a:gd name="T22" fmla="*/ 62029 w 160"/>
                    <a:gd name="T23" fmla="*/ 50481 h 229"/>
                    <a:gd name="T24" fmla="*/ 55903 w 160"/>
                    <a:gd name="T25" fmla="*/ 68510 h 229"/>
                    <a:gd name="T26" fmla="*/ 45948 w 160"/>
                    <a:gd name="T27" fmla="*/ 80048 h 229"/>
                    <a:gd name="T28" fmla="*/ 47479 w 160"/>
                    <a:gd name="T29" fmla="*/ 98077 h 229"/>
                    <a:gd name="T30" fmla="*/ 62029 w 160"/>
                    <a:gd name="T31" fmla="*/ 129087 h 229"/>
                    <a:gd name="T32" fmla="*/ 71219 w 160"/>
                    <a:gd name="T33" fmla="*/ 127645 h 229"/>
                    <a:gd name="T34" fmla="*/ 71219 w 160"/>
                    <a:gd name="T35" fmla="*/ 124760 h 229"/>
                    <a:gd name="T36" fmla="*/ 84237 w 160"/>
                    <a:gd name="T37" fmla="*/ 120433 h 229"/>
                    <a:gd name="T38" fmla="*/ 96490 w 160"/>
                    <a:gd name="T39" fmla="*/ 134856 h 229"/>
                    <a:gd name="T40" fmla="*/ 98787 w 160"/>
                    <a:gd name="T41" fmla="*/ 129087 h 229"/>
                    <a:gd name="T42" fmla="*/ 111040 w 160"/>
                    <a:gd name="T43" fmla="*/ 135578 h 229"/>
                    <a:gd name="T44" fmla="*/ 104914 w 160"/>
                    <a:gd name="T45" fmla="*/ 139905 h 229"/>
                    <a:gd name="T46" fmla="*/ 115635 w 160"/>
                    <a:gd name="T47" fmla="*/ 152885 h 229"/>
                    <a:gd name="T48" fmla="*/ 122527 w 160"/>
                    <a:gd name="T49" fmla="*/ 154328 h 229"/>
                    <a:gd name="T50" fmla="*/ 117166 w 160"/>
                    <a:gd name="T51" fmla="*/ 165145 h 229"/>
                    <a:gd name="T52" fmla="*/ 117166 w 160"/>
                    <a:gd name="T53" fmla="*/ 157933 h 229"/>
                    <a:gd name="T54" fmla="*/ 98787 w 160"/>
                    <a:gd name="T55" fmla="*/ 150001 h 229"/>
                    <a:gd name="T56" fmla="*/ 85769 w 160"/>
                    <a:gd name="T57" fmla="*/ 135578 h 229"/>
                    <a:gd name="T58" fmla="*/ 76579 w 160"/>
                    <a:gd name="T59" fmla="*/ 131972 h 229"/>
                    <a:gd name="T60" fmla="*/ 81174 w 160"/>
                    <a:gd name="T61" fmla="*/ 151443 h 229"/>
                    <a:gd name="T62" fmla="*/ 55903 w 160"/>
                    <a:gd name="T63" fmla="*/ 130529 h 229"/>
                    <a:gd name="T64" fmla="*/ 39821 w 160"/>
                    <a:gd name="T65" fmla="*/ 137020 h 229"/>
                    <a:gd name="T66" fmla="*/ 29100 w 160"/>
                    <a:gd name="T67" fmla="*/ 131972 h 229"/>
                    <a:gd name="T68" fmla="*/ 29100 w 160"/>
                    <a:gd name="T69" fmla="*/ 120433 h 229"/>
                    <a:gd name="T70" fmla="*/ 32163 w 160"/>
                    <a:gd name="T71" fmla="*/ 108174 h 229"/>
                    <a:gd name="T72" fmla="*/ 23740 w 160"/>
                    <a:gd name="T73" fmla="*/ 105289 h 229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60"/>
                    <a:gd name="T112" fmla="*/ 0 h 229"/>
                    <a:gd name="T113" fmla="*/ 160 w 160"/>
                    <a:gd name="T114" fmla="*/ 229 h 229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60" h="229">
                      <a:moveTo>
                        <a:pt x="31" y="146"/>
                      </a:moveTo>
                      <a:lnTo>
                        <a:pt x="31" y="161"/>
                      </a:lnTo>
                      <a:lnTo>
                        <a:pt x="5" y="121"/>
                      </a:lnTo>
                      <a:lnTo>
                        <a:pt x="0" y="91"/>
                      </a:lnTo>
                      <a:lnTo>
                        <a:pt x="17" y="95"/>
                      </a:lnTo>
                      <a:lnTo>
                        <a:pt x="13" y="57"/>
                      </a:lnTo>
                      <a:lnTo>
                        <a:pt x="9" y="16"/>
                      </a:lnTo>
                      <a:lnTo>
                        <a:pt x="15" y="0"/>
                      </a:lnTo>
                      <a:lnTo>
                        <a:pt x="60" y="10"/>
                      </a:lnTo>
                      <a:lnTo>
                        <a:pt x="66" y="18"/>
                      </a:lnTo>
                      <a:lnTo>
                        <a:pt x="75" y="49"/>
                      </a:lnTo>
                      <a:lnTo>
                        <a:pt x="81" y="70"/>
                      </a:lnTo>
                      <a:lnTo>
                        <a:pt x="73" y="95"/>
                      </a:lnTo>
                      <a:lnTo>
                        <a:pt x="60" y="111"/>
                      </a:lnTo>
                      <a:lnTo>
                        <a:pt x="62" y="136"/>
                      </a:lnTo>
                      <a:lnTo>
                        <a:pt x="81" y="179"/>
                      </a:lnTo>
                      <a:lnTo>
                        <a:pt x="93" y="177"/>
                      </a:lnTo>
                      <a:lnTo>
                        <a:pt x="93" y="173"/>
                      </a:lnTo>
                      <a:lnTo>
                        <a:pt x="110" y="167"/>
                      </a:lnTo>
                      <a:lnTo>
                        <a:pt x="126" y="187"/>
                      </a:lnTo>
                      <a:lnTo>
                        <a:pt x="129" y="179"/>
                      </a:lnTo>
                      <a:lnTo>
                        <a:pt x="145" y="188"/>
                      </a:lnTo>
                      <a:lnTo>
                        <a:pt x="137" y="194"/>
                      </a:lnTo>
                      <a:lnTo>
                        <a:pt x="151" y="212"/>
                      </a:lnTo>
                      <a:lnTo>
                        <a:pt x="160" y="214"/>
                      </a:lnTo>
                      <a:lnTo>
                        <a:pt x="153" y="229"/>
                      </a:lnTo>
                      <a:lnTo>
                        <a:pt x="153" y="219"/>
                      </a:lnTo>
                      <a:lnTo>
                        <a:pt x="129" y="208"/>
                      </a:lnTo>
                      <a:lnTo>
                        <a:pt x="112" y="188"/>
                      </a:lnTo>
                      <a:lnTo>
                        <a:pt x="100" y="183"/>
                      </a:lnTo>
                      <a:lnTo>
                        <a:pt x="106" y="210"/>
                      </a:lnTo>
                      <a:lnTo>
                        <a:pt x="73" y="181"/>
                      </a:lnTo>
                      <a:lnTo>
                        <a:pt x="52" y="190"/>
                      </a:lnTo>
                      <a:lnTo>
                        <a:pt x="38" y="183"/>
                      </a:lnTo>
                      <a:lnTo>
                        <a:pt x="38" y="167"/>
                      </a:lnTo>
                      <a:lnTo>
                        <a:pt x="42" y="150"/>
                      </a:lnTo>
                      <a:lnTo>
                        <a:pt x="31" y="14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6" name="Freeform 65"/>
                <p:cNvSpPr>
                  <a:spLocks/>
                </p:cNvSpPr>
                <p:nvPr/>
              </p:nvSpPr>
              <p:spPr bwMode="auto">
                <a:xfrm>
                  <a:off x="7565426" y="3114972"/>
                  <a:ext cx="115424" cy="118976"/>
                </a:xfrm>
                <a:custGeom>
                  <a:avLst/>
                  <a:gdLst>
                    <a:gd name="T0" fmla="*/ 89361 w 155"/>
                    <a:gd name="T1" fmla="*/ 118976 h 157"/>
                    <a:gd name="T2" fmla="*/ 85637 w 155"/>
                    <a:gd name="T3" fmla="*/ 108367 h 157"/>
                    <a:gd name="T4" fmla="*/ 81169 w 155"/>
                    <a:gd name="T5" fmla="*/ 111398 h 157"/>
                    <a:gd name="T6" fmla="*/ 53616 w 155"/>
                    <a:gd name="T7" fmla="*/ 93968 h 157"/>
                    <a:gd name="T8" fmla="*/ 56595 w 155"/>
                    <a:gd name="T9" fmla="*/ 70476 h 157"/>
                    <a:gd name="T10" fmla="*/ 41702 w 155"/>
                    <a:gd name="T11" fmla="*/ 55320 h 157"/>
                    <a:gd name="T12" fmla="*/ 35000 w 155"/>
                    <a:gd name="T13" fmla="*/ 62898 h 157"/>
                    <a:gd name="T14" fmla="*/ 30532 w 155"/>
                    <a:gd name="T15" fmla="*/ 59867 h 157"/>
                    <a:gd name="T16" fmla="*/ 26063 w 155"/>
                    <a:gd name="T17" fmla="*/ 64414 h 157"/>
                    <a:gd name="T18" fmla="*/ 18617 w 155"/>
                    <a:gd name="T19" fmla="*/ 56836 h 157"/>
                    <a:gd name="T20" fmla="*/ 7447 w 155"/>
                    <a:gd name="T21" fmla="*/ 73507 h 157"/>
                    <a:gd name="T22" fmla="*/ 0 w 155"/>
                    <a:gd name="T23" fmla="*/ 78812 h 157"/>
                    <a:gd name="T24" fmla="*/ 2979 w 155"/>
                    <a:gd name="T25" fmla="*/ 58351 h 157"/>
                    <a:gd name="T26" fmla="*/ 23085 w 155"/>
                    <a:gd name="T27" fmla="*/ 42437 h 157"/>
                    <a:gd name="T28" fmla="*/ 39468 w 155"/>
                    <a:gd name="T29" fmla="*/ 30312 h 157"/>
                    <a:gd name="T30" fmla="*/ 43191 w 155"/>
                    <a:gd name="T31" fmla="*/ 48500 h 157"/>
                    <a:gd name="T32" fmla="*/ 55106 w 155"/>
                    <a:gd name="T33" fmla="*/ 40922 h 157"/>
                    <a:gd name="T34" fmla="*/ 64042 w 155"/>
                    <a:gd name="T35" fmla="*/ 34859 h 157"/>
                    <a:gd name="T36" fmla="*/ 66276 w 155"/>
                    <a:gd name="T37" fmla="*/ 21976 h 157"/>
                    <a:gd name="T38" fmla="*/ 78190 w 155"/>
                    <a:gd name="T39" fmla="*/ 23492 h 157"/>
                    <a:gd name="T40" fmla="*/ 84148 w 155"/>
                    <a:gd name="T41" fmla="*/ 21976 h 157"/>
                    <a:gd name="T42" fmla="*/ 81169 w 155"/>
                    <a:gd name="T43" fmla="*/ 0 h 157"/>
                    <a:gd name="T44" fmla="*/ 99786 w 155"/>
                    <a:gd name="T45" fmla="*/ 12883 h 157"/>
                    <a:gd name="T46" fmla="*/ 104254 w 155"/>
                    <a:gd name="T47" fmla="*/ 34859 h 157"/>
                    <a:gd name="T48" fmla="*/ 115424 w 155"/>
                    <a:gd name="T49" fmla="*/ 70476 h 157"/>
                    <a:gd name="T50" fmla="*/ 110211 w 155"/>
                    <a:gd name="T51" fmla="*/ 84875 h 157"/>
                    <a:gd name="T52" fmla="*/ 107233 w 155"/>
                    <a:gd name="T53" fmla="*/ 95484 h 157"/>
                    <a:gd name="T54" fmla="*/ 96807 w 155"/>
                    <a:gd name="T55" fmla="*/ 71992 h 157"/>
                    <a:gd name="T56" fmla="*/ 87871 w 155"/>
                    <a:gd name="T57" fmla="*/ 78812 h 157"/>
                    <a:gd name="T58" fmla="*/ 93829 w 155"/>
                    <a:gd name="T59" fmla="*/ 97000 h 157"/>
                    <a:gd name="T60" fmla="*/ 89361 w 155"/>
                    <a:gd name="T61" fmla="*/ 118976 h 157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55"/>
                    <a:gd name="T94" fmla="*/ 0 h 157"/>
                    <a:gd name="T95" fmla="*/ 155 w 155"/>
                    <a:gd name="T96" fmla="*/ 157 h 157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55" h="157">
                      <a:moveTo>
                        <a:pt x="120" y="157"/>
                      </a:moveTo>
                      <a:lnTo>
                        <a:pt x="115" y="143"/>
                      </a:lnTo>
                      <a:lnTo>
                        <a:pt x="109" y="147"/>
                      </a:lnTo>
                      <a:lnTo>
                        <a:pt x="72" y="124"/>
                      </a:lnTo>
                      <a:lnTo>
                        <a:pt x="76" y="93"/>
                      </a:lnTo>
                      <a:lnTo>
                        <a:pt x="56" y="73"/>
                      </a:lnTo>
                      <a:lnTo>
                        <a:pt x="47" y="83"/>
                      </a:lnTo>
                      <a:lnTo>
                        <a:pt x="41" y="79"/>
                      </a:lnTo>
                      <a:lnTo>
                        <a:pt x="35" y="85"/>
                      </a:lnTo>
                      <a:lnTo>
                        <a:pt x="25" y="75"/>
                      </a:lnTo>
                      <a:lnTo>
                        <a:pt x="10" y="97"/>
                      </a:lnTo>
                      <a:lnTo>
                        <a:pt x="0" y="104"/>
                      </a:lnTo>
                      <a:lnTo>
                        <a:pt x="4" y="77"/>
                      </a:lnTo>
                      <a:lnTo>
                        <a:pt x="31" y="56"/>
                      </a:lnTo>
                      <a:lnTo>
                        <a:pt x="53" y="40"/>
                      </a:lnTo>
                      <a:lnTo>
                        <a:pt x="58" y="64"/>
                      </a:lnTo>
                      <a:lnTo>
                        <a:pt x="74" y="54"/>
                      </a:lnTo>
                      <a:lnTo>
                        <a:pt x="86" y="46"/>
                      </a:lnTo>
                      <a:lnTo>
                        <a:pt x="89" y="29"/>
                      </a:lnTo>
                      <a:lnTo>
                        <a:pt x="105" y="31"/>
                      </a:lnTo>
                      <a:lnTo>
                        <a:pt x="113" y="29"/>
                      </a:lnTo>
                      <a:lnTo>
                        <a:pt x="109" y="0"/>
                      </a:lnTo>
                      <a:lnTo>
                        <a:pt x="134" y="17"/>
                      </a:lnTo>
                      <a:lnTo>
                        <a:pt x="140" y="46"/>
                      </a:lnTo>
                      <a:lnTo>
                        <a:pt x="155" y="93"/>
                      </a:lnTo>
                      <a:lnTo>
                        <a:pt x="148" y="112"/>
                      </a:lnTo>
                      <a:lnTo>
                        <a:pt x="144" y="126"/>
                      </a:lnTo>
                      <a:lnTo>
                        <a:pt x="130" y="95"/>
                      </a:lnTo>
                      <a:lnTo>
                        <a:pt x="118" y="104"/>
                      </a:lnTo>
                      <a:lnTo>
                        <a:pt x="126" y="128"/>
                      </a:lnTo>
                      <a:lnTo>
                        <a:pt x="120" y="15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7" name="Freeform 66"/>
                <p:cNvSpPr>
                  <a:spLocks/>
                </p:cNvSpPr>
                <p:nvPr/>
              </p:nvSpPr>
              <p:spPr bwMode="auto">
                <a:xfrm>
                  <a:off x="7565426" y="3079457"/>
                  <a:ext cx="28412" cy="53273"/>
                </a:xfrm>
                <a:custGeom>
                  <a:avLst/>
                  <a:gdLst>
                    <a:gd name="T0" fmla="*/ 28412 w 33"/>
                    <a:gd name="T1" fmla="*/ 0 h 68"/>
                    <a:gd name="T2" fmla="*/ 21524 w 33"/>
                    <a:gd name="T3" fmla="*/ 39171 h 68"/>
                    <a:gd name="T4" fmla="*/ 21524 w 33"/>
                    <a:gd name="T5" fmla="*/ 53273 h 68"/>
                    <a:gd name="T6" fmla="*/ 0 w 33"/>
                    <a:gd name="T7" fmla="*/ 35254 h 68"/>
                    <a:gd name="T8" fmla="*/ 6888 w 33"/>
                    <a:gd name="T9" fmla="*/ 25853 h 68"/>
                    <a:gd name="T10" fmla="*/ 10332 w 33"/>
                    <a:gd name="T11" fmla="*/ 0 h 68"/>
                    <a:gd name="T12" fmla="*/ 28412 w 33"/>
                    <a:gd name="T13" fmla="*/ 0 h 6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3"/>
                    <a:gd name="T22" fmla="*/ 0 h 68"/>
                    <a:gd name="T23" fmla="*/ 33 w 33"/>
                    <a:gd name="T24" fmla="*/ 68 h 6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3" h="68">
                      <a:moveTo>
                        <a:pt x="33" y="0"/>
                      </a:moveTo>
                      <a:lnTo>
                        <a:pt x="25" y="50"/>
                      </a:lnTo>
                      <a:lnTo>
                        <a:pt x="25" y="68"/>
                      </a:lnTo>
                      <a:lnTo>
                        <a:pt x="0" y="45"/>
                      </a:lnTo>
                      <a:lnTo>
                        <a:pt x="8" y="33"/>
                      </a:lnTo>
                      <a:lnTo>
                        <a:pt x="12" y="0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8" name="Freeform 67"/>
                <p:cNvSpPr>
                  <a:spLocks/>
                </p:cNvSpPr>
                <p:nvPr/>
              </p:nvSpPr>
              <p:spPr bwMode="auto">
                <a:xfrm>
                  <a:off x="7608044" y="3033288"/>
                  <a:ext cx="42618" cy="40842"/>
                </a:xfrm>
                <a:custGeom>
                  <a:avLst/>
                  <a:gdLst>
                    <a:gd name="T0" fmla="*/ 30655 w 57"/>
                    <a:gd name="T1" fmla="*/ 39434 h 58"/>
                    <a:gd name="T2" fmla="*/ 19440 w 57"/>
                    <a:gd name="T3" fmla="*/ 27463 h 58"/>
                    <a:gd name="T4" fmla="*/ 0 w 57"/>
                    <a:gd name="T5" fmla="*/ 4225 h 58"/>
                    <a:gd name="T6" fmla="*/ 21683 w 57"/>
                    <a:gd name="T7" fmla="*/ 0 h 58"/>
                    <a:gd name="T8" fmla="*/ 30655 w 57"/>
                    <a:gd name="T9" fmla="*/ 16196 h 58"/>
                    <a:gd name="T10" fmla="*/ 42618 w 57"/>
                    <a:gd name="T11" fmla="*/ 40842 h 58"/>
                    <a:gd name="T12" fmla="*/ 30655 w 57"/>
                    <a:gd name="T13" fmla="*/ 39434 h 5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7"/>
                    <a:gd name="T22" fmla="*/ 0 h 58"/>
                    <a:gd name="T23" fmla="*/ 57 w 57"/>
                    <a:gd name="T24" fmla="*/ 58 h 5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7" h="58">
                      <a:moveTo>
                        <a:pt x="41" y="56"/>
                      </a:moveTo>
                      <a:lnTo>
                        <a:pt x="26" y="39"/>
                      </a:lnTo>
                      <a:lnTo>
                        <a:pt x="0" y="6"/>
                      </a:lnTo>
                      <a:lnTo>
                        <a:pt x="29" y="0"/>
                      </a:lnTo>
                      <a:lnTo>
                        <a:pt x="41" y="23"/>
                      </a:lnTo>
                      <a:lnTo>
                        <a:pt x="57" y="58"/>
                      </a:lnTo>
                      <a:lnTo>
                        <a:pt x="41" y="5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79" name="Freeform 68"/>
                <p:cNvSpPr>
                  <a:spLocks/>
                </p:cNvSpPr>
                <p:nvPr/>
              </p:nvSpPr>
              <p:spPr bwMode="auto">
                <a:xfrm>
                  <a:off x="7551220" y="3051045"/>
                  <a:ext cx="28412" cy="40842"/>
                </a:xfrm>
                <a:custGeom>
                  <a:avLst/>
                  <a:gdLst>
                    <a:gd name="T0" fmla="*/ 25706 w 42"/>
                    <a:gd name="T1" fmla="*/ 9610 h 51"/>
                    <a:gd name="T2" fmla="*/ 2706 w 42"/>
                    <a:gd name="T3" fmla="*/ 0 h 51"/>
                    <a:gd name="T4" fmla="*/ 0 w 42"/>
                    <a:gd name="T5" fmla="*/ 1602 h 51"/>
                    <a:gd name="T6" fmla="*/ 6088 w 42"/>
                    <a:gd name="T7" fmla="*/ 40842 h 51"/>
                    <a:gd name="T8" fmla="*/ 27059 w 42"/>
                    <a:gd name="T9" fmla="*/ 16016 h 51"/>
                    <a:gd name="T10" fmla="*/ 28412 w 42"/>
                    <a:gd name="T11" fmla="*/ 14415 h 51"/>
                    <a:gd name="T12" fmla="*/ 25706 w 42"/>
                    <a:gd name="T13" fmla="*/ 9610 h 5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2"/>
                    <a:gd name="T22" fmla="*/ 0 h 51"/>
                    <a:gd name="T23" fmla="*/ 42 w 42"/>
                    <a:gd name="T24" fmla="*/ 51 h 5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2" h="51">
                      <a:moveTo>
                        <a:pt x="38" y="12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9" y="51"/>
                      </a:lnTo>
                      <a:lnTo>
                        <a:pt x="40" y="20"/>
                      </a:lnTo>
                      <a:lnTo>
                        <a:pt x="42" y="18"/>
                      </a:lnTo>
                      <a:lnTo>
                        <a:pt x="38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0" name="Freeform 69"/>
                <p:cNvSpPr>
                  <a:spLocks/>
                </p:cNvSpPr>
                <p:nvPr/>
              </p:nvSpPr>
              <p:spPr bwMode="auto">
                <a:xfrm>
                  <a:off x="7435796" y="3068803"/>
                  <a:ext cx="56824" cy="81685"/>
                </a:xfrm>
                <a:custGeom>
                  <a:avLst/>
                  <a:gdLst>
                    <a:gd name="T0" fmla="*/ 56824 w 78"/>
                    <a:gd name="T1" fmla="*/ 23447 h 108"/>
                    <a:gd name="T2" fmla="*/ 35697 w 78"/>
                    <a:gd name="T3" fmla="*/ 46893 h 108"/>
                    <a:gd name="T4" fmla="*/ 17484 w 78"/>
                    <a:gd name="T5" fmla="*/ 64289 h 108"/>
                    <a:gd name="T6" fmla="*/ 0 w 78"/>
                    <a:gd name="T7" fmla="*/ 81685 h 108"/>
                    <a:gd name="T8" fmla="*/ 2914 w 78"/>
                    <a:gd name="T9" fmla="*/ 75634 h 108"/>
                    <a:gd name="T10" fmla="*/ 20398 w 78"/>
                    <a:gd name="T11" fmla="*/ 53700 h 108"/>
                    <a:gd name="T12" fmla="*/ 37154 w 78"/>
                    <a:gd name="T13" fmla="*/ 31766 h 108"/>
                    <a:gd name="T14" fmla="*/ 45168 w 78"/>
                    <a:gd name="T15" fmla="*/ 14371 h 108"/>
                    <a:gd name="T16" fmla="*/ 46625 w 78"/>
                    <a:gd name="T17" fmla="*/ 14371 h 108"/>
                    <a:gd name="T18" fmla="*/ 46625 w 78"/>
                    <a:gd name="T19" fmla="*/ 0 h 108"/>
                    <a:gd name="T20" fmla="*/ 56824 w 78"/>
                    <a:gd name="T21" fmla="*/ 23447 h 10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8"/>
                    <a:gd name="T34" fmla="*/ 0 h 108"/>
                    <a:gd name="T35" fmla="*/ 78 w 78"/>
                    <a:gd name="T36" fmla="*/ 108 h 10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8" h="108">
                      <a:moveTo>
                        <a:pt x="78" y="31"/>
                      </a:moveTo>
                      <a:lnTo>
                        <a:pt x="49" y="62"/>
                      </a:lnTo>
                      <a:lnTo>
                        <a:pt x="24" y="85"/>
                      </a:lnTo>
                      <a:lnTo>
                        <a:pt x="0" y="108"/>
                      </a:lnTo>
                      <a:lnTo>
                        <a:pt x="4" y="100"/>
                      </a:lnTo>
                      <a:lnTo>
                        <a:pt x="28" y="71"/>
                      </a:lnTo>
                      <a:lnTo>
                        <a:pt x="51" y="42"/>
                      </a:lnTo>
                      <a:lnTo>
                        <a:pt x="62" y="19"/>
                      </a:lnTo>
                      <a:lnTo>
                        <a:pt x="64" y="19"/>
                      </a:lnTo>
                      <a:lnTo>
                        <a:pt x="64" y="0"/>
                      </a:lnTo>
                      <a:lnTo>
                        <a:pt x="78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1" name="Freeform 70"/>
                <p:cNvSpPr>
                  <a:spLocks/>
                </p:cNvSpPr>
                <p:nvPr/>
              </p:nvSpPr>
              <p:spPr bwMode="auto">
                <a:xfrm>
                  <a:off x="7499723" y="3008427"/>
                  <a:ext cx="35515" cy="30188"/>
                </a:xfrm>
                <a:custGeom>
                  <a:avLst/>
                  <a:gdLst>
                    <a:gd name="T0" fmla="*/ 35515 w 44"/>
                    <a:gd name="T1" fmla="*/ 20796 h 45"/>
                    <a:gd name="T2" fmla="*/ 29865 w 44"/>
                    <a:gd name="T3" fmla="*/ 30188 h 45"/>
                    <a:gd name="T4" fmla="*/ 15336 w 44"/>
                    <a:gd name="T5" fmla="*/ 15429 h 45"/>
                    <a:gd name="T6" fmla="*/ 0 w 44"/>
                    <a:gd name="T7" fmla="*/ 0 h 45"/>
                    <a:gd name="T8" fmla="*/ 28251 w 44"/>
                    <a:gd name="T9" fmla="*/ 4025 h 45"/>
                    <a:gd name="T10" fmla="*/ 35515 w 44"/>
                    <a:gd name="T11" fmla="*/ 20796 h 4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4"/>
                    <a:gd name="T19" fmla="*/ 0 h 45"/>
                    <a:gd name="T20" fmla="*/ 44 w 44"/>
                    <a:gd name="T21" fmla="*/ 45 h 4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4" h="45">
                      <a:moveTo>
                        <a:pt x="44" y="31"/>
                      </a:moveTo>
                      <a:lnTo>
                        <a:pt x="37" y="45"/>
                      </a:lnTo>
                      <a:lnTo>
                        <a:pt x="19" y="23"/>
                      </a:lnTo>
                      <a:lnTo>
                        <a:pt x="0" y="0"/>
                      </a:lnTo>
                      <a:lnTo>
                        <a:pt x="35" y="6"/>
                      </a:lnTo>
                      <a:lnTo>
                        <a:pt x="44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2" name="Freeform 71"/>
                <p:cNvSpPr>
                  <a:spLocks/>
                </p:cNvSpPr>
                <p:nvPr/>
              </p:nvSpPr>
              <p:spPr bwMode="auto">
                <a:xfrm>
                  <a:off x="7615147" y="3061700"/>
                  <a:ext cx="21309" cy="42618"/>
                </a:xfrm>
                <a:custGeom>
                  <a:avLst/>
                  <a:gdLst>
                    <a:gd name="T0" fmla="*/ 12785 w 35"/>
                    <a:gd name="T1" fmla="*/ 6557 h 52"/>
                    <a:gd name="T2" fmla="*/ 21309 w 35"/>
                    <a:gd name="T3" fmla="*/ 36061 h 52"/>
                    <a:gd name="T4" fmla="*/ 15221 w 35"/>
                    <a:gd name="T5" fmla="*/ 37701 h 52"/>
                    <a:gd name="T6" fmla="*/ 14003 w 35"/>
                    <a:gd name="T7" fmla="*/ 42618 h 52"/>
                    <a:gd name="T8" fmla="*/ 4871 w 35"/>
                    <a:gd name="T9" fmla="*/ 17211 h 52"/>
                    <a:gd name="T10" fmla="*/ 0 w 35"/>
                    <a:gd name="T11" fmla="*/ 0 h 52"/>
                    <a:gd name="T12" fmla="*/ 12785 w 35"/>
                    <a:gd name="T13" fmla="*/ 6557 h 5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5"/>
                    <a:gd name="T22" fmla="*/ 0 h 52"/>
                    <a:gd name="T23" fmla="*/ 35 w 35"/>
                    <a:gd name="T24" fmla="*/ 52 h 5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5" h="52">
                      <a:moveTo>
                        <a:pt x="21" y="8"/>
                      </a:moveTo>
                      <a:lnTo>
                        <a:pt x="35" y="44"/>
                      </a:lnTo>
                      <a:lnTo>
                        <a:pt x="25" y="46"/>
                      </a:lnTo>
                      <a:lnTo>
                        <a:pt x="23" y="52"/>
                      </a:lnTo>
                      <a:lnTo>
                        <a:pt x="8" y="21"/>
                      </a:lnTo>
                      <a:lnTo>
                        <a:pt x="0" y="0"/>
                      </a:lnTo>
                      <a:lnTo>
                        <a:pt x="21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3" name="Freeform 72"/>
                <p:cNvSpPr>
                  <a:spLocks/>
                </p:cNvSpPr>
                <p:nvPr/>
              </p:nvSpPr>
              <p:spPr bwMode="auto">
                <a:xfrm>
                  <a:off x="7579632" y="3038615"/>
                  <a:ext cx="28412" cy="17758"/>
                </a:xfrm>
                <a:custGeom>
                  <a:avLst/>
                  <a:gdLst>
                    <a:gd name="T0" fmla="*/ 28412 w 31"/>
                    <a:gd name="T1" fmla="*/ 17758 h 27"/>
                    <a:gd name="T2" fmla="*/ 5499 w 31"/>
                    <a:gd name="T3" fmla="*/ 7892 h 27"/>
                    <a:gd name="T4" fmla="*/ 0 w 31"/>
                    <a:gd name="T5" fmla="*/ 9866 h 27"/>
                    <a:gd name="T6" fmla="*/ 1833 w 31"/>
                    <a:gd name="T7" fmla="*/ 0 h 27"/>
                    <a:gd name="T8" fmla="*/ 26579 w 31"/>
                    <a:gd name="T9" fmla="*/ 13812 h 27"/>
                    <a:gd name="T10" fmla="*/ 28412 w 31"/>
                    <a:gd name="T11" fmla="*/ 17758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1"/>
                    <a:gd name="T19" fmla="*/ 0 h 27"/>
                    <a:gd name="T20" fmla="*/ 31 w 31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1" h="27">
                      <a:moveTo>
                        <a:pt x="31" y="27"/>
                      </a:moveTo>
                      <a:lnTo>
                        <a:pt x="6" y="12"/>
                      </a:lnTo>
                      <a:lnTo>
                        <a:pt x="0" y="15"/>
                      </a:lnTo>
                      <a:lnTo>
                        <a:pt x="2" y="0"/>
                      </a:lnTo>
                      <a:lnTo>
                        <a:pt x="29" y="21"/>
                      </a:lnTo>
                      <a:lnTo>
                        <a:pt x="31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4" name="Freeform 73"/>
                <p:cNvSpPr>
                  <a:spLocks/>
                </p:cNvSpPr>
                <p:nvPr/>
              </p:nvSpPr>
              <p:spPr bwMode="auto">
                <a:xfrm>
                  <a:off x="7600941" y="3104318"/>
                  <a:ext cx="28412" cy="10655"/>
                </a:xfrm>
                <a:custGeom>
                  <a:avLst/>
                  <a:gdLst>
                    <a:gd name="T0" fmla="*/ 28412 w 28"/>
                    <a:gd name="T1" fmla="*/ 9133 h 14"/>
                    <a:gd name="T2" fmla="*/ 22324 w 28"/>
                    <a:gd name="T3" fmla="*/ 0 h 14"/>
                    <a:gd name="T4" fmla="*/ 0 w 28"/>
                    <a:gd name="T5" fmla="*/ 10655 h 14"/>
                    <a:gd name="T6" fmla="*/ 28412 w 28"/>
                    <a:gd name="T7" fmla="*/ 9133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8"/>
                    <a:gd name="T13" fmla="*/ 0 h 14"/>
                    <a:gd name="T14" fmla="*/ 28 w 28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8" h="14">
                      <a:moveTo>
                        <a:pt x="28" y="12"/>
                      </a:moveTo>
                      <a:lnTo>
                        <a:pt x="22" y="0"/>
                      </a:lnTo>
                      <a:lnTo>
                        <a:pt x="0" y="14"/>
                      </a:lnTo>
                      <a:lnTo>
                        <a:pt x="28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5" name="Freeform 74"/>
                <p:cNvSpPr>
                  <a:spLocks/>
                </p:cNvSpPr>
                <p:nvPr/>
              </p:nvSpPr>
              <p:spPr bwMode="auto">
                <a:xfrm>
                  <a:off x="7593838" y="3068803"/>
                  <a:ext cx="14206" cy="53273"/>
                </a:xfrm>
                <a:custGeom>
                  <a:avLst/>
                  <a:gdLst>
                    <a:gd name="T0" fmla="*/ 14206 w 19"/>
                    <a:gd name="T1" fmla="*/ 0 h 69"/>
                    <a:gd name="T2" fmla="*/ 14206 w 19"/>
                    <a:gd name="T3" fmla="*/ 14669 h 69"/>
                    <a:gd name="T4" fmla="*/ 7477 w 19"/>
                    <a:gd name="T5" fmla="*/ 33971 h 69"/>
                    <a:gd name="T6" fmla="*/ 0 w 19"/>
                    <a:gd name="T7" fmla="*/ 53273 h 69"/>
                    <a:gd name="T8" fmla="*/ 7477 w 19"/>
                    <a:gd name="T9" fmla="*/ 26250 h 69"/>
                    <a:gd name="T10" fmla="*/ 14206 w 19"/>
                    <a:gd name="T11" fmla="*/ 0 h 6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"/>
                    <a:gd name="T19" fmla="*/ 0 h 69"/>
                    <a:gd name="T20" fmla="*/ 19 w 19"/>
                    <a:gd name="T21" fmla="*/ 69 h 6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" h="69">
                      <a:moveTo>
                        <a:pt x="19" y="0"/>
                      </a:moveTo>
                      <a:lnTo>
                        <a:pt x="19" y="19"/>
                      </a:lnTo>
                      <a:lnTo>
                        <a:pt x="10" y="44"/>
                      </a:lnTo>
                      <a:lnTo>
                        <a:pt x="0" y="69"/>
                      </a:lnTo>
                      <a:lnTo>
                        <a:pt x="10" y="34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6" name="Freeform 75"/>
                <p:cNvSpPr>
                  <a:spLocks/>
                </p:cNvSpPr>
                <p:nvPr/>
              </p:nvSpPr>
              <p:spPr bwMode="auto">
                <a:xfrm>
                  <a:off x="6887089" y="2813094"/>
                  <a:ext cx="223745" cy="415527"/>
                </a:xfrm>
                <a:custGeom>
                  <a:avLst/>
                  <a:gdLst>
                    <a:gd name="T0" fmla="*/ 72794 w 292"/>
                    <a:gd name="T1" fmla="*/ 296054 h 553"/>
                    <a:gd name="T2" fmla="*/ 84287 w 292"/>
                    <a:gd name="T3" fmla="*/ 246461 h 553"/>
                    <a:gd name="T4" fmla="*/ 85820 w 292"/>
                    <a:gd name="T5" fmla="*/ 199874 h 553"/>
                    <a:gd name="T6" fmla="*/ 109574 w 292"/>
                    <a:gd name="T7" fmla="*/ 215653 h 553"/>
                    <a:gd name="T8" fmla="*/ 155549 w 292"/>
                    <a:gd name="T9" fmla="*/ 235941 h 553"/>
                    <a:gd name="T10" fmla="*/ 155549 w 292"/>
                    <a:gd name="T11" fmla="*/ 224670 h 553"/>
                    <a:gd name="T12" fmla="*/ 161679 w 292"/>
                    <a:gd name="T13" fmla="*/ 172072 h 553"/>
                    <a:gd name="T14" fmla="*/ 216849 w 292"/>
                    <a:gd name="T15" fmla="*/ 170569 h 553"/>
                    <a:gd name="T16" fmla="*/ 216849 w 292"/>
                    <a:gd name="T17" fmla="*/ 131496 h 553"/>
                    <a:gd name="T18" fmla="*/ 190030 w 292"/>
                    <a:gd name="T19" fmla="*/ 80400 h 553"/>
                    <a:gd name="T20" fmla="*/ 147120 w 292"/>
                    <a:gd name="T21" fmla="*/ 63118 h 553"/>
                    <a:gd name="T22" fmla="*/ 120301 w 292"/>
                    <a:gd name="T23" fmla="*/ 63118 h 553"/>
                    <a:gd name="T24" fmla="*/ 95015 w 292"/>
                    <a:gd name="T25" fmla="*/ 49593 h 553"/>
                    <a:gd name="T26" fmla="*/ 74326 w 292"/>
                    <a:gd name="T27" fmla="*/ 21039 h 553"/>
                    <a:gd name="T28" fmla="*/ 62066 w 292"/>
                    <a:gd name="T29" fmla="*/ 0 h 553"/>
                    <a:gd name="T30" fmla="*/ 36780 w 292"/>
                    <a:gd name="T31" fmla="*/ 15028 h 553"/>
                    <a:gd name="T32" fmla="*/ 6896 w 292"/>
                    <a:gd name="T33" fmla="*/ 51096 h 553"/>
                    <a:gd name="T34" fmla="*/ 20689 w 292"/>
                    <a:gd name="T35" fmla="*/ 81903 h 553"/>
                    <a:gd name="T36" fmla="*/ 49040 w 292"/>
                    <a:gd name="T37" fmla="*/ 115716 h 553"/>
                    <a:gd name="T38" fmla="*/ 38312 w 292"/>
                    <a:gd name="T39" fmla="*/ 144270 h 553"/>
                    <a:gd name="T40" fmla="*/ 52105 w 292"/>
                    <a:gd name="T41" fmla="*/ 178083 h 553"/>
                    <a:gd name="T42" fmla="*/ 72794 w 292"/>
                    <a:gd name="T43" fmla="*/ 221664 h 553"/>
                    <a:gd name="T44" fmla="*/ 71261 w 292"/>
                    <a:gd name="T45" fmla="*/ 266749 h 553"/>
                    <a:gd name="T46" fmla="*/ 60534 w 292"/>
                    <a:gd name="T47" fmla="*/ 290042 h 553"/>
                    <a:gd name="T48" fmla="*/ 53638 w 292"/>
                    <a:gd name="T49" fmla="*/ 347149 h 553"/>
                    <a:gd name="T50" fmla="*/ 72794 w 292"/>
                    <a:gd name="T51" fmla="*/ 358420 h 553"/>
                    <a:gd name="T52" fmla="*/ 91950 w 292"/>
                    <a:gd name="T53" fmla="*/ 380211 h 553"/>
                    <a:gd name="T54" fmla="*/ 104976 w 292"/>
                    <a:gd name="T55" fmla="*/ 393736 h 553"/>
                    <a:gd name="T56" fmla="*/ 127197 w 292"/>
                    <a:gd name="T57" fmla="*/ 415527 h 553"/>
                    <a:gd name="T58" fmla="*/ 155549 w 292"/>
                    <a:gd name="T59" fmla="*/ 403505 h 553"/>
                    <a:gd name="T60" fmla="*/ 121834 w 292"/>
                    <a:gd name="T61" fmla="*/ 383217 h 553"/>
                    <a:gd name="T62" fmla="*/ 101911 w 292"/>
                    <a:gd name="T63" fmla="*/ 347149 h 553"/>
                    <a:gd name="T64" fmla="*/ 79690 w 292"/>
                    <a:gd name="T65" fmla="*/ 317844 h 55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92"/>
                    <a:gd name="T100" fmla="*/ 0 h 553"/>
                    <a:gd name="T101" fmla="*/ 292 w 292"/>
                    <a:gd name="T102" fmla="*/ 553 h 55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92" h="553">
                      <a:moveTo>
                        <a:pt x="104" y="423"/>
                      </a:moveTo>
                      <a:lnTo>
                        <a:pt x="95" y="394"/>
                      </a:lnTo>
                      <a:lnTo>
                        <a:pt x="102" y="361"/>
                      </a:lnTo>
                      <a:lnTo>
                        <a:pt x="110" y="328"/>
                      </a:lnTo>
                      <a:lnTo>
                        <a:pt x="112" y="297"/>
                      </a:lnTo>
                      <a:lnTo>
                        <a:pt x="112" y="266"/>
                      </a:lnTo>
                      <a:lnTo>
                        <a:pt x="141" y="262"/>
                      </a:lnTo>
                      <a:lnTo>
                        <a:pt x="143" y="287"/>
                      </a:lnTo>
                      <a:lnTo>
                        <a:pt x="170" y="293"/>
                      </a:lnTo>
                      <a:lnTo>
                        <a:pt x="203" y="314"/>
                      </a:lnTo>
                      <a:lnTo>
                        <a:pt x="215" y="332"/>
                      </a:lnTo>
                      <a:lnTo>
                        <a:pt x="203" y="299"/>
                      </a:lnTo>
                      <a:lnTo>
                        <a:pt x="190" y="268"/>
                      </a:lnTo>
                      <a:lnTo>
                        <a:pt x="211" y="229"/>
                      </a:lnTo>
                      <a:lnTo>
                        <a:pt x="246" y="229"/>
                      </a:lnTo>
                      <a:lnTo>
                        <a:pt x="283" y="227"/>
                      </a:lnTo>
                      <a:lnTo>
                        <a:pt x="292" y="208"/>
                      </a:lnTo>
                      <a:lnTo>
                        <a:pt x="283" y="175"/>
                      </a:lnTo>
                      <a:lnTo>
                        <a:pt x="254" y="134"/>
                      </a:lnTo>
                      <a:lnTo>
                        <a:pt x="248" y="107"/>
                      </a:lnTo>
                      <a:lnTo>
                        <a:pt x="207" y="74"/>
                      </a:lnTo>
                      <a:lnTo>
                        <a:pt x="192" y="84"/>
                      </a:lnTo>
                      <a:lnTo>
                        <a:pt x="176" y="92"/>
                      </a:lnTo>
                      <a:lnTo>
                        <a:pt x="157" y="84"/>
                      </a:lnTo>
                      <a:lnTo>
                        <a:pt x="128" y="107"/>
                      </a:lnTo>
                      <a:lnTo>
                        <a:pt x="124" y="66"/>
                      </a:lnTo>
                      <a:lnTo>
                        <a:pt x="122" y="28"/>
                      </a:lnTo>
                      <a:lnTo>
                        <a:pt x="97" y="28"/>
                      </a:lnTo>
                      <a:lnTo>
                        <a:pt x="93" y="4"/>
                      </a:lnTo>
                      <a:lnTo>
                        <a:pt x="81" y="0"/>
                      </a:lnTo>
                      <a:lnTo>
                        <a:pt x="62" y="4"/>
                      </a:lnTo>
                      <a:lnTo>
                        <a:pt x="48" y="20"/>
                      </a:lnTo>
                      <a:lnTo>
                        <a:pt x="15" y="28"/>
                      </a:lnTo>
                      <a:lnTo>
                        <a:pt x="9" y="68"/>
                      </a:lnTo>
                      <a:lnTo>
                        <a:pt x="0" y="68"/>
                      </a:lnTo>
                      <a:lnTo>
                        <a:pt x="27" y="109"/>
                      </a:lnTo>
                      <a:lnTo>
                        <a:pt x="54" y="150"/>
                      </a:lnTo>
                      <a:lnTo>
                        <a:pt x="64" y="154"/>
                      </a:lnTo>
                      <a:lnTo>
                        <a:pt x="54" y="175"/>
                      </a:lnTo>
                      <a:lnTo>
                        <a:pt x="50" y="192"/>
                      </a:lnTo>
                      <a:lnTo>
                        <a:pt x="50" y="214"/>
                      </a:lnTo>
                      <a:lnTo>
                        <a:pt x="68" y="237"/>
                      </a:lnTo>
                      <a:lnTo>
                        <a:pt x="85" y="262"/>
                      </a:lnTo>
                      <a:lnTo>
                        <a:pt x="95" y="295"/>
                      </a:lnTo>
                      <a:lnTo>
                        <a:pt x="104" y="332"/>
                      </a:lnTo>
                      <a:lnTo>
                        <a:pt x="93" y="355"/>
                      </a:lnTo>
                      <a:lnTo>
                        <a:pt x="81" y="380"/>
                      </a:lnTo>
                      <a:lnTo>
                        <a:pt x="79" y="386"/>
                      </a:lnTo>
                      <a:lnTo>
                        <a:pt x="75" y="425"/>
                      </a:lnTo>
                      <a:lnTo>
                        <a:pt x="70" y="462"/>
                      </a:lnTo>
                      <a:lnTo>
                        <a:pt x="75" y="456"/>
                      </a:lnTo>
                      <a:lnTo>
                        <a:pt x="95" y="477"/>
                      </a:lnTo>
                      <a:lnTo>
                        <a:pt x="112" y="497"/>
                      </a:lnTo>
                      <a:lnTo>
                        <a:pt x="120" y="506"/>
                      </a:lnTo>
                      <a:lnTo>
                        <a:pt x="135" y="530"/>
                      </a:lnTo>
                      <a:lnTo>
                        <a:pt x="137" y="524"/>
                      </a:lnTo>
                      <a:lnTo>
                        <a:pt x="164" y="537"/>
                      </a:lnTo>
                      <a:lnTo>
                        <a:pt x="166" y="553"/>
                      </a:lnTo>
                      <a:lnTo>
                        <a:pt x="190" y="553"/>
                      </a:lnTo>
                      <a:lnTo>
                        <a:pt x="203" y="537"/>
                      </a:lnTo>
                      <a:lnTo>
                        <a:pt x="184" y="514"/>
                      </a:lnTo>
                      <a:lnTo>
                        <a:pt x="159" y="510"/>
                      </a:lnTo>
                      <a:lnTo>
                        <a:pt x="141" y="489"/>
                      </a:lnTo>
                      <a:lnTo>
                        <a:pt x="133" y="462"/>
                      </a:lnTo>
                      <a:lnTo>
                        <a:pt x="122" y="425"/>
                      </a:lnTo>
                      <a:lnTo>
                        <a:pt x="104" y="4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7" name="Freeform 76"/>
                <p:cNvSpPr>
                  <a:spLocks/>
                </p:cNvSpPr>
                <p:nvPr/>
              </p:nvSpPr>
              <p:spPr bwMode="auto">
                <a:xfrm>
                  <a:off x="6986531" y="2724307"/>
                  <a:ext cx="232623" cy="420854"/>
                </a:xfrm>
                <a:custGeom>
                  <a:avLst/>
                  <a:gdLst>
                    <a:gd name="T0" fmla="*/ 73042 w 293"/>
                    <a:gd name="T1" fmla="*/ 78529 h 552"/>
                    <a:gd name="T2" fmla="*/ 45254 w 293"/>
                    <a:gd name="T3" fmla="*/ 72430 h 552"/>
                    <a:gd name="T4" fmla="*/ 22230 w 293"/>
                    <a:gd name="T5" fmla="*/ 42695 h 552"/>
                    <a:gd name="T6" fmla="*/ 6351 w 293"/>
                    <a:gd name="T7" fmla="*/ 17536 h 552"/>
                    <a:gd name="T8" fmla="*/ 26200 w 293"/>
                    <a:gd name="T9" fmla="*/ 17536 h 552"/>
                    <a:gd name="T10" fmla="*/ 43666 w 293"/>
                    <a:gd name="T11" fmla="*/ 17536 h 552"/>
                    <a:gd name="T12" fmla="*/ 57163 w 293"/>
                    <a:gd name="T13" fmla="*/ 16011 h 552"/>
                    <a:gd name="T14" fmla="*/ 83363 w 293"/>
                    <a:gd name="T15" fmla="*/ 1525 h 552"/>
                    <a:gd name="T16" fmla="*/ 119090 w 293"/>
                    <a:gd name="T17" fmla="*/ 29734 h 552"/>
                    <a:gd name="T18" fmla="*/ 157199 w 293"/>
                    <a:gd name="T19" fmla="*/ 48795 h 552"/>
                    <a:gd name="T20" fmla="*/ 127824 w 293"/>
                    <a:gd name="T21" fmla="*/ 66330 h 552"/>
                    <a:gd name="T22" fmla="*/ 119090 w 293"/>
                    <a:gd name="T23" fmla="*/ 93015 h 552"/>
                    <a:gd name="T24" fmla="*/ 127824 w 293"/>
                    <a:gd name="T25" fmla="*/ 144859 h 552"/>
                    <a:gd name="T26" fmla="*/ 150848 w 293"/>
                    <a:gd name="T27" fmla="*/ 176118 h 552"/>
                    <a:gd name="T28" fmla="*/ 189750 w 293"/>
                    <a:gd name="T29" fmla="*/ 208140 h 552"/>
                    <a:gd name="T30" fmla="*/ 220714 w 293"/>
                    <a:gd name="T31" fmla="*/ 266083 h 552"/>
                    <a:gd name="T32" fmla="*/ 229447 w 293"/>
                    <a:gd name="T33" fmla="*/ 316403 h 552"/>
                    <a:gd name="T34" fmla="*/ 226272 w 293"/>
                    <a:gd name="T35" fmla="*/ 338513 h 552"/>
                    <a:gd name="T36" fmla="*/ 189750 w 293"/>
                    <a:gd name="T37" fmla="*/ 369772 h 552"/>
                    <a:gd name="T38" fmla="*/ 171490 w 293"/>
                    <a:gd name="T39" fmla="*/ 372059 h 552"/>
                    <a:gd name="T40" fmla="*/ 166726 w 293"/>
                    <a:gd name="T41" fmla="*/ 384258 h 552"/>
                    <a:gd name="T42" fmla="*/ 155611 w 293"/>
                    <a:gd name="T43" fmla="*/ 397219 h 552"/>
                    <a:gd name="T44" fmla="*/ 123060 w 293"/>
                    <a:gd name="T45" fmla="*/ 420854 h 552"/>
                    <a:gd name="T46" fmla="*/ 107975 w 293"/>
                    <a:gd name="T47" fmla="*/ 372059 h 552"/>
                    <a:gd name="T48" fmla="*/ 130999 w 293"/>
                    <a:gd name="T49" fmla="*/ 357573 h 552"/>
                    <a:gd name="T50" fmla="*/ 143702 w 293"/>
                    <a:gd name="T51" fmla="*/ 338513 h 552"/>
                    <a:gd name="T52" fmla="*/ 181811 w 293"/>
                    <a:gd name="T53" fmla="*/ 319453 h 552"/>
                    <a:gd name="T54" fmla="*/ 177048 w 293"/>
                    <a:gd name="T55" fmla="*/ 273708 h 552"/>
                    <a:gd name="T56" fmla="*/ 173078 w 293"/>
                    <a:gd name="T57" fmla="*/ 224913 h 552"/>
                    <a:gd name="T58" fmla="*/ 166726 w 293"/>
                    <a:gd name="T59" fmla="*/ 208140 h 552"/>
                    <a:gd name="T60" fmla="*/ 130999 w 293"/>
                    <a:gd name="T61" fmla="*/ 173069 h 552"/>
                    <a:gd name="T62" fmla="*/ 98448 w 293"/>
                    <a:gd name="T63" fmla="*/ 134185 h 552"/>
                    <a:gd name="T64" fmla="*/ 68278 w 293"/>
                    <a:gd name="T65" fmla="*/ 102164 h 552"/>
                    <a:gd name="T66" fmla="*/ 80187 w 293"/>
                    <a:gd name="T67" fmla="*/ 86915 h 55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93"/>
                    <a:gd name="T103" fmla="*/ 0 h 552"/>
                    <a:gd name="T104" fmla="*/ 293 w 293"/>
                    <a:gd name="T105" fmla="*/ 552 h 55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93" h="552">
                      <a:moveTo>
                        <a:pt x="101" y="114"/>
                      </a:moveTo>
                      <a:lnTo>
                        <a:pt x="92" y="103"/>
                      </a:lnTo>
                      <a:lnTo>
                        <a:pt x="72" y="87"/>
                      </a:lnTo>
                      <a:lnTo>
                        <a:pt x="57" y="95"/>
                      </a:lnTo>
                      <a:lnTo>
                        <a:pt x="31" y="74"/>
                      </a:lnTo>
                      <a:lnTo>
                        <a:pt x="28" y="56"/>
                      </a:lnTo>
                      <a:lnTo>
                        <a:pt x="0" y="31"/>
                      </a:lnTo>
                      <a:lnTo>
                        <a:pt x="8" y="23"/>
                      </a:lnTo>
                      <a:lnTo>
                        <a:pt x="26" y="29"/>
                      </a:lnTo>
                      <a:lnTo>
                        <a:pt x="33" y="23"/>
                      </a:lnTo>
                      <a:lnTo>
                        <a:pt x="47" y="21"/>
                      </a:lnTo>
                      <a:lnTo>
                        <a:pt x="55" y="23"/>
                      </a:lnTo>
                      <a:lnTo>
                        <a:pt x="61" y="21"/>
                      </a:lnTo>
                      <a:lnTo>
                        <a:pt x="72" y="21"/>
                      </a:lnTo>
                      <a:lnTo>
                        <a:pt x="92" y="0"/>
                      </a:lnTo>
                      <a:lnTo>
                        <a:pt x="105" y="2"/>
                      </a:lnTo>
                      <a:lnTo>
                        <a:pt x="146" y="13"/>
                      </a:lnTo>
                      <a:lnTo>
                        <a:pt x="150" y="39"/>
                      </a:lnTo>
                      <a:lnTo>
                        <a:pt x="165" y="50"/>
                      </a:lnTo>
                      <a:lnTo>
                        <a:pt x="198" y="64"/>
                      </a:lnTo>
                      <a:lnTo>
                        <a:pt x="179" y="77"/>
                      </a:lnTo>
                      <a:lnTo>
                        <a:pt x="161" y="87"/>
                      </a:lnTo>
                      <a:lnTo>
                        <a:pt x="161" y="91"/>
                      </a:lnTo>
                      <a:lnTo>
                        <a:pt x="150" y="122"/>
                      </a:lnTo>
                      <a:lnTo>
                        <a:pt x="136" y="157"/>
                      </a:lnTo>
                      <a:lnTo>
                        <a:pt x="161" y="190"/>
                      </a:lnTo>
                      <a:lnTo>
                        <a:pt x="169" y="209"/>
                      </a:lnTo>
                      <a:lnTo>
                        <a:pt x="190" y="231"/>
                      </a:lnTo>
                      <a:lnTo>
                        <a:pt x="212" y="252"/>
                      </a:lnTo>
                      <a:lnTo>
                        <a:pt x="239" y="273"/>
                      </a:lnTo>
                      <a:lnTo>
                        <a:pt x="262" y="298"/>
                      </a:lnTo>
                      <a:lnTo>
                        <a:pt x="278" y="349"/>
                      </a:lnTo>
                      <a:lnTo>
                        <a:pt x="293" y="401"/>
                      </a:lnTo>
                      <a:lnTo>
                        <a:pt x="289" y="415"/>
                      </a:lnTo>
                      <a:lnTo>
                        <a:pt x="289" y="428"/>
                      </a:lnTo>
                      <a:lnTo>
                        <a:pt x="285" y="444"/>
                      </a:lnTo>
                      <a:lnTo>
                        <a:pt x="262" y="463"/>
                      </a:lnTo>
                      <a:lnTo>
                        <a:pt x="239" y="485"/>
                      </a:lnTo>
                      <a:lnTo>
                        <a:pt x="216" y="479"/>
                      </a:lnTo>
                      <a:lnTo>
                        <a:pt x="216" y="488"/>
                      </a:lnTo>
                      <a:lnTo>
                        <a:pt x="216" y="500"/>
                      </a:lnTo>
                      <a:lnTo>
                        <a:pt x="210" y="504"/>
                      </a:lnTo>
                      <a:lnTo>
                        <a:pt x="210" y="519"/>
                      </a:lnTo>
                      <a:lnTo>
                        <a:pt x="196" y="521"/>
                      </a:lnTo>
                      <a:lnTo>
                        <a:pt x="171" y="549"/>
                      </a:lnTo>
                      <a:lnTo>
                        <a:pt x="155" y="552"/>
                      </a:lnTo>
                      <a:lnTo>
                        <a:pt x="157" y="506"/>
                      </a:lnTo>
                      <a:lnTo>
                        <a:pt x="136" y="488"/>
                      </a:lnTo>
                      <a:lnTo>
                        <a:pt x="155" y="475"/>
                      </a:lnTo>
                      <a:lnTo>
                        <a:pt x="165" y="469"/>
                      </a:lnTo>
                      <a:lnTo>
                        <a:pt x="190" y="473"/>
                      </a:lnTo>
                      <a:lnTo>
                        <a:pt x="181" y="444"/>
                      </a:lnTo>
                      <a:lnTo>
                        <a:pt x="198" y="434"/>
                      </a:lnTo>
                      <a:lnTo>
                        <a:pt x="229" y="419"/>
                      </a:lnTo>
                      <a:lnTo>
                        <a:pt x="227" y="388"/>
                      </a:lnTo>
                      <a:lnTo>
                        <a:pt x="223" y="359"/>
                      </a:lnTo>
                      <a:lnTo>
                        <a:pt x="223" y="324"/>
                      </a:lnTo>
                      <a:lnTo>
                        <a:pt x="218" y="295"/>
                      </a:lnTo>
                      <a:lnTo>
                        <a:pt x="208" y="281"/>
                      </a:lnTo>
                      <a:lnTo>
                        <a:pt x="210" y="273"/>
                      </a:lnTo>
                      <a:lnTo>
                        <a:pt x="181" y="250"/>
                      </a:lnTo>
                      <a:lnTo>
                        <a:pt x="165" y="227"/>
                      </a:lnTo>
                      <a:lnTo>
                        <a:pt x="144" y="202"/>
                      </a:lnTo>
                      <a:lnTo>
                        <a:pt x="124" y="176"/>
                      </a:lnTo>
                      <a:lnTo>
                        <a:pt x="80" y="145"/>
                      </a:lnTo>
                      <a:lnTo>
                        <a:pt x="86" y="134"/>
                      </a:lnTo>
                      <a:lnTo>
                        <a:pt x="105" y="128"/>
                      </a:lnTo>
                      <a:lnTo>
                        <a:pt x="101" y="1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8" name="Freeform 77"/>
                <p:cNvSpPr>
                  <a:spLocks/>
                </p:cNvSpPr>
                <p:nvPr/>
              </p:nvSpPr>
              <p:spPr bwMode="auto">
                <a:xfrm>
                  <a:off x="5667147" y="2647949"/>
                  <a:ext cx="14206" cy="40842"/>
                </a:xfrm>
                <a:custGeom>
                  <a:avLst/>
                  <a:gdLst>
                    <a:gd name="T0" fmla="*/ 8647 w 23"/>
                    <a:gd name="T1" fmla="*/ 40138 h 58"/>
                    <a:gd name="T2" fmla="*/ 6177 w 23"/>
                    <a:gd name="T3" fmla="*/ 40842 h 58"/>
                    <a:gd name="T4" fmla="*/ 0 w 23"/>
                    <a:gd name="T5" fmla="*/ 35913 h 58"/>
                    <a:gd name="T6" fmla="*/ 0 w 23"/>
                    <a:gd name="T7" fmla="*/ 12675 h 58"/>
                    <a:gd name="T8" fmla="*/ 7412 w 23"/>
                    <a:gd name="T9" fmla="*/ 0 h 58"/>
                    <a:gd name="T10" fmla="*/ 14206 w 23"/>
                    <a:gd name="T11" fmla="*/ 21829 h 58"/>
                    <a:gd name="T12" fmla="*/ 8647 w 23"/>
                    <a:gd name="T13" fmla="*/ 40138 h 5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"/>
                    <a:gd name="T22" fmla="*/ 0 h 58"/>
                    <a:gd name="T23" fmla="*/ 23 w 23"/>
                    <a:gd name="T24" fmla="*/ 58 h 5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" h="58">
                      <a:moveTo>
                        <a:pt x="14" y="57"/>
                      </a:moveTo>
                      <a:lnTo>
                        <a:pt x="10" y="58"/>
                      </a:lnTo>
                      <a:lnTo>
                        <a:pt x="0" y="51"/>
                      </a:lnTo>
                      <a:lnTo>
                        <a:pt x="0" y="18"/>
                      </a:lnTo>
                      <a:lnTo>
                        <a:pt x="12" y="0"/>
                      </a:lnTo>
                      <a:lnTo>
                        <a:pt x="23" y="31"/>
                      </a:lnTo>
                      <a:lnTo>
                        <a:pt x="14" y="5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89" name="Freeform 78"/>
                <p:cNvSpPr>
                  <a:spLocks/>
                </p:cNvSpPr>
                <p:nvPr/>
              </p:nvSpPr>
              <p:spPr bwMode="auto">
                <a:xfrm>
                  <a:off x="5434524" y="2262610"/>
                  <a:ext cx="534501" cy="408423"/>
                </a:xfrm>
                <a:custGeom>
                  <a:avLst/>
                  <a:gdLst>
                    <a:gd name="T0" fmla="*/ 61041 w 683"/>
                    <a:gd name="T1" fmla="*/ 167082 h 550"/>
                    <a:gd name="T2" fmla="*/ 67302 w 683"/>
                    <a:gd name="T3" fmla="*/ 124755 h 550"/>
                    <a:gd name="T4" fmla="*/ 48520 w 683"/>
                    <a:gd name="T5" fmla="*/ 103220 h 550"/>
                    <a:gd name="T6" fmla="*/ 9391 w 683"/>
                    <a:gd name="T7" fmla="*/ 51239 h 550"/>
                    <a:gd name="T8" fmla="*/ 0 w 683"/>
                    <a:gd name="T9" fmla="*/ 8168 h 550"/>
                    <a:gd name="T10" fmla="*/ 14086 w 683"/>
                    <a:gd name="T11" fmla="*/ 2228 h 550"/>
                    <a:gd name="T12" fmla="*/ 46955 w 683"/>
                    <a:gd name="T13" fmla="*/ 23020 h 550"/>
                    <a:gd name="T14" fmla="*/ 91562 w 683"/>
                    <a:gd name="T15" fmla="*/ 0 h 550"/>
                    <a:gd name="T16" fmla="*/ 95475 w 683"/>
                    <a:gd name="T17" fmla="*/ 21535 h 550"/>
                    <a:gd name="T18" fmla="*/ 132256 w 683"/>
                    <a:gd name="T19" fmla="*/ 60150 h 550"/>
                    <a:gd name="T20" fmla="*/ 183906 w 683"/>
                    <a:gd name="T21" fmla="*/ 78714 h 550"/>
                    <a:gd name="T22" fmla="*/ 229295 w 683"/>
                    <a:gd name="T23" fmla="*/ 83170 h 550"/>
                    <a:gd name="T24" fmla="*/ 251990 w 683"/>
                    <a:gd name="T25" fmla="*/ 75744 h 550"/>
                    <a:gd name="T26" fmla="*/ 255121 w 683"/>
                    <a:gd name="T27" fmla="*/ 66090 h 550"/>
                    <a:gd name="T28" fmla="*/ 302075 w 683"/>
                    <a:gd name="T29" fmla="*/ 46040 h 550"/>
                    <a:gd name="T30" fmla="*/ 366247 w 683"/>
                    <a:gd name="T31" fmla="*/ 57179 h 550"/>
                    <a:gd name="T32" fmla="*/ 408506 w 683"/>
                    <a:gd name="T33" fmla="*/ 83170 h 550"/>
                    <a:gd name="T34" fmla="*/ 440592 w 683"/>
                    <a:gd name="T35" fmla="*/ 115101 h 550"/>
                    <a:gd name="T36" fmla="*/ 432766 w 683"/>
                    <a:gd name="T37" fmla="*/ 150745 h 550"/>
                    <a:gd name="T38" fmla="*/ 442939 w 683"/>
                    <a:gd name="T39" fmla="*/ 172280 h 550"/>
                    <a:gd name="T40" fmla="*/ 446070 w 683"/>
                    <a:gd name="T41" fmla="*/ 202726 h 550"/>
                    <a:gd name="T42" fmla="*/ 475025 w 683"/>
                    <a:gd name="T43" fmla="*/ 234658 h 550"/>
                    <a:gd name="T44" fmla="*/ 463286 w 683"/>
                    <a:gd name="T45" fmla="*/ 277728 h 550"/>
                    <a:gd name="T46" fmla="*/ 497720 w 683"/>
                    <a:gd name="T47" fmla="*/ 314857 h 550"/>
                    <a:gd name="T48" fmla="*/ 526675 w 683"/>
                    <a:gd name="T49" fmla="*/ 352729 h 550"/>
                    <a:gd name="T50" fmla="*/ 534501 w 683"/>
                    <a:gd name="T51" fmla="*/ 368323 h 550"/>
                    <a:gd name="T52" fmla="*/ 502415 w 683"/>
                    <a:gd name="T53" fmla="*/ 386888 h 550"/>
                    <a:gd name="T54" fmla="*/ 473460 w 683"/>
                    <a:gd name="T55" fmla="*/ 403967 h 550"/>
                    <a:gd name="T56" fmla="*/ 417114 w 683"/>
                    <a:gd name="T57" fmla="*/ 397284 h 550"/>
                    <a:gd name="T58" fmla="*/ 377985 w 683"/>
                    <a:gd name="T59" fmla="*/ 372779 h 550"/>
                    <a:gd name="T60" fmla="*/ 345900 w 683"/>
                    <a:gd name="T61" fmla="*/ 362383 h 550"/>
                    <a:gd name="T62" fmla="*/ 287206 w 683"/>
                    <a:gd name="T63" fmla="*/ 360897 h 550"/>
                    <a:gd name="T64" fmla="*/ 240252 w 683"/>
                    <a:gd name="T65" fmla="*/ 333422 h 550"/>
                    <a:gd name="T66" fmla="*/ 208166 w 683"/>
                    <a:gd name="T67" fmla="*/ 297777 h 550"/>
                    <a:gd name="T68" fmla="*/ 172950 w 683"/>
                    <a:gd name="T69" fmla="*/ 268817 h 550"/>
                    <a:gd name="T70" fmla="*/ 161211 w 683"/>
                    <a:gd name="T71" fmla="*/ 259163 h 550"/>
                    <a:gd name="T72" fmla="*/ 150255 w 683"/>
                    <a:gd name="T73" fmla="*/ 274757 h 550"/>
                    <a:gd name="T74" fmla="*/ 133821 w 683"/>
                    <a:gd name="T75" fmla="*/ 244311 h 550"/>
                    <a:gd name="T76" fmla="*/ 125995 w 683"/>
                    <a:gd name="T77" fmla="*/ 222776 h 550"/>
                    <a:gd name="T78" fmla="*/ 94692 w 683"/>
                    <a:gd name="T79" fmla="*/ 198271 h 550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683"/>
                    <a:gd name="T121" fmla="*/ 0 h 550"/>
                    <a:gd name="T122" fmla="*/ 683 w 683"/>
                    <a:gd name="T123" fmla="*/ 550 h 550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683" h="550">
                      <a:moveTo>
                        <a:pt x="95" y="250"/>
                      </a:moveTo>
                      <a:lnTo>
                        <a:pt x="78" y="225"/>
                      </a:lnTo>
                      <a:lnTo>
                        <a:pt x="74" y="203"/>
                      </a:lnTo>
                      <a:lnTo>
                        <a:pt x="86" y="168"/>
                      </a:lnTo>
                      <a:lnTo>
                        <a:pt x="86" y="151"/>
                      </a:lnTo>
                      <a:lnTo>
                        <a:pt x="62" y="139"/>
                      </a:lnTo>
                      <a:lnTo>
                        <a:pt x="31" y="97"/>
                      </a:lnTo>
                      <a:lnTo>
                        <a:pt x="12" y="69"/>
                      </a:lnTo>
                      <a:lnTo>
                        <a:pt x="4" y="31"/>
                      </a:lnTo>
                      <a:lnTo>
                        <a:pt x="0" y="11"/>
                      </a:lnTo>
                      <a:lnTo>
                        <a:pt x="14" y="0"/>
                      </a:lnTo>
                      <a:lnTo>
                        <a:pt x="18" y="3"/>
                      </a:lnTo>
                      <a:lnTo>
                        <a:pt x="22" y="9"/>
                      </a:lnTo>
                      <a:lnTo>
                        <a:pt x="60" y="31"/>
                      </a:lnTo>
                      <a:lnTo>
                        <a:pt x="84" y="19"/>
                      </a:lnTo>
                      <a:lnTo>
                        <a:pt x="117" y="0"/>
                      </a:lnTo>
                      <a:lnTo>
                        <a:pt x="126" y="21"/>
                      </a:lnTo>
                      <a:lnTo>
                        <a:pt x="122" y="29"/>
                      </a:lnTo>
                      <a:lnTo>
                        <a:pt x="152" y="46"/>
                      </a:lnTo>
                      <a:lnTo>
                        <a:pt x="169" y="81"/>
                      </a:lnTo>
                      <a:lnTo>
                        <a:pt x="206" y="97"/>
                      </a:lnTo>
                      <a:lnTo>
                        <a:pt x="235" y="106"/>
                      </a:lnTo>
                      <a:lnTo>
                        <a:pt x="266" y="118"/>
                      </a:lnTo>
                      <a:lnTo>
                        <a:pt x="293" y="112"/>
                      </a:lnTo>
                      <a:lnTo>
                        <a:pt x="316" y="108"/>
                      </a:lnTo>
                      <a:lnTo>
                        <a:pt x="322" y="102"/>
                      </a:lnTo>
                      <a:lnTo>
                        <a:pt x="316" y="89"/>
                      </a:lnTo>
                      <a:lnTo>
                        <a:pt x="326" y="89"/>
                      </a:lnTo>
                      <a:lnTo>
                        <a:pt x="349" y="66"/>
                      </a:lnTo>
                      <a:lnTo>
                        <a:pt x="386" y="62"/>
                      </a:lnTo>
                      <a:lnTo>
                        <a:pt x="415" y="58"/>
                      </a:lnTo>
                      <a:lnTo>
                        <a:pt x="468" y="77"/>
                      </a:lnTo>
                      <a:lnTo>
                        <a:pt x="495" y="95"/>
                      </a:lnTo>
                      <a:lnTo>
                        <a:pt x="522" y="112"/>
                      </a:lnTo>
                      <a:lnTo>
                        <a:pt x="549" y="116"/>
                      </a:lnTo>
                      <a:lnTo>
                        <a:pt x="563" y="155"/>
                      </a:lnTo>
                      <a:lnTo>
                        <a:pt x="557" y="197"/>
                      </a:lnTo>
                      <a:lnTo>
                        <a:pt x="553" y="203"/>
                      </a:lnTo>
                      <a:lnTo>
                        <a:pt x="553" y="223"/>
                      </a:lnTo>
                      <a:lnTo>
                        <a:pt x="566" y="232"/>
                      </a:lnTo>
                      <a:lnTo>
                        <a:pt x="563" y="240"/>
                      </a:lnTo>
                      <a:lnTo>
                        <a:pt x="570" y="273"/>
                      </a:lnTo>
                      <a:lnTo>
                        <a:pt x="576" y="304"/>
                      </a:lnTo>
                      <a:lnTo>
                        <a:pt x="607" y="316"/>
                      </a:lnTo>
                      <a:lnTo>
                        <a:pt x="615" y="329"/>
                      </a:lnTo>
                      <a:lnTo>
                        <a:pt x="592" y="374"/>
                      </a:lnTo>
                      <a:lnTo>
                        <a:pt x="615" y="399"/>
                      </a:lnTo>
                      <a:lnTo>
                        <a:pt x="636" y="424"/>
                      </a:lnTo>
                      <a:lnTo>
                        <a:pt x="663" y="436"/>
                      </a:lnTo>
                      <a:lnTo>
                        <a:pt x="673" y="475"/>
                      </a:lnTo>
                      <a:lnTo>
                        <a:pt x="683" y="479"/>
                      </a:lnTo>
                      <a:lnTo>
                        <a:pt x="683" y="496"/>
                      </a:lnTo>
                      <a:lnTo>
                        <a:pt x="654" y="508"/>
                      </a:lnTo>
                      <a:lnTo>
                        <a:pt x="642" y="521"/>
                      </a:lnTo>
                      <a:lnTo>
                        <a:pt x="640" y="550"/>
                      </a:lnTo>
                      <a:lnTo>
                        <a:pt x="605" y="544"/>
                      </a:lnTo>
                      <a:lnTo>
                        <a:pt x="568" y="541"/>
                      </a:lnTo>
                      <a:lnTo>
                        <a:pt x="533" y="535"/>
                      </a:lnTo>
                      <a:lnTo>
                        <a:pt x="497" y="529"/>
                      </a:lnTo>
                      <a:lnTo>
                        <a:pt x="483" y="502"/>
                      </a:lnTo>
                      <a:lnTo>
                        <a:pt x="469" y="477"/>
                      </a:lnTo>
                      <a:lnTo>
                        <a:pt x="442" y="488"/>
                      </a:lnTo>
                      <a:lnTo>
                        <a:pt x="415" y="498"/>
                      </a:lnTo>
                      <a:lnTo>
                        <a:pt x="367" y="486"/>
                      </a:lnTo>
                      <a:lnTo>
                        <a:pt x="336" y="469"/>
                      </a:lnTo>
                      <a:lnTo>
                        <a:pt x="307" y="449"/>
                      </a:lnTo>
                      <a:lnTo>
                        <a:pt x="281" y="426"/>
                      </a:lnTo>
                      <a:lnTo>
                        <a:pt x="266" y="401"/>
                      </a:lnTo>
                      <a:lnTo>
                        <a:pt x="237" y="360"/>
                      </a:lnTo>
                      <a:lnTo>
                        <a:pt x="221" y="362"/>
                      </a:lnTo>
                      <a:lnTo>
                        <a:pt x="208" y="352"/>
                      </a:lnTo>
                      <a:lnTo>
                        <a:pt x="206" y="349"/>
                      </a:lnTo>
                      <a:lnTo>
                        <a:pt x="198" y="366"/>
                      </a:lnTo>
                      <a:lnTo>
                        <a:pt x="192" y="370"/>
                      </a:lnTo>
                      <a:lnTo>
                        <a:pt x="183" y="356"/>
                      </a:lnTo>
                      <a:lnTo>
                        <a:pt x="171" y="329"/>
                      </a:lnTo>
                      <a:lnTo>
                        <a:pt x="159" y="329"/>
                      </a:lnTo>
                      <a:lnTo>
                        <a:pt x="161" y="300"/>
                      </a:lnTo>
                      <a:lnTo>
                        <a:pt x="148" y="283"/>
                      </a:lnTo>
                      <a:lnTo>
                        <a:pt x="121" y="267"/>
                      </a:lnTo>
                      <a:lnTo>
                        <a:pt x="95" y="25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0" name="Freeform 79"/>
                <p:cNvSpPr>
                  <a:spLocks/>
                </p:cNvSpPr>
                <p:nvPr/>
              </p:nvSpPr>
              <p:spPr bwMode="auto">
                <a:xfrm>
                  <a:off x="5335082" y="2328313"/>
                  <a:ext cx="252157" cy="236175"/>
                </a:xfrm>
                <a:custGeom>
                  <a:avLst/>
                  <a:gdLst>
                    <a:gd name="T0" fmla="*/ 164783 w 329"/>
                    <a:gd name="T1" fmla="*/ 101434 h 312"/>
                    <a:gd name="T2" fmla="*/ 161718 w 329"/>
                    <a:gd name="T3" fmla="*/ 84781 h 312"/>
                    <a:gd name="T4" fmla="*/ 170915 w 329"/>
                    <a:gd name="T5" fmla="*/ 58287 h 312"/>
                    <a:gd name="T6" fmla="*/ 170915 w 329"/>
                    <a:gd name="T7" fmla="*/ 45418 h 312"/>
                    <a:gd name="T8" fmla="*/ 152520 w 329"/>
                    <a:gd name="T9" fmla="*/ 36335 h 312"/>
                    <a:gd name="T10" fmla="*/ 128761 w 329"/>
                    <a:gd name="T11" fmla="*/ 4542 h 312"/>
                    <a:gd name="T12" fmla="*/ 115732 w 329"/>
                    <a:gd name="T13" fmla="*/ 5299 h 312"/>
                    <a:gd name="T14" fmla="*/ 108067 w 329"/>
                    <a:gd name="T15" fmla="*/ 0 h 312"/>
                    <a:gd name="T16" fmla="*/ 77410 w 329"/>
                    <a:gd name="T17" fmla="*/ 1514 h 312"/>
                    <a:gd name="T18" fmla="*/ 71278 w 329"/>
                    <a:gd name="T19" fmla="*/ 5299 h 312"/>
                    <a:gd name="T20" fmla="*/ 49052 w 329"/>
                    <a:gd name="T21" fmla="*/ 28008 h 312"/>
                    <a:gd name="T22" fmla="*/ 49052 w 329"/>
                    <a:gd name="T23" fmla="*/ 53745 h 312"/>
                    <a:gd name="T24" fmla="*/ 50585 w 329"/>
                    <a:gd name="T25" fmla="*/ 81753 h 312"/>
                    <a:gd name="T26" fmla="*/ 25292 w 329"/>
                    <a:gd name="T27" fmla="*/ 98406 h 312"/>
                    <a:gd name="T28" fmla="*/ 0 w 329"/>
                    <a:gd name="T29" fmla="*/ 112789 h 312"/>
                    <a:gd name="T30" fmla="*/ 16095 w 329"/>
                    <a:gd name="T31" fmla="*/ 145338 h 312"/>
                    <a:gd name="T32" fmla="*/ 39855 w 329"/>
                    <a:gd name="T33" fmla="*/ 156693 h 312"/>
                    <a:gd name="T34" fmla="*/ 63614 w 329"/>
                    <a:gd name="T35" fmla="*/ 167291 h 312"/>
                    <a:gd name="T36" fmla="*/ 87374 w 329"/>
                    <a:gd name="T37" fmla="*/ 177131 h 312"/>
                    <a:gd name="T38" fmla="*/ 112666 w 329"/>
                    <a:gd name="T39" fmla="*/ 189243 h 312"/>
                    <a:gd name="T40" fmla="*/ 134892 w 329"/>
                    <a:gd name="T41" fmla="*/ 209681 h 312"/>
                    <a:gd name="T42" fmla="*/ 160185 w 329"/>
                    <a:gd name="T43" fmla="*/ 233147 h 312"/>
                    <a:gd name="T44" fmla="*/ 206171 w 329"/>
                    <a:gd name="T45" fmla="*/ 236175 h 312"/>
                    <a:gd name="T46" fmla="*/ 216901 w 329"/>
                    <a:gd name="T47" fmla="*/ 211195 h 312"/>
                    <a:gd name="T48" fmla="*/ 237595 w 329"/>
                    <a:gd name="T49" fmla="*/ 209681 h 312"/>
                    <a:gd name="T50" fmla="*/ 252157 w 329"/>
                    <a:gd name="T51" fmla="*/ 211195 h 312"/>
                    <a:gd name="T52" fmla="*/ 245259 w 329"/>
                    <a:gd name="T53" fmla="*/ 200597 h 312"/>
                    <a:gd name="T54" fmla="*/ 236062 w 329"/>
                    <a:gd name="T55" fmla="*/ 180159 h 312"/>
                    <a:gd name="T56" fmla="*/ 226865 w 329"/>
                    <a:gd name="T57" fmla="*/ 180159 h 312"/>
                    <a:gd name="T58" fmla="*/ 228398 w 329"/>
                    <a:gd name="T59" fmla="*/ 158207 h 312"/>
                    <a:gd name="T60" fmla="*/ 218434 w 329"/>
                    <a:gd name="T61" fmla="*/ 145338 h 312"/>
                    <a:gd name="T62" fmla="*/ 197740 w 329"/>
                    <a:gd name="T63" fmla="*/ 133227 h 312"/>
                    <a:gd name="T64" fmla="*/ 177813 w 329"/>
                    <a:gd name="T65" fmla="*/ 120358 h 312"/>
                    <a:gd name="T66" fmla="*/ 164783 w 329"/>
                    <a:gd name="T67" fmla="*/ 101434 h 31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29"/>
                    <a:gd name="T103" fmla="*/ 0 h 312"/>
                    <a:gd name="T104" fmla="*/ 329 w 329"/>
                    <a:gd name="T105" fmla="*/ 312 h 31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29" h="312">
                      <a:moveTo>
                        <a:pt x="215" y="134"/>
                      </a:moveTo>
                      <a:lnTo>
                        <a:pt x="211" y="112"/>
                      </a:lnTo>
                      <a:lnTo>
                        <a:pt x="223" y="77"/>
                      </a:lnTo>
                      <a:lnTo>
                        <a:pt x="223" y="60"/>
                      </a:lnTo>
                      <a:lnTo>
                        <a:pt x="199" y="48"/>
                      </a:lnTo>
                      <a:lnTo>
                        <a:pt x="168" y="6"/>
                      </a:lnTo>
                      <a:lnTo>
                        <a:pt x="151" y="7"/>
                      </a:lnTo>
                      <a:lnTo>
                        <a:pt x="141" y="0"/>
                      </a:lnTo>
                      <a:lnTo>
                        <a:pt x="101" y="2"/>
                      </a:lnTo>
                      <a:lnTo>
                        <a:pt x="93" y="7"/>
                      </a:lnTo>
                      <a:lnTo>
                        <a:pt x="64" y="37"/>
                      </a:lnTo>
                      <a:lnTo>
                        <a:pt x="64" y="71"/>
                      </a:lnTo>
                      <a:lnTo>
                        <a:pt x="66" y="108"/>
                      </a:lnTo>
                      <a:lnTo>
                        <a:pt x="33" y="130"/>
                      </a:lnTo>
                      <a:lnTo>
                        <a:pt x="0" y="149"/>
                      </a:lnTo>
                      <a:lnTo>
                        <a:pt x="21" y="192"/>
                      </a:lnTo>
                      <a:lnTo>
                        <a:pt x="52" y="207"/>
                      </a:lnTo>
                      <a:lnTo>
                        <a:pt x="83" y="221"/>
                      </a:lnTo>
                      <a:lnTo>
                        <a:pt x="114" y="234"/>
                      </a:lnTo>
                      <a:lnTo>
                        <a:pt x="147" y="250"/>
                      </a:lnTo>
                      <a:lnTo>
                        <a:pt x="176" y="277"/>
                      </a:lnTo>
                      <a:lnTo>
                        <a:pt x="209" y="308"/>
                      </a:lnTo>
                      <a:lnTo>
                        <a:pt x="269" y="312"/>
                      </a:lnTo>
                      <a:lnTo>
                        <a:pt x="283" y="279"/>
                      </a:lnTo>
                      <a:lnTo>
                        <a:pt x="310" y="277"/>
                      </a:lnTo>
                      <a:lnTo>
                        <a:pt x="329" y="279"/>
                      </a:lnTo>
                      <a:lnTo>
                        <a:pt x="320" y="265"/>
                      </a:lnTo>
                      <a:lnTo>
                        <a:pt x="308" y="238"/>
                      </a:lnTo>
                      <a:lnTo>
                        <a:pt x="296" y="238"/>
                      </a:lnTo>
                      <a:lnTo>
                        <a:pt x="298" y="209"/>
                      </a:lnTo>
                      <a:lnTo>
                        <a:pt x="285" y="192"/>
                      </a:lnTo>
                      <a:lnTo>
                        <a:pt x="258" y="176"/>
                      </a:lnTo>
                      <a:lnTo>
                        <a:pt x="232" y="159"/>
                      </a:lnTo>
                      <a:lnTo>
                        <a:pt x="215" y="13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1" name="Freeform 80"/>
                <p:cNvSpPr>
                  <a:spLocks/>
                </p:cNvSpPr>
                <p:nvPr/>
              </p:nvSpPr>
              <p:spPr bwMode="auto">
                <a:xfrm>
                  <a:off x="5542845" y="2536077"/>
                  <a:ext cx="44394" cy="46170"/>
                </a:xfrm>
                <a:custGeom>
                  <a:avLst/>
                  <a:gdLst>
                    <a:gd name="T0" fmla="*/ 36518 w 62"/>
                    <a:gd name="T1" fmla="*/ 13191 h 56"/>
                    <a:gd name="T2" fmla="*/ 29357 w 62"/>
                    <a:gd name="T3" fmla="*/ 14016 h 56"/>
                    <a:gd name="T4" fmla="*/ 30789 w 62"/>
                    <a:gd name="T5" fmla="*/ 20612 h 56"/>
                    <a:gd name="T6" fmla="*/ 44394 w 62"/>
                    <a:gd name="T7" fmla="*/ 46170 h 56"/>
                    <a:gd name="T8" fmla="*/ 25061 w 62"/>
                    <a:gd name="T9" fmla="*/ 41223 h 56"/>
                    <a:gd name="T10" fmla="*/ 20765 w 62"/>
                    <a:gd name="T11" fmla="*/ 32154 h 56"/>
                    <a:gd name="T12" fmla="*/ 0 w 62"/>
                    <a:gd name="T13" fmla="*/ 28856 h 56"/>
                    <a:gd name="T14" fmla="*/ 10024 w 62"/>
                    <a:gd name="T15" fmla="*/ 1649 h 56"/>
                    <a:gd name="T16" fmla="*/ 29357 w 62"/>
                    <a:gd name="T17" fmla="*/ 0 h 56"/>
                    <a:gd name="T18" fmla="*/ 36518 w 62"/>
                    <a:gd name="T19" fmla="*/ 13191 h 5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2"/>
                    <a:gd name="T31" fmla="*/ 0 h 56"/>
                    <a:gd name="T32" fmla="*/ 62 w 62"/>
                    <a:gd name="T33" fmla="*/ 56 h 5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2" h="56">
                      <a:moveTo>
                        <a:pt x="51" y="16"/>
                      </a:moveTo>
                      <a:lnTo>
                        <a:pt x="41" y="17"/>
                      </a:lnTo>
                      <a:lnTo>
                        <a:pt x="43" y="25"/>
                      </a:lnTo>
                      <a:lnTo>
                        <a:pt x="62" y="56"/>
                      </a:lnTo>
                      <a:lnTo>
                        <a:pt x="35" y="50"/>
                      </a:lnTo>
                      <a:lnTo>
                        <a:pt x="29" y="39"/>
                      </a:lnTo>
                      <a:lnTo>
                        <a:pt x="0" y="35"/>
                      </a:lnTo>
                      <a:lnTo>
                        <a:pt x="14" y="2"/>
                      </a:lnTo>
                      <a:lnTo>
                        <a:pt x="41" y="0"/>
                      </a:lnTo>
                      <a:lnTo>
                        <a:pt x="51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2" name="Freeform 81"/>
                <p:cNvSpPr>
                  <a:spLocks/>
                </p:cNvSpPr>
                <p:nvPr/>
              </p:nvSpPr>
              <p:spPr bwMode="auto">
                <a:xfrm>
                  <a:off x="6395206" y="2523646"/>
                  <a:ext cx="209539" cy="111873"/>
                </a:xfrm>
                <a:custGeom>
                  <a:avLst/>
                  <a:gdLst>
                    <a:gd name="T0" fmla="*/ 118764 w 277"/>
                    <a:gd name="T1" fmla="*/ 88906 h 151"/>
                    <a:gd name="T2" fmla="*/ 87749 w 277"/>
                    <a:gd name="T3" fmla="*/ 84460 h 151"/>
                    <a:gd name="T4" fmla="*/ 62786 w 277"/>
                    <a:gd name="T5" fmla="*/ 78533 h 151"/>
                    <a:gd name="T6" fmla="*/ 31771 w 277"/>
                    <a:gd name="T7" fmla="*/ 62975 h 151"/>
                    <a:gd name="T8" fmla="*/ 1513 w 277"/>
                    <a:gd name="T9" fmla="*/ 47416 h 151"/>
                    <a:gd name="T10" fmla="*/ 0 w 277"/>
                    <a:gd name="T11" fmla="*/ 29635 h 151"/>
                    <a:gd name="T12" fmla="*/ 14373 w 277"/>
                    <a:gd name="T13" fmla="*/ 6668 h 151"/>
                    <a:gd name="T14" fmla="*/ 15886 w 277"/>
                    <a:gd name="T15" fmla="*/ 9631 h 151"/>
                    <a:gd name="T16" fmla="*/ 26476 w 277"/>
                    <a:gd name="T17" fmla="*/ 0 h 151"/>
                    <a:gd name="T18" fmla="*/ 46900 w 277"/>
                    <a:gd name="T19" fmla="*/ 11113 h 151"/>
                    <a:gd name="T20" fmla="*/ 78672 w 277"/>
                    <a:gd name="T21" fmla="*/ 35562 h 151"/>
                    <a:gd name="T22" fmla="*/ 89262 w 277"/>
                    <a:gd name="T23" fmla="*/ 32599 h 151"/>
                    <a:gd name="T24" fmla="*/ 98340 w 277"/>
                    <a:gd name="T25" fmla="*/ 41489 h 151"/>
                    <a:gd name="T26" fmla="*/ 120277 w 277"/>
                    <a:gd name="T27" fmla="*/ 51121 h 151"/>
                    <a:gd name="T28" fmla="*/ 124059 w 277"/>
                    <a:gd name="T29" fmla="*/ 57048 h 151"/>
                    <a:gd name="T30" fmla="*/ 149022 w 277"/>
                    <a:gd name="T31" fmla="*/ 67420 h 151"/>
                    <a:gd name="T32" fmla="*/ 170960 w 277"/>
                    <a:gd name="T33" fmla="*/ 70384 h 151"/>
                    <a:gd name="T34" fmla="*/ 201974 w 277"/>
                    <a:gd name="T35" fmla="*/ 72606 h 151"/>
                    <a:gd name="T36" fmla="*/ 209539 w 277"/>
                    <a:gd name="T37" fmla="*/ 111873 h 151"/>
                    <a:gd name="T38" fmla="*/ 181550 w 277"/>
                    <a:gd name="T39" fmla="*/ 110391 h 151"/>
                    <a:gd name="T40" fmla="*/ 149022 w 277"/>
                    <a:gd name="T41" fmla="*/ 107428 h 151"/>
                    <a:gd name="T42" fmla="*/ 131624 w 277"/>
                    <a:gd name="T43" fmla="*/ 101501 h 151"/>
                    <a:gd name="T44" fmla="*/ 118764 w 277"/>
                    <a:gd name="T45" fmla="*/ 88906 h 15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77"/>
                    <a:gd name="T70" fmla="*/ 0 h 151"/>
                    <a:gd name="T71" fmla="*/ 277 w 277"/>
                    <a:gd name="T72" fmla="*/ 151 h 15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77" h="151">
                      <a:moveTo>
                        <a:pt x="157" y="120"/>
                      </a:moveTo>
                      <a:lnTo>
                        <a:pt x="116" y="114"/>
                      </a:lnTo>
                      <a:lnTo>
                        <a:pt x="83" y="106"/>
                      </a:lnTo>
                      <a:lnTo>
                        <a:pt x="42" y="85"/>
                      </a:lnTo>
                      <a:lnTo>
                        <a:pt x="2" y="64"/>
                      </a:lnTo>
                      <a:lnTo>
                        <a:pt x="0" y="40"/>
                      </a:lnTo>
                      <a:lnTo>
                        <a:pt x="19" y="9"/>
                      </a:lnTo>
                      <a:lnTo>
                        <a:pt x="21" y="13"/>
                      </a:lnTo>
                      <a:lnTo>
                        <a:pt x="35" y="0"/>
                      </a:lnTo>
                      <a:lnTo>
                        <a:pt x="62" y="15"/>
                      </a:lnTo>
                      <a:lnTo>
                        <a:pt x="104" y="48"/>
                      </a:lnTo>
                      <a:lnTo>
                        <a:pt x="118" y="44"/>
                      </a:lnTo>
                      <a:lnTo>
                        <a:pt x="130" y="56"/>
                      </a:lnTo>
                      <a:lnTo>
                        <a:pt x="159" y="69"/>
                      </a:lnTo>
                      <a:lnTo>
                        <a:pt x="164" y="77"/>
                      </a:lnTo>
                      <a:lnTo>
                        <a:pt x="197" y="91"/>
                      </a:lnTo>
                      <a:lnTo>
                        <a:pt x="226" y="95"/>
                      </a:lnTo>
                      <a:lnTo>
                        <a:pt x="267" y="98"/>
                      </a:lnTo>
                      <a:lnTo>
                        <a:pt x="277" y="151"/>
                      </a:lnTo>
                      <a:lnTo>
                        <a:pt x="240" y="149"/>
                      </a:lnTo>
                      <a:lnTo>
                        <a:pt x="197" y="145"/>
                      </a:lnTo>
                      <a:lnTo>
                        <a:pt x="174" y="137"/>
                      </a:lnTo>
                      <a:lnTo>
                        <a:pt x="157" y="1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3" name="Freeform 82"/>
                <p:cNvSpPr>
                  <a:spLocks/>
                </p:cNvSpPr>
                <p:nvPr/>
              </p:nvSpPr>
              <p:spPr bwMode="auto">
                <a:xfrm>
                  <a:off x="5897995" y="2333641"/>
                  <a:ext cx="388890" cy="380011"/>
                </a:xfrm>
                <a:custGeom>
                  <a:avLst/>
                  <a:gdLst>
                    <a:gd name="T0" fmla="*/ 169254 w 494"/>
                    <a:gd name="T1" fmla="*/ 346149 h 505"/>
                    <a:gd name="T2" fmla="*/ 193658 w 494"/>
                    <a:gd name="T3" fmla="*/ 372486 h 505"/>
                    <a:gd name="T4" fmla="*/ 225147 w 494"/>
                    <a:gd name="T5" fmla="*/ 375496 h 505"/>
                    <a:gd name="T6" fmla="*/ 247189 w 494"/>
                    <a:gd name="T7" fmla="*/ 364961 h 505"/>
                    <a:gd name="T8" fmla="*/ 281827 w 494"/>
                    <a:gd name="T9" fmla="*/ 363456 h 505"/>
                    <a:gd name="T10" fmla="*/ 258998 w 494"/>
                    <a:gd name="T11" fmla="*/ 325831 h 505"/>
                    <a:gd name="T12" fmla="*/ 233019 w 494"/>
                    <a:gd name="T13" fmla="*/ 294979 h 505"/>
                    <a:gd name="T14" fmla="*/ 257423 w 494"/>
                    <a:gd name="T15" fmla="*/ 262621 h 505"/>
                    <a:gd name="T16" fmla="*/ 299146 w 494"/>
                    <a:gd name="T17" fmla="*/ 237789 h 505"/>
                    <a:gd name="T18" fmla="*/ 327486 w 494"/>
                    <a:gd name="T19" fmla="*/ 192639 h 505"/>
                    <a:gd name="T20" fmla="*/ 333784 w 494"/>
                    <a:gd name="T21" fmla="*/ 152004 h 505"/>
                    <a:gd name="T22" fmla="*/ 338508 w 494"/>
                    <a:gd name="T23" fmla="*/ 131687 h 505"/>
                    <a:gd name="T24" fmla="*/ 317252 w 494"/>
                    <a:gd name="T25" fmla="*/ 114380 h 505"/>
                    <a:gd name="T26" fmla="*/ 312529 w 494"/>
                    <a:gd name="T27" fmla="*/ 91052 h 505"/>
                    <a:gd name="T28" fmla="*/ 299933 w 494"/>
                    <a:gd name="T29" fmla="*/ 69230 h 505"/>
                    <a:gd name="T30" fmla="*/ 366060 w 494"/>
                    <a:gd name="T31" fmla="*/ 64715 h 505"/>
                    <a:gd name="T32" fmla="*/ 355039 w 494"/>
                    <a:gd name="T33" fmla="*/ 35367 h 505"/>
                    <a:gd name="T34" fmla="*/ 324337 w 494"/>
                    <a:gd name="T35" fmla="*/ 7525 h 505"/>
                    <a:gd name="T36" fmla="*/ 265295 w 494"/>
                    <a:gd name="T37" fmla="*/ 7525 h 505"/>
                    <a:gd name="T38" fmla="*/ 222785 w 494"/>
                    <a:gd name="T39" fmla="*/ 30852 h 505"/>
                    <a:gd name="T40" fmla="*/ 229870 w 494"/>
                    <a:gd name="T41" fmla="*/ 76002 h 505"/>
                    <a:gd name="T42" fmla="*/ 202317 w 494"/>
                    <a:gd name="T43" fmla="*/ 91052 h 505"/>
                    <a:gd name="T44" fmla="*/ 198381 w 494"/>
                    <a:gd name="T45" fmla="*/ 122657 h 505"/>
                    <a:gd name="T46" fmla="*/ 170828 w 494"/>
                    <a:gd name="T47" fmla="*/ 153509 h 505"/>
                    <a:gd name="T48" fmla="*/ 140126 w 494"/>
                    <a:gd name="T49" fmla="*/ 170817 h 505"/>
                    <a:gd name="T50" fmla="*/ 135403 w 494"/>
                    <a:gd name="T51" fmla="*/ 206184 h 505"/>
                    <a:gd name="T52" fmla="*/ 80297 w 494"/>
                    <a:gd name="T53" fmla="*/ 217472 h 505"/>
                    <a:gd name="T54" fmla="*/ 21255 w 494"/>
                    <a:gd name="T55" fmla="*/ 212204 h 505"/>
                    <a:gd name="T56" fmla="*/ 18106 w 494"/>
                    <a:gd name="T57" fmla="*/ 224997 h 505"/>
                    <a:gd name="T58" fmla="*/ 55893 w 494"/>
                    <a:gd name="T59" fmla="*/ 252839 h 505"/>
                    <a:gd name="T60" fmla="*/ 71638 w 494"/>
                    <a:gd name="T61" fmla="*/ 285196 h 505"/>
                    <a:gd name="T62" fmla="*/ 48808 w 494"/>
                    <a:gd name="T63" fmla="*/ 307019 h 505"/>
                    <a:gd name="T64" fmla="*/ 37787 w 494"/>
                    <a:gd name="T65" fmla="*/ 338624 h 505"/>
                    <a:gd name="T66" fmla="*/ 85020 w 494"/>
                    <a:gd name="T67" fmla="*/ 337119 h 505"/>
                    <a:gd name="T68" fmla="*/ 132254 w 494"/>
                    <a:gd name="T69" fmla="*/ 334109 h 505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494"/>
                    <a:gd name="T106" fmla="*/ 0 h 505"/>
                    <a:gd name="T107" fmla="*/ 494 w 494"/>
                    <a:gd name="T108" fmla="*/ 505 h 505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494" h="505">
                      <a:moveTo>
                        <a:pt x="203" y="441"/>
                      </a:moveTo>
                      <a:lnTo>
                        <a:pt x="215" y="460"/>
                      </a:lnTo>
                      <a:lnTo>
                        <a:pt x="226" y="466"/>
                      </a:lnTo>
                      <a:lnTo>
                        <a:pt x="246" y="495"/>
                      </a:lnTo>
                      <a:lnTo>
                        <a:pt x="269" y="505"/>
                      </a:lnTo>
                      <a:lnTo>
                        <a:pt x="286" y="499"/>
                      </a:lnTo>
                      <a:lnTo>
                        <a:pt x="286" y="485"/>
                      </a:lnTo>
                      <a:lnTo>
                        <a:pt x="314" y="485"/>
                      </a:lnTo>
                      <a:lnTo>
                        <a:pt x="347" y="481"/>
                      </a:lnTo>
                      <a:lnTo>
                        <a:pt x="358" y="483"/>
                      </a:lnTo>
                      <a:lnTo>
                        <a:pt x="341" y="433"/>
                      </a:lnTo>
                      <a:lnTo>
                        <a:pt x="329" y="433"/>
                      </a:lnTo>
                      <a:lnTo>
                        <a:pt x="321" y="406"/>
                      </a:lnTo>
                      <a:lnTo>
                        <a:pt x="296" y="392"/>
                      </a:lnTo>
                      <a:lnTo>
                        <a:pt x="316" y="346"/>
                      </a:lnTo>
                      <a:lnTo>
                        <a:pt x="327" y="349"/>
                      </a:lnTo>
                      <a:lnTo>
                        <a:pt x="358" y="349"/>
                      </a:lnTo>
                      <a:lnTo>
                        <a:pt x="380" y="316"/>
                      </a:lnTo>
                      <a:lnTo>
                        <a:pt x="401" y="285"/>
                      </a:lnTo>
                      <a:lnTo>
                        <a:pt x="416" y="256"/>
                      </a:lnTo>
                      <a:lnTo>
                        <a:pt x="430" y="231"/>
                      </a:lnTo>
                      <a:lnTo>
                        <a:pt x="424" y="202"/>
                      </a:lnTo>
                      <a:lnTo>
                        <a:pt x="445" y="187"/>
                      </a:lnTo>
                      <a:lnTo>
                        <a:pt x="430" y="175"/>
                      </a:lnTo>
                      <a:lnTo>
                        <a:pt x="418" y="161"/>
                      </a:lnTo>
                      <a:lnTo>
                        <a:pt x="403" y="152"/>
                      </a:lnTo>
                      <a:lnTo>
                        <a:pt x="395" y="132"/>
                      </a:lnTo>
                      <a:lnTo>
                        <a:pt x="397" y="121"/>
                      </a:lnTo>
                      <a:lnTo>
                        <a:pt x="380" y="103"/>
                      </a:lnTo>
                      <a:lnTo>
                        <a:pt x="381" y="92"/>
                      </a:lnTo>
                      <a:lnTo>
                        <a:pt x="428" y="97"/>
                      </a:lnTo>
                      <a:lnTo>
                        <a:pt x="465" y="86"/>
                      </a:lnTo>
                      <a:lnTo>
                        <a:pt x="494" y="59"/>
                      </a:lnTo>
                      <a:lnTo>
                        <a:pt x="451" y="47"/>
                      </a:lnTo>
                      <a:lnTo>
                        <a:pt x="428" y="35"/>
                      </a:lnTo>
                      <a:lnTo>
                        <a:pt x="412" y="10"/>
                      </a:lnTo>
                      <a:lnTo>
                        <a:pt x="376" y="0"/>
                      </a:lnTo>
                      <a:lnTo>
                        <a:pt x="337" y="10"/>
                      </a:lnTo>
                      <a:lnTo>
                        <a:pt x="300" y="18"/>
                      </a:lnTo>
                      <a:lnTo>
                        <a:pt x="283" y="41"/>
                      </a:lnTo>
                      <a:lnTo>
                        <a:pt x="300" y="74"/>
                      </a:lnTo>
                      <a:lnTo>
                        <a:pt x="292" y="101"/>
                      </a:lnTo>
                      <a:lnTo>
                        <a:pt x="286" y="119"/>
                      </a:lnTo>
                      <a:lnTo>
                        <a:pt x="257" y="121"/>
                      </a:lnTo>
                      <a:lnTo>
                        <a:pt x="277" y="142"/>
                      </a:lnTo>
                      <a:lnTo>
                        <a:pt x="252" y="163"/>
                      </a:lnTo>
                      <a:lnTo>
                        <a:pt x="248" y="206"/>
                      </a:lnTo>
                      <a:lnTo>
                        <a:pt x="217" y="204"/>
                      </a:lnTo>
                      <a:lnTo>
                        <a:pt x="209" y="214"/>
                      </a:lnTo>
                      <a:lnTo>
                        <a:pt x="178" y="227"/>
                      </a:lnTo>
                      <a:lnTo>
                        <a:pt x="172" y="256"/>
                      </a:lnTo>
                      <a:lnTo>
                        <a:pt x="172" y="274"/>
                      </a:lnTo>
                      <a:lnTo>
                        <a:pt x="137" y="282"/>
                      </a:lnTo>
                      <a:lnTo>
                        <a:pt x="102" y="289"/>
                      </a:lnTo>
                      <a:lnTo>
                        <a:pt x="54" y="291"/>
                      </a:lnTo>
                      <a:lnTo>
                        <a:pt x="27" y="282"/>
                      </a:lnTo>
                      <a:lnTo>
                        <a:pt x="0" y="274"/>
                      </a:lnTo>
                      <a:lnTo>
                        <a:pt x="23" y="299"/>
                      </a:lnTo>
                      <a:lnTo>
                        <a:pt x="44" y="324"/>
                      </a:lnTo>
                      <a:lnTo>
                        <a:pt x="71" y="336"/>
                      </a:lnTo>
                      <a:lnTo>
                        <a:pt x="81" y="375"/>
                      </a:lnTo>
                      <a:lnTo>
                        <a:pt x="91" y="379"/>
                      </a:lnTo>
                      <a:lnTo>
                        <a:pt x="91" y="396"/>
                      </a:lnTo>
                      <a:lnTo>
                        <a:pt x="62" y="408"/>
                      </a:lnTo>
                      <a:lnTo>
                        <a:pt x="50" y="421"/>
                      </a:lnTo>
                      <a:lnTo>
                        <a:pt x="48" y="450"/>
                      </a:lnTo>
                      <a:lnTo>
                        <a:pt x="79" y="450"/>
                      </a:lnTo>
                      <a:lnTo>
                        <a:pt x="108" y="448"/>
                      </a:lnTo>
                      <a:lnTo>
                        <a:pt x="135" y="446"/>
                      </a:lnTo>
                      <a:lnTo>
                        <a:pt x="168" y="444"/>
                      </a:lnTo>
                      <a:lnTo>
                        <a:pt x="203" y="4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4" name="Freeform 83"/>
                <p:cNvSpPr>
                  <a:spLocks/>
                </p:cNvSpPr>
                <p:nvPr/>
              </p:nvSpPr>
              <p:spPr bwMode="auto">
                <a:xfrm>
                  <a:off x="4987035" y="2488131"/>
                  <a:ext cx="289448" cy="284121"/>
                </a:xfrm>
                <a:custGeom>
                  <a:avLst/>
                  <a:gdLst>
                    <a:gd name="T0" fmla="*/ 229994 w 370"/>
                    <a:gd name="T1" fmla="*/ 104278 h 376"/>
                    <a:gd name="T2" fmla="*/ 213566 w 370"/>
                    <a:gd name="T3" fmla="*/ 77831 h 376"/>
                    <a:gd name="T4" fmla="*/ 197138 w 370"/>
                    <a:gd name="T5" fmla="*/ 51384 h 376"/>
                    <a:gd name="T6" fmla="*/ 192444 w 370"/>
                    <a:gd name="T7" fmla="*/ 54406 h 376"/>
                    <a:gd name="T8" fmla="*/ 202614 w 370"/>
                    <a:gd name="T9" fmla="*/ 74808 h 376"/>
                    <a:gd name="T10" fmla="*/ 213566 w 370"/>
                    <a:gd name="T11" fmla="*/ 96722 h 376"/>
                    <a:gd name="T12" fmla="*/ 225300 w 370"/>
                    <a:gd name="T13" fmla="*/ 117124 h 376"/>
                    <a:gd name="T14" fmla="*/ 237817 w 370"/>
                    <a:gd name="T15" fmla="*/ 137527 h 376"/>
                    <a:gd name="T16" fmla="*/ 247987 w 370"/>
                    <a:gd name="T17" fmla="*/ 159440 h 376"/>
                    <a:gd name="T18" fmla="*/ 260503 w 370"/>
                    <a:gd name="T19" fmla="*/ 179843 h 376"/>
                    <a:gd name="T20" fmla="*/ 275367 w 370"/>
                    <a:gd name="T21" fmla="*/ 199489 h 376"/>
                    <a:gd name="T22" fmla="*/ 289448 w 370"/>
                    <a:gd name="T23" fmla="*/ 219892 h 376"/>
                    <a:gd name="T24" fmla="*/ 286319 w 370"/>
                    <a:gd name="T25" fmla="*/ 221403 h 376"/>
                    <a:gd name="T26" fmla="*/ 287883 w 370"/>
                    <a:gd name="T27" fmla="*/ 244828 h 376"/>
                    <a:gd name="T28" fmla="*/ 278496 w 370"/>
                    <a:gd name="T29" fmla="*/ 254651 h 376"/>
                    <a:gd name="T30" fmla="*/ 271455 w 370"/>
                    <a:gd name="T31" fmla="*/ 251628 h 376"/>
                    <a:gd name="T32" fmla="*/ 266762 w 370"/>
                    <a:gd name="T33" fmla="*/ 269764 h 376"/>
                    <a:gd name="T34" fmla="*/ 252680 w 370"/>
                    <a:gd name="T35" fmla="*/ 271275 h 376"/>
                    <a:gd name="T36" fmla="*/ 247204 w 370"/>
                    <a:gd name="T37" fmla="*/ 284121 h 376"/>
                    <a:gd name="T38" fmla="*/ 215130 w 370"/>
                    <a:gd name="T39" fmla="*/ 281098 h 376"/>
                    <a:gd name="T40" fmla="*/ 183056 w 370"/>
                    <a:gd name="T41" fmla="*/ 276565 h 376"/>
                    <a:gd name="T42" fmla="*/ 181492 w 370"/>
                    <a:gd name="T43" fmla="*/ 271275 h 376"/>
                    <a:gd name="T44" fmla="*/ 178363 w 370"/>
                    <a:gd name="T45" fmla="*/ 276565 h 376"/>
                    <a:gd name="T46" fmla="*/ 157241 w 370"/>
                    <a:gd name="T47" fmla="*/ 276565 h 376"/>
                    <a:gd name="T48" fmla="*/ 137683 w 370"/>
                    <a:gd name="T49" fmla="*/ 276565 h 376"/>
                    <a:gd name="T50" fmla="*/ 118126 w 370"/>
                    <a:gd name="T51" fmla="*/ 276565 h 376"/>
                    <a:gd name="T52" fmla="*/ 97004 w 370"/>
                    <a:gd name="T53" fmla="*/ 276565 h 376"/>
                    <a:gd name="T54" fmla="*/ 76665 w 370"/>
                    <a:gd name="T55" fmla="*/ 276565 h 376"/>
                    <a:gd name="T56" fmla="*/ 57107 w 370"/>
                    <a:gd name="T57" fmla="*/ 276565 h 376"/>
                    <a:gd name="T58" fmla="*/ 35985 w 370"/>
                    <a:gd name="T59" fmla="*/ 276565 h 376"/>
                    <a:gd name="T60" fmla="*/ 16428 w 370"/>
                    <a:gd name="T61" fmla="*/ 276565 h 376"/>
                    <a:gd name="T62" fmla="*/ 14864 w 370"/>
                    <a:gd name="T63" fmla="*/ 250873 h 376"/>
                    <a:gd name="T64" fmla="*/ 13299 w 370"/>
                    <a:gd name="T65" fmla="*/ 222914 h 376"/>
                    <a:gd name="T66" fmla="*/ 11734 w 370"/>
                    <a:gd name="T67" fmla="*/ 196467 h 376"/>
                    <a:gd name="T68" fmla="*/ 10170 w 370"/>
                    <a:gd name="T69" fmla="*/ 170019 h 376"/>
                    <a:gd name="T70" fmla="*/ 8605 w 370"/>
                    <a:gd name="T71" fmla="*/ 142061 h 376"/>
                    <a:gd name="T72" fmla="*/ 5476 w 370"/>
                    <a:gd name="T73" fmla="*/ 115613 h 376"/>
                    <a:gd name="T74" fmla="*/ 3911 w 370"/>
                    <a:gd name="T75" fmla="*/ 87654 h 376"/>
                    <a:gd name="T76" fmla="*/ 2347 w 370"/>
                    <a:gd name="T77" fmla="*/ 61207 h 376"/>
                    <a:gd name="T78" fmla="*/ 1565 w 370"/>
                    <a:gd name="T79" fmla="*/ 39293 h 376"/>
                    <a:gd name="T80" fmla="*/ 0 w 370"/>
                    <a:gd name="T81" fmla="*/ 17380 h 376"/>
                    <a:gd name="T82" fmla="*/ 3911 w 370"/>
                    <a:gd name="T83" fmla="*/ 0 h 376"/>
                    <a:gd name="T84" fmla="*/ 21122 w 370"/>
                    <a:gd name="T85" fmla="*/ 0 h 376"/>
                    <a:gd name="T86" fmla="*/ 60236 w 370"/>
                    <a:gd name="T87" fmla="*/ 10579 h 376"/>
                    <a:gd name="T88" fmla="*/ 98569 w 370"/>
                    <a:gd name="T89" fmla="*/ 20402 h 376"/>
                    <a:gd name="T90" fmla="*/ 134554 w 370"/>
                    <a:gd name="T91" fmla="*/ 10579 h 376"/>
                    <a:gd name="T92" fmla="*/ 150982 w 370"/>
                    <a:gd name="T93" fmla="*/ 1511 h 376"/>
                    <a:gd name="T94" fmla="*/ 143942 w 370"/>
                    <a:gd name="T95" fmla="*/ 6045 h 376"/>
                    <a:gd name="T96" fmla="*/ 154111 w 370"/>
                    <a:gd name="T97" fmla="*/ 3023 h 376"/>
                    <a:gd name="T98" fmla="*/ 176798 w 370"/>
                    <a:gd name="T99" fmla="*/ 9068 h 376"/>
                    <a:gd name="T100" fmla="*/ 184621 w 370"/>
                    <a:gd name="T101" fmla="*/ 14357 h 376"/>
                    <a:gd name="T102" fmla="*/ 197138 w 370"/>
                    <a:gd name="T103" fmla="*/ 15868 h 376"/>
                    <a:gd name="T104" fmla="*/ 233123 w 370"/>
                    <a:gd name="T105" fmla="*/ 9068 h 376"/>
                    <a:gd name="T106" fmla="*/ 244075 w 370"/>
                    <a:gd name="T107" fmla="*/ 34759 h 376"/>
                    <a:gd name="T108" fmla="*/ 255809 w 370"/>
                    <a:gd name="T109" fmla="*/ 61207 h 376"/>
                    <a:gd name="T110" fmla="*/ 249551 w 370"/>
                    <a:gd name="T111" fmla="*/ 84632 h 376"/>
                    <a:gd name="T112" fmla="*/ 245640 w 370"/>
                    <a:gd name="T113" fmla="*/ 108057 h 376"/>
                    <a:gd name="T114" fmla="*/ 229994 w 370"/>
                    <a:gd name="T115" fmla="*/ 104278 h 37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370"/>
                    <a:gd name="T175" fmla="*/ 0 h 376"/>
                    <a:gd name="T176" fmla="*/ 370 w 370"/>
                    <a:gd name="T177" fmla="*/ 376 h 37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370" h="376">
                      <a:moveTo>
                        <a:pt x="294" y="138"/>
                      </a:moveTo>
                      <a:lnTo>
                        <a:pt x="273" y="103"/>
                      </a:lnTo>
                      <a:lnTo>
                        <a:pt x="252" y="68"/>
                      </a:lnTo>
                      <a:lnTo>
                        <a:pt x="246" y="72"/>
                      </a:lnTo>
                      <a:lnTo>
                        <a:pt x="259" y="99"/>
                      </a:lnTo>
                      <a:lnTo>
                        <a:pt x="273" y="128"/>
                      </a:lnTo>
                      <a:lnTo>
                        <a:pt x="288" y="155"/>
                      </a:lnTo>
                      <a:lnTo>
                        <a:pt x="304" y="182"/>
                      </a:lnTo>
                      <a:lnTo>
                        <a:pt x="317" y="211"/>
                      </a:lnTo>
                      <a:lnTo>
                        <a:pt x="333" y="238"/>
                      </a:lnTo>
                      <a:lnTo>
                        <a:pt x="352" y="264"/>
                      </a:lnTo>
                      <a:lnTo>
                        <a:pt x="370" y="291"/>
                      </a:lnTo>
                      <a:lnTo>
                        <a:pt x="366" y="293"/>
                      </a:lnTo>
                      <a:lnTo>
                        <a:pt x="368" y="324"/>
                      </a:lnTo>
                      <a:lnTo>
                        <a:pt x="356" y="337"/>
                      </a:lnTo>
                      <a:lnTo>
                        <a:pt x="347" y="333"/>
                      </a:lnTo>
                      <a:lnTo>
                        <a:pt x="341" y="357"/>
                      </a:lnTo>
                      <a:lnTo>
                        <a:pt x="323" y="359"/>
                      </a:lnTo>
                      <a:lnTo>
                        <a:pt x="316" y="376"/>
                      </a:lnTo>
                      <a:lnTo>
                        <a:pt x="275" y="372"/>
                      </a:lnTo>
                      <a:lnTo>
                        <a:pt x="234" y="366"/>
                      </a:lnTo>
                      <a:lnTo>
                        <a:pt x="232" y="359"/>
                      </a:lnTo>
                      <a:lnTo>
                        <a:pt x="228" y="366"/>
                      </a:lnTo>
                      <a:lnTo>
                        <a:pt x="201" y="366"/>
                      </a:lnTo>
                      <a:lnTo>
                        <a:pt x="176" y="366"/>
                      </a:lnTo>
                      <a:lnTo>
                        <a:pt x="151" y="366"/>
                      </a:lnTo>
                      <a:lnTo>
                        <a:pt x="124" y="366"/>
                      </a:lnTo>
                      <a:lnTo>
                        <a:pt x="98" y="366"/>
                      </a:lnTo>
                      <a:lnTo>
                        <a:pt x="73" y="366"/>
                      </a:lnTo>
                      <a:lnTo>
                        <a:pt x="46" y="366"/>
                      </a:lnTo>
                      <a:lnTo>
                        <a:pt x="21" y="366"/>
                      </a:lnTo>
                      <a:lnTo>
                        <a:pt x="19" y="332"/>
                      </a:lnTo>
                      <a:lnTo>
                        <a:pt x="17" y="295"/>
                      </a:lnTo>
                      <a:lnTo>
                        <a:pt x="15" y="260"/>
                      </a:lnTo>
                      <a:lnTo>
                        <a:pt x="13" y="225"/>
                      </a:lnTo>
                      <a:lnTo>
                        <a:pt x="11" y="188"/>
                      </a:lnTo>
                      <a:lnTo>
                        <a:pt x="7" y="153"/>
                      </a:lnTo>
                      <a:lnTo>
                        <a:pt x="5" y="116"/>
                      </a:lnTo>
                      <a:lnTo>
                        <a:pt x="3" y="81"/>
                      </a:lnTo>
                      <a:lnTo>
                        <a:pt x="2" y="52"/>
                      </a:lnTo>
                      <a:lnTo>
                        <a:pt x="0" y="23"/>
                      </a:lnTo>
                      <a:lnTo>
                        <a:pt x="5" y="0"/>
                      </a:lnTo>
                      <a:lnTo>
                        <a:pt x="27" y="0"/>
                      </a:lnTo>
                      <a:lnTo>
                        <a:pt x="77" y="14"/>
                      </a:lnTo>
                      <a:lnTo>
                        <a:pt x="126" y="27"/>
                      </a:lnTo>
                      <a:lnTo>
                        <a:pt x="172" y="14"/>
                      </a:lnTo>
                      <a:lnTo>
                        <a:pt x="193" y="2"/>
                      </a:lnTo>
                      <a:lnTo>
                        <a:pt x="184" y="8"/>
                      </a:lnTo>
                      <a:lnTo>
                        <a:pt x="197" y="4"/>
                      </a:lnTo>
                      <a:lnTo>
                        <a:pt x="226" y="12"/>
                      </a:lnTo>
                      <a:lnTo>
                        <a:pt x="236" y="19"/>
                      </a:lnTo>
                      <a:lnTo>
                        <a:pt x="252" y="21"/>
                      </a:lnTo>
                      <a:lnTo>
                        <a:pt x="298" y="12"/>
                      </a:lnTo>
                      <a:lnTo>
                        <a:pt x="312" y="46"/>
                      </a:lnTo>
                      <a:lnTo>
                        <a:pt x="327" y="81"/>
                      </a:lnTo>
                      <a:lnTo>
                        <a:pt x="319" y="112"/>
                      </a:lnTo>
                      <a:lnTo>
                        <a:pt x="314" y="143"/>
                      </a:lnTo>
                      <a:lnTo>
                        <a:pt x="294" y="13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5" name="Freeform 84"/>
                <p:cNvSpPr>
                  <a:spLocks/>
                </p:cNvSpPr>
                <p:nvPr/>
              </p:nvSpPr>
              <p:spPr bwMode="auto">
                <a:xfrm>
                  <a:off x="6114637" y="2381586"/>
                  <a:ext cx="720955" cy="776005"/>
                </a:xfrm>
                <a:custGeom>
                  <a:avLst/>
                  <a:gdLst>
                    <a:gd name="T0" fmla="*/ 124465 w 921"/>
                    <a:gd name="T1" fmla="*/ 28327 h 1041"/>
                    <a:gd name="T2" fmla="*/ 100198 w 921"/>
                    <a:gd name="T3" fmla="*/ 46217 h 1041"/>
                    <a:gd name="T4" fmla="*/ 116637 w 921"/>
                    <a:gd name="T5" fmla="*/ 76035 h 1041"/>
                    <a:gd name="T6" fmla="*/ 121333 w 921"/>
                    <a:gd name="T7" fmla="*/ 106598 h 1041"/>
                    <a:gd name="T8" fmla="*/ 103329 w 921"/>
                    <a:gd name="T9" fmla="*/ 168470 h 1041"/>
                    <a:gd name="T10" fmla="*/ 45402 w 921"/>
                    <a:gd name="T11" fmla="*/ 216178 h 1041"/>
                    <a:gd name="T12" fmla="*/ 40705 w 921"/>
                    <a:gd name="T13" fmla="*/ 258668 h 1041"/>
                    <a:gd name="T14" fmla="*/ 69669 w 921"/>
                    <a:gd name="T15" fmla="*/ 316067 h 1041"/>
                    <a:gd name="T16" fmla="*/ 13308 w 921"/>
                    <a:gd name="T17" fmla="*/ 317558 h 1041"/>
                    <a:gd name="T18" fmla="*/ 1566 w 921"/>
                    <a:gd name="T19" fmla="*/ 333212 h 1041"/>
                    <a:gd name="T20" fmla="*/ 30529 w 921"/>
                    <a:gd name="T21" fmla="*/ 359303 h 1041"/>
                    <a:gd name="T22" fmla="*/ 39140 w 921"/>
                    <a:gd name="T23" fmla="*/ 372721 h 1041"/>
                    <a:gd name="T24" fmla="*/ 71234 w 921"/>
                    <a:gd name="T25" fmla="*/ 417447 h 1041"/>
                    <a:gd name="T26" fmla="*/ 111157 w 921"/>
                    <a:gd name="T27" fmla="*/ 377194 h 1041"/>
                    <a:gd name="T28" fmla="*/ 119768 w 921"/>
                    <a:gd name="T29" fmla="*/ 389866 h 1041"/>
                    <a:gd name="T30" fmla="*/ 127596 w 921"/>
                    <a:gd name="T31" fmla="*/ 411484 h 1041"/>
                    <a:gd name="T32" fmla="*/ 137772 w 921"/>
                    <a:gd name="T33" fmla="*/ 468137 h 1041"/>
                    <a:gd name="T34" fmla="*/ 159690 w 921"/>
                    <a:gd name="T35" fmla="*/ 535973 h 1041"/>
                    <a:gd name="T36" fmla="*/ 187871 w 921"/>
                    <a:gd name="T37" fmla="*/ 602317 h 1041"/>
                    <a:gd name="T38" fmla="*/ 226228 w 921"/>
                    <a:gd name="T39" fmla="*/ 682079 h 1041"/>
                    <a:gd name="T40" fmla="*/ 258323 w 921"/>
                    <a:gd name="T41" fmla="*/ 746933 h 1041"/>
                    <a:gd name="T42" fmla="*/ 299028 w 921"/>
                    <a:gd name="T43" fmla="*/ 761096 h 1041"/>
                    <a:gd name="T44" fmla="*/ 318598 w 921"/>
                    <a:gd name="T45" fmla="*/ 734260 h 1041"/>
                    <a:gd name="T46" fmla="*/ 338168 w 921"/>
                    <a:gd name="T47" fmla="*/ 691770 h 1041"/>
                    <a:gd name="T48" fmla="*/ 345996 w 921"/>
                    <a:gd name="T49" fmla="*/ 625426 h 1041"/>
                    <a:gd name="T50" fmla="*/ 352258 w 921"/>
                    <a:gd name="T51" fmla="*/ 557590 h 1041"/>
                    <a:gd name="T52" fmla="*/ 368697 w 921"/>
                    <a:gd name="T53" fmla="*/ 543427 h 1041"/>
                    <a:gd name="T54" fmla="*/ 417230 w 921"/>
                    <a:gd name="T55" fmla="*/ 492737 h 1041"/>
                    <a:gd name="T56" fmla="*/ 479854 w 921"/>
                    <a:gd name="T57" fmla="*/ 439065 h 1041"/>
                    <a:gd name="T58" fmla="*/ 518994 w 921"/>
                    <a:gd name="T59" fmla="*/ 380921 h 1041"/>
                    <a:gd name="T60" fmla="*/ 538564 w 921"/>
                    <a:gd name="T61" fmla="*/ 391357 h 1041"/>
                    <a:gd name="T62" fmla="*/ 536998 w 921"/>
                    <a:gd name="T63" fmla="*/ 362285 h 1041"/>
                    <a:gd name="T64" fmla="*/ 508035 w 921"/>
                    <a:gd name="T65" fmla="*/ 309358 h 1041"/>
                    <a:gd name="T66" fmla="*/ 505686 w 921"/>
                    <a:gd name="T67" fmla="*/ 274323 h 1041"/>
                    <a:gd name="T68" fmla="*/ 531518 w 921"/>
                    <a:gd name="T69" fmla="*/ 268359 h 1041"/>
                    <a:gd name="T70" fmla="*/ 575355 w 921"/>
                    <a:gd name="T71" fmla="*/ 289977 h 1041"/>
                    <a:gd name="T72" fmla="*/ 611364 w 921"/>
                    <a:gd name="T73" fmla="*/ 313086 h 1041"/>
                    <a:gd name="T74" fmla="*/ 604318 w 921"/>
                    <a:gd name="T75" fmla="*/ 355576 h 1041"/>
                    <a:gd name="T76" fmla="*/ 634065 w 921"/>
                    <a:gd name="T77" fmla="*/ 382412 h 1041"/>
                    <a:gd name="T78" fmla="*/ 645024 w 921"/>
                    <a:gd name="T79" fmla="*/ 352594 h 1041"/>
                    <a:gd name="T80" fmla="*/ 675553 w 921"/>
                    <a:gd name="T81" fmla="*/ 294449 h 1041"/>
                    <a:gd name="T82" fmla="*/ 701385 w 921"/>
                    <a:gd name="T83" fmla="*/ 232578 h 1041"/>
                    <a:gd name="T84" fmla="*/ 717824 w 921"/>
                    <a:gd name="T85" fmla="*/ 219160 h 1041"/>
                    <a:gd name="T86" fmla="*/ 695123 w 921"/>
                    <a:gd name="T87" fmla="*/ 184870 h 1041"/>
                    <a:gd name="T88" fmla="*/ 675553 w 921"/>
                    <a:gd name="T89" fmla="*/ 174433 h 1041"/>
                    <a:gd name="T90" fmla="*/ 622323 w 921"/>
                    <a:gd name="T91" fmla="*/ 194560 h 1041"/>
                    <a:gd name="T92" fmla="*/ 587097 w 921"/>
                    <a:gd name="T93" fmla="*/ 228105 h 1041"/>
                    <a:gd name="T94" fmla="*/ 547957 w 921"/>
                    <a:gd name="T95" fmla="*/ 246741 h 1041"/>
                    <a:gd name="T96" fmla="*/ 500989 w 921"/>
                    <a:gd name="T97" fmla="*/ 209469 h 1041"/>
                    <a:gd name="T98" fmla="*/ 468895 w 921"/>
                    <a:gd name="T99" fmla="*/ 254196 h 1041"/>
                    <a:gd name="T100" fmla="*/ 403923 w 921"/>
                    <a:gd name="T101" fmla="*/ 232578 h 1041"/>
                    <a:gd name="T102" fmla="*/ 313901 w 921"/>
                    <a:gd name="T103" fmla="*/ 206487 h 1041"/>
                    <a:gd name="T104" fmla="*/ 295897 w 921"/>
                    <a:gd name="T105" fmla="*/ 149834 h 1041"/>
                    <a:gd name="T106" fmla="*/ 227794 w 921"/>
                    <a:gd name="T107" fmla="*/ 114053 h 1041"/>
                    <a:gd name="T108" fmla="*/ 236404 w 921"/>
                    <a:gd name="T109" fmla="*/ 74544 h 1041"/>
                    <a:gd name="T110" fmla="*/ 218400 w 921"/>
                    <a:gd name="T111" fmla="*/ 40254 h 1041"/>
                    <a:gd name="T112" fmla="*/ 208224 w 921"/>
                    <a:gd name="T113" fmla="*/ 24600 h 1041"/>
                    <a:gd name="T114" fmla="*/ 195699 w 921"/>
                    <a:gd name="T115" fmla="*/ 6709 h 104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921"/>
                    <a:gd name="T175" fmla="*/ 0 h 1041"/>
                    <a:gd name="T176" fmla="*/ 921 w 921"/>
                    <a:gd name="T177" fmla="*/ 1041 h 104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921" h="1041">
                      <a:moveTo>
                        <a:pt x="225" y="0"/>
                      </a:moveTo>
                      <a:lnTo>
                        <a:pt x="196" y="27"/>
                      </a:lnTo>
                      <a:lnTo>
                        <a:pt x="159" y="38"/>
                      </a:lnTo>
                      <a:lnTo>
                        <a:pt x="112" y="33"/>
                      </a:lnTo>
                      <a:lnTo>
                        <a:pt x="111" y="44"/>
                      </a:lnTo>
                      <a:lnTo>
                        <a:pt x="128" y="62"/>
                      </a:lnTo>
                      <a:lnTo>
                        <a:pt x="126" y="73"/>
                      </a:lnTo>
                      <a:lnTo>
                        <a:pt x="134" y="93"/>
                      </a:lnTo>
                      <a:lnTo>
                        <a:pt x="149" y="102"/>
                      </a:lnTo>
                      <a:lnTo>
                        <a:pt x="161" y="116"/>
                      </a:lnTo>
                      <a:lnTo>
                        <a:pt x="176" y="128"/>
                      </a:lnTo>
                      <a:lnTo>
                        <a:pt x="155" y="143"/>
                      </a:lnTo>
                      <a:lnTo>
                        <a:pt x="161" y="172"/>
                      </a:lnTo>
                      <a:lnTo>
                        <a:pt x="147" y="197"/>
                      </a:lnTo>
                      <a:lnTo>
                        <a:pt x="132" y="226"/>
                      </a:lnTo>
                      <a:lnTo>
                        <a:pt x="111" y="257"/>
                      </a:lnTo>
                      <a:lnTo>
                        <a:pt x="89" y="290"/>
                      </a:lnTo>
                      <a:lnTo>
                        <a:pt x="58" y="290"/>
                      </a:lnTo>
                      <a:lnTo>
                        <a:pt x="47" y="287"/>
                      </a:lnTo>
                      <a:lnTo>
                        <a:pt x="27" y="333"/>
                      </a:lnTo>
                      <a:lnTo>
                        <a:pt x="52" y="347"/>
                      </a:lnTo>
                      <a:lnTo>
                        <a:pt x="60" y="374"/>
                      </a:lnTo>
                      <a:lnTo>
                        <a:pt x="72" y="374"/>
                      </a:lnTo>
                      <a:lnTo>
                        <a:pt x="89" y="424"/>
                      </a:lnTo>
                      <a:lnTo>
                        <a:pt x="78" y="422"/>
                      </a:lnTo>
                      <a:lnTo>
                        <a:pt x="45" y="426"/>
                      </a:lnTo>
                      <a:lnTo>
                        <a:pt x="17" y="426"/>
                      </a:lnTo>
                      <a:lnTo>
                        <a:pt x="17" y="440"/>
                      </a:lnTo>
                      <a:lnTo>
                        <a:pt x="0" y="446"/>
                      </a:lnTo>
                      <a:lnTo>
                        <a:pt x="2" y="447"/>
                      </a:lnTo>
                      <a:lnTo>
                        <a:pt x="16" y="444"/>
                      </a:lnTo>
                      <a:lnTo>
                        <a:pt x="8" y="451"/>
                      </a:lnTo>
                      <a:lnTo>
                        <a:pt x="39" y="482"/>
                      </a:lnTo>
                      <a:lnTo>
                        <a:pt x="78" y="475"/>
                      </a:lnTo>
                      <a:lnTo>
                        <a:pt x="74" y="482"/>
                      </a:lnTo>
                      <a:lnTo>
                        <a:pt x="50" y="500"/>
                      </a:lnTo>
                      <a:lnTo>
                        <a:pt x="33" y="496"/>
                      </a:lnTo>
                      <a:lnTo>
                        <a:pt x="62" y="529"/>
                      </a:lnTo>
                      <a:lnTo>
                        <a:pt x="91" y="560"/>
                      </a:lnTo>
                      <a:lnTo>
                        <a:pt x="138" y="546"/>
                      </a:lnTo>
                      <a:lnTo>
                        <a:pt x="140" y="521"/>
                      </a:lnTo>
                      <a:lnTo>
                        <a:pt x="142" y="506"/>
                      </a:lnTo>
                      <a:lnTo>
                        <a:pt x="159" y="506"/>
                      </a:lnTo>
                      <a:lnTo>
                        <a:pt x="153" y="515"/>
                      </a:lnTo>
                      <a:lnTo>
                        <a:pt x="153" y="523"/>
                      </a:lnTo>
                      <a:lnTo>
                        <a:pt x="171" y="523"/>
                      </a:lnTo>
                      <a:lnTo>
                        <a:pt x="159" y="535"/>
                      </a:lnTo>
                      <a:lnTo>
                        <a:pt x="163" y="552"/>
                      </a:lnTo>
                      <a:lnTo>
                        <a:pt x="165" y="579"/>
                      </a:lnTo>
                      <a:lnTo>
                        <a:pt x="175" y="616"/>
                      </a:lnTo>
                      <a:lnTo>
                        <a:pt x="176" y="628"/>
                      </a:lnTo>
                      <a:lnTo>
                        <a:pt x="180" y="636"/>
                      </a:lnTo>
                      <a:lnTo>
                        <a:pt x="190" y="682"/>
                      </a:lnTo>
                      <a:lnTo>
                        <a:pt x="204" y="719"/>
                      </a:lnTo>
                      <a:lnTo>
                        <a:pt x="215" y="756"/>
                      </a:lnTo>
                      <a:lnTo>
                        <a:pt x="223" y="765"/>
                      </a:lnTo>
                      <a:lnTo>
                        <a:pt x="240" y="808"/>
                      </a:lnTo>
                      <a:lnTo>
                        <a:pt x="260" y="853"/>
                      </a:lnTo>
                      <a:lnTo>
                        <a:pt x="273" y="884"/>
                      </a:lnTo>
                      <a:lnTo>
                        <a:pt x="289" y="915"/>
                      </a:lnTo>
                      <a:lnTo>
                        <a:pt x="304" y="946"/>
                      </a:lnTo>
                      <a:lnTo>
                        <a:pt x="316" y="973"/>
                      </a:lnTo>
                      <a:lnTo>
                        <a:pt x="330" y="1002"/>
                      </a:lnTo>
                      <a:lnTo>
                        <a:pt x="343" y="1031"/>
                      </a:lnTo>
                      <a:lnTo>
                        <a:pt x="364" y="1041"/>
                      </a:lnTo>
                      <a:lnTo>
                        <a:pt x="382" y="1021"/>
                      </a:lnTo>
                      <a:lnTo>
                        <a:pt x="401" y="1002"/>
                      </a:lnTo>
                      <a:lnTo>
                        <a:pt x="421" y="998"/>
                      </a:lnTo>
                      <a:lnTo>
                        <a:pt x="407" y="985"/>
                      </a:lnTo>
                      <a:lnTo>
                        <a:pt x="427" y="957"/>
                      </a:lnTo>
                      <a:lnTo>
                        <a:pt x="436" y="955"/>
                      </a:lnTo>
                      <a:lnTo>
                        <a:pt x="432" y="928"/>
                      </a:lnTo>
                      <a:lnTo>
                        <a:pt x="430" y="901"/>
                      </a:lnTo>
                      <a:lnTo>
                        <a:pt x="436" y="870"/>
                      </a:lnTo>
                      <a:lnTo>
                        <a:pt x="442" y="839"/>
                      </a:lnTo>
                      <a:lnTo>
                        <a:pt x="436" y="804"/>
                      </a:lnTo>
                      <a:lnTo>
                        <a:pt x="432" y="762"/>
                      </a:lnTo>
                      <a:lnTo>
                        <a:pt x="450" y="748"/>
                      </a:lnTo>
                      <a:lnTo>
                        <a:pt x="454" y="744"/>
                      </a:lnTo>
                      <a:lnTo>
                        <a:pt x="461" y="744"/>
                      </a:lnTo>
                      <a:lnTo>
                        <a:pt x="471" y="729"/>
                      </a:lnTo>
                      <a:lnTo>
                        <a:pt x="498" y="719"/>
                      </a:lnTo>
                      <a:lnTo>
                        <a:pt x="502" y="694"/>
                      </a:lnTo>
                      <a:lnTo>
                        <a:pt x="533" y="661"/>
                      </a:lnTo>
                      <a:lnTo>
                        <a:pt x="566" y="628"/>
                      </a:lnTo>
                      <a:lnTo>
                        <a:pt x="591" y="603"/>
                      </a:lnTo>
                      <a:lnTo>
                        <a:pt x="613" y="589"/>
                      </a:lnTo>
                      <a:lnTo>
                        <a:pt x="632" y="562"/>
                      </a:lnTo>
                      <a:lnTo>
                        <a:pt x="632" y="533"/>
                      </a:lnTo>
                      <a:lnTo>
                        <a:pt x="663" y="511"/>
                      </a:lnTo>
                      <a:lnTo>
                        <a:pt x="671" y="527"/>
                      </a:lnTo>
                      <a:lnTo>
                        <a:pt x="680" y="529"/>
                      </a:lnTo>
                      <a:lnTo>
                        <a:pt x="688" y="525"/>
                      </a:lnTo>
                      <a:lnTo>
                        <a:pt x="698" y="527"/>
                      </a:lnTo>
                      <a:lnTo>
                        <a:pt x="696" y="515"/>
                      </a:lnTo>
                      <a:lnTo>
                        <a:pt x="686" y="486"/>
                      </a:lnTo>
                      <a:lnTo>
                        <a:pt x="677" y="457"/>
                      </a:lnTo>
                      <a:lnTo>
                        <a:pt x="673" y="436"/>
                      </a:lnTo>
                      <a:lnTo>
                        <a:pt x="649" y="415"/>
                      </a:lnTo>
                      <a:lnTo>
                        <a:pt x="657" y="399"/>
                      </a:lnTo>
                      <a:lnTo>
                        <a:pt x="671" y="393"/>
                      </a:lnTo>
                      <a:lnTo>
                        <a:pt x="646" y="368"/>
                      </a:lnTo>
                      <a:lnTo>
                        <a:pt x="646" y="341"/>
                      </a:lnTo>
                      <a:lnTo>
                        <a:pt x="667" y="351"/>
                      </a:lnTo>
                      <a:lnTo>
                        <a:pt x="679" y="360"/>
                      </a:lnTo>
                      <a:lnTo>
                        <a:pt x="686" y="354"/>
                      </a:lnTo>
                      <a:lnTo>
                        <a:pt x="700" y="385"/>
                      </a:lnTo>
                      <a:lnTo>
                        <a:pt x="735" y="389"/>
                      </a:lnTo>
                      <a:lnTo>
                        <a:pt x="770" y="393"/>
                      </a:lnTo>
                      <a:lnTo>
                        <a:pt x="787" y="405"/>
                      </a:lnTo>
                      <a:lnTo>
                        <a:pt x="781" y="420"/>
                      </a:lnTo>
                      <a:lnTo>
                        <a:pt x="758" y="438"/>
                      </a:lnTo>
                      <a:lnTo>
                        <a:pt x="764" y="469"/>
                      </a:lnTo>
                      <a:lnTo>
                        <a:pt x="772" y="477"/>
                      </a:lnTo>
                      <a:lnTo>
                        <a:pt x="785" y="447"/>
                      </a:lnTo>
                      <a:lnTo>
                        <a:pt x="799" y="480"/>
                      </a:lnTo>
                      <a:lnTo>
                        <a:pt x="810" y="513"/>
                      </a:lnTo>
                      <a:lnTo>
                        <a:pt x="812" y="513"/>
                      </a:lnTo>
                      <a:lnTo>
                        <a:pt x="824" y="513"/>
                      </a:lnTo>
                      <a:lnTo>
                        <a:pt x="824" y="473"/>
                      </a:lnTo>
                      <a:lnTo>
                        <a:pt x="826" y="442"/>
                      </a:lnTo>
                      <a:lnTo>
                        <a:pt x="847" y="442"/>
                      </a:lnTo>
                      <a:lnTo>
                        <a:pt x="863" y="395"/>
                      </a:lnTo>
                      <a:lnTo>
                        <a:pt x="863" y="378"/>
                      </a:lnTo>
                      <a:lnTo>
                        <a:pt x="865" y="345"/>
                      </a:lnTo>
                      <a:lnTo>
                        <a:pt x="896" y="312"/>
                      </a:lnTo>
                      <a:lnTo>
                        <a:pt x="921" y="318"/>
                      </a:lnTo>
                      <a:lnTo>
                        <a:pt x="913" y="306"/>
                      </a:lnTo>
                      <a:lnTo>
                        <a:pt x="917" y="294"/>
                      </a:lnTo>
                      <a:lnTo>
                        <a:pt x="921" y="277"/>
                      </a:lnTo>
                      <a:lnTo>
                        <a:pt x="886" y="265"/>
                      </a:lnTo>
                      <a:lnTo>
                        <a:pt x="888" y="248"/>
                      </a:lnTo>
                      <a:lnTo>
                        <a:pt x="874" y="244"/>
                      </a:lnTo>
                      <a:lnTo>
                        <a:pt x="876" y="238"/>
                      </a:lnTo>
                      <a:lnTo>
                        <a:pt x="863" y="234"/>
                      </a:lnTo>
                      <a:lnTo>
                        <a:pt x="845" y="244"/>
                      </a:lnTo>
                      <a:lnTo>
                        <a:pt x="818" y="240"/>
                      </a:lnTo>
                      <a:lnTo>
                        <a:pt x="795" y="261"/>
                      </a:lnTo>
                      <a:lnTo>
                        <a:pt x="772" y="283"/>
                      </a:lnTo>
                      <a:lnTo>
                        <a:pt x="741" y="294"/>
                      </a:lnTo>
                      <a:lnTo>
                        <a:pt x="750" y="306"/>
                      </a:lnTo>
                      <a:lnTo>
                        <a:pt x="762" y="325"/>
                      </a:lnTo>
                      <a:lnTo>
                        <a:pt x="731" y="327"/>
                      </a:lnTo>
                      <a:lnTo>
                        <a:pt x="700" y="331"/>
                      </a:lnTo>
                      <a:lnTo>
                        <a:pt x="661" y="327"/>
                      </a:lnTo>
                      <a:lnTo>
                        <a:pt x="655" y="312"/>
                      </a:lnTo>
                      <a:lnTo>
                        <a:pt x="640" y="281"/>
                      </a:lnTo>
                      <a:lnTo>
                        <a:pt x="626" y="290"/>
                      </a:lnTo>
                      <a:lnTo>
                        <a:pt x="636" y="343"/>
                      </a:lnTo>
                      <a:lnTo>
                        <a:pt x="599" y="341"/>
                      </a:lnTo>
                      <a:lnTo>
                        <a:pt x="556" y="337"/>
                      </a:lnTo>
                      <a:lnTo>
                        <a:pt x="533" y="329"/>
                      </a:lnTo>
                      <a:lnTo>
                        <a:pt x="516" y="312"/>
                      </a:lnTo>
                      <a:lnTo>
                        <a:pt x="475" y="306"/>
                      </a:lnTo>
                      <a:lnTo>
                        <a:pt x="442" y="298"/>
                      </a:lnTo>
                      <a:lnTo>
                        <a:pt x="401" y="277"/>
                      </a:lnTo>
                      <a:lnTo>
                        <a:pt x="361" y="256"/>
                      </a:lnTo>
                      <a:lnTo>
                        <a:pt x="359" y="232"/>
                      </a:lnTo>
                      <a:lnTo>
                        <a:pt x="378" y="201"/>
                      </a:lnTo>
                      <a:lnTo>
                        <a:pt x="347" y="180"/>
                      </a:lnTo>
                      <a:lnTo>
                        <a:pt x="308" y="159"/>
                      </a:lnTo>
                      <a:lnTo>
                        <a:pt x="291" y="153"/>
                      </a:lnTo>
                      <a:lnTo>
                        <a:pt x="277" y="112"/>
                      </a:lnTo>
                      <a:lnTo>
                        <a:pt x="297" y="114"/>
                      </a:lnTo>
                      <a:lnTo>
                        <a:pt x="302" y="100"/>
                      </a:lnTo>
                      <a:lnTo>
                        <a:pt x="281" y="71"/>
                      </a:lnTo>
                      <a:lnTo>
                        <a:pt x="281" y="58"/>
                      </a:lnTo>
                      <a:lnTo>
                        <a:pt x="279" y="54"/>
                      </a:lnTo>
                      <a:lnTo>
                        <a:pt x="277" y="48"/>
                      </a:lnTo>
                      <a:lnTo>
                        <a:pt x="271" y="40"/>
                      </a:lnTo>
                      <a:lnTo>
                        <a:pt x="266" y="33"/>
                      </a:lnTo>
                      <a:lnTo>
                        <a:pt x="266" y="23"/>
                      </a:lnTo>
                      <a:lnTo>
                        <a:pt x="262" y="13"/>
                      </a:lnTo>
                      <a:lnTo>
                        <a:pt x="250" y="9"/>
                      </a:lnTo>
                      <a:lnTo>
                        <a:pt x="235" y="3"/>
                      </a:lnTo>
                      <a:lnTo>
                        <a:pt x="225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6" name="Freeform 85"/>
                <p:cNvSpPr>
                  <a:spLocks/>
                </p:cNvSpPr>
                <p:nvPr/>
              </p:nvSpPr>
              <p:spPr bwMode="auto">
                <a:xfrm>
                  <a:off x="5226761" y="2440186"/>
                  <a:ext cx="28412" cy="106545"/>
                </a:xfrm>
                <a:custGeom>
                  <a:avLst/>
                  <a:gdLst>
                    <a:gd name="T0" fmla="*/ 21127 w 39"/>
                    <a:gd name="T1" fmla="*/ 106545 h 143"/>
                    <a:gd name="T2" fmla="*/ 10199 w 39"/>
                    <a:gd name="T3" fmla="*/ 80468 h 143"/>
                    <a:gd name="T4" fmla="*/ 0 w 39"/>
                    <a:gd name="T5" fmla="*/ 55135 h 143"/>
                    <a:gd name="T6" fmla="*/ 7285 w 39"/>
                    <a:gd name="T7" fmla="*/ 30548 h 143"/>
                    <a:gd name="T8" fmla="*/ 15299 w 39"/>
                    <a:gd name="T9" fmla="*/ 4470 h 143"/>
                    <a:gd name="T10" fmla="*/ 26955 w 39"/>
                    <a:gd name="T11" fmla="*/ 0 h 143"/>
                    <a:gd name="T12" fmla="*/ 28412 w 39"/>
                    <a:gd name="T13" fmla="*/ 14156 h 143"/>
                    <a:gd name="T14" fmla="*/ 26955 w 39"/>
                    <a:gd name="T15" fmla="*/ 37253 h 143"/>
                    <a:gd name="T16" fmla="*/ 25498 w 39"/>
                    <a:gd name="T17" fmla="*/ 60351 h 143"/>
                    <a:gd name="T18" fmla="*/ 24041 w 39"/>
                    <a:gd name="T19" fmla="*/ 81958 h 143"/>
                    <a:gd name="T20" fmla="*/ 22584 w 39"/>
                    <a:gd name="T21" fmla="*/ 105055 h 143"/>
                    <a:gd name="T22" fmla="*/ 21127 w 39"/>
                    <a:gd name="T23" fmla="*/ 106545 h 143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9"/>
                    <a:gd name="T37" fmla="*/ 0 h 143"/>
                    <a:gd name="T38" fmla="*/ 39 w 39"/>
                    <a:gd name="T39" fmla="*/ 143 h 143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9" h="143">
                      <a:moveTo>
                        <a:pt x="29" y="143"/>
                      </a:moveTo>
                      <a:lnTo>
                        <a:pt x="14" y="108"/>
                      </a:lnTo>
                      <a:lnTo>
                        <a:pt x="0" y="74"/>
                      </a:lnTo>
                      <a:lnTo>
                        <a:pt x="10" y="41"/>
                      </a:lnTo>
                      <a:lnTo>
                        <a:pt x="21" y="6"/>
                      </a:lnTo>
                      <a:lnTo>
                        <a:pt x="37" y="0"/>
                      </a:lnTo>
                      <a:lnTo>
                        <a:pt x="39" y="19"/>
                      </a:lnTo>
                      <a:lnTo>
                        <a:pt x="37" y="50"/>
                      </a:lnTo>
                      <a:lnTo>
                        <a:pt x="35" y="81"/>
                      </a:lnTo>
                      <a:lnTo>
                        <a:pt x="33" y="110"/>
                      </a:lnTo>
                      <a:lnTo>
                        <a:pt x="31" y="141"/>
                      </a:lnTo>
                      <a:lnTo>
                        <a:pt x="29" y="14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7" name="Freeform 86"/>
                <p:cNvSpPr>
                  <a:spLocks/>
                </p:cNvSpPr>
                <p:nvPr/>
              </p:nvSpPr>
              <p:spPr bwMode="auto">
                <a:xfrm>
                  <a:off x="5248070" y="2440186"/>
                  <a:ext cx="101218" cy="118976"/>
                </a:xfrm>
                <a:custGeom>
                  <a:avLst/>
                  <a:gdLst>
                    <a:gd name="T0" fmla="*/ 38748 w 128"/>
                    <a:gd name="T1" fmla="*/ 30679 h 159"/>
                    <a:gd name="T2" fmla="*/ 6326 w 128"/>
                    <a:gd name="T3" fmla="*/ 17210 h 159"/>
                    <a:gd name="T4" fmla="*/ 4745 w 128"/>
                    <a:gd name="T5" fmla="*/ 40407 h 159"/>
                    <a:gd name="T6" fmla="*/ 3163 w 128"/>
                    <a:gd name="T7" fmla="*/ 63604 h 159"/>
                    <a:gd name="T8" fmla="*/ 1582 w 128"/>
                    <a:gd name="T9" fmla="*/ 85304 h 159"/>
                    <a:gd name="T10" fmla="*/ 0 w 128"/>
                    <a:gd name="T11" fmla="*/ 108500 h 159"/>
                    <a:gd name="T12" fmla="*/ 0 w 128"/>
                    <a:gd name="T13" fmla="*/ 114486 h 159"/>
                    <a:gd name="T14" fmla="*/ 29258 w 128"/>
                    <a:gd name="T15" fmla="*/ 118976 h 159"/>
                    <a:gd name="T16" fmla="*/ 44283 w 128"/>
                    <a:gd name="T17" fmla="*/ 100269 h 159"/>
                    <a:gd name="T18" fmla="*/ 63261 w 128"/>
                    <a:gd name="T19" fmla="*/ 95779 h 159"/>
                    <a:gd name="T20" fmla="*/ 73541 w 128"/>
                    <a:gd name="T21" fmla="*/ 81562 h 159"/>
                    <a:gd name="T22" fmla="*/ 45864 w 128"/>
                    <a:gd name="T23" fmla="*/ 53876 h 159"/>
                    <a:gd name="T24" fmla="*/ 73541 w 128"/>
                    <a:gd name="T25" fmla="*/ 41903 h 159"/>
                    <a:gd name="T26" fmla="*/ 101218 w 128"/>
                    <a:gd name="T27" fmla="*/ 32176 h 159"/>
                    <a:gd name="T28" fmla="*/ 84612 w 128"/>
                    <a:gd name="T29" fmla="*/ 0 h 159"/>
                    <a:gd name="T30" fmla="*/ 61680 w 128"/>
                    <a:gd name="T31" fmla="*/ 14217 h 159"/>
                    <a:gd name="T32" fmla="*/ 38748 w 128"/>
                    <a:gd name="T33" fmla="*/ 30679 h 1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28"/>
                    <a:gd name="T52" fmla="*/ 0 h 159"/>
                    <a:gd name="T53" fmla="*/ 128 w 128"/>
                    <a:gd name="T54" fmla="*/ 159 h 15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28" h="159">
                      <a:moveTo>
                        <a:pt x="49" y="41"/>
                      </a:moveTo>
                      <a:lnTo>
                        <a:pt x="8" y="23"/>
                      </a:lnTo>
                      <a:lnTo>
                        <a:pt x="6" y="54"/>
                      </a:lnTo>
                      <a:lnTo>
                        <a:pt x="4" y="85"/>
                      </a:lnTo>
                      <a:lnTo>
                        <a:pt x="2" y="114"/>
                      </a:lnTo>
                      <a:lnTo>
                        <a:pt x="0" y="145"/>
                      </a:lnTo>
                      <a:lnTo>
                        <a:pt x="0" y="153"/>
                      </a:lnTo>
                      <a:lnTo>
                        <a:pt x="37" y="159"/>
                      </a:lnTo>
                      <a:lnTo>
                        <a:pt x="56" y="134"/>
                      </a:lnTo>
                      <a:lnTo>
                        <a:pt x="80" y="128"/>
                      </a:lnTo>
                      <a:lnTo>
                        <a:pt x="93" y="109"/>
                      </a:lnTo>
                      <a:lnTo>
                        <a:pt x="58" y="72"/>
                      </a:lnTo>
                      <a:lnTo>
                        <a:pt x="93" y="56"/>
                      </a:lnTo>
                      <a:lnTo>
                        <a:pt x="128" y="43"/>
                      </a:lnTo>
                      <a:lnTo>
                        <a:pt x="107" y="0"/>
                      </a:lnTo>
                      <a:lnTo>
                        <a:pt x="78" y="19"/>
                      </a:lnTo>
                      <a:lnTo>
                        <a:pt x="49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8" name="Freeform 87"/>
                <p:cNvSpPr>
                  <a:spLocks/>
                </p:cNvSpPr>
                <p:nvPr/>
              </p:nvSpPr>
              <p:spPr bwMode="auto">
                <a:xfrm>
                  <a:off x="5709765" y="2678137"/>
                  <a:ext cx="188230" cy="236175"/>
                </a:xfrm>
                <a:custGeom>
                  <a:avLst/>
                  <a:gdLst>
                    <a:gd name="T0" fmla="*/ 188230 w 251"/>
                    <a:gd name="T1" fmla="*/ 72041 h 318"/>
                    <a:gd name="T2" fmla="*/ 168732 w 251"/>
                    <a:gd name="T3" fmla="*/ 54959 h 318"/>
                    <a:gd name="T4" fmla="*/ 149984 w 251"/>
                    <a:gd name="T5" fmla="*/ 37134 h 318"/>
                    <a:gd name="T6" fmla="*/ 129736 w 251"/>
                    <a:gd name="T7" fmla="*/ 28965 h 318"/>
                    <a:gd name="T8" fmla="*/ 107989 w 251"/>
                    <a:gd name="T9" fmla="*/ 20053 h 318"/>
                    <a:gd name="T10" fmla="*/ 94490 w 251"/>
                    <a:gd name="T11" fmla="*/ 0 h 318"/>
                    <a:gd name="T12" fmla="*/ 87741 w 251"/>
                    <a:gd name="T13" fmla="*/ 5942 h 318"/>
                    <a:gd name="T14" fmla="*/ 84741 w 251"/>
                    <a:gd name="T15" fmla="*/ 0 h 318"/>
                    <a:gd name="T16" fmla="*/ 89241 w 251"/>
                    <a:gd name="T17" fmla="*/ 24509 h 318"/>
                    <a:gd name="T18" fmla="*/ 77242 w 251"/>
                    <a:gd name="T19" fmla="*/ 30450 h 318"/>
                    <a:gd name="T20" fmla="*/ 71242 w 251"/>
                    <a:gd name="T21" fmla="*/ 63129 h 318"/>
                    <a:gd name="T22" fmla="*/ 86241 w 251"/>
                    <a:gd name="T23" fmla="*/ 83181 h 318"/>
                    <a:gd name="T24" fmla="*/ 80241 w 251"/>
                    <a:gd name="T25" fmla="*/ 112146 h 318"/>
                    <a:gd name="T26" fmla="*/ 74242 w 251"/>
                    <a:gd name="T27" fmla="*/ 139625 h 318"/>
                    <a:gd name="T28" fmla="*/ 55494 w 251"/>
                    <a:gd name="T29" fmla="*/ 147052 h 318"/>
                    <a:gd name="T30" fmla="*/ 38246 w 251"/>
                    <a:gd name="T31" fmla="*/ 153737 h 318"/>
                    <a:gd name="T32" fmla="*/ 20998 w 251"/>
                    <a:gd name="T33" fmla="*/ 161163 h 318"/>
                    <a:gd name="T34" fmla="*/ 1500 w 251"/>
                    <a:gd name="T35" fmla="*/ 168590 h 318"/>
                    <a:gd name="T36" fmla="*/ 0 w 251"/>
                    <a:gd name="T37" fmla="*/ 179731 h 318"/>
                    <a:gd name="T38" fmla="*/ 16498 w 251"/>
                    <a:gd name="T39" fmla="*/ 207210 h 318"/>
                    <a:gd name="T40" fmla="*/ 33746 w 251"/>
                    <a:gd name="T41" fmla="*/ 236175 h 318"/>
                    <a:gd name="T42" fmla="*/ 53994 w 251"/>
                    <a:gd name="T43" fmla="*/ 230233 h 318"/>
                    <a:gd name="T44" fmla="*/ 72742 w 251"/>
                    <a:gd name="T45" fmla="*/ 225777 h 318"/>
                    <a:gd name="T46" fmla="*/ 87741 w 251"/>
                    <a:gd name="T47" fmla="*/ 213152 h 318"/>
                    <a:gd name="T48" fmla="*/ 94490 w 251"/>
                    <a:gd name="T49" fmla="*/ 199783 h 318"/>
                    <a:gd name="T50" fmla="*/ 116988 w 251"/>
                    <a:gd name="T51" fmla="*/ 193099 h 318"/>
                    <a:gd name="T52" fmla="*/ 126737 w 251"/>
                    <a:gd name="T53" fmla="*/ 173046 h 318"/>
                    <a:gd name="T54" fmla="*/ 145485 w 251"/>
                    <a:gd name="T55" fmla="*/ 164134 h 318"/>
                    <a:gd name="T56" fmla="*/ 143985 w 251"/>
                    <a:gd name="T57" fmla="*/ 132199 h 318"/>
                    <a:gd name="T58" fmla="*/ 152984 w 251"/>
                    <a:gd name="T59" fmla="*/ 127000 h 318"/>
                    <a:gd name="T60" fmla="*/ 160483 w 251"/>
                    <a:gd name="T61" fmla="*/ 125514 h 318"/>
                    <a:gd name="T62" fmla="*/ 173232 w 251"/>
                    <a:gd name="T63" fmla="*/ 98035 h 318"/>
                    <a:gd name="T64" fmla="*/ 188230 w 251"/>
                    <a:gd name="T65" fmla="*/ 72041 h 31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51"/>
                    <a:gd name="T100" fmla="*/ 0 h 318"/>
                    <a:gd name="T101" fmla="*/ 251 w 251"/>
                    <a:gd name="T102" fmla="*/ 318 h 31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51" h="318">
                      <a:moveTo>
                        <a:pt x="251" y="97"/>
                      </a:moveTo>
                      <a:lnTo>
                        <a:pt x="225" y="74"/>
                      </a:lnTo>
                      <a:lnTo>
                        <a:pt x="200" y="50"/>
                      </a:lnTo>
                      <a:lnTo>
                        <a:pt x="173" y="39"/>
                      </a:lnTo>
                      <a:lnTo>
                        <a:pt x="144" y="27"/>
                      </a:lnTo>
                      <a:lnTo>
                        <a:pt x="126" y="0"/>
                      </a:lnTo>
                      <a:lnTo>
                        <a:pt x="117" y="8"/>
                      </a:lnTo>
                      <a:lnTo>
                        <a:pt x="113" y="0"/>
                      </a:lnTo>
                      <a:lnTo>
                        <a:pt x="119" y="33"/>
                      </a:lnTo>
                      <a:lnTo>
                        <a:pt x="103" y="41"/>
                      </a:lnTo>
                      <a:lnTo>
                        <a:pt x="95" y="85"/>
                      </a:lnTo>
                      <a:lnTo>
                        <a:pt x="115" y="112"/>
                      </a:lnTo>
                      <a:lnTo>
                        <a:pt x="107" y="151"/>
                      </a:lnTo>
                      <a:lnTo>
                        <a:pt x="99" y="188"/>
                      </a:lnTo>
                      <a:lnTo>
                        <a:pt x="74" y="198"/>
                      </a:lnTo>
                      <a:lnTo>
                        <a:pt x="51" y="207"/>
                      </a:lnTo>
                      <a:lnTo>
                        <a:pt x="28" y="217"/>
                      </a:lnTo>
                      <a:lnTo>
                        <a:pt x="2" y="227"/>
                      </a:lnTo>
                      <a:lnTo>
                        <a:pt x="0" y="242"/>
                      </a:lnTo>
                      <a:lnTo>
                        <a:pt x="22" y="279"/>
                      </a:lnTo>
                      <a:lnTo>
                        <a:pt x="45" y="318"/>
                      </a:lnTo>
                      <a:lnTo>
                        <a:pt x="72" y="310"/>
                      </a:lnTo>
                      <a:lnTo>
                        <a:pt x="97" y="304"/>
                      </a:lnTo>
                      <a:lnTo>
                        <a:pt x="117" y="287"/>
                      </a:lnTo>
                      <a:lnTo>
                        <a:pt x="126" y="269"/>
                      </a:lnTo>
                      <a:lnTo>
                        <a:pt x="156" y="260"/>
                      </a:lnTo>
                      <a:lnTo>
                        <a:pt x="169" y="233"/>
                      </a:lnTo>
                      <a:lnTo>
                        <a:pt x="194" y="221"/>
                      </a:lnTo>
                      <a:lnTo>
                        <a:pt x="192" y="178"/>
                      </a:lnTo>
                      <a:lnTo>
                        <a:pt x="204" y="171"/>
                      </a:lnTo>
                      <a:lnTo>
                        <a:pt x="214" y="169"/>
                      </a:lnTo>
                      <a:lnTo>
                        <a:pt x="231" y="132"/>
                      </a:lnTo>
                      <a:lnTo>
                        <a:pt x="251" y="9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99" name="Freeform 88"/>
                <p:cNvSpPr>
                  <a:spLocks/>
                </p:cNvSpPr>
                <p:nvPr/>
              </p:nvSpPr>
              <p:spPr bwMode="auto">
                <a:xfrm>
                  <a:off x="5796777" y="2642622"/>
                  <a:ext cx="7103" cy="10655"/>
                </a:xfrm>
                <a:custGeom>
                  <a:avLst/>
                  <a:gdLst>
                    <a:gd name="T0" fmla="*/ 7103 w 10"/>
                    <a:gd name="T1" fmla="*/ 0 h 20"/>
                    <a:gd name="T2" fmla="*/ 0 w 10"/>
                    <a:gd name="T3" fmla="*/ 7458 h 20"/>
                    <a:gd name="T4" fmla="*/ 7103 w 10"/>
                    <a:gd name="T5" fmla="*/ 10655 h 20"/>
                    <a:gd name="T6" fmla="*/ 7103 w 10"/>
                    <a:gd name="T7" fmla="*/ 0 h 2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20"/>
                    <a:gd name="T14" fmla="*/ 10 w 10"/>
                    <a:gd name="T15" fmla="*/ 20 h 2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20">
                      <a:moveTo>
                        <a:pt x="10" y="0"/>
                      </a:moveTo>
                      <a:lnTo>
                        <a:pt x="0" y="14"/>
                      </a:lnTo>
                      <a:lnTo>
                        <a:pt x="10" y="20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0" name="Freeform 89"/>
                <p:cNvSpPr>
                  <a:spLocks/>
                </p:cNvSpPr>
                <p:nvPr/>
              </p:nvSpPr>
              <p:spPr bwMode="auto">
                <a:xfrm>
                  <a:off x="5240967" y="2475701"/>
                  <a:ext cx="555810" cy="468799"/>
                </a:xfrm>
                <a:custGeom>
                  <a:avLst/>
                  <a:gdLst>
                    <a:gd name="T0" fmla="*/ 124822 w 708"/>
                    <a:gd name="T1" fmla="*/ 283356 h 632"/>
                    <a:gd name="T2" fmla="*/ 106766 w 708"/>
                    <a:gd name="T3" fmla="*/ 238850 h 632"/>
                    <a:gd name="T4" fmla="*/ 73009 w 708"/>
                    <a:gd name="T5" fmla="*/ 211405 h 632"/>
                    <a:gd name="T6" fmla="*/ 33757 w 708"/>
                    <a:gd name="T7" fmla="*/ 149096 h 632"/>
                    <a:gd name="T8" fmla="*/ 0 w 708"/>
                    <a:gd name="T9" fmla="*/ 114974 h 632"/>
                    <a:gd name="T10" fmla="*/ 33757 w 708"/>
                    <a:gd name="T11" fmla="*/ 86045 h 632"/>
                    <a:gd name="T12" fmla="*/ 67514 w 708"/>
                    <a:gd name="T13" fmla="*/ 63050 h 632"/>
                    <a:gd name="T14" fmla="*/ 50243 w 708"/>
                    <a:gd name="T15" fmla="*/ 21511 h 632"/>
                    <a:gd name="T16" fmla="*/ 105196 w 708"/>
                    <a:gd name="T17" fmla="*/ 0 h 632"/>
                    <a:gd name="T18" fmla="*/ 153868 w 708"/>
                    <a:gd name="T19" fmla="*/ 21511 h 632"/>
                    <a:gd name="T20" fmla="*/ 204111 w 708"/>
                    <a:gd name="T21" fmla="*/ 43023 h 632"/>
                    <a:gd name="T22" fmla="*/ 252784 w 708"/>
                    <a:gd name="T23" fmla="*/ 86045 h 632"/>
                    <a:gd name="T24" fmla="*/ 322652 w 708"/>
                    <a:gd name="T25" fmla="*/ 91980 h 632"/>
                    <a:gd name="T26" fmla="*/ 348559 w 708"/>
                    <a:gd name="T27" fmla="*/ 104590 h 632"/>
                    <a:gd name="T28" fmla="*/ 374465 w 708"/>
                    <a:gd name="T29" fmla="*/ 135002 h 632"/>
                    <a:gd name="T30" fmla="*/ 400372 w 708"/>
                    <a:gd name="T31" fmla="*/ 173574 h 632"/>
                    <a:gd name="T32" fmla="*/ 423138 w 708"/>
                    <a:gd name="T33" fmla="*/ 211405 h 632"/>
                    <a:gd name="T34" fmla="*/ 434128 w 708"/>
                    <a:gd name="T35" fmla="*/ 215855 h 632"/>
                    <a:gd name="T36" fmla="*/ 438839 w 708"/>
                    <a:gd name="T37" fmla="*/ 224015 h 632"/>
                    <a:gd name="T38" fmla="*/ 440409 w 708"/>
                    <a:gd name="T39" fmla="*/ 229949 h 632"/>
                    <a:gd name="T40" fmla="*/ 458465 w 708"/>
                    <a:gd name="T41" fmla="*/ 261845 h 632"/>
                    <a:gd name="T42" fmla="*/ 536184 w 708"/>
                    <a:gd name="T43" fmla="*/ 274455 h 632"/>
                    <a:gd name="T44" fmla="*/ 555810 w 708"/>
                    <a:gd name="T45" fmla="*/ 288549 h 632"/>
                    <a:gd name="T46" fmla="*/ 543249 w 708"/>
                    <a:gd name="T47" fmla="*/ 344923 h 632"/>
                    <a:gd name="T48" fmla="*/ 505567 w 708"/>
                    <a:gd name="T49" fmla="*/ 359017 h 632"/>
                    <a:gd name="T50" fmla="*/ 467100 w 708"/>
                    <a:gd name="T51" fmla="*/ 373852 h 632"/>
                    <a:gd name="T52" fmla="*/ 426278 w 708"/>
                    <a:gd name="T53" fmla="*/ 383495 h 632"/>
                    <a:gd name="T54" fmla="*/ 385456 w 708"/>
                    <a:gd name="T55" fmla="*/ 393880 h 632"/>
                    <a:gd name="T56" fmla="*/ 356409 w 708"/>
                    <a:gd name="T57" fmla="*/ 430969 h 632"/>
                    <a:gd name="T58" fmla="*/ 327363 w 708"/>
                    <a:gd name="T59" fmla="*/ 468799 h 632"/>
                    <a:gd name="T60" fmla="*/ 299886 w 708"/>
                    <a:gd name="T61" fmla="*/ 429485 h 632"/>
                    <a:gd name="T62" fmla="*/ 246503 w 708"/>
                    <a:gd name="T63" fmla="*/ 416875 h 632"/>
                    <a:gd name="T64" fmla="*/ 233158 w 708"/>
                    <a:gd name="T65" fmla="*/ 448771 h 632"/>
                    <a:gd name="T66" fmla="*/ 207251 w 708"/>
                    <a:gd name="T67" fmla="*/ 406490 h 632"/>
                    <a:gd name="T68" fmla="*/ 164859 w 708"/>
                    <a:gd name="T69" fmla="*/ 343440 h 63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708"/>
                    <a:gd name="T106" fmla="*/ 0 h 632"/>
                    <a:gd name="T107" fmla="*/ 708 w 708"/>
                    <a:gd name="T108" fmla="*/ 632 h 63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708" h="632">
                      <a:moveTo>
                        <a:pt x="173" y="432"/>
                      </a:moveTo>
                      <a:lnTo>
                        <a:pt x="159" y="382"/>
                      </a:lnTo>
                      <a:lnTo>
                        <a:pt x="148" y="353"/>
                      </a:lnTo>
                      <a:lnTo>
                        <a:pt x="136" y="322"/>
                      </a:lnTo>
                      <a:lnTo>
                        <a:pt x="115" y="304"/>
                      </a:lnTo>
                      <a:lnTo>
                        <a:pt x="93" y="285"/>
                      </a:lnTo>
                      <a:lnTo>
                        <a:pt x="76" y="246"/>
                      </a:lnTo>
                      <a:lnTo>
                        <a:pt x="43" y="201"/>
                      </a:lnTo>
                      <a:lnTo>
                        <a:pt x="10" y="157"/>
                      </a:lnTo>
                      <a:lnTo>
                        <a:pt x="0" y="155"/>
                      </a:lnTo>
                      <a:lnTo>
                        <a:pt x="6" y="110"/>
                      </a:lnTo>
                      <a:lnTo>
                        <a:pt x="43" y="116"/>
                      </a:lnTo>
                      <a:lnTo>
                        <a:pt x="62" y="91"/>
                      </a:lnTo>
                      <a:lnTo>
                        <a:pt x="86" y="85"/>
                      </a:lnTo>
                      <a:lnTo>
                        <a:pt x="99" y="66"/>
                      </a:lnTo>
                      <a:lnTo>
                        <a:pt x="64" y="29"/>
                      </a:lnTo>
                      <a:lnTo>
                        <a:pt x="99" y="13"/>
                      </a:lnTo>
                      <a:lnTo>
                        <a:pt x="134" y="0"/>
                      </a:lnTo>
                      <a:lnTo>
                        <a:pt x="165" y="15"/>
                      </a:lnTo>
                      <a:lnTo>
                        <a:pt x="196" y="29"/>
                      </a:lnTo>
                      <a:lnTo>
                        <a:pt x="227" y="42"/>
                      </a:lnTo>
                      <a:lnTo>
                        <a:pt x="260" y="58"/>
                      </a:lnTo>
                      <a:lnTo>
                        <a:pt x="289" y="85"/>
                      </a:lnTo>
                      <a:lnTo>
                        <a:pt x="322" y="116"/>
                      </a:lnTo>
                      <a:lnTo>
                        <a:pt x="382" y="120"/>
                      </a:lnTo>
                      <a:lnTo>
                        <a:pt x="411" y="124"/>
                      </a:lnTo>
                      <a:lnTo>
                        <a:pt x="417" y="135"/>
                      </a:lnTo>
                      <a:lnTo>
                        <a:pt x="444" y="141"/>
                      </a:lnTo>
                      <a:lnTo>
                        <a:pt x="464" y="170"/>
                      </a:lnTo>
                      <a:lnTo>
                        <a:pt x="477" y="182"/>
                      </a:lnTo>
                      <a:lnTo>
                        <a:pt x="508" y="211"/>
                      </a:lnTo>
                      <a:lnTo>
                        <a:pt x="510" y="234"/>
                      </a:lnTo>
                      <a:lnTo>
                        <a:pt x="526" y="259"/>
                      </a:lnTo>
                      <a:lnTo>
                        <a:pt x="539" y="285"/>
                      </a:lnTo>
                      <a:lnTo>
                        <a:pt x="549" y="292"/>
                      </a:lnTo>
                      <a:lnTo>
                        <a:pt x="553" y="291"/>
                      </a:lnTo>
                      <a:lnTo>
                        <a:pt x="559" y="291"/>
                      </a:lnTo>
                      <a:lnTo>
                        <a:pt x="559" y="302"/>
                      </a:lnTo>
                      <a:lnTo>
                        <a:pt x="562" y="304"/>
                      </a:lnTo>
                      <a:lnTo>
                        <a:pt x="561" y="310"/>
                      </a:lnTo>
                      <a:lnTo>
                        <a:pt x="572" y="320"/>
                      </a:lnTo>
                      <a:lnTo>
                        <a:pt x="584" y="353"/>
                      </a:lnTo>
                      <a:lnTo>
                        <a:pt x="634" y="360"/>
                      </a:lnTo>
                      <a:lnTo>
                        <a:pt x="683" y="370"/>
                      </a:lnTo>
                      <a:lnTo>
                        <a:pt x="688" y="362"/>
                      </a:lnTo>
                      <a:lnTo>
                        <a:pt x="708" y="389"/>
                      </a:lnTo>
                      <a:lnTo>
                        <a:pt x="700" y="428"/>
                      </a:lnTo>
                      <a:lnTo>
                        <a:pt x="692" y="465"/>
                      </a:lnTo>
                      <a:lnTo>
                        <a:pt x="667" y="475"/>
                      </a:lnTo>
                      <a:lnTo>
                        <a:pt x="644" y="484"/>
                      </a:lnTo>
                      <a:lnTo>
                        <a:pt x="621" y="494"/>
                      </a:lnTo>
                      <a:lnTo>
                        <a:pt x="595" y="504"/>
                      </a:lnTo>
                      <a:lnTo>
                        <a:pt x="570" y="512"/>
                      </a:lnTo>
                      <a:lnTo>
                        <a:pt x="543" y="517"/>
                      </a:lnTo>
                      <a:lnTo>
                        <a:pt x="516" y="525"/>
                      </a:lnTo>
                      <a:lnTo>
                        <a:pt x="491" y="531"/>
                      </a:lnTo>
                      <a:lnTo>
                        <a:pt x="471" y="556"/>
                      </a:lnTo>
                      <a:lnTo>
                        <a:pt x="454" y="581"/>
                      </a:lnTo>
                      <a:lnTo>
                        <a:pt x="435" y="607"/>
                      </a:lnTo>
                      <a:lnTo>
                        <a:pt x="417" y="632"/>
                      </a:lnTo>
                      <a:lnTo>
                        <a:pt x="413" y="593"/>
                      </a:lnTo>
                      <a:lnTo>
                        <a:pt x="382" y="579"/>
                      </a:lnTo>
                      <a:lnTo>
                        <a:pt x="351" y="566"/>
                      </a:lnTo>
                      <a:lnTo>
                        <a:pt x="314" y="562"/>
                      </a:lnTo>
                      <a:lnTo>
                        <a:pt x="309" y="593"/>
                      </a:lnTo>
                      <a:lnTo>
                        <a:pt x="297" y="605"/>
                      </a:lnTo>
                      <a:lnTo>
                        <a:pt x="279" y="576"/>
                      </a:lnTo>
                      <a:lnTo>
                        <a:pt x="264" y="548"/>
                      </a:lnTo>
                      <a:lnTo>
                        <a:pt x="237" y="506"/>
                      </a:lnTo>
                      <a:lnTo>
                        <a:pt x="210" y="463"/>
                      </a:lnTo>
                      <a:lnTo>
                        <a:pt x="173" y="43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1" name="Freeform 90"/>
                <p:cNvSpPr>
                  <a:spLocks/>
                </p:cNvSpPr>
                <p:nvPr/>
              </p:nvSpPr>
              <p:spPr bwMode="auto">
                <a:xfrm>
                  <a:off x="5681353" y="2653276"/>
                  <a:ext cx="129630" cy="95891"/>
                </a:xfrm>
                <a:custGeom>
                  <a:avLst/>
                  <a:gdLst>
                    <a:gd name="T0" fmla="*/ 0 w 158"/>
                    <a:gd name="T1" fmla="*/ 50942 h 128"/>
                    <a:gd name="T2" fmla="*/ 9025 w 158"/>
                    <a:gd name="T3" fmla="*/ 58434 h 128"/>
                    <a:gd name="T4" fmla="*/ 18870 w 158"/>
                    <a:gd name="T5" fmla="*/ 83155 h 128"/>
                    <a:gd name="T6" fmla="*/ 59892 w 158"/>
                    <a:gd name="T7" fmla="*/ 88399 h 128"/>
                    <a:gd name="T8" fmla="*/ 100094 w 158"/>
                    <a:gd name="T9" fmla="*/ 95891 h 128"/>
                    <a:gd name="T10" fmla="*/ 104196 w 158"/>
                    <a:gd name="T11" fmla="*/ 89898 h 128"/>
                    <a:gd name="T12" fmla="*/ 110760 w 158"/>
                    <a:gd name="T13" fmla="*/ 56935 h 128"/>
                    <a:gd name="T14" fmla="*/ 123887 w 158"/>
                    <a:gd name="T15" fmla="*/ 50942 h 128"/>
                    <a:gd name="T16" fmla="*/ 118964 w 158"/>
                    <a:gd name="T17" fmla="*/ 26220 h 128"/>
                    <a:gd name="T18" fmla="*/ 122246 w 158"/>
                    <a:gd name="T19" fmla="*/ 32213 h 128"/>
                    <a:gd name="T20" fmla="*/ 129630 w 158"/>
                    <a:gd name="T21" fmla="*/ 26220 h 128"/>
                    <a:gd name="T22" fmla="*/ 125528 w 158"/>
                    <a:gd name="T23" fmla="*/ 4495 h 128"/>
                    <a:gd name="T24" fmla="*/ 117323 w 158"/>
                    <a:gd name="T25" fmla="*/ 0 h 128"/>
                    <a:gd name="T26" fmla="*/ 93530 w 158"/>
                    <a:gd name="T27" fmla="*/ 24722 h 128"/>
                    <a:gd name="T28" fmla="*/ 68097 w 158"/>
                    <a:gd name="T29" fmla="*/ 50942 h 128"/>
                    <a:gd name="T30" fmla="*/ 25434 w 158"/>
                    <a:gd name="T31" fmla="*/ 52440 h 128"/>
                    <a:gd name="T32" fmla="*/ 9025 w 158"/>
                    <a:gd name="T33" fmla="*/ 50942 h 128"/>
                    <a:gd name="T34" fmla="*/ 820 w 158"/>
                    <a:gd name="T35" fmla="*/ 46447 h 128"/>
                    <a:gd name="T36" fmla="*/ 0 w 158"/>
                    <a:gd name="T37" fmla="*/ 50942 h 12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58"/>
                    <a:gd name="T58" fmla="*/ 0 h 128"/>
                    <a:gd name="T59" fmla="*/ 158 w 158"/>
                    <a:gd name="T60" fmla="*/ 128 h 12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58" h="128">
                      <a:moveTo>
                        <a:pt x="0" y="68"/>
                      </a:moveTo>
                      <a:lnTo>
                        <a:pt x="11" y="78"/>
                      </a:lnTo>
                      <a:lnTo>
                        <a:pt x="23" y="111"/>
                      </a:lnTo>
                      <a:lnTo>
                        <a:pt x="73" y="118"/>
                      </a:lnTo>
                      <a:lnTo>
                        <a:pt x="122" y="128"/>
                      </a:lnTo>
                      <a:lnTo>
                        <a:pt x="127" y="120"/>
                      </a:lnTo>
                      <a:lnTo>
                        <a:pt x="135" y="76"/>
                      </a:lnTo>
                      <a:lnTo>
                        <a:pt x="151" y="68"/>
                      </a:lnTo>
                      <a:lnTo>
                        <a:pt x="145" y="35"/>
                      </a:lnTo>
                      <a:lnTo>
                        <a:pt x="149" y="43"/>
                      </a:lnTo>
                      <a:lnTo>
                        <a:pt x="158" y="35"/>
                      </a:lnTo>
                      <a:lnTo>
                        <a:pt x="153" y="6"/>
                      </a:lnTo>
                      <a:lnTo>
                        <a:pt x="143" y="0"/>
                      </a:lnTo>
                      <a:lnTo>
                        <a:pt x="114" y="33"/>
                      </a:lnTo>
                      <a:lnTo>
                        <a:pt x="83" y="68"/>
                      </a:lnTo>
                      <a:lnTo>
                        <a:pt x="31" y="70"/>
                      </a:lnTo>
                      <a:lnTo>
                        <a:pt x="11" y="68"/>
                      </a:lnTo>
                      <a:lnTo>
                        <a:pt x="1" y="62"/>
                      </a:lnTo>
                      <a:lnTo>
                        <a:pt x="0" y="6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2" name="Freeform 91"/>
                <p:cNvSpPr>
                  <a:spLocks/>
                </p:cNvSpPr>
                <p:nvPr/>
              </p:nvSpPr>
              <p:spPr bwMode="auto">
                <a:xfrm>
                  <a:off x="5471815" y="2848609"/>
                  <a:ext cx="273466" cy="177575"/>
                </a:xfrm>
                <a:custGeom>
                  <a:avLst/>
                  <a:gdLst>
                    <a:gd name="T0" fmla="*/ 9623 w 341"/>
                    <a:gd name="T1" fmla="*/ 65851 h 240"/>
                    <a:gd name="T2" fmla="*/ 0 w 341"/>
                    <a:gd name="T3" fmla="*/ 74729 h 240"/>
                    <a:gd name="T4" fmla="*/ 0 w 341"/>
                    <a:gd name="T5" fmla="*/ 107285 h 240"/>
                    <a:gd name="T6" fmla="*/ 10425 w 341"/>
                    <a:gd name="T7" fmla="*/ 142060 h 240"/>
                    <a:gd name="T8" fmla="*/ 23257 w 341"/>
                    <a:gd name="T9" fmla="*/ 177575 h 240"/>
                    <a:gd name="T10" fmla="*/ 57741 w 341"/>
                    <a:gd name="T11" fmla="*/ 174615 h 240"/>
                    <a:gd name="T12" fmla="*/ 91423 w 341"/>
                    <a:gd name="T13" fmla="*/ 157598 h 240"/>
                    <a:gd name="T14" fmla="*/ 119491 w 341"/>
                    <a:gd name="T15" fmla="*/ 148719 h 240"/>
                    <a:gd name="T16" fmla="*/ 147559 w 341"/>
                    <a:gd name="T17" fmla="*/ 140580 h 240"/>
                    <a:gd name="T18" fmla="*/ 167608 w 341"/>
                    <a:gd name="T19" fmla="*/ 131701 h 240"/>
                    <a:gd name="T20" fmla="*/ 187657 w 341"/>
                    <a:gd name="T21" fmla="*/ 123563 h 240"/>
                    <a:gd name="T22" fmla="*/ 208508 w 341"/>
                    <a:gd name="T23" fmla="*/ 114684 h 240"/>
                    <a:gd name="T24" fmla="*/ 228557 w 341"/>
                    <a:gd name="T25" fmla="*/ 104325 h 240"/>
                    <a:gd name="T26" fmla="*/ 248605 w 341"/>
                    <a:gd name="T27" fmla="*/ 96186 h 240"/>
                    <a:gd name="T28" fmla="*/ 250209 w 341"/>
                    <a:gd name="T29" fmla="*/ 84348 h 240"/>
                    <a:gd name="T30" fmla="*/ 273466 w 341"/>
                    <a:gd name="T31" fmla="*/ 67331 h 240"/>
                    <a:gd name="T32" fmla="*/ 255021 w 341"/>
                    <a:gd name="T33" fmla="*/ 38475 h 240"/>
                    <a:gd name="T34" fmla="*/ 237378 w 341"/>
                    <a:gd name="T35" fmla="*/ 11098 h 240"/>
                    <a:gd name="T36" fmla="*/ 238982 w 341"/>
                    <a:gd name="T37" fmla="*/ 0 h 240"/>
                    <a:gd name="T38" fmla="*/ 218933 w 341"/>
                    <a:gd name="T39" fmla="*/ 5919 h 240"/>
                    <a:gd name="T40" fmla="*/ 197280 w 341"/>
                    <a:gd name="T41" fmla="*/ 9619 h 240"/>
                    <a:gd name="T42" fmla="*/ 175628 w 341"/>
                    <a:gd name="T43" fmla="*/ 15538 h 240"/>
                    <a:gd name="T44" fmla="*/ 155579 w 341"/>
                    <a:gd name="T45" fmla="*/ 19977 h 240"/>
                    <a:gd name="T46" fmla="*/ 139540 w 341"/>
                    <a:gd name="T47" fmla="*/ 38475 h 240"/>
                    <a:gd name="T48" fmla="*/ 125907 w 341"/>
                    <a:gd name="T49" fmla="*/ 56972 h 240"/>
                    <a:gd name="T50" fmla="*/ 110670 w 341"/>
                    <a:gd name="T51" fmla="*/ 76209 h 240"/>
                    <a:gd name="T52" fmla="*/ 96234 w 341"/>
                    <a:gd name="T53" fmla="*/ 94707 h 240"/>
                    <a:gd name="T54" fmla="*/ 93027 w 341"/>
                    <a:gd name="T55" fmla="*/ 65851 h 240"/>
                    <a:gd name="T56" fmla="*/ 68166 w 341"/>
                    <a:gd name="T57" fmla="*/ 55492 h 240"/>
                    <a:gd name="T58" fmla="*/ 43305 w 341"/>
                    <a:gd name="T59" fmla="*/ 45874 h 240"/>
                    <a:gd name="T60" fmla="*/ 13633 w 341"/>
                    <a:gd name="T61" fmla="*/ 42914 h 240"/>
                    <a:gd name="T62" fmla="*/ 9623 w 341"/>
                    <a:gd name="T63" fmla="*/ 65851 h 24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41"/>
                    <a:gd name="T97" fmla="*/ 0 h 240"/>
                    <a:gd name="T98" fmla="*/ 341 w 341"/>
                    <a:gd name="T99" fmla="*/ 240 h 24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41" h="240">
                      <a:moveTo>
                        <a:pt x="12" y="89"/>
                      </a:moveTo>
                      <a:lnTo>
                        <a:pt x="0" y="101"/>
                      </a:lnTo>
                      <a:lnTo>
                        <a:pt x="0" y="145"/>
                      </a:lnTo>
                      <a:lnTo>
                        <a:pt x="13" y="192"/>
                      </a:lnTo>
                      <a:lnTo>
                        <a:pt x="29" y="240"/>
                      </a:lnTo>
                      <a:lnTo>
                        <a:pt x="72" y="236"/>
                      </a:lnTo>
                      <a:lnTo>
                        <a:pt x="114" y="213"/>
                      </a:lnTo>
                      <a:lnTo>
                        <a:pt x="149" y="201"/>
                      </a:lnTo>
                      <a:lnTo>
                        <a:pt x="184" y="190"/>
                      </a:lnTo>
                      <a:lnTo>
                        <a:pt x="209" y="178"/>
                      </a:lnTo>
                      <a:lnTo>
                        <a:pt x="234" y="167"/>
                      </a:lnTo>
                      <a:lnTo>
                        <a:pt x="260" y="155"/>
                      </a:lnTo>
                      <a:lnTo>
                        <a:pt x="285" y="141"/>
                      </a:lnTo>
                      <a:lnTo>
                        <a:pt x="310" y="130"/>
                      </a:lnTo>
                      <a:lnTo>
                        <a:pt x="312" y="114"/>
                      </a:lnTo>
                      <a:lnTo>
                        <a:pt x="341" y="91"/>
                      </a:lnTo>
                      <a:lnTo>
                        <a:pt x="318" y="52"/>
                      </a:lnTo>
                      <a:lnTo>
                        <a:pt x="296" y="15"/>
                      </a:lnTo>
                      <a:lnTo>
                        <a:pt x="298" y="0"/>
                      </a:lnTo>
                      <a:lnTo>
                        <a:pt x="273" y="8"/>
                      </a:lnTo>
                      <a:lnTo>
                        <a:pt x="246" y="13"/>
                      </a:lnTo>
                      <a:lnTo>
                        <a:pt x="219" y="21"/>
                      </a:lnTo>
                      <a:lnTo>
                        <a:pt x="194" y="27"/>
                      </a:lnTo>
                      <a:lnTo>
                        <a:pt x="174" y="52"/>
                      </a:lnTo>
                      <a:lnTo>
                        <a:pt x="157" y="77"/>
                      </a:lnTo>
                      <a:lnTo>
                        <a:pt x="138" y="103"/>
                      </a:lnTo>
                      <a:lnTo>
                        <a:pt x="120" y="128"/>
                      </a:lnTo>
                      <a:lnTo>
                        <a:pt x="116" y="89"/>
                      </a:lnTo>
                      <a:lnTo>
                        <a:pt x="85" y="75"/>
                      </a:lnTo>
                      <a:lnTo>
                        <a:pt x="54" y="62"/>
                      </a:lnTo>
                      <a:lnTo>
                        <a:pt x="17" y="58"/>
                      </a:lnTo>
                      <a:lnTo>
                        <a:pt x="12" y="8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3" name="Freeform 92"/>
                <p:cNvSpPr>
                  <a:spLocks/>
                </p:cNvSpPr>
                <p:nvPr/>
              </p:nvSpPr>
              <p:spPr bwMode="auto">
                <a:xfrm>
                  <a:off x="6453805" y="3109645"/>
                  <a:ext cx="56824" cy="111873"/>
                </a:xfrm>
                <a:custGeom>
                  <a:avLst/>
                  <a:gdLst>
                    <a:gd name="T0" fmla="*/ 13822 w 74"/>
                    <a:gd name="T1" fmla="*/ 4566 h 147"/>
                    <a:gd name="T2" fmla="*/ 23805 w 74"/>
                    <a:gd name="T3" fmla="*/ 19026 h 147"/>
                    <a:gd name="T4" fmla="*/ 36091 w 74"/>
                    <a:gd name="T5" fmla="*/ 38052 h 147"/>
                    <a:gd name="T6" fmla="*/ 46074 w 74"/>
                    <a:gd name="T7" fmla="*/ 60122 h 147"/>
                    <a:gd name="T8" fmla="*/ 56824 w 74"/>
                    <a:gd name="T9" fmla="*/ 82192 h 147"/>
                    <a:gd name="T10" fmla="*/ 43002 w 74"/>
                    <a:gd name="T11" fmla="*/ 104263 h 147"/>
                    <a:gd name="T12" fmla="*/ 17662 w 74"/>
                    <a:gd name="T13" fmla="*/ 111873 h 147"/>
                    <a:gd name="T14" fmla="*/ 3072 w 74"/>
                    <a:gd name="T15" fmla="*/ 73821 h 147"/>
                    <a:gd name="T16" fmla="*/ 0 w 74"/>
                    <a:gd name="T17" fmla="*/ 47185 h 147"/>
                    <a:gd name="T18" fmla="*/ 3072 w 74"/>
                    <a:gd name="T19" fmla="*/ 48707 h 147"/>
                    <a:gd name="T20" fmla="*/ 6143 w 74"/>
                    <a:gd name="T21" fmla="*/ 28159 h 147"/>
                    <a:gd name="T22" fmla="*/ 9215 w 74"/>
                    <a:gd name="T23" fmla="*/ 8371 h 147"/>
                    <a:gd name="T24" fmla="*/ 10750 w 74"/>
                    <a:gd name="T25" fmla="*/ 6088 h 147"/>
                    <a:gd name="T26" fmla="*/ 4607 w 74"/>
                    <a:gd name="T27" fmla="*/ 0 h 147"/>
                    <a:gd name="T28" fmla="*/ 13822 w 74"/>
                    <a:gd name="T29" fmla="*/ 4566 h 14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4"/>
                    <a:gd name="T46" fmla="*/ 0 h 147"/>
                    <a:gd name="T47" fmla="*/ 74 w 74"/>
                    <a:gd name="T48" fmla="*/ 147 h 14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4" h="147">
                      <a:moveTo>
                        <a:pt x="18" y="6"/>
                      </a:moveTo>
                      <a:lnTo>
                        <a:pt x="31" y="25"/>
                      </a:lnTo>
                      <a:lnTo>
                        <a:pt x="47" y="50"/>
                      </a:lnTo>
                      <a:lnTo>
                        <a:pt x="60" y="79"/>
                      </a:lnTo>
                      <a:lnTo>
                        <a:pt x="74" y="108"/>
                      </a:lnTo>
                      <a:lnTo>
                        <a:pt x="56" y="137"/>
                      </a:lnTo>
                      <a:lnTo>
                        <a:pt x="23" y="147"/>
                      </a:lnTo>
                      <a:lnTo>
                        <a:pt x="4" y="97"/>
                      </a:lnTo>
                      <a:lnTo>
                        <a:pt x="0" y="62"/>
                      </a:lnTo>
                      <a:lnTo>
                        <a:pt x="4" y="64"/>
                      </a:lnTo>
                      <a:lnTo>
                        <a:pt x="8" y="37"/>
                      </a:lnTo>
                      <a:lnTo>
                        <a:pt x="12" y="11"/>
                      </a:lnTo>
                      <a:lnTo>
                        <a:pt x="14" y="8"/>
                      </a:lnTo>
                      <a:lnTo>
                        <a:pt x="6" y="0"/>
                      </a:lnTo>
                      <a:lnTo>
                        <a:pt x="18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4" name="Freeform 93"/>
                <p:cNvSpPr>
                  <a:spLocks/>
                </p:cNvSpPr>
                <p:nvPr/>
              </p:nvSpPr>
              <p:spPr bwMode="auto">
                <a:xfrm>
                  <a:off x="5125543" y="3416851"/>
                  <a:ext cx="49721" cy="47945"/>
                </a:xfrm>
                <a:custGeom>
                  <a:avLst/>
                  <a:gdLst>
                    <a:gd name="T0" fmla="*/ 17327 w 66"/>
                    <a:gd name="T1" fmla="*/ 8506 h 62"/>
                    <a:gd name="T2" fmla="*/ 6027 w 66"/>
                    <a:gd name="T3" fmla="*/ 29386 h 62"/>
                    <a:gd name="T4" fmla="*/ 0 w 66"/>
                    <a:gd name="T5" fmla="*/ 47945 h 62"/>
                    <a:gd name="T6" fmla="*/ 1507 w 66"/>
                    <a:gd name="T7" fmla="*/ 47945 h 62"/>
                    <a:gd name="T8" fmla="*/ 3013 w 66"/>
                    <a:gd name="T9" fmla="*/ 47945 h 62"/>
                    <a:gd name="T10" fmla="*/ 24861 w 66"/>
                    <a:gd name="T11" fmla="*/ 46398 h 62"/>
                    <a:gd name="T12" fmla="*/ 27874 w 66"/>
                    <a:gd name="T13" fmla="*/ 37119 h 62"/>
                    <a:gd name="T14" fmla="*/ 42188 w 66"/>
                    <a:gd name="T15" fmla="*/ 38665 h 62"/>
                    <a:gd name="T16" fmla="*/ 49721 w 66"/>
                    <a:gd name="T17" fmla="*/ 35572 h 62"/>
                    <a:gd name="T18" fmla="*/ 39927 w 66"/>
                    <a:gd name="T19" fmla="*/ 0 h 62"/>
                    <a:gd name="T20" fmla="*/ 24861 w 66"/>
                    <a:gd name="T21" fmla="*/ 8506 h 62"/>
                    <a:gd name="T22" fmla="*/ 17327 w 66"/>
                    <a:gd name="T23" fmla="*/ 8506 h 6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6"/>
                    <a:gd name="T37" fmla="*/ 0 h 62"/>
                    <a:gd name="T38" fmla="*/ 66 w 66"/>
                    <a:gd name="T39" fmla="*/ 62 h 6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6" h="62">
                      <a:moveTo>
                        <a:pt x="23" y="11"/>
                      </a:moveTo>
                      <a:lnTo>
                        <a:pt x="8" y="38"/>
                      </a:lnTo>
                      <a:lnTo>
                        <a:pt x="0" y="62"/>
                      </a:lnTo>
                      <a:lnTo>
                        <a:pt x="2" y="62"/>
                      </a:lnTo>
                      <a:lnTo>
                        <a:pt x="4" y="62"/>
                      </a:lnTo>
                      <a:lnTo>
                        <a:pt x="33" y="60"/>
                      </a:lnTo>
                      <a:lnTo>
                        <a:pt x="37" y="48"/>
                      </a:lnTo>
                      <a:lnTo>
                        <a:pt x="56" y="50"/>
                      </a:lnTo>
                      <a:lnTo>
                        <a:pt x="66" y="46"/>
                      </a:lnTo>
                      <a:lnTo>
                        <a:pt x="53" y="0"/>
                      </a:lnTo>
                      <a:lnTo>
                        <a:pt x="33" y="11"/>
                      </a:lnTo>
                      <a:lnTo>
                        <a:pt x="23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5" name="Freeform 94"/>
                <p:cNvSpPr>
                  <a:spLocks/>
                </p:cNvSpPr>
                <p:nvPr/>
              </p:nvSpPr>
              <p:spPr bwMode="auto">
                <a:xfrm>
                  <a:off x="6293988" y="3335166"/>
                  <a:ext cx="7103" cy="5327"/>
                </a:xfrm>
                <a:custGeom>
                  <a:avLst/>
                  <a:gdLst>
                    <a:gd name="T0" fmla="*/ 7103 w 3"/>
                    <a:gd name="T1" fmla="*/ 2664 h 4"/>
                    <a:gd name="T2" fmla="*/ 2368 w 3"/>
                    <a:gd name="T3" fmla="*/ 5327 h 4"/>
                    <a:gd name="T4" fmla="*/ 0 w 3"/>
                    <a:gd name="T5" fmla="*/ 2664 h 4"/>
                    <a:gd name="T6" fmla="*/ 2368 w 3"/>
                    <a:gd name="T7" fmla="*/ 0 h 4"/>
                    <a:gd name="T8" fmla="*/ 7103 w 3"/>
                    <a:gd name="T9" fmla="*/ 2664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"/>
                    <a:gd name="T16" fmla="*/ 0 h 4"/>
                    <a:gd name="T17" fmla="*/ 3 w 3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" h="4">
                      <a:moveTo>
                        <a:pt x="3" y="2"/>
                      </a:move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6" name="Freeform 95"/>
                <p:cNvSpPr>
                  <a:spLocks/>
                </p:cNvSpPr>
                <p:nvPr/>
              </p:nvSpPr>
              <p:spPr bwMode="auto">
                <a:xfrm>
                  <a:off x="6301091" y="3399093"/>
                  <a:ext cx="0" cy="0"/>
                </a:xfrm>
                <a:custGeom>
                  <a:avLst/>
                  <a:gdLst>
                    <a:gd name="T0" fmla="*/ 0 w 4"/>
                    <a:gd name="T1" fmla="*/ 0 h 3"/>
                    <a:gd name="T2" fmla="*/ 0 w 4"/>
                    <a:gd name="T3" fmla="*/ 0 h 3"/>
                    <a:gd name="T4" fmla="*/ 0 w 4"/>
                    <a:gd name="T5" fmla="*/ 0 h 3"/>
                    <a:gd name="T6" fmla="*/ 0 w 4"/>
                    <a:gd name="T7" fmla="*/ 0 h 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3"/>
                    <a:gd name="T14" fmla="*/ 4 w 4"/>
                    <a:gd name="T15" fmla="*/ 3 h 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7" name="Freeform 96"/>
                <p:cNvSpPr>
                  <a:spLocks/>
                </p:cNvSpPr>
                <p:nvPr/>
              </p:nvSpPr>
              <p:spPr bwMode="auto">
                <a:xfrm>
                  <a:off x="6301091" y="3388439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2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0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8" name="Freeform 97"/>
                <p:cNvSpPr>
                  <a:spLocks/>
                </p:cNvSpPr>
                <p:nvPr/>
              </p:nvSpPr>
              <p:spPr bwMode="auto">
                <a:xfrm>
                  <a:off x="6286885" y="3411523"/>
                  <a:ext cx="0" cy="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2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09" name="Freeform 98"/>
                <p:cNvSpPr>
                  <a:spLocks/>
                </p:cNvSpPr>
                <p:nvPr/>
              </p:nvSpPr>
              <p:spPr bwMode="auto">
                <a:xfrm>
                  <a:off x="6286885" y="3416851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2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4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0" name="Freeform 99"/>
                <p:cNvSpPr>
                  <a:spLocks/>
                </p:cNvSpPr>
                <p:nvPr/>
              </p:nvSpPr>
              <p:spPr bwMode="auto">
                <a:xfrm>
                  <a:off x="6286885" y="3228621"/>
                  <a:ext cx="0" cy="5327"/>
                </a:xfrm>
                <a:custGeom>
                  <a:avLst/>
                  <a:gdLst>
                    <a:gd name="T0" fmla="*/ 0 w 2"/>
                    <a:gd name="T1" fmla="*/ 2664 h 4"/>
                    <a:gd name="T2" fmla="*/ 0 w 2"/>
                    <a:gd name="T3" fmla="*/ 0 h 4"/>
                    <a:gd name="T4" fmla="*/ 0 w 2"/>
                    <a:gd name="T5" fmla="*/ 5327 h 4"/>
                    <a:gd name="T6" fmla="*/ 0 w 2"/>
                    <a:gd name="T7" fmla="*/ 2664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0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1" name="Freeform 100"/>
                <p:cNvSpPr>
                  <a:spLocks/>
                </p:cNvSpPr>
                <p:nvPr/>
              </p:nvSpPr>
              <p:spPr bwMode="auto">
                <a:xfrm>
                  <a:off x="6293988" y="3411523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2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0" y="4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2" name="Freeform 101"/>
                <p:cNvSpPr>
                  <a:spLocks/>
                </p:cNvSpPr>
                <p:nvPr/>
              </p:nvSpPr>
              <p:spPr bwMode="auto">
                <a:xfrm>
                  <a:off x="6301091" y="3328063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2"/>
                    <a:gd name="T14" fmla="*/ 4 w 4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3" name="Freeform 102"/>
                <p:cNvSpPr>
                  <a:spLocks/>
                </p:cNvSpPr>
                <p:nvPr/>
              </p:nvSpPr>
              <p:spPr bwMode="auto">
                <a:xfrm>
                  <a:off x="6286885" y="3193106"/>
                  <a:ext cx="0" cy="5327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5327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0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4" name="Freeform 103"/>
                <p:cNvSpPr>
                  <a:spLocks/>
                </p:cNvSpPr>
                <p:nvPr/>
              </p:nvSpPr>
              <p:spPr bwMode="auto">
                <a:xfrm>
                  <a:off x="6293988" y="3340493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2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5" name="Freeform 104"/>
                <p:cNvSpPr>
                  <a:spLocks/>
                </p:cNvSpPr>
                <p:nvPr/>
              </p:nvSpPr>
              <p:spPr bwMode="auto">
                <a:xfrm>
                  <a:off x="6301091" y="3322736"/>
                  <a:ext cx="0" cy="5327"/>
                </a:xfrm>
                <a:custGeom>
                  <a:avLst/>
                  <a:gdLst>
                    <a:gd name="T0" fmla="*/ 0 w 2"/>
                    <a:gd name="T1" fmla="*/ 5327 h 2"/>
                    <a:gd name="T2" fmla="*/ 0 w 2"/>
                    <a:gd name="T3" fmla="*/ 0 h 2"/>
                    <a:gd name="T4" fmla="*/ 0 w 2"/>
                    <a:gd name="T5" fmla="*/ 5327 h 2"/>
                    <a:gd name="T6" fmla="*/ 0 w 2"/>
                    <a:gd name="T7" fmla="*/ 5327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0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6" name="Freeform 105"/>
                <p:cNvSpPr>
                  <a:spLocks/>
                </p:cNvSpPr>
                <p:nvPr/>
              </p:nvSpPr>
              <p:spPr bwMode="auto">
                <a:xfrm>
                  <a:off x="6293988" y="3228621"/>
                  <a:ext cx="0" cy="5327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2664 h 4"/>
                    <a:gd name="T4" fmla="*/ 0 w 2"/>
                    <a:gd name="T5" fmla="*/ 5327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0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7" name="Freeform 106"/>
                <p:cNvSpPr>
                  <a:spLocks/>
                </p:cNvSpPr>
                <p:nvPr/>
              </p:nvSpPr>
              <p:spPr bwMode="auto">
                <a:xfrm>
                  <a:off x="6279782" y="3198433"/>
                  <a:ext cx="7103" cy="0"/>
                </a:xfrm>
                <a:custGeom>
                  <a:avLst/>
                  <a:gdLst>
                    <a:gd name="T0" fmla="*/ 7103 w 6"/>
                    <a:gd name="T1" fmla="*/ 0 h 2"/>
                    <a:gd name="T2" fmla="*/ 4735 w 6"/>
                    <a:gd name="T3" fmla="*/ 0 h 2"/>
                    <a:gd name="T4" fmla="*/ 0 w 6"/>
                    <a:gd name="T5" fmla="*/ 0 h 2"/>
                    <a:gd name="T6" fmla="*/ 7103 w 6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2"/>
                    <a:gd name="T14" fmla="*/ 6 w 6"/>
                    <a:gd name="T15" fmla="*/ 0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2">
                      <a:moveTo>
                        <a:pt x="6" y="2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8" name="Freeform 107"/>
                <p:cNvSpPr>
                  <a:spLocks/>
                </p:cNvSpPr>
                <p:nvPr/>
              </p:nvSpPr>
              <p:spPr bwMode="auto">
                <a:xfrm>
                  <a:off x="6272679" y="3310305"/>
                  <a:ext cx="7103" cy="0"/>
                </a:xfrm>
                <a:custGeom>
                  <a:avLst/>
                  <a:gdLst>
                    <a:gd name="T0" fmla="*/ 7103 w 4"/>
                    <a:gd name="T1" fmla="*/ 0 h 2"/>
                    <a:gd name="T2" fmla="*/ 7103 w 4"/>
                    <a:gd name="T3" fmla="*/ 0 h 2"/>
                    <a:gd name="T4" fmla="*/ 0 w 4"/>
                    <a:gd name="T5" fmla="*/ 0 h 2"/>
                    <a:gd name="T6" fmla="*/ 7103 w 4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2"/>
                    <a:gd name="T14" fmla="*/ 4 w 4"/>
                    <a:gd name="T15" fmla="*/ 0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2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19" name="Freeform 108"/>
                <p:cNvSpPr>
                  <a:spLocks/>
                </p:cNvSpPr>
                <p:nvPr/>
              </p:nvSpPr>
              <p:spPr bwMode="auto">
                <a:xfrm>
                  <a:off x="6279782" y="3186003"/>
                  <a:ext cx="0" cy="7103"/>
                </a:xfrm>
                <a:custGeom>
                  <a:avLst/>
                  <a:gdLst>
                    <a:gd name="T0" fmla="*/ 0 w 2"/>
                    <a:gd name="T1" fmla="*/ 7103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7103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0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0" name="Freeform 109"/>
                <p:cNvSpPr>
                  <a:spLocks/>
                </p:cNvSpPr>
                <p:nvPr/>
              </p:nvSpPr>
              <p:spPr bwMode="auto">
                <a:xfrm>
                  <a:off x="6293988" y="3304978"/>
                  <a:ext cx="0" cy="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2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1" name="Freeform 110"/>
                <p:cNvSpPr>
                  <a:spLocks/>
                </p:cNvSpPr>
                <p:nvPr/>
              </p:nvSpPr>
              <p:spPr bwMode="auto">
                <a:xfrm>
                  <a:off x="6301091" y="3370681"/>
                  <a:ext cx="0" cy="5327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5327 h 4"/>
                    <a:gd name="T4" fmla="*/ 0 w 2"/>
                    <a:gd name="T5" fmla="*/ 5327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0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2" y="0"/>
                      </a:move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2" name="Freeform 111"/>
                <p:cNvSpPr>
                  <a:spLocks/>
                </p:cNvSpPr>
                <p:nvPr/>
              </p:nvSpPr>
              <p:spPr bwMode="auto">
                <a:xfrm>
                  <a:off x="6279782" y="3198433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4"/>
                    <a:gd name="T14" fmla="*/ 2 w 2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4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3" name="Freeform 112"/>
                <p:cNvSpPr>
                  <a:spLocks/>
                </p:cNvSpPr>
                <p:nvPr/>
              </p:nvSpPr>
              <p:spPr bwMode="auto">
                <a:xfrm>
                  <a:off x="6293988" y="3317408"/>
                  <a:ext cx="7103" cy="0"/>
                </a:xfrm>
                <a:custGeom>
                  <a:avLst/>
                  <a:gdLst>
                    <a:gd name="T0" fmla="*/ 7103 w 1"/>
                    <a:gd name="T1" fmla="*/ 0 h 4"/>
                    <a:gd name="T2" fmla="*/ 0 w 1"/>
                    <a:gd name="T3" fmla="*/ 0 h 4"/>
                    <a:gd name="T4" fmla="*/ 0 w 1"/>
                    <a:gd name="T5" fmla="*/ 0 h 4"/>
                    <a:gd name="T6" fmla="*/ 7103 w 1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"/>
                    <a:gd name="T13" fmla="*/ 0 h 4"/>
                    <a:gd name="T14" fmla="*/ 1 w 1"/>
                    <a:gd name="T15" fmla="*/ 0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" h="4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4" name="Freeform 113"/>
                <p:cNvSpPr>
                  <a:spLocks/>
                </p:cNvSpPr>
                <p:nvPr/>
              </p:nvSpPr>
              <p:spPr bwMode="auto">
                <a:xfrm>
                  <a:off x="6293988" y="3257033"/>
                  <a:ext cx="0" cy="0"/>
                </a:xfrm>
                <a:custGeom>
                  <a:avLst/>
                  <a:gdLst>
                    <a:gd name="T0" fmla="*/ 0 w 2"/>
                    <a:gd name="T1" fmla="*/ 0 h 1"/>
                    <a:gd name="T2" fmla="*/ 0 w 2"/>
                    <a:gd name="T3" fmla="*/ 0 h 1"/>
                    <a:gd name="T4" fmla="*/ 0 w 2"/>
                    <a:gd name="T5" fmla="*/ 0 h 1"/>
                    <a:gd name="T6" fmla="*/ 0 w 2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1"/>
                    <a:gd name="T14" fmla="*/ 2 w 2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1">
                      <a:moveTo>
                        <a:pt x="2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5" name="Freeform 114"/>
                <p:cNvSpPr>
                  <a:spLocks/>
                </p:cNvSpPr>
                <p:nvPr/>
              </p:nvSpPr>
              <p:spPr bwMode="auto">
                <a:xfrm>
                  <a:off x="5818086" y="3523396"/>
                  <a:ext cx="0" cy="7103"/>
                </a:xfrm>
                <a:custGeom>
                  <a:avLst/>
                  <a:gdLst>
                    <a:gd name="T0" fmla="*/ 0 w 4"/>
                    <a:gd name="T1" fmla="*/ 7103 h 7"/>
                    <a:gd name="T2" fmla="*/ 0 w 4"/>
                    <a:gd name="T3" fmla="*/ 0 h 7"/>
                    <a:gd name="T4" fmla="*/ 0 w 4"/>
                    <a:gd name="T5" fmla="*/ 0 h 7"/>
                    <a:gd name="T6" fmla="*/ 0 w 4"/>
                    <a:gd name="T7" fmla="*/ 7103 h 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7"/>
                    <a:gd name="T14" fmla="*/ 0 w 4"/>
                    <a:gd name="T15" fmla="*/ 7 h 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7">
                      <a:moveTo>
                        <a:pt x="4" y="7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6" name="Freeform 115"/>
                <p:cNvSpPr>
                  <a:spLocks/>
                </p:cNvSpPr>
                <p:nvPr/>
              </p:nvSpPr>
              <p:spPr bwMode="auto">
                <a:xfrm>
                  <a:off x="5573033" y="3654802"/>
                  <a:ext cx="7103" cy="5327"/>
                </a:xfrm>
                <a:custGeom>
                  <a:avLst/>
                  <a:gdLst>
                    <a:gd name="T0" fmla="*/ 7103 w 10"/>
                    <a:gd name="T1" fmla="*/ 0 h 2"/>
                    <a:gd name="T2" fmla="*/ 5682 w 10"/>
                    <a:gd name="T3" fmla="*/ 0 h 2"/>
                    <a:gd name="T4" fmla="*/ 0 w 10"/>
                    <a:gd name="T5" fmla="*/ 5327 h 2"/>
                    <a:gd name="T6" fmla="*/ 7103 w 10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2"/>
                    <a:gd name="T14" fmla="*/ 10 w 10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2">
                      <a:moveTo>
                        <a:pt x="10" y="0"/>
                      </a:moveTo>
                      <a:lnTo>
                        <a:pt x="8" y="0"/>
                      </a:lnTo>
                      <a:lnTo>
                        <a:pt x="0" y="2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7" name="Freeform 116"/>
                <p:cNvSpPr>
                  <a:spLocks/>
                </p:cNvSpPr>
                <p:nvPr/>
              </p:nvSpPr>
              <p:spPr bwMode="auto">
                <a:xfrm>
                  <a:off x="5651166" y="2647949"/>
                  <a:ext cx="7103" cy="5327"/>
                </a:xfrm>
                <a:custGeom>
                  <a:avLst/>
                  <a:gdLst>
                    <a:gd name="T0" fmla="*/ 0 w 2"/>
                    <a:gd name="T1" fmla="*/ 0 h 10"/>
                    <a:gd name="T2" fmla="*/ 0 w 2"/>
                    <a:gd name="T3" fmla="*/ 5327 h 10"/>
                    <a:gd name="T4" fmla="*/ 7103 w 2"/>
                    <a:gd name="T5" fmla="*/ 2131 h 10"/>
                    <a:gd name="T6" fmla="*/ 0 w 2"/>
                    <a:gd name="T7" fmla="*/ 0 h 1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10"/>
                    <a:gd name="T14" fmla="*/ 2 w 2"/>
                    <a:gd name="T15" fmla="*/ 10 h 1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10">
                      <a:moveTo>
                        <a:pt x="0" y="0"/>
                      </a:moveTo>
                      <a:lnTo>
                        <a:pt x="0" y="10"/>
                      </a:lnTo>
                      <a:lnTo>
                        <a:pt x="2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8" name="Freeform 117"/>
                <p:cNvSpPr>
                  <a:spLocks/>
                </p:cNvSpPr>
                <p:nvPr/>
              </p:nvSpPr>
              <p:spPr bwMode="auto">
                <a:xfrm>
                  <a:off x="4720672" y="2724307"/>
                  <a:ext cx="266363" cy="451042"/>
                </a:xfrm>
                <a:custGeom>
                  <a:avLst/>
                  <a:gdLst>
                    <a:gd name="T0" fmla="*/ 261731 w 345"/>
                    <a:gd name="T1" fmla="*/ 112203 h 607"/>
                    <a:gd name="T2" fmla="*/ 236252 w 345"/>
                    <a:gd name="T3" fmla="*/ 98085 h 607"/>
                    <a:gd name="T4" fmla="*/ 209230 w 345"/>
                    <a:gd name="T5" fmla="*/ 85453 h 607"/>
                    <a:gd name="T6" fmla="*/ 183752 w 345"/>
                    <a:gd name="T7" fmla="*/ 70591 h 607"/>
                    <a:gd name="T8" fmla="*/ 158274 w 345"/>
                    <a:gd name="T9" fmla="*/ 56473 h 607"/>
                    <a:gd name="T10" fmla="*/ 131251 w 345"/>
                    <a:gd name="T11" fmla="*/ 41612 h 607"/>
                    <a:gd name="T12" fmla="*/ 105773 w 345"/>
                    <a:gd name="T13" fmla="*/ 27493 h 607"/>
                    <a:gd name="T14" fmla="*/ 80295 w 345"/>
                    <a:gd name="T15" fmla="*/ 14861 h 607"/>
                    <a:gd name="T16" fmla="*/ 54817 w 345"/>
                    <a:gd name="T17" fmla="*/ 0 h 607"/>
                    <a:gd name="T18" fmla="*/ 29339 w 345"/>
                    <a:gd name="T19" fmla="*/ 14861 h 607"/>
                    <a:gd name="T20" fmla="*/ 32427 w 345"/>
                    <a:gd name="T21" fmla="*/ 34924 h 607"/>
                    <a:gd name="T22" fmla="*/ 35515 w 345"/>
                    <a:gd name="T23" fmla="*/ 56473 h 607"/>
                    <a:gd name="T24" fmla="*/ 56361 w 345"/>
                    <a:gd name="T25" fmla="*/ 89168 h 607"/>
                    <a:gd name="T26" fmla="*/ 50956 w 345"/>
                    <a:gd name="T27" fmla="*/ 101057 h 607"/>
                    <a:gd name="T28" fmla="*/ 49412 w 345"/>
                    <a:gd name="T29" fmla="*/ 122606 h 607"/>
                    <a:gd name="T30" fmla="*/ 49412 w 345"/>
                    <a:gd name="T31" fmla="*/ 142669 h 607"/>
                    <a:gd name="T32" fmla="*/ 47868 w 345"/>
                    <a:gd name="T33" fmla="*/ 164218 h 607"/>
                    <a:gd name="T34" fmla="*/ 46324 w 345"/>
                    <a:gd name="T35" fmla="*/ 185767 h 607"/>
                    <a:gd name="T36" fmla="*/ 33971 w 345"/>
                    <a:gd name="T37" fmla="*/ 203601 h 607"/>
                    <a:gd name="T38" fmla="*/ 22390 w 345"/>
                    <a:gd name="T39" fmla="*/ 220691 h 607"/>
                    <a:gd name="T40" fmla="*/ 11581 w 345"/>
                    <a:gd name="T41" fmla="*/ 236295 h 607"/>
                    <a:gd name="T42" fmla="*/ 0 w 345"/>
                    <a:gd name="T43" fmla="*/ 253386 h 607"/>
                    <a:gd name="T44" fmla="*/ 0 w 345"/>
                    <a:gd name="T45" fmla="*/ 276421 h 607"/>
                    <a:gd name="T46" fmla="*/ 11581 w 345"/>
                    <a:gd name="T47" fmla="*/ 294255 h 607"/>
                    <a:gd name="T48" fmla="*/ 22390 w 345"/>
                    <a:gd name="T49" fmla="*/ 294255 h 607"/>
                    <a:gd name="T50" fmla="*/ 33971 w 345"/>
                    <a:gd name="T51" fmla="*/ 321748 h 607"/>
                    <a:gd name="T52" fmla="*/ 37059 w 345"/>
                    <a:gd name="T53" fmla="*/ 352957 h 607"/>
                    <a:gd name="T54" fmla="*/ 54817 w 345"/>
                    <a:gd name="T55" fmla="*/ 381937 h 607"/>
                    <a:gd name="T56" fmla="*/ 25478 w 345"/>
                    <a:gd name="T57" fmla="*/ 381937 h 607"/>
                    <a:gd name="T58" fmla="*/ 11581 w 345"/>
                    <a:gd name="T59" fmla="*/ 389367 h 607"/>
                    <a:gd name="T60" fmla="*/ 33971 w 345"/>
                    <a:gd name="T61" fmla="*/ 415375 h 607"/>
                    <a:gd name="T62" fmla="*/ 50956 w 345"/>
                    <a:gd name="T63" fmla="*/ 451042 h 607"/>
                    <a:gd name="T64" fmla="*/ 74890 w 345"/>
                    <a:gd name="T65" fmla="*/ 443611 h 607"/>
                    <a:gd name="T66" fmla="*/ 80295 w 345"/>
                    <a:gd name="T67" fmla="*/ 446584 h 607"/>
                    <a:gd name="T68" fmla="*/ 94192 w 345"/>
                    <a:gd name="T69" fmla="*/ 445097 h 607"/>
                    <a:gd name="T70" fmla="*/ 129707 w 345"/>
                    <a:gd name="T71" fmla="*/ 436924 h 607"/>
                    <a:gd name="T72" fmla="*/ 142060 w 345"/>
                    <a:gd name="T73" fmla="*/ 423549 h 607"/>
                    <a:gd name="T74" fmla="*/ 137428 w 345"/>
                    <a:gd name="T75" fmla="*/ 413889 h 607"/>
                    <a:gd name="T76" fmla="*/ 174487 w 345"/>
                    <a:gd name="T77" fmla="*/ 406458 h 607"/>
                    <a:gd name="T78" fmla="*/ 196105 w 345"/>
                    <a:gd name="T79" fmla="*/ 384909 h 607"/>
                    <a:gd name="T80" fmla="*/ 215407 w 345"/>
                    <a:gd name="T81" fmla="*/ 361874 h 607"/>
                    <a:gd name="T82" fmla="*/ 239341 w 345"/>
                    <a:gd name="T83" fmla="*/ 355929 h 607"/>
                    <a:gd name="T84" fmla="*/ 237797 w 345"/>
                    <a:gd name="T85" fmla="*/ 340325 h 607"/>
                    <a:gd name="T86" fmla="*/ 233164 w 345"/>
                    <a:gd name="T87" fmla="*/ 323977 h 607"/>
                    <a:gd name="T88" fmla="*/ 220811 w 345"/>
                    <a:gd name="T89" fmla="*/ 303915 h 607"/>
                    <a:gd name="T90" fmla="*/ 212318 w 345"/>
                    <a:gd name="T91" fmla="*/ 302428 h 607"/>
                    <a:gd name="T92" fmla="*/ 220811 w 345"/>
                    <a:gd name="T93" fmla="*/ 280880 h 607"/>
                    <a:gd name="T94" fmla="*/ 223899 w 345"/>
                    <a:gd name="T95" fmla="*/ 268247 h 607"/>
                    <a:gd name="T96" fmla="*/ 226988 w 345"/>
                    <a:gd name="T97" fmla="*/ 260817 h 607"/>
                    <a:gd name="T98" fmla="*/ 226988 w 345"/>
                    <a:gd name="T99" fmla="*/ 251157 h 607"/>
                    <a:gd name="T100" fmla="*/ 239341 w 345"/>
                    <a:gd name="T101" fmla="*/ 228122 h 607"/>
                    <a:gd name="T102" fmla="*/ 247833 w 345"/>
                    <a:gd name="T103" fmla="*/ 220691 h 607"/>
                    <a:gd name="T104" fmla="*/ 266363 w 345"/>
                    <a:gd name="T105" fmla="*/ 220691 h 607"/>
                    <a:gd name="T106" fmla="*/ 264819 w 345"/>
                    <a:gd name="T107" fmla="*/ 193198 h 607"/>
                    <a:gd name="T108" fmla="*/ 263275 w 345"/>
                    <a:gd name="T109" fmla="*/ 167190 h 607"/>
                    <a:gd name="T110" fmla="*/ 263275 w 345"/>
                    <a:gd name="T111" fmla="*/ 139697 h 607"/>
                    <a:gd name="T112" fmla="*/ 261731 w 345"/>
                    <a:gd name="T113" fmla="*/ 112203 h 607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345"/>
                    <a:gd name="T172" fmla="*/ 0 h 607"/>
                    <a:gd name="T173" fmla="*/ 345 w 345"/>
                    <a:gd name="T174" fmla="*/ 607 h 607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345" h="607">
                      <a:moveTo>
                        <a:pt x="339" y="151"/>
                      </a:moveTo>
                      <a:lnTo>
                        <a:pt x="306" y="132"/>
                      </a:lnTo>
                      <a:lnTo>
                        <a:pt x="271" y="115"/>
                      </a:lnTo>
                      <a:lnTo>
                        <a:pt x="238" y="95"/>
                      </a:lnTo>
                      <a:lnTo>
                        <a:pt x="205" y="76"/>
                      </a:lnTo>
                      <a:lnTo>
                        <a:pt x="170" y="56"/>
                      </a:lnTo>
                      <a:lnTo>
                        <a:pt x="137" y="37"/>
                      </a:lnTo>
                      <a:lnTo>
                        <a:pt x="104" y="20"/>
                      </a:lnTo>
                      <a:lnTo>
                        <a:pt x="71" y="0"/>
                      </a:lnTo>
                      <a:lnTo>
                        <a:pt x="38" y="20"/>
                      </a:lnTo>
                      <a:lnTo>
                        <a:pt x="42" y="47"/>
                      </a:lnTo>
                      <a:lnTo>
                        <a:pt x="46" y="76"/>
                      </a:lnTo>
                      <a:lnTo>
                        <a:pt x="73" y="120"/>
                      </a:lnTo>
                      <a:lnTo>
                        <a:pt x="66" y="136"/>
                      </a:lnTo>
                      <a:lnTo>
                        <a:pt x="64" y="165"/>
                      </a:lnTo>
                      <a:lnTo>
                        <a:pt x="64" y="192"/>
                      </a:lnTo>
                      <a:lnTo>
                        <a:pt x="62" y="221"/>
                      </a:lnTo>
                      <a:lnTo>
                        <a:pt x="60" y="250"/>
                      </a:lnTo>
                      <a:lnTo>
                        <a:pt x="44" y="274"/>
                      </a:lnTo>
                      <a:lnTo>
                        <a:pt x="29" y="297"/>
                      </a:lnTo>
                      <a:lnTo>
                        <a:pt x="15" y="318"/>
                      </a:lnTo>
                      <a:lnTo>
                        <a:pt x="0" y="341"/>
                      </a:lnTo>
                      <a:lnTo>
                        <a:pt x="0" y="372"/>
                      </a:lnTo>
                      <a:lnTo>
                        <a:pt x="15" y="396"/>
                      </a:lnTo>
                      <a:lnTo>
                        <a:pt x="29" y="396"/>
                      </a:lnTo>
                      <a:lnTo>
                        <a:pt x="44" y="433"/>
                      </a:lnTo>
                      <a:lnTo>
                        <a:pt x="48" y="475"/>
                      </a:lnTo>
                      <a:lnTo>
                        <a:pt x="71" y="514"/>
                      </a:lnTo>
                      <a:lnTo>
                        <a:pt x="33" y="514"/>
                      </a:lnTo>
                      <a:lnTo>
                        <a:pt x="15" y="524"/>
                      </a:lnTo>
                      <a:lnTo>
                        <a:pt x="44" y="559"/>
                      </a:lnTo>
                      <a:lnTo>
                        <a:pt x="66" y="607"/>
                      </a:lnTo>
                      <a:lnTo>
                        <a:pt x="97" y="597"/>
                      </a:lnTo>
                      <a:lnTo>
                        <a:pt x="104" y="601"/>
                      </a:lnTo>
                      <a:lnTo>
                        <a:pt x="122" y="599"/>
                      </a:lnTo>
                      <a:lnTo>
                        <a:pt x="168" y="588"/>
                      </a:lnTo>
                      <a:lnTo>
                        <a:pt x="184" y="570"/>
                      </a:lnTo>
                      <a:lnTo>
                        <a:pt x="178" y="557"/>
                      </a:lnTo>
                      <a:lnTo>
                        <a:pt x="226" y="547"/>
                      </a:lnTo>
                      <a:lnTo>
                        <a:pt x="254" y="518"/>
                      </a:lnTo>
                      <a:lnTo>
                        <a:pt x="279" y="487"/>
                      </a:lnTo>
                      <a:lnTo>
                        <a:pt x="310" y="479"/>
                      </a:lnTo>
                      <a:lnTo>
                        <a:pt x="308" y="458"/>
                      </a:lnTo>
                      <a:lnTo>
                        <a:pt x="302" y="436"/>
                      </a:lnTo>
                      <a:lnTo>
                        <a:pt x="286" y="409"/>
                      </a:lnTo>
                      <a:lnTo>
                        <a:pt x="275" y="407"/>
                      </a:lnTo>
                      <a:lnTo>
                        <a:pt x="286" y="378"/>
                      </a:lnTo>
                      <a:lnTo>
                        <a:pt x="290" y="361"/>
                      </a:lnTo>
                      <a:lnTo>
                        <a:pt x="294" y="351"/>
                      </a:lnTo>
                      <a:lnTo>
                        <a:pt x="294" y="338"/>
                      </a:lnTo>
                      <a:lnTo>
                        <a:pt x="310" y="307"/>
                      </a:lnTo>
                      <a:lnTo>
                        <a:pt x="321" y="297"/>
                      </a:lnTo>
                      <a:lnTo>
                        <a:pt x="345" y="297"/>
                      </a:lnTo>
                      <a:lnTo>
                        <a:pt x="343" y="260"/>
                      </a:lnTo>
                      <a:lnTo>
                        <a:pt x="341" y="225"/>
                      </a:lnTo>
                      <a:lnTo>
                        <a:pt x="341" y="188"/>
                      </a:lnTo>
                      <a:lnTo>
                        <a:pt x="339" y="15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29" name="Freeform 118"/>
                <p:cNvSpPr>
                  <a:spLocks/>
                </p:cNvSpPr>
                <p:nvPr/>
              </p:nvSpPr>
              <p:spPr bwMode="auto">
                <a:xfrm>
                  <a:off x="5457609" y="3033288"/>
                  <a:ext cx="35515" cy="40842"/>
                </a:xfrm>
                <a:custGeom>
                  <a:avLst/>
                  <a:gdLst>
                    <a:gd name="T0" fmla="*/ 0 w 46"/>
                    <a:gd name="T1" fmla="*/ 39481 h 60"/>
                    <a:gd name="T2" fmla="*/ 29338 w 46"/>
                    <a:gd name="T3" fmla="*/ 40842 h 60"/>
                    <a:gd name="T4" fmla="*/ 35515 w 46"/>
                    <a:gd name="T5" fmla="*/ 29270 h 60"/>
                    <a:gd name="T6" fmla="*/ 25478 w 46"/>
                    <a:gd name="T7" fmla="*/ 0 h 60"/>
                    <a:gd name="T8" fmla="*/ 16213 w 46"/>
                    <a:gd name="T9" fmla="*/ 2723 h 60"/>
                    <a:gd name="T10" fmla="*/ 0 w 46"/>
                    <a:gd name="T11" fmla="*/ 39481 h 6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6"/>
                    <a:gd name="T19" fmla="*/ 0 h 60"/>
                    <a:gd name="T20" fmla="*/ 46 w 46"/>
                    <a:gd name="T21" fmla="*/ 60 h 6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6" h="60">
                      <a:moveTo>
                        <a:pt x="0" y="58"/>
                      </a:moveTo>
                      <a:lnTo>
                        <a:pt x="38" y="60"/>
                      </a:lnTo>
                      <a:lnTo>
                        <a:pt x="46" y="43"/>
                      </a:lnTo>
                      <a:lnTo>
                        <a:pt x="33" y="0"/>
                      </a:lnTo>
                      <a:lnTo>
                        <a:pt x="21" y="4"/>
                      </a:lnTo>
                      <a:lnTo>
                        <a:pt x="0" y="5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0" name="Freeform 119"/>
                <p:cNvSpPr>
                  <a:spLocks/>
                </p:cNvSpPr>
                <p:nvPr/>
              </p:nvSpPr>
              <p:spPr bwMode="auto">
                <a:xfrm>
                  <a:off x="5311997" y="2878797"/>
                  <a:ext cx="174024" cy="159818"/>
                </a:xfrm>
                <a:custGeom>
                  <a:avLst/>
                  <a:gdLst>
                    <a:gd name="T0" fmla="*/ 0 w 221"/>
                    <a:gd name="T1" fmla="*/ 122257 h 217"/>
                    <a:gd name="T2" fmla="*/ 2362 w 221"/>
                    <a:gd name="T3" fmla="*/ 100899 h 217"/>
                    <a:gd name="T4" fmla="*/ 5512 w 221"/>
                    <a:gd name="T5" fmla="*/ 62602 h 217"/>
                    <a:gd name="T6" fmla="*/ 16536 w 221"/>
                    <a:gd name="T7" fmla="*/ 26514 h 217"/>
                    <a:gd name="T8" fmla="*/ 33072 w 221"/>
                    <a:gd name="T9" fmla="*/ 15466 h 217"/>
                    <a:gd name="T10" fmla="*/ 48821 w 221"/>
                    <a:gd name="T11" fmla="*/ 2209 h 217"/>
                    <a:gd name="T12" fmla="*/ 52758 w 221"/>
                    <a:gd name="T13" fmla="*/ 0 h 217"/>
                    <a:gd name="T14" fmla="*/ 60633 w 221"/>
                    <a:gd name="T15" fmla="*/ 19885 h 217"/>
                    <a:gd name="T16" fmla="*/ 68507 w 221"/>
                    <a:gd name="T17" fmla="*/ 39770 h 217"/>
                    <a:gd name="T18" fmla="*/ 77169 w 221"/>
                    <a:gd name="T19" fmla="*/ 59656 h 217"/>
                    <a:gd name="T20" fmla="*/ 85043 w 221"/>
                    <a:gd name="T21" fmla="*/ 79541 h 217"/>
                    <a:gd name="T22" fmla="*/ 86618 w 221"/>
                    <a:gd name="T23" fmla="*/ 72176 h 217"/>
                    <a:gd name="T24" fmla="*/ 94493 w 221"/>
                    <a:gd name="T25" fmla="*/ 76595 h 217"/>
                    <a:gd name="T26" fmla="*/ 115754 w 221"/>
                    <a:gd name="T27" fmla="*/ 91325 h 217"/>
                    <a:gd name="T28" fmla="*/ 144889 w 221"/>
                    <a:gd name="T29" fmla="*/ 118575 h 217"/>
                    <a:gd name="T30" fmla="*/ 174024 w 221"/>
                    <a:gd name="T31" fmla="*/ 145088 h 217"/>
                    <a:gd name="T32" fmla="*/ 174024 w 221"/>
                    <a:gd name="T33" fmla="*/ 149507 h 217"/>
                    <a:gd name="T34" fmla="*/ 172449 w 221"/>
                    <a:gd name="T35" fmla="*/ 150980 h 217"/>
                    <a:gd name="T36" fmla="*/ 163000 w 221"/>
                    <a:gd name="T37" fmla="*/ 153926 h 217"/>
                    <a:gd name="T38" fmla="*/ 149613 w 221"/>
                    <a:gd name="T39" fmla="*/ 159818 h 217"/>
                    <a:gd name="T40" fmla="*/ 148039 w 221"/>
                    <a:gd name="T41" fmla="*/ 153926 h 217"/>
                    <a:gd name="T42" fmla="*/ 124415 w 221"/>
                    <a:gd name="T43" fmla="*/ 145088 h 217"/>
                    <a:gd name="T44" fmla="*/ 109454 w 221"/>
                    <a:gd name="T45" fmla="*/ 129622 h 217"/>
                    <a:gd name="T46" fmla="*/ 100005 w 221"/>
                    <a:gd name="T47" fmla="*/ 119311 h 217"/>
                    <a:gd name="T48" fmla="*/ 83469 w 221"/>
                    <a:gd name="T49" fmla="*/ 112683 h 217"/>
                    <a:gd name="T50" fmla="*/ 70082 w 221"/>
                    <a:gd name="T51" fmla="*/ 108264 h 217"/>
                    <a:gd name="T52" fmla="*/ 52758 w 221"/>
                    <a:gd name="T53" fmla="*/ 111210 h 217"/>
                    <a:gd name="T54" fmla="*/ 39372 w 221"/>
                    <a:gd name="T55" fmla="*/ 96480 h 217"/>
                    <a:gd name="T56" fmla="*/ 36222 w 221"/>
                    <a:gd name="T57" fmla="*/ 120784 h 217"/>
                    <a:gd name="T58" fmla="*/ 24411 w 221"/>
                    <a:gd name="T59" fmla="*/ 111210 h 217"/>
                    <a:gd name="T60" fmla="*/ 13386 w 221"/>
                    <a:gd name="T61" fmla="*/ 123730 h 217"/>
                    <a:gd name="T62" fmla="*/ 0 w 221"/>
                    <a:gd name="T63" fmla="*/ 122257 h 21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21"/>
                    <a:gd name="T97" fmla="*/ 0 h 217"/>
                    <a:gd name="T98" fmla="*/ 221 w 221"/>
                    <a:gd name="T99" fmla="*/ 217 h 21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21" h="217">
                      <a:moveTo>
                        <a:pt x="0" y="166"/>
                      </a:moveTo>
                      <a:lnTo>
                        <a:pt x="3" y="137"/>
                      </a:lnTo>
                      <a:lnTo>
                        <a:pt x="7" y="85"/>
                      </a:lnTo>
                      <a:lnTo>
                        <a:pt x="21" y="36"/>
                      </a:lnTo>
                      <a:lnTo>
                        <a:pt x="42" y="21"/>
                      </a:lnTo>
                      <a:lnTo>
                        <a:pt x="62" y="3"/>
                      </a:lnTo>
                      <a:lnTo>
                        <a:pt x="67" y="0"/>
                      </a:lnTo>
                      <a:lnTo>
                        <a:pt x="77" y="27"/>
                      </a:lnTo>
                      <a:lnTo>
                        <a:pt x="87" y="54"/>
                      </a:lnTo>
                      <a:lnTo>
                        <a:pt x="98" y="81"/>
                      </a:lnTo>
                      <a:lnTo>
                        <a:pt x="108" y="108"/>
                      </a:lnTo>
                      <a:lnTo>
                        <a:pt x="110" y="98"/>
                      </a:lnTo>
                      <a:lnTo>
                        <a:pt x="120" y="104"/>
                      </a:lnTo>
                      <a:lnTo>
                        <a:pt x="147" y="124"/>
                      </a:lnTo>
                      <a:lnTo>
                        <a:pt x="184" y="161"/>
                      </a:lnTo>
                      <a:lnTo>
                        <a:pt x="221" y="197"/>
                      </a:lnTo>
                      <a:lnTo>
                        <a:pt x="221" y="203"/>
                      </a:lnTo>
                      <a:lnTo>
                        <a:pt x="219" y="205"/>
                      </a:lnTo>
                      <a:lnTo>
                        <a:pt x="207" y="209"/>
                      </a:lnTo>
                      <a:lnTo>
                        <a:pt x="190" y="217"/>
                      </a:lnTo>
                      <a:lnTo>
                        <a:pt x="188" y="209"/>
                      </a:lnTo>
                      <a:lnTo>
                        <a:pt x="158" y="197"/>
                      </a:lnTo>
                      <a:lnTo>
                        <a:pt x="139" y="176"/>
                      </a:lnTo>
                      <a:lnTo>
                        <a:pt x="127" y="162"/>
                      </a:lnTo>
                      <a:lnTo>
                        <a:pt x="106" y="153"/>
                      </a:lnTo>
                      <a:lnTo>
                        <a:pt x="89" y="147"/>
                      </a:lnTo>
                      <a:lnTo>
                        <a:pt x="67" y="151"/>
                      </a:lnTo>
                      <a:lnTo>
                        <a:pt x="50" y="131"/>
                      </a:lnTo>
                      <a:lnTo>
                        <a:pt x="46" y="164"/>
                      </a:lnTo>
                      <a:lnTo>
                        <a:pt x="31" y="151"/>
                      </a:lnTo>
                      <a:lnTo>
                        <a:pt x="17" y="168"/>
                      </a:lnTo>
                      <a:lnTo>
                        <a:pt x="0" y="16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1" name="Freeform 120"/>
                <p:cNvSpPr>
                  <a:spLocks/>
                </p:cNvSpPr>
                <p:nvPr/>
              </p:nvSpPr>
              <p:spPr bwMode="auto">
                <a:xfrm>
                  <a:off x="5226761" y="2980015"/>
                  <a:ext cx="395993" cy="312533"/>
                </a:xfrm>
                <a:custGeom>
                  <a:avLst/>
                  <a:gdLst>
                    <a:gd name="T0" fmla="*/ 133846 w 500"/>
                    <a:gd name="T1" fmla="*/ 306566 h 419"/>
                    <a:gd name="T2" fmla="*/ 101374 w 500"/>
                    <a:gd name="T3" fmla="*/ 284935 h 419"/>
                    <a:gd name="T4" fmla="*/ 78407 w 500"/>
                    <a:gd name="T5" fmla="*/ 281205 h 419"/>
                    <a:gd name="T6" fmla="*/ 72071 w 500"/>
                    <a:gd name="T7" fmla="*/ 258828 h 419"/>
                    <a:gd name="T8" fmla="*/ 57023 w 500"/>
                    <a:gd name="T9" fmla="*/ 252115 h 419"/>
                    <a:gd name="T10" fmla="*/ 45935 w 500"/>
                    <a:gd name="T11" fmla="*/ 233467 h 419"/>
                    <a:gd name="T12" fmla="*/ 34847 w 500"/>
                    <a:gd name="T13" fmla="*/ 214074 h 419"/>
                    <a:gd name="T14" fmla="*/ 8712 w 500"/>
                    <a:gd name="T15" fmla="*/ 192443 h 419"/>
                    <a:gd name="T16" fmla="*/ 0 w 500"/>
                    <a:gd name="T17" fmla="*/ 185730 h 419"/>
                    <a:gd name="T18" fmla="*/ 8712 w 500"/>
                    <a:gd name="T19" fmla="*/ 172303 h 419"/>
                    <a:gd name="T20" fmla="*/ 27720 w 500"/>
                    <a:gd name="T21" fmla="*/ 169320 h 419"/>
                    <a:gd name="T22" fmla="*/ 32471 w 500"/>
                    <a:gd name="T23" fmla="*/ 137992 h 419"/>
                    <a:gd name="T24" fmla="*/ 34847 w 500"/>
                    <a:gd name="T25" fmla="*/ 105918 h 419"/>
                    <a:gd name="T26" fmla="*/ 49103 w 500"/>
                    <a:gd name="T27" fmla="*/ 104426 h 419"/>
                    <a:gd name="T28" fmla="*/ 55439 w 500"/>
                    <a:gd name="T29" fmla="*/ 72353 h 419"/>
                    <a:gd name="T30" fmla="*/ 83159 w 500"/>
                    <a:gd name="T31" fmla="*/ 26107 h 419"/>
                    <a:gd name="T32" fmla="*/ 96622 w 500"/>
                    <a:gd name="T33" fmla="*/ 27598 h 419"/>
                    <a:gd name="T34" fmla="*/ 107710 w 500"/>
                    <a:gd name="T35" fmla="*/ 14918 h 419"/>
                    <a:gd name="T36" fmla="*/ 119590 w 500"/>
                    <a:gd name="T37" fmla="*/ 24615 h 419"/>
                    <a:gd name="T38" fmla="*/ 122758 w 500"/>
                    <a:gd name="T39" fmla="*/ 0 h 419"/>
                    <a:gd name="T40" fmla="*/ 136222 w 500"/>
                    <a:gd name="T41" fmla="*/ 14918 h 419"/>
                    <a:gd name="T42" fmla="*/ 153645 w 500"/>
                    <a:gd name="T43" fmla="*/ 11934 h 419"/>
                    <a:gd name="T44" fmla="*/ 167109 w 500"/>
                    <a:gd name="T45" fmla="*/ 16410 h 419"/>
                    <a:gd name="T46" fmla="*/ 183741 w 500"/>
                    <a:gd name="T47" fmla="*/ 23123 h 419"/>
                    <a:gd name="T48" fmla="*/ 193245 w 500"/>
                    <a:gd name="T49" fmla="*/ 33566 h 419"/>
                    <a:gd name="T50" fmla="*/ 208292 w 500"/>
                    <a:gd name="T51" fmla="*/ 49230 h 419"/>
                    <a:gd name="T52" fmla="*/ 232052 w 500"/>
                    <a:gd name="T53" fmla="*/ 58180 h 419"/>
                    <a:gd name="T54" fmla="*/ 233636 w 500"/>
                    <a:gd name="T55" fmla="*/ 64148 h 419"/>
                    <a:gd name="T56" fmla="*/ 247100 w 500"/>
                    <a:gd name="T57" fmla="*/ 58180 h 419"/>
                    <a:gd name="T58" fmla="*/ 230468 w 500"/>
                    <a:gd name="T59" fmla="*/ 98459 h 419"/>
                    <a:gd name="T60" fmla="*/ 260563 w 500"/>
                    <a:gd name="T61" fmla="*/ 99951 h 419"/>
                    <a:gd name="T62" fmla="*/ 256603 w 500"/>
                    <a:gd name="T63" fmla="*/ 116361 h 419"/>
                    <a:gd name="T64" fmla="*/ 273235 w 500"/>
                    <a:gd name="T65" fmla="*/ 136500 h 419"/>
                    <a:gd name="T66" fmla="*/ 289867 w 500"/>
                    <a:gd name="T67" fmla="*/ 156639 h 419"/>
                    <a:gd name="T68" fmla="*/ 309667 w 500"/>
                    <a:gd name="T69" fmla="*/ 164098 h 419"/>
                    <a:gd name="T70" fmla="*/ 330258 w 500"/>
                    <a:gd name="T71" fmla="*/ 170812 h 419"/>
                    <a:gd name="T72" fmla="*/ 350058 w 500"/>
                    <a:gd name="T73" fmla="*/ 178271 h 419"/>
                    <a:gd name="T74" fmla="*/ 369857 w 500"/>
                    <a:gd name="T75" fmla="*/ 185730 h 419"/>
                    <a:gd name="T76" fmla="*/ 395993 w 500"/>
                    <a:gd name="T77" fmla="*/ 185730 h 419"/>
                    <a:gd name="T78" fmla="*/ 377777 w 500"/>
                    <a:gd name="T79" fmla="*/ 207361 h 419"/>
                    <a:gd name="T80" fmla="*/ 357978 w 500"/>
                    <a:gd name="T81" fmla="*/ 228992 h 419"/>
                    <a:gd name="T82" fmla="*/ 337386 w 500"/>
                    <a:gd name="T83" fmla="*/ 252115 h 419"/>
                    <a:gd name="T84" fmla="*/ 317586 w 500"/>
                    <a:gd name="T85" fmla="*/ 273746 h 419"/>
                    <a:gd name="T86" fmla="*/ 297787 w 500"/>
                    <a:gd name="T87" fmla="*/ 275238 h 419"/>
                    <a:gd name="T88" fmla="*/ 276403 w 500"/>
                    <a:gd name="T89" fmla="*/ 276730 h 419"/>
                    <a:gd name="T90" fmla="*/ 250268 w 500"/>
                    <a:gd name="T91" fmla="*/ 293885 h 419"/>
                    <a:gd name="T92" fmla="*/ 237596 w 500"/>
                    <a:gd name="T93" fmla="*/ 299853 h 419"/>
                    <a:gd name="T94" fmla="*/ 211460 w 500"/>
                    <a:gd name="T95" fmla="*/ 295377 h 419"/>
                    <a:gd name="T96" fmla="*/ 183741 w 500"/>
                    <a:gd name="T97" fmla="*/ 302836 h 419"/>
                    <a:gd name="T98" fmla="*/ 170277 w 500"/>
                    <a:gd name="T99" fmla="*/ 312533 h 419"/>
                    <a:gd name="T100" fmla="*/ 133846 w 500"/>
                    <a:gd name="T101" fmla="*/ 306566 h 419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500"/>
                    <a:gd name="T154" fmla="*/ 0 h 419"/>
                    <a:gd name="T155" fmla="*/ 500 w 500"/>
                    <a:gd name="T156" fmla="*/ 419 h 419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500" h="419">
                      <a:moveTo>
                        <a:pt x="169" y="411"/>
                      </a:moveTo>
                      <a:lnTo>
                        <a:pt x="128" y="382"/>
                      </a:lnTo>
                      <a:lnTo>
                        <a:pt x="99" y="377"/>
                      </a:lnTo>
                      <a:lnTo>
                        <a:pt x="91" y="347"/>
                      </a:lnTo>
                      <a:lnTo>
                        <a:pt x="72" y="338"/>
                      </a:lnTo>
                      <a:lnTo>
                        <a:pt x="58" y="313"/>
                      </a:lnTo>
                      <a:lnTo>
                        <a:pt x="44" y="287"/>
                      </a:lnTo>
                      <a:lnTo>
                        <a:pt x="11" y="258"/>
                      </a:lnTo>
                      <a:lnTo>
                        <a:pt x="0" y="249"/>
                      </a:lnTo>
                      <a:lnTo>
                        <a:pt x="11" y="231"/>
                      </a:lnTo>
                      <a:lnTo>
                        <a:pt x="35" y="227"/>
                      </a:lnTo>
                      <a:lnTo>
                        <a:pt x="41" y="185"/>
                      </a:lnTo>
                      <a:lnTo>
                        <a:pt x="44" y="142"/>
                      </a:lnTo>
                      <a:lnTo>
                        <a:pt x="62" y="140"/>
                      </a:lnTo>
                      <a:lnTo>
                        <a:pt x="70" y="97"/>
                      </a:lnTo>
                      <a:lnTo>
                        <a:pt x="105" y="35"/>
                      </a:lnTo>
                      <a:lnTo>
                        <a:pt x="122" y="37"/>
                      </a:lnTo>
                      <a:lnTo>
                        <a:pt x="136" y="20"/>
                      </a:lnTo>
                      <a:lnTo>
                        <a:pt x="151" y="33"/>
                      </a:lnTo>
                      <a:lnTo>
                        <a:pt x="155" y="0"/>
                      </a:lnTo>
                      <a:lnTo>
                        <a:pt x="172" y="20"/>
                      </a:lnTo>
                      <a:lnTo>
                        <a:pt x="194" y="16"/>
                      </a:lnTo>
                      <a:lnTo>
                        <a:pt x="211" y="22"/>
                      </a:lnTo>
                      <a:lnTo>
                        <a:pt x="232" y="31"/>
                      </a:lnTo>
                      <a:lnTo>
                        <a:pt x="244" y="45"/>
                      </a:lnTo>
                      <a:lnTo>
                        <a:pt x="263" y="66"/>
                      </a:lnTo>
                      <a:lnTo>
                        <a:pt x="293" y="78"/>
                      </a:lnTo>
                      <a:lnTo>
                        <a:pt x="295" y="86"/>
                      </a:lnTo>
                      <a:lnTo>
                        <a:pt x="312" y="78"/>
                      </a:lnTo>
                      <a:lnTo>
                        <a:pt x="291" y="132"/>
                      </a:lnTo>
                      <a:lnTo>
                        <a:pt x="329" y="134"/>
                      </a:lnTo>
                      <a:lnTo>
                        <a:pt x="324" y="156"/>
                      </a:lnTo>
                      <a:lnTo>
                        <a:pt x="345" y="183"/>
                      </a:lnTo>
                      <a:lnTo>
                        <a:pt x="366" y="210"/>
                      </a:lnTo>
                      <a:lnTo>
                        <a:pt x="391" y="220"/>
                      </a:lnTo>
                      <a:lnTo>
                        <a:pt x="417" y="229"/>
                      </a:lnTo>
                      <a:lnTo>
                        <a:pt x="442" y="239"/>
                      </a:lnTo>
                      <a:lnTo>
                        <a:pt x="467" y="249"/>
                      </a:lnTo>
                      <a:lnTo>
                        <a:pt x="500" y="249"/>
                      </a:lnTo>
                      <a:lnTo>
                        <a:pt x="477" y="278"/>
                      </a:lnTo>
                      <a:lnTo>
                        <a:pt x="452" y="307"/>
                      </a:lnTo>
                      <a:lnTo>
                        <a:pt x="426" y="338"/>
                      </a:lnTo>
                      <a:lnTo>
                        <a:pt x="401" y="367"/>
                      </a:lnTo>
                      <a:lnTo>
                        <a:pt x="376" y="369"/>
                      </a:lnTo>
                      <a:lnTo>
                        <a:pt x="349" y="371"/>
                      </a:lnTo>
                      <a:lnTo>
                        <a:pt x="316" y="394"/>
                      </a:lnTo>
                      <a:lnTo>
                        <a:pt x="300" y="402"/>
                      </a:lnTo>
                      <a:lnTo>
                        <a:pt x="267" y="396"/>
                      </a:lnTo>
                      <a:lnTo>
                        <a:pt x="232" y="406"/>
                      </a:lnTo>
                      <a:lnTo>
                        <a:pt x="215" y="419"/>
                      </a:lnTo>
                      <a:lnTo>
                        <a:pt x="169" y="4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2" name="Freeform 121"/>
                <p:cNvSpPr>
                  <a:spLocks/>
                </p:cNvSpPr>
                <p:nvPr/>
              </p:nvSpPr>
              <p:spPr bwMode="auto">
                <a:xfrm>
                  <a:off x="5434524" y="3051045"/>
                  <a:ext cx="268138" cy="390666"/>
                </a:xfrm>
                <a:custGeom>
                  <a:avLst/>
                  <a:gdLst>
                    <a:gd name="T0" fmla="*/ 258618 w 338"/>
                    <a:gd name="T1" fmla="*/ 52793 h 518"/>
                    <a:gd name="T2" fmla="*/ 250685 w 338"/>
                    <a:gd name="T3" fmla="*/ 85222 h 518"/>
                    <a:gd name="T4" fmla="*/ 232439 w 338"/>
                    <a:gd name="T5" fmla="*/ 118406 h 518"/>
                    <a:gd name="T6" fmla="*/ 215780 w 338"/>
                    <a:gd name="T7" fmla="*/ 153853 h 518"/>
                    <a:gd name="T8" fmla="*/ 196740 w 338"/>
                    <a:gd name="T9" fmla="*/ 187037 h 518"/>
                    <a:gd name="T10" fmla="*/ 178494 w 338"/>
                    <a:gd name="T11" fmla="*/ 222484 h 518"/>
                    <a:gd name="T12" fmla="*/ 163421 w 338"/>
                    <a:gd name="T13" fmla="*/ 238321 h 518"/>
                    <a:gd name="T14" fmla="*/ 147555 w 338"/>
                    <a:gd name="T15" fmla="*/ 253405 h 518"/>
                    <a:gd name="T16" fmla="*/ 130896 w 338"/>
                    <a:gd name="T17" fmla="*/ 269243 h 518"/>
                    <a:gd name="T18" fmla="*/ 115823 w 338"/>
                    <a:gd name="T19" fmla="*/ 285081 h 518"/>
                    <a:gd name="T20" fmla="*/ 96784 w 338"/>
                    <a:gd name="T21" fmla="*/ 303181 h 518"/>
                    <a:gd name="T22" fmla="*/ 78537 w 338"/>
                    <a:gd name="T23" fmla="*/ 320527 h 518"/>
                    <a:gd name="T24" fmla="*/ 60291 w 338"/>
                    <a:gd name="T25" fmla="*/ 337873 h 518"/>
                    <a:gd name="T26" fmla="*/ 40459 w 338"/>
                    <a:gd name="T27" fmla="*/ 355219 h 518"/>
                    <a:gd name="T28" fmla="*/ 27766 w 338"/>
                    <a:gd name="T29" fmla="*/ 373320 h 518"/>
                    <a:gd name="T30" fmla="*/ 15866 w 338"/>
                    <a:gd name="T31" fmla="*/ 390666 h 518"/>
                    <a:gd name="T32" fmla="*/ 1587 w 338"/>
                    <a:gd name="T33" fmla="*/ 367286 h 518"/>
                    <a:gd name="T34" fmla="*/ 1587 w 338"/>
                    <a:gd name="T35" fmla="*/ 340890 h 518"/>
                    <a:gd name="T36" fmla="*/ 1587 w 338"/>
                    <a:gd name="T37" fmla="*/ 314494 h 518"/>
                    <a:gd name="T38" fmla="*/ 0 w 338"/>
                    <a:gd name="T39" fmla="*/ 288097 h 518"/>
                    <a:gd name="T40" fmla="*/ 0 w 338"/>
                    <a:gd name="T41" fmla="*/ 260193 h 518"/>
                    <a:gd name="T42" fmla="*/ 12693 w 338"/>
                    <a:gd name="T43" fmla="*/ 244355 h 518"/>
                    <a:gd name="T44" fmla="*/ 24593 w 338"/>
                    <a:gd name="T45" fmla="*/ 228517 h 518"/>
                    <a:gd name="T46" fmla="*/ 37285 w 338"/>
                    <a:gd name="T47" fmla="*/ 222484 h 518"/>
                    <a:gd name="T48" fmla="*/ 63465 w 338"/>
                    <a:gd name="T49" fmla="*/ 205137 h 518"/>
                    <a:gd name="T50" fmla="*/ 84884 w 338"/>
                    <a:gd name="T51" fmla="*/ 203629 h 518"/>
                    <a:gd name="T52" fmla="*/ 104717 w 338"/>
                    <a:gd name="T53" fmla="*/ 202121 h 518"/>
                    <a:gd name="T54" fmla="*/ 124549 w 338"/>
                    <a:gd name="T55" fmla="*/ 180249 h 518"/>
                    <a:gd name="T56" fmla="*/ 145175 w 338"/>
                    <a:gd name="T57" fmla="*/ 156870 h 518"/>
                    <a:gd name="T58" fmla="*/ 165008 w 338"/>
                    <a:gd name="T59" fmla="*/ 134998 h 518"/>
                    <a:gd name="T60" fmla="*/ 183254 w 338"/>
                    <a:gd name="T61" fmla="*/ 113127 h 518"/>
                    <a:gd name="T62" fmla="*/ 157075 w 338"/>
                    <a:gd name="T63" fmla="*/ 113127 h 518"/>
                    <a:gd name="T64" fmla="*/ 137242 w 338"/>
                    <a:gd name="T65" fmla="*/ 105585 h 518"/>
                    <a:gd name="T66" fmla="*/ 117410 w 338"/>
                    <a:gd name="T67" fmla="*/ 98044 h 518"/>
                    <a:gd name="T68" fmla="*/ 96784 w 338"/>
                    <a:gd name="T69" fmla="*/ 91256 h 518"/>
                    <a:gd name="T70" fmla="*/ 76951 w 338"/>
                    <a:gd name="T71" fmla="*/ 83714 h 518"/>
                    <a:gd name="T72" fmla="*/ 60291 w 338"/>
                    <a:gd name="T73" fmla="*/ 63351 h 518"/>
                    <a:gd name="T74" fmla="*/ 43632 w 338"/>
                    <a:gd name="T75" fmla="*/ 42988 h 518"/>
                    <a:gd name="T76" fmla="*/ 47598 w 338"/>
                    <a:gd name="T77" fmla="*/ 26396 h 518"/>
                    <a:gd name="T78" fmla="*/ 53945 w 338"/>
                    <a:gd name="T79" fmla="*/ 13575 h 518"/>
                    <a:gd name="T80" fmla="*/ 70604 w 338"/>
                    <a:gd name="T81" fmla="*/ 27905 h 518"/>
                    <a:gd name="T82" fmla="*/ 88057 w 338"/>
                    <a:gd name="T83" fmla="*/ 42988 h 518"/>
                    <a:gd name="T84" fmla="*/ 121376 w 338"/>
                    <a:gd name="T85" fmla="*/ 30921 h 518"/>
                    <a:gd name="T86" fmla="*/ 145969 w 338"/>
                    <a:gd name="T87" fmla="*/ 33938 h 518"/>
                    <a:gd name="T88" fmla="*/ 170561 w 338"/>
                    <a:gd name="T89" fmla="*/ 21871 h 518"/>
                    <a:gd name="T90" fmla="*/ 207847 w 338"/>
                    <a:gd name="T91" fmla="*/ 15084 h 518"/>
                    <a:gd name="T92" fmla="*/ 245132 w 338"/>
                    <a:gd name="T93" fmla="*/ 7542 h 518"/>
                    <a:gd name="T94" fmla="*/ 258618 w 338"/>
                    <a:gd name="T95" fmla="*/ 0 h 518"/>
                    <a:gd name="T96" fmla="*/ 266551 w 338"/>
                    <a:gd name="T97" fmla="*/ 7542 h 518"/>
                    <a:gd name="T98" fmla="*/ 264965 w 338"/>
                    <a:gd name="T99" fmla="*/ 42988 h 518"/>
                    <a:gd name="T100" fmla="*/ 268138 w 338"/>
                    <a:gd name="T101" fmla="*/ 43743 h 518"/>
                    <a:gd name="T102" fmla="*/ 258618 w 338"/>
                    <a:gd name="T103" fmla="*/ 52793 h 518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38"/>
                    <a:gd name="T157" fmla="*/ 0 h 518"/>
                    <a:gd name="T158" fmla="*/ 338 w 338"/>
                    <a:gd name="T159" fmla="*/ 518 h 518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38" h="518">
                      <a:moveTo>
                        <a:pt x="326" y="70"/>
                      </a:moveTo>
                      <a:lnTo>
                        <a:pt x="316" y="113"/>
                      </a:lnTo>
                      <a:lnTo>
                        <a:pt x="293" y="157"/>
                      </a:lnTo>
                      <a:lnTo>
                        <a:pt x="272" y="204"/>
                      </a:lnTo>
                      <a:lnTo>
                        <a:pt x="248" y="248"/>
                      </a:lnTo>
                      <a:lnTo>
                        <a:pt x="225" y="295"/>
                      </a:lnTo>
                      <a:lnTo>
                        <a:pt x="206" y="316"/>
                      </a:lnTo>
                      <a:lnTo>
                        <a:pt x="186" y="336"/>
                      </a:lnTo>
                      <a:lnTo>
                        <a:pt x="165" y="357"/>
                      </a:lnTo>
                      <a:lnTo>
                        <a:pt x="146" y="378"/>
                      </a:lnTo>
                      <a:lnTo>
                        <a:pt x="122" y="402"/>
                      </a:lnTo>
                      <a:lnTo>
                        <a:pt x="99" y="425"/>
                      </a:lnTo>
                      <a:lnTo>
                        <a:pt x="76" y="448"/>
                      </a:lnTo>
                      <a:lnTo>
                        <a:pt x="51" y="471"/>
                      </a:lnTo>
                      <a:lnTo>
                        <a:pt x="35" y="495"/>
                      </a:lnTo>
                      <a:lnTo>
                        <a:pt x="20" y="518"/>
                      </a:lnTo>
                      <a:lnTo>
                        <a:pt x="2" y="487"/>
                      </a:lnTo>
                      <a:lnTo>
                        <a:pt x="2" y="452"/>
                      </a:lnTo>
                      <a:lnTo>
                        <a:pt x="2" y="417"/>
                      </a:lnTo>
                      <a:lnTo>
                        <a:pt x="0" y="382"/>
                      </a:lnTo>
                      <a:lnTo>
                        <a:pt x="0" y="345"/>
                      </a:lnTo>
                      <a:lnTo>
                        <a:pt x="16" y="324"/>
                      </a:lnTo>
                      <a:lnTo>
                        <a:pt x="31" y="303"/>
                      </a:lnTo>
                      <a:lnTo>
                        <a:pt x="47" y="295"/>
                      </a:lnTo>
                      <a:lnTo>
                        <a:pt x="80" y="272"/>
                      </a:lnTo>
                      <a:lnTo>
                        <a:pt x="107" y="270"/>
                      </a:lnTo>
                      <a:lnTo>
                        <a:pt x="132" y="268"/>
                      </a:lnTo>
                      <a:lnTo>
                        <a:pt x="157" y="239"/>
                      </a:lnTo>
                      <a:lnTo>
                        <a:pt x="183" y="208"/>
                      </a:lnTo>
                      <a:lnTo>
                        <a:pt x="208" y="179"/>
                      </a:lnTo>
                      <a:lnTo>
                        <a:pt x="231" y="150"/>
                      </a:lnTo>
                      <a:lnTo>
                        <a:pt x="198" y="150"/>
                      </a:lnTo>
                      <a:lnTo>
                        <a:pt x="173" y="140"/>
                      </a:lnTo>
                      <a:lnTo>
                        <a:pt x="148" y="130"/>
                      </a:lnTo>
                      <a:lnTo>
                        <a:pt x="122" y="121"/>
                      </a:lnTo>
                      <a:lnTo>
                        <a:pt x="97" y="111"/>
                      </a:lnTo>
                      <a:lnTo>
                        <a:pt x="76" y="84"/>
                      </a:lnTo>
                      <a:lnTo>
                        <a:pt x="55" y="57"/>
                      </a:lnTo>
                      <a:lnTo>
                        <a:pt x="60" y="35"/>
                      </a:lnTo>
                      <a:lnTo>
                        <a:pt x="68" y="18"/>
                      </a:lnTo>
                      <a:lnTo>
                        <a:pt x="89" y="37"/>
                      </a:lnTo>
                      <a:lnTo>
                        <a:pt x="111" y="57"/>
                      </a:lnTo>
                      <a:lnTo>
                        <a:pt x="153" y="41"/>
                      </a:lnTo>
                      <a:lnTo>
                        <a:pt x="184" y="45"/>
                      </a:lnTo>
                      <a:lnTo>
                        <a:pt x="215" y="29"/>
                      </a:lnTo>
                      <a:lnTo>
                        <a:pt x="262" y="20"/>
                      </a:lnTo>
                      <a:lnTo>
                        <a:pt x="309" y="10"/>
                      </a:lnTo>
                      <a:lnTo>
                        <a:pt x="326" y="0"/>
                      </a:lnTo>
                      <a:lnTo>
                        <a:pt x="336" y="10"/>
                      </a:lnTo>
                      <a:lnTo>
                        <a:pt x="334" y="57"/>
                      </a:lnTo>
                      <a:lnTo>
                        <a:pt x="338" y="58"/>
                      </a:lnTo>
                      <a:lnTo>
                        <a:pt x="326" y="7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3" name="Freeform 122"/>
                <p:cNvSpPr>
                  <a:spLocks/>
                </p:cNvSpPr>
                <p:nvPr/>
              </p:nvSpPr>
              <p:spPr bwMode="auto">
                <a:xfrm>
                  <a:off x="4930210" y="2731410"/>
                  <a:ext cx="433283" cy="561138"/>
                </a:xfrm>
                <a:custGeom>
                  <a:avLst/>
                  <a:gdLst>
                    <a:gd name="T0" fmla="*/ 50881 w 545"/>
                    <a:gd name="T1" fmla="*/ 88522 h 748"/>
                    <a:gd name="T2" fmla="*/ 75526 w 545"/>
                    <a:gd name="T3" fmla="*/ 60765 h 748"/>
                    <a:gd name="T4" fmla="*/ 93812 w 545"/>
                    <a:gd name="T5" fmla="*/ 31508 h 748"/>
                    <a:gd name="T6" fmla="*/ 135152 w 545"/>
                    <a:gd name="T7" fmla="*/ 31508 h 748"/>
                    <a:gd name="T8" fmla="*/ 177288 w 545"/>
                    <a:gd name="T9" fmla="*/ 31508 h 748"/>
                    <a:gd name="T10" fmla="*/ 217039 w 545"/>
                    <a:gd name="T11" fmla="*/ 31508 h 748"/>
                    <a:gd name="T12" fmla="*/ 241684 w 545"/>
                    <a:gd name="T13" fmla="*/ 26256 h 748"/>
                    <a:gd name="T14" fmla="*/ 275870 w 545"/>
                    <a:gd name="T15" fmla="*/ 36009 h 748"/>
                    <a:gd name="T16" fmla="*/ 314031 w 545"/>
                    <a:gd name="T17" fmla="*/ 26256 h 748"/>
                    <a:gd name="T18" fmla="*/ 333111 w 545"/>
                    <a:gd name="T19" fmla="*/ 6752 h 748"/>
                    <a:gd name="T20" fmla="*/ 349806 w 545"/>
                    <a:gd name="T21" fmla="*/ 0 h 748"/>
                    <a:gd name="T22" fmla="*/ 384787 w 545"/>
                    <a:gd name="T23" fmla="*/ 36009 h 748"/>
                    <a:gd name="T24" fmla="*/ 400687 w 545"/>
                    <a:gd name="T25" fmla="*/ 91523 h 748"/>
                    <a:gd name="T26" fmla="*/ 433283 w 545"/>
                    <a:gd name="T27" fmla="*/ 149287 h 748"/>
                    <a:gd name="T28" fmla="*/ 400687 w 545"/>
                    <a:gd name="T29" fmla="*/ 174043 h 748"/>
                    <a:gd name="T30" fmla="*/ 386377 w 545"/>
                    <a:gd name="T31" fmla="*/ 249811 h 748"/>
                    <a:gd name="T32" fmla="*/ 356167 w 545"/>
                    <a:gd name="T33" fmla="*/ 318078 h 748"/>
                    <a:gd name="T34" fmla="*/ 335496 w 545"/>
                    <a:gd name="T35" fmla="*/ 351837 h 748"/>
                    <a:gd name="T36" fmla="*/ 328341 w 545"/>
                    <a:gd name="T37" fmla="*/ 415602 h 748"/>
                    <a:gd name="T38" fmla="*/ 300516 w 545"/>
                    <a:gd name="T39" fmla="*/ 432106 h 748"/>
                    <a:gd name="T40" fmla="*/ 335496 w 545"/>
                    <a:gd name="T41" fmla="*/ 460613 h 748"/>
                    <a:gd name="T42" fmla="*/ 357757 w 545"/>
                    <a:gd name="T43" fmla="*/ 498873 h 748"/>
                    <a:gd name="T44" fmla="*/ 379222 w 545"/>
                    <a:gd name="T45" fmla="*/ 528130 h 748"/>
                    <a:gd name="T46" fmla="*/ 337086 w 545"/>
                    <a:gd name="T47" fmla="*/ 528130 h 748"/>
                    <a:gd name="T48" fmla="*/ 315621 w 545"/>
                    <a:gd name="T49" fmla="*/ 552886 h 748"/>
                    <a:gd name="T50" fmla="*/ 272690 w 545"/>
                    <a:gd name="T51" fmla="*/ 556637 h 748"/>
                    <a:gd name="T52" fmla="*/ 246455 w 545"/>
                    <a:gd name="T53" fmla="*/ 555137 h 748"/>
                    <a:gd name="T54" fmla="*/ 226579 w 545"/>
                    <a:gd name="T55" fmla="*/ 543884 h 748"/>
                    <a:gd name="T56" fmla="*/ 195574 w 545"/>
                    <a:gd name="T57" fmla="*/ 533381 h 748"/>
                    <a:gd name="T58" fmla="*/ 159798 w 545"/>
                    <a:gd name="T59" fmla="*/ 523629 h 748"/>
                    <a:gd name="T60" fmla="*/ 149463 w 545"/>
                    <a:gd name="T61" fmla="*/ 507125 h 748"/>
                    <a:gd name="T62" fmla="*/ 123227 w 545"/>
                    <a:gd name="T63" fmla="*/ 474117 h 748"/>
                    <a:gd name="T64" fmla="*/ 93812 w 545"/>
                    <a:gd name="T65" fmla="*/ 440358 h 748"/>
                    <a:gd name="T66" fmla="*/ 65986 w 545"/>
                    <a:gd name="T67" fmla="*/ 415602 h 748"/>
                    <a:gd name="T68" fmla="*/ 50881 w 545"/>
                    <a:gd name="T69" fmla="*/ 384095 h 748"/>
                    <a:gd name="T70" fmla="*/ 27826 w 545"/>
                    <a:gd name="T71" fmla="*/ 348836 h 748"/>
                    <a:gd name="T72" fmla="*/ 21465 w 545"/>
                    <a:gd name="T73" fmla="*/ 316578 h 748"/>
                    <a:gd name="T74" fmla="*/ 0 w 545"/>
                    <a:gd name="T75" fmla="*/ 294823 h 748"/>
                    <a:gd name="T76" fmla="*/ 11925 w 545"/>
                    <a:gd name="T77" fmla="*/ 260314 h 748"/>
                    <a:gd name="T78" fmla="*/ 15105 w 545"/>
                    <a:gd name="T79" fmla="*/ 243060 h 748"/>
                    <a:gd name="T80" fmla="*/ 36571 w 545"/>
                    <a:gd name="T81" fmla="*/ 212302 h 748"/>
                    <a:gd name="T82" fmla="*/ 54061 w 545"/>
                    <a:gd name="T83" fmla="*/ 184545 h 748"/>
                    <a:gd name="T84" fmla="*/ 52471 w 545"/>
                    <a:gd name="T85" fmla="*/ 130532 h 74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45"/>
                    <a:gd name="T130" fmla="*/ 0 h 748"/>
                    <a:gd name="T131" fmla="*/ 545 w 545"/>
                    <a:gd name="T132" fmla="*/ 748 h 74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45" h="748">
                      <a:moveTo>
                        <a:pt x="64" y="137"/>
                      </a:moveTo>
                      <a:lnTo>
                        <a:pt x="64" y="118"/>
                      </a:lnTo>
                      <a:lnTo>
                        <a:pt x="97" y="118"/>
                      </a:lnTo>
                      <a:lnTo>
                        <a:pt x="95" y="81"/>
                      </a:lnTo>
                      <a:lnTo>
                        <a:pt x="93" y="42"/>
                      </a:lnTo>
                      <a:lnTo>
                        <a:pt x="118" y="42"/>
                      </a:lnTo>
                      <a:lnTo>
                        <a:pt x="145" y="42"/>
                      </a:lnTo>
                      <a:lnTo>
                        <a:pt x="170" y="42"/>
                      </a:lnTo>
                      <a:lnTo>
                        <a:pt x="196" y="42"/>
                      </a:lnTo>
                      <a:lnTo>
                        <a:pt x="223" y="42"/>
                      </a:lnTo>
                      <a:lnTo>
                        <a:pt x="248" y="42"/>
                      </a:lnTo>
                      <a:lnTo>
                        <a:pt x="273" y="42"/>
                      </a:lnTo>
                      <a:lnTo>
                        <a:pt x="300" y="42"/>
                      </a:lnTo>
                      <a:lnTo>
                        <a:pt x="304" y="35"/>
                      </a:lnTo>
                      <a:lnTo>
                        <a:pt x="306" y="42"/>
                      </a:lnTo>
                      <a:lnTo>
                        <a:pt x="347" y="48"/>
                      </a:lnTo>
                      <a:lnTo>
                        <a:pt x="388" y="52"/>
                      </a:lnTo>
                      <a:lnTo>
                        <a:pt x="395" y="35"/>
                      </a:lnTo>
                      <a:lnTo>
                        <a:pt x="413" y="33"/>
                      </a:lnTo>
                      <a:lnTo>
                        <a:pt x="419" y="9"/>
                      </a:lnTo>
                      <a:lnTo>
                        <a:pt x="428" y="13"/>
                      </a:lnTo>
                      <a:lnTo>
                        <a:pt x="440" y="0"/>
                      </a:lnTo>
                      <a:lnTo>
                        <a:pt x="463" y="25"/>
                      </a:lnTo>
                      <a:lnTo>
                        <a:pt x="484" y="48"/>
                      </a:lnTo>
                      <a:lnTo>
                        <a:pt x="496" y="75"/>
                      </a:lnTo>
                      <a:lnTo>
                        <a:pt x="504" y="122"/>
                      </a:lnTo>
                      <a:lnTo>
                        <a:pt x="514" y="166"/>
                      </a:lnTo>
                      <a:lnTo>
                        <a:pt x="545" y="199"/>
                      </a:lnTo>
                      <a:lnTo>
                        <a:pt x="525" y="217"/>
                      </a:lnTo>
                      <a:lnTo>
                        <a:pt x="504" y="232"/>
                      </a:lnTo>
                      <a:lnTo>
                        <a:pt x="490" y="281"/>
                      </a:lnTo>
                      <a:lnTo>
                        <a:pt x="486" y="333"/>
                      </a:lnTo>
                      <a:lnTo>
                        <a:pt x="483" y="362"/>
                      </a:lnTo>
                      <a:lnTo>
                        <a:pt x="448" y="424"/>
                      </a:lnTo>
                      <a:lnTo>
                        <a:pt x="440" y="467"/>
                      </a:lnTo>
                      <a:lnTo>
                        <a:pt x="422" y="469"/>
                      </a:lnTo>
                      <a:lnTo>
                        <a:pt x="419" y="512"/>
                      </a:lnTo>
                      <a:lnTo>
                        <a:pt x="413" y="554"/>
                      </a:lnTo>
                      <a:lnTo>
                        <a:pt x="389" y="558"/>
                      </a:lnTo>
                      <a:lnTo>
                        <a:pt x="378" y="576"/>
                      </a:lnTo>
                      <a:lnTo>
                        <a:pt x="389" y="585"/>
                      </a:lnTo>
                      <a:lnTo>
                        <a:pt x="422" y="614"/>
                      </a:lnTo>
                      <a:lnTo>
                        <a:pt x="436" y="640"/>
                      </a:lnTo>
                      <a:lnTo>
                        <a:pt x="450" y="665"/>
                      </a:lnTo>
                      <a:lnTo>
                        <a:pt x="469" y="674"/>
                      </a:lnTo>
                      <a:lnTo>
                        <a:pt x="477" y="704"/>
                      </a:lnTo>
                      <a:lnTo>
                        <a:pt x="452" y="704"/>
                      </a:lnTo>
                      <a:lnTo>
                        <a:pt x="424" y="704"/>
                      </a:lnTo>
                      <a:lnTo>
                        <a:pt x="413" y="719"/>
                      </a:lnTo>
                      <a:lnTo>
                        <a:pt x="397" y="737"/>
                      </a:lnTo>
                      <a:lnTo>
                        <a:pt x="358" y="737"/>
                      </a:lnTo>
                      <a:lnTo>
                        <a:pt x="343" y="742"/>
                      </a:lnTo>
                      <a:lnTo>
                        <a:pt x="335" y="738"/>
                      </a:lnTo>
                      <a:lnTo>
                        <a:pt x="310" y="740"/>
                      </a:lnTo>
                      <a:lnTo>
                        <a:pt x="308" y="748"/>
                      </a:lnTo>
                      <a:lnTo>
                        <a:pt x="285" y="725"/>
                      </a:lnTo>
                      <a:lnTo>
                        <a:pt x="260" y="702"/>
                      </a:lnTo>
                      <a:lnTo>
                        <a:pt x="246" y="711"/>
                      </a:lnTo>
                      <a:lnTo>
                        <a:pt x="229" y="713"/>
                      </a:lnTo>
                      <a:lnTo>
                        <a:pt x="201" y="698"/>
                      </a:lnTo>
                      <a:lnTo>
                        <a:pt x="192" y="690"/>
                      </a:lnTo>
                      <a:lnTo>
                        <a:pt x="188" y="676"/>
                      </a:lnTo>
                      <a:lnTo>
                        <a:pt x="169" y="651"/>
                      </a:lnTo>
                      <a:lnTo>
                        <a:pt x="155" y="632"/>
                      </a:lnTo>
                      <a:lnTo>
                        <a:pt x="126" y="603"/>
                      </a:lnTo>
                      <a:lnTo>
                        <a:pt x="118" y="587"/>
                      </a:lnTo>
                      <a:lnTo>
                        <a:pt x="89" y="566"/>
                      </a:lnTo>
                      <a:lnTo>
                        <a:pt x="83" y="554"/>
                      </a:lnTo>
                      <a:lnTo>
                        <a:pt x="58" y="548"/>
                      </a:lnTo>
                      <a:lnTo>
                        <a:pt x="64" y="512"/>
                      </a:lnTo>
                      <a:lnTo>
                        <a:pt x="50" y="488"/>
                      </a:lnTo>
                      <a:lnTo>
                        <a:pt x="35" y="465"/>
                      </a:lnTo>
                      <a:lnTo>
                        <a:pt x="33" y="444"/>
                      </a:lnTo>
                      <a:lnTo>
                        <a:pt x="27" y="422"/>
                      </a:lnTo>
                      <a:lnTo>
                        <a:pt x="11" y="395"/>
                      </a:lnTo>
                      <a:lnTo>
                        <a:pt x="0" y="393"/>
                      </a:lnTo>
                      <a:lnTo>
                        <a:pt x="11" y="364"/>
                      </a:lnTo>
                      <a:lnTo>
                        <a:pt x="15" y="347"/>
                      </a:lnTo>
                      <a:lnTo>
                        <a:pt x="19" y="337"/>
                      </a:lnTo>
                      <a:lnTo>
                        <a:pt x="19" y="324"/>
                      </a:lnTo>
                      <a:lnTo>
                        <a:pt x="35" y="293"/>
                      </a:lnTo>
                      <a:lnTo>
                        <a:pt x="46" y="283"/>
                      </a:lnTo>
                      <a:lnTo>
                        <a:pt x="70" y="283"/>
                      </a:lnTo>
                      <a:lnTo>
                        <a:pt x="68" y="246"/>
                      </a:lnTo>
                      <a:lnTo>
                        <a:pt x="66" y="211"/>
                      </a:lnTo>
                      <a:lnTo>
                        <a:pt x="66" y="174"/>
                      </a:lnTo>
                      <a:lnTo>
                        <a:pt x="64" y="13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4" name="Freeform 123"/>
                <p:cNvSpPr>
                  <a:spLocks/>
                </p:cNvSpPr>
                <p:nvPr/>
              </p:nvSpPr>
              <p:spPr bwMode="auto">
                <a:xfrm>
                  <a:off x="5125543" y="3452366"/>
                  <a:ext cx="49721" cy="65703"/>
                </a:xfrm>
                <a:custGeom>
                  <a:avLst/>
                  <a:gdLst>
                    <a:gd name="T0" fmla="*/ 43092 w 60"/>
                    <a:gd name="T1" fmla="*/ 18068 h 80"/>
                    <a:gd name="T2" fmla="*/ 43092 w 60"/>
                    <a:gd name="T3" fmla="*/ 1643 h 80"/>
                    <a:gd name="T4" fmla="*/ 27347 w 60"/>
                    <a:gd name="T5" fmla="*/ 0 h 80"/>
                    <a:gd name="T6" fmla="*/ 24032 w 60"/>
                    <a:gd name="T7" fmla="*/ 9855 h 80"/>
                    <a:gd name="T8" fmla="*/ 0 w 60"/>
                    <a:gd name="T9" fmla="*/ 11498 h 80"/>
                    <a:gd name="T10" fmla="*/ 0 w 60"/>
                    <a:gd name="T11" fmla="*/ 13141 h 80"/>
                    <a:gd name="T12" fmla="*/ 0 w 60"/>
                    <a:gd name="T13" fmla="*/ 14783 h 80"/>
                    <a:gd name="T14" fmla="*/ 4972 w 60"/>
                    <a:gd name="T15" fmla="*/ 40243 h 80"/>
                    <a:gd name="T16" fmla="*/ 9944 w 60"/>
                    <a:gd name="T17" fmla="*/ 65703 h 80"/>
                    <a:gd name="T18" fmla="*/ 17402 w 60"/>
                    <a:gd name="T19" fmla="*/ 65703 h 80"/>
                    <a:gd name="T20" fmla="*/ 33976 w 60"/>
                    <a:gd name="T21" fmla="*/ 45992 h 80"/>
                    <a:gd name="T22" fmla="*/ 49721 w 60"/>
                    <a:gd name="T23" fmla="*/ 27102 h 80"/>
                    <a:gd name="T24" fmla="*/ 43092 w 60"/>
                    <a:gd name="T25" fmla="*/ 18068 h 8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0"/>
                    <a:gd name="T40" fmla="*/ 0 h 80"/>
                    <a:gd name="T41" fmla="*/ 60 w 60"/>
                    <a:gd name="T42" fmla="*/ 80 h 8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0" h="80">
                      <a:moveTo>
                        <a:pt x="52" y="22"/>
                      </a:moveTo>
                      <a:lnTo>
                        <a:pt x="52" y="2"/>
                      </a:lnTo>
                      <a:lnTo>
                        <a:pt x="33" y="0"/>
                      </a:lnTo>
                      <a:lnTo>
                        <a:pt x="29" y="12"/>
                      </a:lnTo>
                      <a:lnTo>
                        <a:pt x="0" y="14"/>
                      </a:lnTo>
                      <a:lnTo>
                        <a:pt x="0" y="16"/>
                      </a:lnTo>
                      <a:lnTo>
                        <a:pt x="0" y="18"/>
                      </a:lnTo>
                      <a:lnTo>
                        <a:pt x="6" y="49"/>
                      </a:lnTo>
                      <a:lnTo>
                        <a:pt x="12" y="80"/>
                      </a:lnTo>
                      <a:lnTo>
                        <a:pt x="21" y="80"/>
                      </a:lnTo>
                      <a:lnTo>
                        <a:pt x="41" y="56"/>
                      </a:lnTo>
                      <a:lnTo>
                        <a:pt x="60" y="33"/>
                      </a:lnTo>
                      <a:lnTo>
                        <a:pt x="52" y="2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5" name="Freeform 124"/>
                <p:cNvSpPr>
                  <a:spLocks/>
                </p:cNvSpPr>
                <p:nvPr/>
              </p:nvSpPr>
              <p:spPr bwMode="auto">
                <a:xfrm>
                  <a:off x="4654969" y="3287221"/>
                  <a:ext cx="195333" cy="243278"/>
                </a:xfrm>
                <a:custGeom>
                  <a:avLst/>
                  <a:gdLst>
                    <a:gd name="T0" fmla="*/ 36431 w 252"/>
                    <a:gd name="T1" fmla="*/ 170892 h 326"/>
                    <a:gd name="T2" fmla="*/ 12402 w 252"/>
                    <a:gd name="T3" fmla="*/ 172384 h 326"/>
                    <a:gd name="T4" fmla="*/ 13952 w 252"/>
                    <a:gd name="T5" fmla="*/ 181339 h 326"/>
                    <a:gd name="T6" fmla="*/ 16278 w 252"/>
                    <a:gd name="T7" fmla="*/ 188055 h 326"/>
                    <a:gd name="T8" fmla="*/ 20929 w 252"/>
                    <a:gd name="T9" fmla="*/ 199995 h 326"/>
                    <a:gd name="T10" fmla="*/ 16278 w 252"/>
                    <a:gd name="T11" fmla="*/ 205965 h 326"/>
                    <a:gd name="T12" fmla="*/ 9302 w 252"/>
                    <a:gd name="T13" fmla="*/ 201488 h 326"/>
                    <a:gd name="T14" fmla="*/ 0 w 252"/>
                    <a:gd name="T15" fmla="*/ 214174 h 326"/>
                    <a:gd name="T16" fmla="*/ 22479 w 252"/>
                    <a:gd name="T17" fmla="*/ 243278 h 326"/>
                    <a:gd name="T18" fmla="*/ 40307 w 252"/>
                    <a:gd name="T19" fmla="*/ 229099 h 326"/>
                    <a:gd name="T20" fmla="*/ 51159 w 252"/>
                    <a:gd name="T21" fmla="*/ 232830 h 326"/>
                    <a:gd name="T22" fmla="*/ 64336 w 252"/>
                    <a:gd name="T23" fmla="*/ 237308 h 326"/>
                    <a:gd name="T24" fmla="*/ 70537 w 252"/>
                    <a:gd name="T25" fmla="*/ 229099 h 326"/>
                    <a:gd name="T26" fmla="*/ 87590 w 252"/>
                    <a:gd name="T27" fmla="*/ 227607 h 326"/>
                    <a:gd name="T28" fmla="*/ 89915 w 252"/>
                    <a:gd name="T29" fmla="*/ 240293 h 326"/>
                    <a:gd name="T30" fmla="*/ 110069 w 252"/>
                    <a:gd name="T31" fmla="*/ 221637 h 326"/>
                    <a:gd name="T32" fmla="*/ 129447 w 252"/>
                    <a:gd name="T33" fmla="*/ 202980 h 326"/>
                    <a:gd name="T34" fmla="*/ 132547 w 252"/>
                    <a:gd name="T35" fmla="*/ 181339 h 326"/>
                    <a:gd name="T36" fmla="*/ 137198 w 252"/>
                    <a:gd name="T37" fmla="*/ 159698 h 326"/>
                    <a:gd name="T38" fmla="*/ 155026 w 252"/>
                    <a:gd name="T39" fmla="*/ 136564 h 326"/>
                    <a:gd name="T40" fmla="*/ 172854 w 252"/>
                    <a:gd name="T41" fmla="*/ 113430 h 326"/>
                    <a:gd name="T42" fmla="*/ 175955 w 252"/>
                    <a:gd name="T43" fmla="*/ 91043 h 326"/>
                    <a:gd name="T44" fmla="*/ 180606 w 252"/>
                    <a:gd name="T45" fmla="*/ 69401 h 326"/>
                    <a:gd name="T46" fmla="*/ 183706 w 252"/>
                    <a:gd name="T47" fmla="*/ 47760 h 326"/>
                    <a:gd name="T48" fmla="*/ 187582 w 252"/>
                    <a:gd name="T49" fmla="*/ 27611 h 326"/>
                    <a:gd name="T50" fmla="*/ 195333 w 252"/>
                    <a:gd name="T51" fmla="*/ 2985 h 326"/>
                    <a:gd name="T52" fmla="*/ 174404 w 252"/>
                    <a:gd name="T53" fmla="*/ 1493 h 326"/>
                    <a:gd name="T54" fmla="*/ 155026 w 252"/>
                    <a:gd name="T55" fmla="*/ 0 h 326"/>
                    <a:gd name="T56" fmla="*/ 139524 w 252"/>
                    <a:gd name="T57" fmla="*/ 8955 h 326"/>
                    <a:gd name="T58" fmla="*/ 132547 w 252"/>
                    <a:gd name="T59" fmla="*/ 38059 h 326"/>
                    <a:gd name="T60" fmla="*/ 126346 w 252"/>
                    <a:gd name="T61" fmla="*/ 50745 h 326"/>
                    <a:gd name="T62" fmla="*/ 103868 w 252"/>
                    <a:gd name="T63" fmla="*/ 46268 h 326"/>
                    <a:gd name="T64" fmla="*/ 82939 w 252"/>
                    <a:gd name="T65" fmla="*/ 41044 h 326"/>
                    <a:gd name="T66" fmla="*/ 55809 w 252"/>
                    <a:gd name="T67" fmla="*/ 39551 h 326"/>
                    <a:gd name="T68" fmla="*/ 54259 w 252"/>
                    <a:gd name="T69" fmla="*/ 66416 h 326"/>
                    <a:gd name="T70" fmla="*/ 82939 w 252"/>
                    <a:gd name="T71" fmla="*/ 64178 h 326"/>
                    <a:gd name="T72" fmla="*/ 84489 w 252"/>
                    <a:gd name="T73" fmla="*/ 84326 h 326"/>
                    <a:gd name="T74" fmla="*/ 72087 w 252"/>
                    <a:gd name="T75" fmla="*/ 99998 h 326"/>
                    <a:gd name="T76" fmla="*/ 87590 w 252"/>
                    <a:gd name="T77" fmla="*/ 124624 h 326"/>
                    <a:gd name="T78" fmla="*/ 81389 w 252"/>
                    <a:gd name="T79" fmla="*/ 163429 h 326"/>
                    <a:gd name="T80" fmla="*/ 72087 w 252"/>
                    <a:gd name="T81" fmla="*/ 170892 h 326"/>
                    <a:gd name="T82" fmla="*/ 67436 w 252"/>
                    <a:gd name="T83" fmla="*/ 163429 h 326"/>
                    <a:gd name="T84" fmla="*/ 52709 w 252"/>
                    <a:gd name="T85" fmla="*/ 169399 h 326"/>
                    <a:gd name="T86" fmla="*/ 37981 w 252"/>
                    <a:gd name="T87" fmla="*/ 153728 h 326"/>
                    <a:gd name="T88" fmla="*/ 36431 w 252"/>
                    <a:gd name="T89" fmla="*/ 170892 h 32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52"/>
                    <a:gd name="T136" fmla="*/ 0 h 326"/>
                    <a:gd name="T137" fmla="*/ 252 w 252"/>
                    <a:gd name="T138" fmla="*/ 326 h 32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52" h="326">
                      <a:moveTo>
                        <a:pt x="47" y="229"/>
                      </a:moveTo>
                      <a:lnTo>
                        <a:pt x="16" y="231"/>
                      </a:lnTo>
                      <a:lnTo>
                        <a:pt x="18" y="243"/>
                      </a:lnTo>
                      <a:lnTo>
                        <a:pt x="21" y="252"/>
                      </a:lnTo>
                      <a:lnTo>
                        <a:pt x="27" y="268"/>
                      </a:lnTo>
                      <a:lnTo>
                        <a:pt x="21" y="276"/>
                      </a:lnTo>
                      <a:lnTo>
                        <a:pt x="12" y="270"/>
                      </a:lnTo>
                      <a:lnTo>
                        <a:pt x="0" y="287"/>
                      </a:lnTo>
                      <a:lnTo>
                        <a:pt x="29" y="326"/>
                      </a:lnTo>
                      <a:lnTo>
                        <a:pt x="52" y="307"/>
                      </a:lnTo>
                      <a:lnTo>
                        <a:pt x="66" y="312"/>
                      </a:lnTo>
                      <a:lnTo>
                        <a:pt x="83" y="318"/>
                      </a:lnTo>
                      <a:lnTo>
                        <a:pt x="91" y="307"/>
                      </a:lnTo>
                      <a:lnTo>
                        <a:pt x="113" y="305"/>
                      </a:lnTo>
                      <a:lnTo>
                        <a:pt x="116" y="322"/>
                      </a:lnTo>
                      <a:lnTo>
                        <a:pt x="142" y="297"/>
                      </a:lnTo>
                      <a:lnTo>
                        <a:pt x="167" y="272"/>
                      </a:lnTo>
                      <a:lnTo>
                        <a:pt x="171" y="243"/>
                      </a:lnTo>
                      <a:lnTo>
                        <a:pt x="177" y="214"/>
                      </a:lnTo>
                      <a:lnTo>
                        <a:pt x="200" y="183"/>
                      </a:lnTo>
                      <a:lnTo>
                        <a:pt x="223" y="152"/>
                      </a:lnTo>
                      <a:lnTo>
                        <a:pt x="227" y="122"/>
                      </a:lnTo>
                      <a:lnTo>
                        <a:pt x="233" y="93"/>
                      </a:lnTo>
                      <a:lnTo>
                        <a:pt x="237" y="64"/>
                      </a:lnTo>
                      <a:lnTo>
                        <a:pt x="242" y="37"/>
                      </a:lnTo>
                      <a:lnTo>
                        <a:pt x="252" y="4"/>
                      </a:lnTo>
                      <a:lnTo>
                        <a:pt x="225" y="2"/>
                      </a:lnTo>
                      <a:lnTo>
                        <a:pt x="200" y="0"/>
                      </a:lnTo>
                      <a:lnTo>
                        <a:pt x="180" y="12"/>
                      </a:lnTo>
                      <a:lnTo>
                        <a:pt x="171" y="51"/>
                      </a:lnTo>
                      <a:lnTo>
                        <a:pt x="163" y="68"/>
                      </a:lnTo>
                      <a:lnTo>
                        <a:pt x="134" y="62"/>
                      </a:lnTo>
                      <a:lnTo>
                        <a:pt x="107" y="55"/>
                      </a:lnTo>
                      <a:lnTo>
                        <a:pt x="72" y="53"/>
                      </a:lnTo>
                      <a:lnTo>
                        <a:pt x="70" y="89"/>
                      </a:lnTo>
                      <a:lnTo>
                        <a:pt x="107" y="86"/>
                      </a:lnTo>
                      <a:lnTo>
                        <a:pt x="109" y="113"/>
                      </a:lnTo>
                      <a:lnTo>
                        <a:pt x="93" y="134"/>
                      </a:lnTo>
                      <a:lnTo>
                        <a:pt x="113" y="167"/>
                      </a:lnTo>
                      <a:lnTo>
                        <a:pt x="105" y="219"/>
                      </a:lnTo>
                      <a:lnTo>
                        <a:pt x="93" y="229"/>
                      </a:lnTo>
                      <a:lnTo>
                        <a:pt x="87" y="219"/>
                      </a:lnTo>
                      <a:lnTo>
                        <a:pt x="68" y="227"/>
                      </a:lnTo>
                      <a:lnTo>
                        <a:pt x="49" y="206"/>
                      </a:lnTo>
                      <a:lnTo>
                        <a:pt x="47" y="2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6" name="Freeform 125"/>
                <p:cNvSpPr>
                  <a:spLocks/>
                </p:cNvSpPr>
                <p:nvPr/>
              </p:nvSpPr>
              <p:spPr bwMode="auto">
                <a:xfrm>
                  <a:off x="5255173" y="3257033"/>
                  <a:ext cx="209539" cy="266363"/>
                </a:xfrm>
                <a:custGeom>
                  <a:avLst/>
                  <a:gdLst>
                    <a:gd name="T0" fmla="*/ 95744 w 267"/>
                    <a:gd name="T1" fmla="*/ 218207 h 354"/>
                    <a:gd name="T2" fmla="*/ 72985 w 267"/>
                    <a:gd name="T3" fmla="*/ 203911 h 354"/>
                    <a:gd name="T4" fmla="*/ 48657 w 267"/>
                    <a:gd name="T5" fmla="*/ 189614 h 354"/>
                    <a:gd name="T6" fmla="*/ 24328 w 267"/>
                    <a:gd name="T7" fmla="*/ 174566 h 354"/>
                    <a:gd name="T8" fmla="*/ 0 w 267"/>
                    <a:gd name="T9" fmla="*/ 161774 h 354"/>
                    <a:gd name="T10" fmla="*/ 0 w 267"/>
                    <a:gd name="T11" fmla="*/ 129419 h 354"/>
                    <a:gd name="T12" fmla="*/ 18050 w 267"/>
                    <a:gd name="T13" fmla="*/ 100074 h 354"/>
                    <a:gd name="T14" fmla="*/ 29037 w 267"/>
                    <a:gd name="T15" fmla="*/ 78254 h 354"/>
                    <a:gd name="T16" fmla="*/ 19620 w 267"/>
                    <a:gd name="T17" fmla="*/ 56433 h 354"/>
                    <a:gd name="T18" fmla="*/ 11772 w 267"/>
                    <a:gd name="T19" fmla="*/ 34612 h 354"/>
                    <a:gd name="T20" fmla="*/ 1570 w 267"/>
                    <a:gd name="T21" fmla="*/ 11287 h 354"/>
                    <a:gd name="T22" fmla="*/ 10202 w 267"/>
                    <a:gd name="T23" fmla="*/ 0 h 354"/>
                    <a:gd name="T24" fmla="*/ 32176 w 267"/>
                    <a:gd name="T25" fmla="*/ 0 h 354"/>
                    <a:gd name="T26" fmla="*/ 51796 w 267"/>
                    <a:gd name="T27" fmla="*/ 0 h 354"/>
                    <a:gd name="T28" fmla="*/ 74555 w 267"/>
                    <a:gd name="T29" fmla="*/ 3762 h 354"/>
                    <a:gd name="T30" fmla="*/ 106731 w 267"/>
                    <a:gd name="T31" fmla="*/ 25583 h 354"/>
                    <a:gd name="T32" fmla="*/ 142832 w 267"/>
                    <a:gd name="T33" fmla="*/ 31602 h 354"/>
                    <a:gd name="T34" fmla="*/ 156173 w 267"/>
                    <a:gd name="T35" fmla="*/ 21821 h 354"/>
                    <a:gd name="T36" fmla="*/ 183641 w 267"/>
                    <a:gd name="T37" fmla="*/ 14296 h 354"/>
                    <a:gd name="T38" fmla="*/ 209539 w 267"/>
                    <a:gd name="T39" fmla="*/ 18811 h 354"/>
                    <a:gd name="T40" fmla="*/ 197767 w 267"/>
                    <a:gd name="T41" fmla="*/ 34612 h 354"/>
                    <a:gd name="T42" fmla="*/ 185210 w 267"/>
                    <a:gd name="T43" fmla="*/ 50413 h 354"/>
                    <a:gd name="T44" fmla="*/ 185210 w 267"/>
                    <a:gd name="T45" fmla="*/ 78254 h 354"/>
                    <a:gd name="T46" fmla="*/ 186780 w 267"/>
                    <a:gd name="T47" fmla="*/ 104589 h 354"/>
                    <a:gd name="T48" fmla="*/ 186780 w 267"/>
                    <a:gd name="T49" fmla="*/ 130924 h 354"/>
                    <a:gd name="T50" fmla="*/ 186780 w 267"/>
                    <a:gd name="T51" fmla="*/ 157260 h 354"/>
                    <a:gd name="T52" fmla="*/ 200906 w 267"/>
                    <a:gd name="T53" fmla="*/ 180585 h 354"/>
                    <a:gd name="T54" fmla="*/ 185210 w 267"/>
                    <a:gd name="T55" fmla="*/ 188109 h 354"/>
                    <a:gd name="T56" fmla="*/ 176578 w 267"/>
                    <a:gd name="T57" fmla="*/ 205416 h 354"/>
                    <a:gd name="T58" fmla="*/ 164021 w 267"/>
                    <a:gd name="T59" fmla="*/ 215950 h 354"/>
                    <a:gd name="T60" fmla="*/ 152249 w 267"/>
                    <a:gd name="T61" fmla="*/ 240028 h 354"/>
                    <a:gd name="T62" fmla="*/ 141262 w 267"/>
                    <a:gd name="T63" fmla="*/ 264858 h 354"/>
                    <a:gd name="T64" fmla="*/ 138123 w 267"/>
                    <a:gd name="T65" fmla="*/ 266363 h 354"/>
                    <a:gd name="T66" fmla="*/ 118503 w 267"/>
                    <a:gd name="T67" fmla="*/ 247552 h 354"/>
                    <a:gd name="T68" fmla="*/ 98884 w 267"/>
                    <a:gd name="T69" fmla="*/ 228741 h 354"/>
                    <a:gd name="T70" fmla="*/ 95744 w 267"/>
                    <a:gd name="T71" fmla="*/ 218207 h 354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67"/>
                    <a:gd name="T109" fmla="*/ 0 h 354"/>
                    <a:gd name="T110" fmla="*/ 267 w 267"/>
                    <a:gd name="T111" fmla="*/ 354 h 354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67" h="354">
                      <a:moveTo>
                        <a:pt x="122" y="290"/>
                      </a:moveTo>
                      <a:lnTo>
                        <a:pt x="93" y="271"/>
                      </a:lnTo>
                      <a:lnTo>
                        <a:pt x="62" y="252"/>
                      </a:lnTo>
                      <a:lnTo>
                        <a:pt x="31" y="232"/>
                      </a:lnTo>
                      <a:lnTo>
                        <a:pt x="0" y="215"/>
                      </a:lnTo>
                      <a:lnTo>
                        <a:pt x="0" y="172"/>
                      </a:lnTo>
                      <a:lnTo>
                        <a:pt x="23" y="133"/>
                      </a:lnTo>
                      <a:lnTo>
                        <a:pt x="37" y="104"/>
                      </a:lnTo>
                      <a:lnTo>
                        <a:pt x="25" y="75"/>
                      </a:lnTo>
                      <a:lnTo>
                        <a:pt x="15" y="46"/>
                      </a:lnTo>
                      <a:lnTo>
                        <a:pt x="2" y="15"/>
                      </a:lnTo>
                      <a:lnTo>
                        <a:pt x="13" y="0"/>
                      </a:lnTo>
                      <a:lnTo>
                        <a:pt x="41" y="0"/>
                      </a:lnTo>
                      <a:lnTo>
                        <a:pt x="66" y="0"/>
                      </a:lnTo>
                      <a:lnTo>
                        <a:pt x="95" y="5"/>
                      </a:lnTo>
                      <a:lnTo>
                        <a:pt x="136" y="34"/>
                      </a:lnTo>
                      <a:lnTo>
                        <a:pt x="182" y="42"/>
                      </a:lnTo>
                      <a:lnTo>
                        <a:pt x="199" y="29"/>
                      </a:lnTo>
                      <a:lnTo>
                        <a:pt x="234" y="19"/>
                      </a:lnTo>
                      <a:lnTo>
                        <a:pt x="267" y="25"/>
                      </a:lnTo>
                      <a:lnTo>
                        <a:pt x="252" y="46"/>
                      </a:lnTo>
                      <a:lnTo>
                        <a:pt x="236" y="67"/>
                      </a:lnTo>
                      <a:lnTo>
                        <a:pt x="236" y="104"/>
                      </a:lnTo>
                      <a:lnTo>
                        <a:pt x="238" y="139"/>
                      </a:lnTo>
                      <a:lnTo>
                        <a:pt x="238" y="174"/>
                      </a:lnTo>
                      <a:lnTo>
                        <a:pt x="238" y="209"/>
                      </a:lnTo>
                      <a:lnTo>
                        <a:pt x="256" y="240"/>
                      </a:lnTo>
                      <a:lnTo>
                        <a:pt x="236" y="250"/>
                      </a:lnTo>
                      <a:lnTo>
                        <a:pt x="225" y="273"/>
                      </a:lnTo>
                      <a:lnTo>
                        <a:pt x="209" y="287"/>
                      </a:lnTo>
                      <a:lnTo>
                        <a:pt x="194" y="319"/>
                      </a:lnTo>
                      <a:lnTo>
                        <a:pt x="180" y="352"/>
                      </a:lnTo>
                      <a:lnTo>
                        <a:pt x="176" y="354"/>
                      </a:lnTo>
                      <a:lnTo>
                        <a:pt x="151" y="329"/>
                      </a:lnTo>
                      <a:lnTo>
                        <a:pt x="126" y="304"/>
                      </a:lnTo>
                      <a:lnTo>
                        <a:pt x="122" y="29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7" name="Freeform 126"/>
                <p:cNvSpPr>
                  <a:spLocks/>
                </p:cNvSpPr>
                <p:nvPr/>
              </p:nvSpPr>
              <p:spPr bwMode="auto">
                <a:xfrm>
                  <a:off x="222693" y="3335166"/>
                  <a:ext cx="14206" cy="5327"/>
                </a:xfrm>
                <a:custGeom>
                  <a:avLst/>
                  <a:gdLst>
                    <a:gd name="T0" fmla="*/ 14206 w 12"/>
                    <a:gd name="T1" fmla="*/ 5327 h 6"/>
                    <a:gd name="T2" fmla="*/ 7103 w 12"/>
                    <a:gd name="T3" fmla="*/ 0 h 6"/>
                    <a:gd name="T4" fmla="*/ 0 w 12"/>
                    <a:gd name="T5" fmla="*/ 3551 h 6"/>
                    <a:gd name="T6" fmla="*/ 14206 w 12"/>
                    <a:gd name="T7" fmla="*/ 5327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6"/>
                    <a:gd name="T14" fmla="*/ 12 w 12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6">
                      <a:moveTo>
                        <a:pt x="12" y="6"/>
                      </a:moveTo>
                      <a:lnTo>
                        <a:pt x="6" y="0"/>
                      </a:lnTo>
                      <a:lnTo>
                        <a:pt x="0" y="4"/>
                      </a:lnTo>
                      <a:lnTo>
                        <a:pt x="12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8" name="Freeform 127"/>
                <p:cNvSpPr>
                  <a:spLocks/>
                </p:cNvSpPr>
                <p:nvPr/>
              </p:nvSpPr>
              <p:spPr bwMode="auto">
                <a:xfrm>
                  <a:off x="8900791" y="3304978"/>
                  <a:ext cx="7103" cy="0"/>
                </a:xfrm>
                <a:custGeom>
                  <a:avLst/>
                  <a:gdLst>
                    <a:gd name="T0" fmla="*/ 7103 w 4"/>
                    <a:gd name="T1" fmla="*/ 0 h 2"/>
                    <a:gd name="T2" fmla="*/ 3552 w 4"/>
                    <a:gd name="T3" fmla="*/ 0 h 2"/>
                    <a:gd name="T4" fmla="*/ 0 w 4"/>
                    <a:gd name="T5" fmla="*/ 0 h 2"/>
                    <a:gd name="T6" fmla="*/ 3552 w 4"/>
                    <a:gd name="T7" fmla="*/ 0 h 2"/>
                    <a:gd name="T8" fmla="*/ 7103 w 4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2"/>
                    <a:gd name="T17" fmla="*/ 4 w 4"/>
                    <a:gd name="T18" fmla="*/ 0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2">
                      <a:moveTo>
                        <a:pt x="4" y="0"/>
                      </a:move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39" name="Freeform 128"/>
                <p:cNvSpPr>
                  <a:spLocks/>
                </p:cNvSpPr>
                <p:nvPr/>
              </p:nvSpPr>
              <p:spPr bwMode="auto">
                <a:xfrm>
                  <a:off x="8907894" y="3335166"/>
                  <a:ext cx="0" cy="5327"/>
                </a:xfrm>
                <a:custGeom>
                  <a:avLst/>
                  <a:gdLst>
                    <a:gd name="T0" fmla="*/ 0 w 3"/>
                    <a:gd name="T1" fmla="*/ 5327 h 8"/>
                    <a:gd name="T2" fmla="*/ 0 w 3"/>
                    <a:gd name="T3" fmla="*/ 3995 h 8"/>
                    <a:gd name="T4" fmla="*/ 0 w 3"/>
                    <a:gd name="T5" fmla="*/ 0 h 8"/>
                    <a:gd name="T6" fmla="*/ 0 w 3"/>
                    <a:gd name="T7" fmla="*/ 1332 h 8"/>
                    <a:gd name="T8" fmla="*/ 0 w 3"/>
                    <a:gd name="T9" fmla="*/ 3995 h 8"/>
                    <a:gd name="T10" fmla="*/ 0 w 3"/>
                    <a:gd name="T11" fmla="*/ 5327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"/>
                    <a:gd name="T19" fmla="*/ 0 h 8"/>
                    <a:gd name="T20" fmla="*/ 0 w 3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" h="8">
                      <a:moveTo>
                        <a:pt x="3" y="8"/>
                      </a:move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6"/>
                      </a:lnTo>
                      <a:lnTo>
                        <a:pt x="3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0" name="Freeform 129"/>
                <p:cNvSpPr>
                  <a:spLocks/>
                </p:cNvSpPr>
                <p:nvPr/>
              </p:nvSpPr>
              <p:spPr bwMode="auto">
                <a:xfrm>
                  <a:off x="8914997" y="3345821"/>
                  <a:ext cx="0" cy="7103"/>
                </a:xfrm>
                <a:custGeom>
                  <a:avLst/>
                  <a:gdLst>
                    <a:gd name="T0" fmla="*/ 0 w 2"/>
                    <a:gd name="T1" fmla="*/ 0 h 7103"/>
                    <a:gd name="T2" fmla="*/ 0 w 2"/>
                    <a:gd name="T3" fmla="*/ 0 h 7103"/>
                    <a:gd name="T4" fmla="*/ 0 w 2"/>
                    <a:gd name="T5" fmla="*/ 0 h 7103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7103"/>
                    <a:gd name="T11" fmla="*/ 0 w 2"/>
                    <a:gd name="T12" fmla="*/ 7103 h 710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710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1" name="Freeform 130"/>
                <p:cNvSpPr>
                  <a:spLocks/>
                </p:cNvSpPr>
                <p:nvPr/>
              </p:nvSpPr>
              <p:spPr bwMode="auto">
                <a:xfrm>
                  <a:off x="8907894" y="3340493"/>
                  <a:ext cx="0" cy="5327"/>
                </a:xfrm>
                <a:custGeom>
                  <a:avLst/>
                  <a:gdLst>
                    <a:gd name="T0" fmla="*/ 5327 h 4"/>
                    <a:gd name="T1" fmla="*/ 2664 h 4"/>
                    <a:gd name="T2" fmla="*/ 0 h 4"/>
                    <a:gd name="T3" fmla="*/ 5327 h 4"/>
                    <a:gd name="T4" fmla="*/ 0 60000 65536"/>
                    <a:gd name="T5" fmla="*/ 0 60000 65536"/>
                    <a:gd name="T6" fmla="*/ 0 60000 65536"/>
                    <a:gd name="T7" fmla="*/ 0 60000 65536"/>
                    <a:gd name="T8" fmla="*/ 0 h 4"/>
                    <a:gd name="T9" fmla="*/ 4 h 4"/>
                  </a:gdLst>
                  <a:ahLst/>
                  <a:cxnLst>
                    <a:cxn ang="T4">
                      <a:pos x="0" y="T0"/>
                    </a:cxn>
                    <a:cxn ang="T5">
                      <a:pos x="0" y="T1"/>
                    </a:cxn>
                    <a:cxn ang="T6">
                      <a:pos x="0" y="T2"/>
                    </a:cxn>
                    <a:cxn ang="T7">
                      <a:pos x="0" y="T3"/>
                    </a:cxn>
                  </a:cxnLst>
                  <a:rect l="0" t="T8" r="0" b="T9"/>
                  <a:pathLst>
                    <a:path h="4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2" name="Freeform 131"/>
                <p:cNvSpPr>
                  <a:spLocks/>
                </p:cNvSpPr>
                <p:nvPr/>
              </p:nvSpPr>
              <p:spPr bwMode="auto">
                <a:xfrm>
                  <a:off x="4431224" y="2997773"/>
                  <a:ext cx="310757" cy="271690"/>
                </a:xfrm>
                <a:custGeom>
                  <a:avLst/>
                  <a:gdLst>
                    <a:gd name="T0" fmla="*/ 206650 w 397"/>
                    <a:gd name="T1" fmla="*/ 193522 h 358"/>
                    <a:gd name="T2" fmla="*/ 187080 w 397"/>
                    <a:gd name="T3" fmla="*/ 201111 h 358"/>
                    <a:gd name="T4" fmla="*/ 174556 w 397"/>
                    <a:gd name="T5" fmla="*/ 217048 h 358"/>
                    <a:gd name="T6" fmla="*/ 162815 w 397"/>
                    <a:gd name="T7" fmla="*/ 233744 h 358"/>
                    <a:gd name="T8" fmla="*/ 154987 w 397"/>
                    <a:gd name="T9" fmla="*/ 257271 h 358"/>
                    <a:gd name="T10" fmla="*/ 145594 w 397"/>
                    <a:gd name="T11" fmla="*/ 257271 h 358"/>
                    <a:gd name="T12" fmla="*/ 147159 w 397"/>
                    <a:gd name="T13" fmla="*/ 265619 h 358"/>
                    <a:gd name="T14" fmla="*/ 121328 w 397"/>
                    <a:gd name="T15" fmla="*/ 265619 h 358"/>
                    <a:gd name="T16" fmla="*/ 116632 w 397"/>
                    <a:gd name="T17" fmla="*/ 263342 h 358"/>
                    <a:gd name="T18" fmla="*/ 113501 w 397"/>
                    <a:gd name="T19" fmla="*/ 264860 h 358"/>
                    <a:gd name="T20" fmla="*/ 109587 w 397"/>
                    <a:gd name="T21" fmla="*/ 268654 h 358"/>
                    <a:gd name="T22" fmla="*/ 106456 w 397"/>
                    <a:gd name="T23" fmla="*/ 258789 h 358"/>
                    <a:gd name="T24" fmla="*/ 104890 w 397"/>
                    <a:gd name="T25" fmla="*/ 271690 h 358"/>
                    <a:gd name="T26" fmla="*/ 104890 w 397"/>
                    <a:gd name="T27" fmla="*/ 265619 h 358"/>
                    <a:gd name="T28" fmla="*/ 101759 w 397"/>
                    <a:gd name="T29" fmla="*/ 267137 h 358"/>
                    <a:gd name="T30" fmla="*/ 93932 w 397"/>
                    <a:gd name="T31" fmla="*/ 268654 h 358"/>
                    <a:gd name="T32" fmla="*/ 82190 w 397"/>
                    <a:gd name="T33" fmla="*/ 270172 h 358"/>
                    <a:gd name="T34" fmla="*/ 71231 w 397"/>
                    <a:gd name="T35" fmla="*/ 242092 h 358"/>
                    <a:gd name="T36" fmla="*/ 72797 w 397"/>
                    <a:gd name="T37" fmla="*/ 239816 h 358"/>
                    <a:gd name="T38" fmla="*/ 68100 w 397"/>
                    <a:gd name="T39" fmla="*/ 235262 h 358"/>
                    <a:gd name="T40" fmla="*/ 69666 w 397"/>
                    <a:gd name="T41" fmla="*/ 235262 h 358"/>
                    <a:gd name="T42" fmla="*/ 64187 w 397"/>
                    <a:gd name="T43" fmla="*/ 229191 h 358"/>
                    <a:gd name="T44" fmla="*/ 36790 w 397"/>
                    <a:gd name="T45" fmla="*/ 211736 h 358"/>
                    <a:gd name="T46" fmla="*/ 21135 w 397"/>
                    <a:gd name="T47" fmla="*/ 210218 h 358"/>
                    <a:gd name="T48" fmla="*/ 25831 w 397"/>
                    <a:gd name="T49" fmla="*/ 205665 h 358"/>
                    <a:gd name="T50" fmla="*/ 0 w 397"/>
                    <a:gd name="T51" fmla="*/ 213254 h 358"/>
                    <a:gd name="T52" fmla="*/ 3131 w 397"/>
                    <a:gd name="T53" fmla="*/ 173032 h 358"/>
                    <a:gd name="T54" fmla="*/ 4697 w 397"/>
                    <a:gd name="T55" fmla="*/ 135086 h 358"/>
                    <a:gd name="T56" fmla="*/ 24266 w 397"/>
                    <a:gd name="T57" fmla="*/ 102453 h 358"/>
                    <a:gd name="T58" fmla="*/ 25831 w 397"/>
                    <a:gd name="T59" fmla="*/ 75891 h 358"/>
                    <a:gd name="T60" fmla="*/ 21135 w 397"/>
                    <a:gd name="T61" fmla="*/ 59954 h 358"/>
                    <a:gd name="T62" fmla="*/ 22700 w 397"/>
                    <a:gd name="T63" fmla="*/ 59954 h 358"/>
                    <a:gd name="T64" fmla="*/ 24266 w 397"/>
                    <a:gd name="T65" fmla="*/ 47052 h 358"/>
                    <a:gd name="T66" fmla="*/ 32093 w 397"/>
                    <a:gd name="T67" fmla="*/ 28839 h 358"/>
                    <a:gd name="T68" fmla="*/ 36790 w 397"/>
                    <a:gd name="T69" fmla="*/ 6830 h 358"/>
                    <a:gd name="T70" fmla="*/ 62621 w 397"/>
                    <a:gd name="T71" fmla="*/ 0 h 358"/>
                    <a:gd name="T72" fmla="*/ 88452 w 397"/>
                    <a:gd name="T73" fmla="*/ 2277 h 358"/>
                    <a:gd name="T74" fmla="*/ 106456 w 397"/>
                    <a:gd name="T75" fmla="*/ 18973 h 358"/>
                    <a:gd name="T76" fmla="*/ 132287 w 397"/>
                    <a:gd name="T77" fmla="*/ 11384 h 358"/>
                    <a:gd name="T78" fmla="*/ 151856 w 397"/>
                    <a:gd name="T79" fmla="*/ 18973 h 358"/>
                    <a:gd name="T80" fmla="*/ 171425 w 397"/>
                    <a:gd name="T81" fmla="*/ 25803 h 358"/>
                    <a:gd name="T82" fmla="*/ 201953 w 397"/>
                    <a:gd name="T83" fmla="*/ 12901 h 358"/>
                    <a:gd name="T84" fmla="*/ 229350 w 397"/>
                    <a:gd name="T85" fmla="*/ 14419 h 358"/>
                    <a:gd name="T86" fmla="*/ 255181 w 397"/>
                    <a:gd name="T87" fmla="*/ 17455 h 358"/>
                    <a:gd name="T88" fmla="*/ 284143 w 397"/>
                    <a:gd name="T89" fmla="*/ 759 h 358"/>
                    <a:gd name="T90" fmla="*/ 295885 w 397"/>
                    <a:gd name="T91" fmla="*/ 18973 h 358"/>
                    <a:gd name="T92" fmla="*/ 300581 w 397"/>
                    <a:gd name="T93" fmla="*/ 40981 h 358"/>
                    <a:gd name="T94" fmla="*/ 310757 w 397"/>
                    <a:gd name="T95" fmla="*/ 50847 h 358"/>
                    <a:gd name="T96" fmla="*/ 305278 w 397"/>
                    <a:gd name="T97" fmla="*/ 67543 h 358"/>
                    <a:gd name="T98" fmla="*/ 286491 w 397"/>
                    <a:gd name="T99" fmla="*/ 83480 h 358"/>
                    <a:gd name="T100" fmla="*/ 277881 w 397"/>
                    <a:gd name="T101" fmla="*/ 103971 h 358"/>
                    <a:gd name="T102" fmla="*/ 268488 w 397"/>
                    <a:gd name="T103" fmla="*/ 124461 h 358"/>
                    <a:gd name="T104" fmla="*/ 258312 w 397"/>
                    <a:gd name="T105" fmla="*/ 147988 h 358"/>
                    <a:gd name="T106" fmla="*/ 248919 w 397"/>
                    <a:gd name="T107" fmla="*/ 163166 h 358"/>
                    <a:gd name="T108" fmla="*/ 237960 w 397"/>
                    <a:gd name="T109" fmla="*/ 188210 h 358"/>
                    <a:gd name="T110" fmla="*/ 221522 w 397"/>
                    <a:gd name="T111" fmla="*/ 211736 h 358"/>
                    <a:gd name="T112" fmla="*/ 206650 w 397"/>
                    <a:gd name="T113" fmla="*/ 193522 h 35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397"/>
                    <a:gd name="T172" fmla="*/ 0 h 358"/>
                    <a:gd name="T173" fmla="*/ 397 w 397"/>
                    <a:gd name="T174" fmla="*/ 358 h 35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397" h="358">
                      <a:moveTo>
                        <a:pt x="264" y="255"/>
                      </a:moveTo>
                      <a:lnTo>
                        <a:pt x="239" y="265"/>
                      </a:lnTo>
                      <a:lnTo>
                        <a:pt x="223" y="286"/>
                      </a:lnTo>
                      <a:lnTo>
                        <a:pt x="208" y="308"/>
                      </a:lnTo>
                      <a:lnTo>
                        <a:pt x="198" y="339"/>
                      </a:lnTo>
                      <a:lnTo>
                        <a:pt x="186" y="339"/>
                      </a:lnTo>
                      <a:lnTo>
                        <a:pt x="188" y="350"/>
                      </a:lnTo>
                      <a:lnTo>
                        <a:pt x="155" y="350"/>
                      </a:lnTo>
                      <a:lnTo>
                        <a:pt x="149" y="347"/>
                      </a:lnTo>
                      <a:lnTo>
                        <a:pt x="145" y="349"/>
                      </a:lnTo>
                      <a:lnTo>
                        <a:pt x="140" y="354"/>
                      </a:lnTo>
                      <a:lnTo>
                        <a:pt x="136" y="341"/>
                      </a:lnTo>
                      <a:lnTo>
                        <a:pt x="134" y="358"/>
                      </a:lnTo>
                      <a:lnTo>
                        <a:pt x="134" y="350"/>
                      </a:lnTo>
                      <a:lnTo>
                        <a:pt x="130" y="352"/>
                      </a:lnTo>
                      <a:lnTo>
                        <a:pt x="120" y="354"/>
                      </a:lnTo>
                      <a:lnTo>
                        <a:pt x="105" y="356"/>
                      </a:lnTo>
                      <a:lnTo>
                        <a:pt x="91" y="319"/>
                      </a:lnTo>
                      <a:lnTo>
                        <a:pt x="93" y="316"/>
                      </a:lnTo>
                      <a:lnTo>
                        <a:pt x="87" y="310"/>
                      </a:lnTo>
                      <a:lnTo>
                        <a:pt x="89" y="310"/>
                      </a:lnTo>
                      <a:lnTo>
                        <a:pt x="82" y="302"/>
                      </a:lnTo>
                      <a:lnTo>
                        <a:pt x="47" y="279"/>
                      </a:lnTo>
                      <a:lnTo>
                        <a:pt x="27" y="277"/>
                      </a:lnTo>
                      <a:lnTo>
                        <a:pt x="33" y="271"/>
                      </a:lnTo>
                      <a:lnTo>
                        <a:pt x="0" y="281"/>
                      </a:lnTo>
                      <a:lnTo>
                        <a:pt x="4" y="228"/>
                      </a:lnTo>
                      <a:lnTo>
                        <a:pt x="6" y="178"/>
                      </a:lnTo>
                      <a:lnTo>
                        <a:pt x="31" y="135"/>
                      </a:lnTo>
                      <a:lnTo>
                        <a:pt x="33" y="100"/>
                      </a:lnTo>
                      <a:lnTo>
                        <a:pt x="27" y="79"/>
                      </a:lnTo>
                      <a:lnTo>
                        <a:pt x="29" y="79"/>
                      </a:lnTo>
                      <a:lnTo>
                        <a:pt x="31" y="62"/>
                      </a:lnTo>
                      <a:lnTo>
                        <a:pt x="41" y="38"/>
                      </a:lnTo>
                      <a:lnTo>
                        <a:pt x="47" y="9"/>
                      </a:lnTo>
                      <a:lnTo>
                        <a:pt x="80" y="0"/>
                      </a:lnTo>
                      <a:lnTo>
                        <a:pt x="113" y="3"/>
                      </a:lnTo>
                      <a:lnTo>
                        <a:pt x="136" y="25"/>
                      </a:lnTo>
                      <a:lnTo>
                        <a:pt x="169" y="15"/>
                      </a:lnTo>
                      <a:lnTo>
                        <a:pt x="194" y="25"/>
                      </a:lnTo>
                      <a:lnTo>
                        <a:pt x="219" y="34"/>
                      </a:lnTo>
                      <a:lnTo>
                        <a:pt x="258" y="17"/>
                      </a:lnTo>
                      <a:lnTo>
                        <a:pt x="293" y="19"/>
                      </a:lnTo>
                      <a:lnTo>
                        <a:pt x="326" y="23"/>
                      </a:lnTo>
                      <a:lnTo>
                        <a:pt x="363" y="1"/>
                      </a:lnTo>
                      <a:lnTo>
                        <a:pt x="378" y="25"/>
                      </a:lnTo>
                      <a:lnTo>
                        <a:pt x="384" y="54"/>
                      </a:lnTo>
                      <a:lnTo>
                        <a:pt x="397" y="67"/>
                      </a:lnTo>
                      <a:lnTo>
                        <a:pt x="390" y="89"/>
                      </a:lnTo>
                      <a:lnTo>
                        <a:pt x="366" y="110"/>
                      </a:lnTo>
                      <a:lnTo>
                        <a:pt x="355" y="137"/>
                      </a:lnTo>
                      <a:lnTo>
                        <a:pt x="343" y="164"/>
                      </a:lnTo>
                      <a:lnTo>
                        <a:pt x="330" y="195"/>
                      </a:lnTo>
                      <a:lnTo>
                        <a:pt x="318" y="215"/>
                      </a:lnTo>
                      <a:lnTo>
                        <a:pt x="304" y="248"/>
                      </a:lnTo>
                      <a:lnTo>
                        <a:pt x="283" y="279"/>
                      </a:lnTo>
                      <a:lnTo>
                        <a:pt x="264" y="25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3" name="Freeform 132"/>
                <p:cNvSpPr>
                  <a:spLocks/>
                </p:cNvSpPr>
                <p:nvPr/>
              </p:nvSpPr>
              <p:spPr bwMode="auto">
                <a:xfrm>
                  <a:off x="4388606" y="3038615"/>
                  <a:ext cx="72806" cy="172248"/>
                </a:xfrm>
                <a:custGeom>
                  <a:avLst/>
                  <a:gdLst>
                    <a:gd name="T0" fmla="*/ 4503 w 97"/>
                    <a:gd name="T1" fmla="*/ 37122 h 232"/>
                    <a:gd name="T2" fmla="*/ 3002 w 97"/>
                    <a:gd name="T3" fmla="*/ 37122 h 232"/>
                    <a:gd name="T4" fmla="*/ 0 w 97"/>
                    <a:gd name="T5" fmla="*/ 49002 h 232"/>
                    <a:gd name="T6" fmla="*/ 13510 w 97"/>
                    <a:gd name="T7" fmla="*/ 66078 h 232"/>
                    <a:gd name="T8" fmla="*/ 17263 w 97"/>
                    <a:gd name="T9" fmla="*/ 87609 h 232"/>
                    <a:gd name="T10" fmla="*/ 17263 w 97"/>
                    <a:gd name="T11" fmla="*/ 109140 h 232"/>
                    <a:gd name="T12" fmla="*/ 18764 w 97"/>
                    <a:gd name="T13" fmla="*/ 130671 h 232"/>
                    <a:gd name="T14" fmla="*/ 20266 w 97"/>
                    <a:gd name="T15" fmla="*/ 150717 h 232"/>
                    <a:gd name="T16" fmla="*/ 20266 w 97"/>
                    <a:gd name="T17" fmla="*/ 172248 h 232"/>
                    <a:gd name="T18" fmla="*/ 48037 w 97"/>
                    <a:gd name="T19" fmla="*/ 168536 h 232"/>
                    <a:gd name="T20" fmla="*/ 51039 w 97"/>
                    <a:gd name="T21" fmla="*/ 129186 h 232"/>
                    <a:gd name="T22" fmla="*/ 52540 w 97"/>
                    <a:gd name="T23" fmla="*/ 92064 h 232"/>
                    <a:gd name="T24" fmla="*/ 71305 w 97"/>
                    <a:gd name="T25" fmla="*/ 60138 h 232"/>
                    <a:gd name="T26" fmla="*/ 72806 w 97"/>
                    <a:gd name="T27" fmla="*/ 34153 h 232"/>
                    <a:gd name="T28" fmla="*/ 68303 w 97"/>
                    <a:gd name="T29" fmla="*/ 18561 h 232"/>
                    <a:gd name="T30" fmla="*/ 69804 w 97"/>
                    <a:gd name="T31" fmla="*/ 18561 h 232"/>
                    <a:gd name="T32" fmla="*/ 48037 w 97"/>
                    <a:gd name="T33" fmla="*/ 0 h 232"/>
                    <a:gd name="T34" fmla="*/ 40531 w 97"/>
                    <a:gd name="T35" fmla="*/ 8167 h 232"/>
                    <a:gd name="T36" fmla="*/ 39030 w 97"/>
                    <a:gd name="T37" fmla="*/ 12622 h 232"/>
                    <a:gd name="T38" fmla="*/ 39030 w 97"/>
                    <a:gd name="T39" fmla="*/ 15591 h 232"/>
                    <a:gd name="T40" fmla="*/ 20266 w 97"/>
                    <a:gd name="T41" fmla="*/ 27471 h 232"/>
                    <a:gd name="T42" fmla="*/ 4503 w 97"/>
                    <a:gd name="T43" fmla="*/ 37122 h 232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7"/>
                    <a:gd name="T67" fmla="*/ 0 h 232"/>
                    <a:gd name="T68" fmla="*/ 97 w 97"/>
                    <a:gd name="T69" fmla="*/ 232 h 232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7" h="232">
                      <a:moveTo>
                        <a:pt x="6" y="50"/>
                      </a:moveTo>
                      <a:lnTo>
                        <a:pt x="4" y="50"/>
                      </a:lnTo>
                      <a:lnTo>
                        <a:pt x="0" y="66"/>
                      </a:lnTo>
                      <a:lnTo>
                        <a:pt x="18" y="89"/>
                      </a:lnTo>
                      <a:lnTo>
                        <a:pt x="23" y="118"/>
                      </a:lnTo>
                      <a:lnTo>
                        <a:pt x="23" y="147"/>
                      </a:lnTo>
                      <a:lnTo>
                        <a:pt x="25" y="176"/>
                      </a:lnTo>
                      <a:lnTo>
                        <a:pt x="27" y="203"/>
                      </a:lnTo>
                      <a:lnTo>
                        <a:pt x="27" y="232"/>
                      </a:lnTo>
                      <a:lnTo>
                        <a:pt x="64" y="227"/>
                      </a:lnTo>
                      <a:lnTo>
                        <a:pt x="68" y="174"/>
                      </a:lnTo>
                      <a:lnTo>
                        <a:pt x="70" y="124"/>
                      </a:lnTo>
                      <a:lnTo>
                        <a:pt x="95" y="81"/>
                      </a:lnTo>
                      <a:lnTo>
                        <a:pt x="97" y="46"/>
                      </a:lnTo>
                      <a:lnTo>
                        <a:pt x="91" y="25"/>
                      </a:lnTo>
                      <a:lnTo>
                        <a:pt x="93" y="25"/>
                      </a:lnTo>
                      <a:lnTo>
                        <a:pt x="64" y="0"/>
                      </a:lnTo>
                      <a:lnTo>
                        <a:pt x="54" y="11"/>
                      </a:lnTo>
                      <a:lnTo>
                        <a:pt x="52" y="17"/>
                      </a:lnTo>
                      <a:lnTo>
                        <a:pt x="52" y="21"/>
                      </a:lnTo>
                      <a:lnTo>
                        <a:pt x="27" y="37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4" name="Freeform 133"/>
                <p:cNvSpPr>
                  <a:spLocks/>
                </p:cNvSpPr>
                <p:nvPr/>
              </p:nvSpPr>
              <p:spPr bwMode="auto">
                <a:xfrm>
                  <a:off x="4221686" y="2962258"/>
                  <a:ext cx="202436" cy="159818"/>
                </a:xfrm>
                <a:custGeom>
                  <a:avLst/>
                  <a:gdLst>
                    <a:gd name="T0" fmla="*/ 167029 w 263"/>
                    <a:gd name="T1" fmla="*/ 116299 h 213"/>
                    <a:gd name="T2" fmla="*/ 157792 w 263"/>
                    <a:gd name="T3" fmla="*/ 116299 h 213"/>
                    <a:gd name="T4" fmla="*/ 137010 w 263"/>
                    <a:gd name="T5" fmla="*/ 111798 h 213"/>
                    <a:gd name="T6" fmla="*/ 130852 w 263"/>
                    <a:gd name="T7" fmla="*/ 114799 h 213"/>
                    <a:gd name="T8" fmla="*/ 100063 w 263"/>
                    <a:gd name="T9" fmla="*/ 114799 h 213"/>
                    <a:gd name="T10" fmla="*/ 68505 w 263"/>
                    <a:gd name="T11" fmla="*/ 116299 h 213"/>
                    <a:gd name="T12" fmla="*/ 70044 w 263"/>
                    <a:gd name="T13" fmla="*/ 138059 h 213"/>
                    <a:gd name="T14" fmla="*/ 73123 w 263"/>
                    <a:gd name="T15" fmla="*/ 159818 h 213"/>
                    <a:gd name="T16" fmla="*/ 49262 w 263"/>
                    <a:gd name="T17" fmla="*/ 147063 h 213"/>
                    <a:gd name="T18" fmla="*/ 25401 w 263"/>
                    <a:gd name="T19" fmla="*/ 154566 h 213"/>
                    <a:gd name="T20" fmla="*/ 10006 w 263"/>
                    <a:gd name="T21" fmla="*/ 136558 h 213"/>
                    <a:gd name="T22" fmla="*/ 0 w 263"/>
                    <a:gd name="T23" fmla="*/ 132807 h 213"/>
                    <a:gd name="T24" fmla="*/ 6158 w 263"/>
                    <a:gd name="T25" fmla="*/ 94540 h 213"/>
                    <a:gd name="T26" fmla="*/ 13085 w 263"/>
                    <a:gd name="T27" fmla="*/ 88538 h 213"/>
                    <a:gd name="T28" fmla="*/ 28480 w 263"/>
                    <a:gd name="T29" fmla="*/ 75782 h 213"/>
                    <a:gd name="T30" fmla="*/ 32328 w 263"/>
                    <a:gd name="T31" fmla="*/ 63777 h 213"/>
                    <a:gd name="T32" fmla="*/ 36946 w 263"/>
                    <a:gd name="T33" fmla="*/ 48020 h 213"/>
                    <a:gd name="T34" fmla="*/ 53880 w 263"/>
                    <a:gd name="T35" fmla="*/ 54023 h 213"/>
                    <a:gd name="T36" fmla="*/ 57729 w 263"/>
                    <a:gd name="T37" fmla="*/ 43519 h 213"/>
                    <a:gd name="T38" fmla="*/ 62347 w 263"/>
                    <a:gd name="T39" fmla="*/ 40517 h 213"/>
                    <a:gd name="T40" fmla="*/ 73123 w 263"/>
                    <a:gd name="T41" fmla="*/ 27762 h 213"/>
                    <a:gd name="T42" fmla="*/ 87748 w 263"/>
                    <a:gd name="T43" fmla="*/ 26261 h 213"/>
                    <a:gd name="T44" fmla="*/ 90827 w 263"/>
                    <a:gd name="T45" fmla="*/ 15757 h 213"/>
                    <a:gd name="T46" fmla="*/ 123925 w 263"/>
                    <a:gd name="T47" fmla="*/ 0 h 213"/>
                    <a:gd name="T48" fmla="*/ 147786 w 263"/>
                    <a:gd name="T49" fmla="*/ 3001 h 213"/>
                    <a:gd name="T50" fmla="*/ 150865 w 263"/>
                    <a:gd name="T51" fmla="*/ 27762 h 213"/>
                    <a:gd name="T52" fmla="*/ 171647 w 263"/>
                    <a:gd name="T53" fmla="*/ 48020 h 213"/>
                    <a:gd name="T54" fmla="*/ 167029 w 263"/>
                    <a:gd name="T55" fmla="*/ 49521 h 213"/>
                    <a:gd name="T56" fmla="*/ 167029 w 263"/>
                    <a:gd name="T57" fmla="*/ 58525 h 213"/>
                    <a:gd name="T58" fmla="*/ 181654 w 263"/>
                    <a:gd name="T59" fmla="*/ 69780 h 213"/>
                    <a:gd name="T60" fmla="*/ 190890 w 263"/>
                    <a:gd name="T61" fmla="*/ 68279 h 213"/>
                    <a:gd name="T62" fmla="*/ 197048 w 263"/>
                    <a:gd name="T63" fmla="*/ 77283 h 213"/>
                    <a:gd name="T64" fmla="*/ 202436 w 263"/>
                    <a:gd name="T65" fmla="*/ 90038 h 213"/>
                    <a:gd name="T66" fmla="*/ 202436 w 263"/>
                    <a:gd name="T67" fmla="*/ 91539 h 213"/>
                    <a:gd name="T68" fmla="*/ 202436 w 263"/>
                    <a:gd name="T69" fmla="*/ 94540 h 213"/>
                    <a:gd name="T70" fmla="*/ 183193 w 263"/>
                    <a:gd name="T71" fmla="*/ 106545 h 213"/>
                    <a:gd name="T72" fmla="*/ 167029 w 263"/>
                    <a:gd name="T73" fmla="*/ 116299 h 213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63"/>
                    <a:gd name="T112" fmla="*/ 0 h 213"/>
                    <a:gd name="T113" fmla="*/ 263 w 263"/>
                    <a:gd name="T114" fmla="*/ 213 h 213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63" h="213">
                      <a:moveTo>
                        <a:pt x="217" y="155"/>
                      </a:moveTo>
                      <a:lnTo>
                        <a:pt x="205" y="155"/>
                      </a:lnTo>
                      <a:lnTo>
                        <a:pt x="178" y="149"/>
                      </a:lnTo>
                      <a:lnTo>
                        <a:pt x="170" y="153"/>
                      </a:lnTo>
                      <a:lnTo>
                        <a:pt x="130" y="153"/>
                      </a:lnTo>
                      <a:lnTo>
                        <a:pt x="89" y="155"/>
                      </a:lnTo>
                      <a:lnTo>
                        <a:pt x="91" y="184"/>
                      </a:lnTo>
                      <a:lnTo>
                        <a:pt x="95" y="213"/>
                      </a:lnTo>
                      <a:lnTo>
                        <a:pt x="64" y="196"/>
                      </a:lnTo>
                      <a:lnTo>
                        <a:pt x="33" y="206"/>
                      </a:lnTo>
                      <a:lnTo>
                        <a:pt x="13" y="182"/>
                      </a:lnTo>
                      <a:lnTo>
                        <a:pt x="0" y="177"/>
                      </a:lnTo>
                      <a:lnTo>
                        <a:pt x="8" y="126"/>
                      </a:lnTo>
                      <a:lnTo>
                        <a:pt x="17" y="118"/>
                      </a:lnTo>
                      <a:lnTo>
                        <a:pt x="37" y="101"/>
                      </a:lnTo>
                      <a:lnTo>
                        <a:pt x="42" y="85"/>
                      </a:lnTo>
                      <a:lnTo>
                        <a:pt x="48" y="64"/>
                      </a:lnTo>
                      <a:lnTo>
                        <a:pt x="70" y="72"/>
                      </a:lnTo>
                      <a:lnTo>
                        <a:pt x="75" y="58"/>
                      </a:lnTo>
                      <a:lnTo>
                        <a:pt x="81" y="54"/>
                      </a:lnTo>
                      <a:lnTo>
                        <a:pt x="95" y="37"/>
                      </a:lnTo>
                      <a:lnTo>
                        <a:pt x="114" y="35"/>
                      </a:lnTo>
                      <a:lnTo>
                        <a:pt x="118" y="21"/>
                      </a:lnTo>
                      <a:lnTo>
                        <a:pt x="161" y="0"/>
                      </a:lnTo>
                      <a:lnTo>
                        <a:pt x="192" y="4"/>
                      </a:lnTo>
                      <a:lnTo>
                        <a:pt x="196" y="37"/>
                      </a:lnTo>
                      <a:lnTo>
                        <a:pt x="223" y="64"/>
                      </a:lnTo>
                      <a:lnTo>
                        <a:pt x="217" y="66"/>
                      </a:lnTo>
                      <a:lnTo>
                        <a:pt x="217" y="78"/>
                      </a:lnTo>
                      <a:lnTo>
                        <a:pt x="236" y="93"/>
                      </a:lnTo>
                      <a:lnTo>
                        <a:pt x="248" y="91"/>
                      </a:lnTo>
                      <a:lnTo>
                        <a:pt x="256" y="103"/>
                      </a:lnTo>
                      <a:lnTo>
                        <a:pt x="263" y="120"/>
                      </a:lnTo>
                      <a:lnTo>
                        <a:pt x="263" y="122"/>
                      </a:lnTo>
                      <a:lnTo>
                        <a:pt x="263" y="126"/>
                      </a:lnTo>
                      <a:lnTo>
                        <a:pt x="238" y="142"/>
                      </a:lnTo>
                      <a:lnTo>
                        <a:pt x="217" y="15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5" name="Freeform 134"/>
                <p:cNvSpPr>
                  <a:spLocks/>
                </p:cNvSpPr>
                <p:nvPr/>
              </p:nvSpPr>
              <p:spPr bwMode="auto">
                <a:xfrm>
                  <a:off x="4583939" y="3015530"/>
                  <a:ext cx="209539" cy="324963"/>
                </a:xfrm>
                <a:custGeom>
                  <a:avLst/>
                  <a:gdLst>
                    <a:gd name="T0" fmla="*/ 193421 w 260"/>
                    <a:gd name="T1" fmla="*/ 89176 h 430"/>
                    <a:gd name="T2" fmla="*/ 162796 w 260"/>
                    <a:gd name="T3" fmla="*/ 89176 h 430"/>
                    <a:gd name="T4" fmla="*/ 148289 w 260"/>
                    <a:gd name="T5" fmla="*/ 96733 h 430"/>
                    <a:gd name="T6" fmla="*/ 171661 w 260"/>
                    <a:gd name="T7" fmla="*/ 123184 h 430"/>
                    <a:gd name="T8" fmla="*/ 189391 w 260"/>
                    <a:gd name="T9" fmla="*/ 159459 h 430"/>
                    <a:gd name="T10" fmla="*/ 174884 w 260"/>
                    <a:gd name="T11" fmla="*/ 182886 h 430"/>
                    <a:gd name="T12" fmla="*/ 162796 w 260"/>
                    <a:gd name="T13" fmla="*/ 206314 h 430"/>
                    <a:gd name="T14" fmla="*/ 170049 w 260"/>
                    <a:gd name="T15" fmla="*/ 245612 h 430"/>
                    <a:gd name="T16" fmla="*/ 186167 w 260"/>
                    <a:gd name="T17" fmla="*/ 266772 h 430"/>
                    <a:gd name="T18" fmla="*/ 199868 w 260"/>
                    <a:gd name="T19" fmla="*/ 287177 h 430"/>
                    <a:gd name="T20" fmla="*/ 209539 w 260"/>
                    <a:gd name="T21" fmla="*/ 312116 h 430"/>
                    <a:gd name="T22" fmla="*/ 203092 w 260"/>
                    <a:gd name="T23" fmla="*/ 324963 h 430"/>
                    <a:gd name="T24" fmla="*/ 179720 w 260"/>
                    <a:gd name="T25" fmla="*/ 320429 h 430"/>
                    <a:gd name="T26" fmla="*/ 157960 w 260"/>
                    <a:gd name="T27" fmla="*/ 315139 h 430"/>
                    <a:gd name="T28" fmla="*/ 129753 w 260"/>
                    <a:gd name="T29" fmla="*/ 313627 h 430"/>
                    <a:gd name="T30" fmla="*/ 103158 w 260"/>
                    <a:gd name="T31" fmla="*/ 313627 h 430"/>
                    <a:gd name="T32" fmla="*/ 76562 w 260"/>
                    <a:gd name="T33" fmla="*/ 313627 h 430"/>
                    <a:gd name="T34" fmla="*/ 56414 w 260"/>
                    <a:gd name="T35" fmla="*/ 312116 h 430"/>
                    <a:gd name="T36" fmla="*/ 36266 w 260"/>
                    <a:gd name="T37" fmla="*/ 309093 h 430"/>
                    <a:gd name="T38" fmla="*/ 36266 w 260"/>
                    <a:gd name="T39" fmla="*/ 278108 h 430"/>
                    <a:gd name="T40" fmla="*/ 33043 w 260"/>
                    <a:gd name="T41" fmla="*/ 265261 h 430"/>
                    <a:gd name="T42" fmla="*/ 31431 w 260"/>
                    <a:gd name="T43" fmla="*/ 260726 h 430"/>
                    <a:gd name="T44" fmla="*/ 12089 w 260"/>
                    <a:gd name="T45" fmla="*/ 259215 h 430"/>
                    <a:gd name="T46" fmla="*/ 4836 w 260"/>
                    <a:gd name="T47" fmla="*/ 241833 h 430"/>
                    <a:gd name="T48" fmla="*/ 0 w 260"/>
                    <a:gd name="T49" fmla="*/ 243344 h 430"/>
                    <a:gd name="T50" fmla="*/ 3224 w 260"/>
                    <a:gd name="T51" fmla="*/ 237299 h 430"/>
                    <a:gd name="T52" fmla="*/ 11283 w 260"/>
                    <a:gd name="T53" fmla="*/ 213871 h 430"/>
                    <a:gd name="T54" fmla="*/ 23372 w 260"/>
                    <a:gd name="T55" fmla="*/ 197245 h 430"/>
                    <a:gd name="T56" fmla="*/ 36266 w 260"/>
                    <a:gd name="T57" fmla="*/ 181375 h 430"/>
                    <a:gd name="T58" fmla="*/ 56414 w 260"/>
                    <a:gd name="T59" fmla="*/ 173817 h 430"/>
                    <a:gd name="T60" fmla="*/ 71727 w 260"/>
                    <a:gd name="T61" fmla="*/ 191955 h 430"/>
                    <a:gd name="T62" fmla="*/ 88651 w 260"/>
                    <a:gd name="T63" fmla="*/ 168527 h 430"/>
                    <a:gd name="T64" fmla="*/ 99934 w 260"/>
                    <a:gd name="T65" fmla="*/ 143588 h 430"/>
                    <a:gd name="T66" fmla="*/ 109605 w 260"/>
                    <a:gd name="T67" fmla="*/ 128474 h 430"/>
                    <a:gd name="T68" fmla="*/ 120082 w 260"/>
                    <a:gd name="T69" fmla="*/ 105046 h 430"/>
                    <a:gd name="T70" fmla="*/ 129753 w 260"/>
                    <a:gd name="T71" fmla="*/ 84642 h 430"/>
                    <a:gd name="T72" fmla="*/ 138618 w 260"/>
                    <a:gd name="T73" fmla="*/ 64237 h 430"/>
                    <a:gd name="T74" fmla="*/ 157960 w 260"/>
                    <a:gd name="T75" fmla="*/ 48367 h 430"/>
                    <a:gd name="T76" fmla="*/ 163602 w 260"/>
                    <a:gd name="T77" fmla="*/ 31741 h 430"/>
                    <a:gd name="T78" fmla="*/ 153125 w 260"/>
                    <a:gd name="T79" fmla="*/ 21916 h 430"/>
                    <a:gd name="T80" fmla="*/ 148289 w 260"/>
                    <a:gd name="T81" fmla="*/ 0 h 430"/>
                    <a:gd name="T82" fmla="*/ 159572 w 260"/>
                    <a:gd name="T83" fmla="*/ 0 h 430"/>
                    <a:gd name="T84" fmla="*/ 171661 w 260"/>
                    <a:gd name="T85" fmla="*/ 27962 h 430"/>
                    <a:gd name="T86" fmla="*/ 174884 w 260"/>
                    <a:gd name="T87" fmla="*/ 59703 h 430"/>
                    <a:gd name="T88" fmla="*/ 193421 w 260"/>
                    <a:gd name="T89" fmla="*/ 89176 h 43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60"/>
                    <a:gd name="T136" fmla="*/ 0 h 430"/>
                    <a:gd name="T137" fmla="*/ 260 w 260"/>
                    <a:gd name="T138" fmla="*/ 430 h 43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60" h="430">
                      <a:moveTo>
                        <a:pt x="240" y="118"/>
                      </a:moveTo>
                      <a:lnTo>
                        <a:pt x="202" y="118"/>
                      </a:lnTo>
                      <a:lnTo>
                        <a:pt x="184" y="128"/>
                      </a:lnTo>
                      <a:lnTo>
                        <a:pt x="213" y="163"/>
                      </a:lnTo>
                      <a:lnTo>
                        <a:pt x="235" y="211"/>
                      </a:lnTo>
                      <a:lnTo>
                        <a:pt x="217" y="242"/>
                      </a:lnTo>
                      <a:lnTo>
                        <a:pt x="202" y="273"/>
                      </a:lnTo>
                      <a:lnTo>
                        <a:pt x="211" y="325"/>
                      </a:lnTo>
                      <a:lnTo>
                        <a:pt x="231" y="353"/>
                      </a:lnTo>
                      <a:lnTo>
                        <a:pt x="248" y="380"/>
                      </a:lnTo>
                      <a:lnTo>
                        <a:pt x="260" y="413"/>
                      </a:lnTo>
                      <a:lnTo>
                        <a:pt x="252" y="430"/>
                      </a:lnTo>
                      <a:lnTo>
                        <a:pt x="223" y="424"/>
                      </a:lnTo>
                      <a:lnTo>
                        <a:pt x="196" y="417"/>
                      </a:lnTo>
                      <a:lnTo>
                        <a:pt x="161" y="415"/>
                      </a:lnTo>
                      <a:lnTo>
                        <a:pt x="128" y="415"/>
                      </a:lnTo>
                      <a:lnTo>
                        <a:pt x="95" y="415"/>
                      </a:lnTo>
                      <a:lnTo>
                        <a:pt x="70" y="413"/>
                      </a:lnTo>
                      <a:lnTo>
                        <a:pt x="45" y="409"/>
                      </a:lnTo>
                      <a:lnTo>
                        <a:pt x="45" y="368"/>
                      </a:lnTo>
                      <a:lnTo>
                        <a:pt x="41" y="351"/>
                      </a:lnTo>
                      <a:lnTo>
                        <a:pt x="39" y="345"/>
                      </a:lnTo>
                      <a:lnTo>
                        <a:pt x="15" y="343"/>
                      </a:lnTo>
                      <a:lnTo>
                        <a:pt x="6" y="320"/>
                      </a:lnTo>
                      <a:lnTo>
                        <a:pt x="0" y="322"/>
                      </a:lnTo>
                      <a:lnTo>
                        <a:pt x="4" y="314"/>
                      </a:lnTo>
                      <a:lnTo>
                        <a:pt x="14" y="283"/>
                      </a:lnTo>
                      <a:lnTo>
                        <a:pt x="29" y="261"/>
                      </a:lnTo>
                      <a:lnTo>
                        <a:pt x="45" y="240"/>
                      </a:lnTo>
                      <a:lnTo>
                        <a:pt x="70" y="230"/>
                      </a:lnTo>
                      <a:lnTo>
                        <a:pt x="89" y="254"/>
                      </a:lnTo>
                      <a:lnTo>
                        <a:pt x="110" y="223"/>
                      </a:lnTo>
                      <a:lnTo>
                        <a:pt x="124" y="190"/>
                      </a:lnTo>
                      <a:lnTo>
                        <a:pt x="136" y="170"/>
                      </a:lnTo>
                      <a:lnTo>
                        <a:pt x="149" y="139"/>
                      </a:lnTo>
                      <a:lnTo>
                        <a:pt x="161" y="112"/>
                      </a:lnTo>
                      <a:lnTo>
                        <a:pt x="172" y="85"/>
                      </a:lnTo>
                      <a:lnTo>
                        <a:pt x="196" y="64"/>
                      </a:lnTo>
                      <a:lnTo>
                        <a:pt x="203" y="42"/>
                      </a:lnTo>
                      <a:lnTo>
                        <a:pt x="190" y="29"/>
                      </a:lnTo>
                      <a:lnTo>
                        <a:pt x="184" y="0"/>
                      </a:lnTo>
                      <a:lnTo>
                        <a:pt x="198" y="0"/>
                      </a:lnTo>
                      <a:lnTo>
                        <a:pt x="213" y="37"/>
                      </a:lnTo>
                      <a:lnTo>
                        <a:pt x="217" y="79"/>
                      </a:lnTo>
                      <a:lnTo>
                        <a:pt x="240" y="11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6" name="Freeform 135"/>
                <p:cNvSpPr>
                  <a:spLocks/>
                </p:cNvSpPr>
                <p:nvPr/>
              </p:nvSpPr>
              <p:spPr bwMode="auto">
                <a:xfrm>
                  <a:off x="4741981" y="3079457"/>
                  <a:ext cx="339169" cy="248606"/>
                </a:xfrm>
                <a:custGeom>
                  <a:avLst/>
                  <a:gdLst>
                    <a:gd name="T0" fmla="*/ 118006 w 434"/>
                    <a:gd name="T1" fmla="*/ 68555 h 330"/>
                    <a:gd name="T2" fmla="*/ 113317 w 434"/>
                    <a:gd name="T3" fmla="*/ 58761 h 330"/>
                    <a:gd name="T4" fmla="*/ 150829 w 434"/>
                    <a:gd name="T5" fmla="*/ 51228 h 330"/>
                    <a:gd name="T6" fmla="*/ 172710 w 434"/>
                    <a:gd name="T7" fmla="*/ 29381 h 330"/>
                    <a:gd name="T8" fmla="*/ 192248 w 434"/>
                    <a:gd name="T9" fmla="*/ 6027 h 330"/>
                    <a:gd name="T10" fmla="*/ 216474 w 434"/>
                    <a:gd name="T11" fmla="*/ 0 h 330"/>
                    <a:gd name="T12" fmla="*/ 228197 w 434"/>
                    <a:gd name="T13" fmla="*/ 17327 h 330"/>
                    <a:gd name="T14" fmla="*/ 239138 w 434"/>
                    <a:gd name="T15" fmla="*/ 35408 h 330"/>
                    <a:gd name="T16" fmla="*/ 234449 w 434"/>
                    <a:gd name="T17" fmla="*/ 62528 h 330"/>
                    <a:gd name="T18" fmla="*/ 253986 w 434"/>
                    <a:gd name="T19" fmla="*/ 67048 h 330"/>
                    <a:gd name="T20" fmla="*/ 258675 w 434"/>
                    <a:gd name="T21" fmla="*/ 76088 h 330"/>
                    <a:gd name="T22" fmla="*/ 281338 w 434"/>
                    <a:gd name="T23" fmla="*/ 91909 h 330"/>
                    <a:gd name="T24" fmla="*/ 287590 w 434"/>
                    <a:gd name="T25" fmla="*/ 103963 h 330"/>
                    <a:gd name="T26" fmla="*/ 310254 w 434"/>
                    <a:gd name="T27" fmla="*/ 125810 h 330"/>
                    <a:gd name="T28" fmla="*/ 321195 w 434"/>
                    <a:gd name="T29" fmla="*/ 140123 h 330"/>
                    <a:gd name="T30" fmla="*/ 336043 w 434"/>
                    <a:gd name="T31" fmla="*/ 158957 h 330"/>
                    <a:gd name="T32" fmla="*/ 339169 w 434"/>
                    <a:gd name="T33" fmla="*/ 169504 h 330"/>
                    <a:gd name="T34" fmla="*/ 325102 w 434"/>
                    <a:gd name="T35" fmla="*/ 164984 h 330"/>
                    <a:gd name="T36" fmla="*/ 305565 w 434"/>
                    <a:gd name="T37" fmla="*/ 163477 h 330"/>
                    <a:gd name="T38" fmla="*/ 284464 w 434"/>
                    <a:gd name="T39" fmla="*/ 160464 h 330"/>
                    <a:gd name="T40" fmla="*/ 275086 w 434"/>
                    <a:gd name="T41" fmla="*/ 169504 h 330"/>
                    <a:gd name="T42" fmla="*/ 255549 w 434"/>
                    <a:gd name="T43" fmla="*/ 169504 h 330"/>
                    <a:gd name="T44" fmla="*/ 228197 w 434"/>
                    <a:gd name="T45" fmla="*/ 178544 h 330"/>
                    <a:gd name="T46" fmla="*/ 218037 w 434"/>
                    <a:gd name="T47" fmla="*/ 177038 h 330"/>
                    <a:gd name="T48" fmla="*/ 205533 w 434"/>
                    <a:gd name="T49" fmla="*/ 194365 h 330"/>
                    <a:gd name="T50" fmla="*/ 179744 w 434"/>
                    <a:gd name="T51" fmla="*/ 186831 h 330"/>
                    <a:gd name="T52" fmla="*/ 155518 w 434"/>
                    <a:gd name="T53" fmla="*/ 180051 h 330"/>
                    <a:gd name="T54" fmla="*/ 128165 w 434"/>
                    <a:gd name="T55" fmla="*/ 164984 h 330"/>
                    <a:gd name="T56" fmla="*/ 107065 w 434"/>
                    <a:gd name="T57" fmla="*/ 191351 h 330"/>
                    <a:gd name="T58" fmla="*/ 108628 w 434"/>
                    <a:gd name="T59" fmla="*/ 213198 h 330"/>
                    <a:gd name="T60" fmla="*/ 87527 w 434"/>
                    <a:gd name="T61" fmla="*/ 211692 h 330"/>
                    <a:gd name="T62" fmla="*/ 67990 w 434"/>
                    <a:gd name="T63" fmla="*/ 210185 h 330"/>
                    <a:gd name="T64" fmla="*/ 52360 w 434"/>
                    <a:gd name="T65" fmla="*/ 219225 h 330"/>
                    <a:gd name="T66" fmla="*/ 45327 w 434"/>
                    <a:gd name="T67" fmla="*/ 248606 h 330"/>
                    <a:gd name="T68" fmla="*/ 35949 w 434"/>
                    <a:gd name="T69" fmla="*/ 223745 h 330"/>
                    <a:gd name="T70" fmla="*/ 22663 w 434"/>
                    <a:gd name="T71" fmla="*/ 203405 h 330"/>
                    <a:gd name="T72" fmla="*/ 7033 w 434"/>
                    <a:gd name="T73" fmla="*/ 182311 h 330"/>
                    <a:gd name="T74" fmla="*/ 0 w 434"/>
                    <a:gd name="T75" fmla="*/ 143137 h 330"/>
                    <a:gd name="T76" fmla="*/ 11722 w 434"/>
                    <a:gd name="T77" fmla="*/ 119783 h 330"/>
                    <a:gd name="T78" fmla="*/ 25789 w 434"/>
                    <a:gd name="T79" fmla="*/ 96429 h 330"/>
                    <a:gd name="T80" fmla="*/ 50016 w 434"/>
                    <a:gd name="T81" fmla="*/ 88895 h 330"/>
                    <a:gd name="T82" fmla="*/ 55486 w 434"/>
                    <a:gd name="T83" fmla="*/ 91909 h 330"/>
                    <a:gd name="T84" fmla="*/ 69553 w 434"/>
                    <a:gd name="T85" fmla="*/ 90402 h 330"/>
                    <a:gd name="T86" fmla="*/ 105502 w 434"/>
                    <a:gd name="T87" fmla="*/ 82115 h 330"/>
                    <a:gd name="T88" fmla="*/ 118006 w 434"/>
                    <a:gd name="T89" fmla="*/ 68555 h 33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34"/>
                    <a:gd name="T136" fmla="*/ 0 h 330"/>
                    <a:gd name="T137" fmla="*/ 434 w 434"/>
                    <a:gd name="T138" fmla="*/ 330 h 33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34" h="330">
                      <a:moveTo>
                        <a:pt x="151" y="91"/>
                      </a:moveTo>
                      <a:lnTo>
                        <a:pt x="145" y="78"/>
                      </a:lnTo>
                      <a:lnTo>
                        <a:pt x="193" y="68"/>
                      </a:lnTo>
                      <a:lnTo>
                        <a:pt x="221" y="39"/>
                      </a:lnTo>
                      <a:lnTo>
                        <a:pt x="246" y="8"/>
                      </a:lnTo>
                      <a:lnTo>
                        <a:pt x="277" y="0"/>
                      </a:lnTo>
                      <a:lnTo>
                        <a:pt x="292" y="23"/>
                      </a:lnTo>
                      <a:lnTo>
                        <a:pt x="306" y="47"/>
                      </a:lnTo>
                      <a:lnTo>
                        <a:pt x="300" y="83"/>
                      </a:lnTo>
                      <a:lnTo>
                        <a:pt x="325" y="89"/>
                      </a:lnTo>
                      <a:lnTo>
                        <a:pt x="331" y="101"/>
                      </a:lnTo>
                      <a:lnTo>
                        <a:pt x="360" y="122"/>
                      </a:lnTo>
                      <a:lnTo>
                        <a:pt x="368" y="138"/>
                      </a:lnTo>
                      <a:lnTo>
                        <a:pt x="397" y="167"/>
                      </a:lnTo>
                      <a:lnTo>
                        <a:pt x="411" y="186"/>
                      </a:lnTo>
                      <a:lnTo>
                        <a:pt x="430" y="211"/>
                      </a:lnTo>
                      <a:lnTo>
                        <a:pt x="434" y="225"/>
                      </a:lnTo>
                      <a:lnTo>
                        <a:pt x="416" y="219"/>
                      </a:lnTo>
                      <a:lnTo>
                        <a:pt x="391" y="217"/>
                      </a:lnTo>
                      <a:lnTo>
                        <a:pt x="364" y="213"/>
                      </a:lnTo>
                      <a:lnTo>
                        <a:pt x="352" y="225"/>
                      </a:lnTo>
                      <a:lnTo>
                        <a:pt x="327" y="225"/>
                      </a:lnTo>
                      <a:lnTo>
                        <a:pt x="292" y="237"/>
                      </a:lnTo>
                      <a:lnTo>
                        <a:pt x="279" y="235"/>
                      </a:lnTo>
                      <a:lnTo>
                        <a:pt x="263" y="258"/>
                      </a:lnTo>
                      <a:lnTo>
                        <a:pt x="230" y="248"/>
                      </a:lnTo>
                      <a:lnTo>
                        <a:pt x="199" y="239"/>
                      </a:lnTo>
                      <a:lnTo>
                        <a:pt x="164" y="219"/>
                      </a:lnTo>
                      <a:lnTo>
                        <a:pt x="137" y="254"/>
                      </a:lnTo>
                      <a:lnTo>
                        <a:pt x="139" y="283"/>
                      </a:lnTo>
                      <a:lnTo>
                        <a:pt x="112" y="281"/>
                      </a:lnTo>
                      <a:lnTo>
                        <a:pt x="87" y="279"/>
                      </a:lnTo>
                      <a:lnTo>
                        <a:pt x="67" y="291"/>
                      </a:lnTo>
                      <a:lnTo>
                        <a:pt x="58" y="330"/>
                      </a:lnTo>
                      <a:lnTo>
                        <a:pt x="46" y="297"/>
                      </a:lnTo>
                      <a:lnTo>
                        <a:pt x="29" y="270"/>
                      </a:lnTo>
                      <a:lnTo>
                        <a:pt x="9" y="242"/>
                      </a:lnTo>
                      <a:lnTo>
                        <a:pt x="0" y="190"/>
                      </a:lnTo>
                      <a:lnTo>
                        <a:pt x="15" y="159"/>
                      </a:lnTo>
                      <a:lnTo>
                        <a:pt x="33" y="128"/>
                      </a:lnTo>
                      <a:lnTo>
                        <a:pt x="64" y="118"/>
                      </a:lnTo>
                      <a:lnTo>
                        <a:pt x="71" y="122"/>
                      </a:lnTo>
                      <a:lnTo>
                        <a:pt x="89" y="120"/>
                      </a:lnTo>
                      <a:lnTo>
                        <a:pt x="135" y="109"/>
                      </a:lnTo>
                      <a:lnTo>
                        <a:pt x="151" y="9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7" name="Freeform 136"/>
                <p:cNvSpPr>
                  <a:spLocks/>
                </p:cNvSpPr>
                <p:nvPr/>
              </p:nvSpPr>
              <p:spPr bwMode="auto">
                <a:xfrm>
                  <a:off x="3926911" y="2997773"/>
                  <a:ext cx="71030" cy="23085"/>
                </a:xfrm>
                <a:custGeom>
                  <a:avLst/>
                  <a:gdLst>
                    <a:gd name="T0" fmla="*/ 2929 w 97"/>
                    <a:gd name="T1" fmla="*/ 8756 h 29"/>
                    <a:gd name="T2" fmla="*/ 0 w 97"/>
                    <a:gd name="T3" fmla="*/ 23085 h 29"/>
                    <a:gd name="T4" fmla="*/ 18307 w 97"/>
                    <a:gd name="T5" fmla="*/ 15125 h 29"/>
                    <a:gd name="T6" fmla="*/ 38078 w 97"/>
                    <a:gd name="T7" fmla="*/ 7164 h 29"/>
                    <a:gd name="T8" fmla="*/ 71030 w 97"/>
                    <a:gd name="T9" fmla="*/ 15125 h 29"/>
                    <a:gd name="T10" fmla="*/ 63707 w 97"/>
                    <a:gd name="T11" fmla="*/ 7164 h 29"/>
                    <a:gd name="T12" fmla="*/ 33684 w 97"/>
                    <a:gd name="T13" fmla="*/ 0 h 29"/>
                    <a:gd name="T14" fmla="*/ 30755 w 97"/>
                    <a:gd name="T15" fmla="*/ 5572 h 29"/>
                    <a:gd name="T16" fmla="*/ 4394 w 97"/>
                    <a:gd name="T17" fmla="*/ 5572 h 29"/>
                    <a:gd name="T18" fmla="*/ 4394 w 97"/>
                    <a:gd name="T19" fmla="*/ 8756 h 29"/>
                    <a:gd name="T20" fmla="*/ 27094 w 97"/>
                    <a:gd name="T21" fmla="*/ 8756 h 29"/>
                    <a:gd name="T22" fmla="*/ 13913 w 97"/>
                    <a:gd name="T23" fmla="*/ 16717 h 29"/>
                    <a:gd name="T24" fmla="*/ 2929 w 97"/>
                    <a:gd name="T25" fmla="*/ 8756 h 2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97"/>
                    <a:gd name="T40" fmla="*/ 0 h 29"/>
                    <a:gd name="T41" fmla="*/ 97 w 97"/>
                    <a:gd name="T42" fmla="*/ 29 h 2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97" h="29">
                      <a:moveTo>
                        <a:pt x="4" y="11"/>
                      </a:moveTo>
                      <a:lnTo>
                        <a:pt x="0" y="29"/>
                      </a:lnTo>
                      <a:lnTo>
                        <a:pt x="25" y="19"/>
                      </a:lnTo>
                      <a:lnTo>
                        <a:pt x="52" y="9"/>
                      </a:lnTo>
                      <a:lnTo>
                        <a:pt x="97" y="19"/>
                      </a:lnTo>
                      <a:lnTo>
                        <a:pt x="87" y="9"/>
                      </a:lnTo>
                      <a:lnTo>
                        <a:pt x="46" y="0"/>
                      </a:lnTo>
                      <a:lnTo>
                        <a:pt x="42" y="7"/>
                      </a:lnTo>
                      <a:lnTo>
                        <a:pt x="6" y="7"/>
                      </a:lnTo>
                      <a:lnTo>
                        <a:pt x="6" y="11"/>
                      </a:lnTo>
                      <a:lnTo>
                        <a:pt x="37" y="11"/>
                      </a:lnTo>
                      <a:lnTo>
                        <a:pt x="19" y="21"/>
                      </a:lnTo>
                      <a:lnTo>
                        <a:pt x="4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8" name="Freeform 137"/>
                <p:cNvSpPr>
                  <a:spLocks/>
                </p:cNvSpPr>
                <p:nvPr/>
              </p:nvSpPr>
              <p:spPr bwMode="auto">
                <a:xfrm>
                  <a:off x="4280285" y="3074130"/>
                  <a:ext cx="115424" cy="177575"/>
                </a:xfrm>
                <a:custGeom>
                  <a:avLst/>
                  <a:gdLst>
                    <a:gd name="T0" fmla="*/ 101573 w 150"/>
                    <a:gd name="T1" fmla="*/ 150537 h 243"/>
                    <a:gd name="T2" fmla="*/ 82336 w 150"/>
                    <a:gd name="T3" fmla="*/ 157844 h 243"/>
                    <a:gd name="T4" fmla="*/ 64637 w 150"/>
                    <a:gd name="T5" fmla="*/ 162960 h 243"/>
                    <a:gd name="T6" fmla="*/ 46939 w 150"/>
                    <a:gd name="T7" fmla="*/ 170267 h 243"/>
                    <a:gd name="T8" fmla="*/ 26932 w 150"/>
                    <a:gd name="T9" fmla="*/ 177575 h 243"/>
                    <a:gd name="T10" fmla="*/ 3078 w 150"/>
                    <a:gd name="T11" fmla="*/ 168806 h 243"/>
                    <a:gd name="T12" fmla="*/ 12312 w 150"/>
                    <a:gd name="T13" fmla="*/ 162960 h 243"/>
                    <a:gd name="T14" fmla="*/ 6156 w 150"/>
                    <a:gd name="T15" fmla="*/ 141768 h 243"/>
                    <a:gd name="T16" fmla="*/ 0 w 150"/>
                    <a:gd name="T17" fmla="*/ 120576 h 243"/>
                    <a:gd name="T18" fmla="*/ 10773 w 150"/>
                    <a:gd name="T19" fmla="*/ 102307 h 243"/>
                    <a:gd name="T20" fmla="*/ 20007 w 150"/>
                    <a:gd name="T21" fmla="*/ 82576 h 243"/>
                    <a:gd name="T22" fmla="*/ 15390 w 150"/>
                    <a:gd name="T23" fmla="*/ 46769 h 243"/>
                    <a:gd name="T24" fmla="*/ 12312 w 150"/>
                    <a:gd name="T25" fmla="*/ 25577 h 243"/>
                    <a:gd name="T26" fmla="*/ 10773 w 150"/>
                    <a:gd name="T27" fmla="*/ 4385 h 243"/>
                    <a:gd name="T28" fmla="*/ 42322 w 150"/>
                    <a:gd name="T29" fmla="*/ 2923 h 243"/>
                    <a:gd name="T30" fmla="*/ 73102 w 150"/>
                    <a:gd name="T31" fmla="*/ 2923 h 243"/>
                    <a:gd name="T32" fmla="*/ 79258 w 150"/>
                    <a:gd name="T33" fmla="*/ 0 h 243"/>
                    <a:gd name="T34" fmla="*/ 83875 w 150"/>
                    <a:gd name="T35" fmla="*/ 10231 h 243"/>
                    <a:gd name="T36" fmla="*/ 94648 w 150"/>
                    <a:gd name="T37" fmla="*/ 34346 h 243"/>
                    <a:gd name="T38" fmla="*/ 93109 w 150"/>
                    <a:gd name="T39" fmla="*/ 46769 h 243"/>
                    <a:gd name="T40" fmla="*/ 96187 w 150"/>
                    <a:gd name="T41" fmla="*/ 65769 h 243"/>
                    <a:gd name="T42" fmla="*/ 98495 w 150"/>
                    <a:gd name="T43" fmla="*/ 84038 h 243"/>
                    <a:gd name="T44" fmla="*/ 100034 w 150"/>
                    <a:gd name="T45" fmla="*/ 105230 h 243"/>
                    <a:gd name="T46" fmla="*/ 101573 w 150"/>
                    <a:gd name="T47" fmla="*/ 127883 h 243"/>
                    <a:gd name="T48" fmla="*/ 115424 w 150"/>
                    <a:gd name="T49" fmla="*/ 140306 h 243"/>
                    <a:gd name="T50" fmla="*/ 101573 w 150"/>
                    <a:gd name="T51" fmla="*/ 150537 h 243"/>
                    <a:gd name="T52" fmla="*/ 91570 w 150"/>
                    <a:gd name="T53" fmla="*/ 143229 h 243"/>
                    <a:gd name="T54" fmla="*/ 101573 w 150"/>
                    <a:gd name="T55" fmla="*/ 150537 h 24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50"/>
                    <a:gd name="T85" fmla="*/ 0 h 243"/>
                    <a:gd name="T86" fmla="*/ 150 w 150"/>
                    <a:gd name="T87" fmla="*/ 243 h 24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50" h="243">
                      <a:moveTo>
                        <a:pt x="132" y="206"/>
                      </a:moveTo>
                      <a:lnTo>
                        <a:pt x="107" y="216"/>
                      </a:lnTo>
                      <a:lnTo>
                        <a:pt x="84" y="223"/>
                      </a:lnTo>
                      <a:lnTo>
                        <a:pt x="61" y="233"/>
                      </a:lnTo>
                      <a:lnTo>
                        <a:pt x="35" y="243"/>
                      </a:lnTo>
                      <a:lnTo>
                        <a:pt x="4" y="231"/>
                      </a:lnTo>
                      <a:lnTo>
                        <a:pt x="16" y="223"/>
                      </a:lnTo>
                      <a:lnTo>
                        <a:pt x="8" y="194"/>
                      </a:lnTo>
                      <a:lnTo>
                        <a:pt x="0" y="165"/>
                      </a:lnTo>
                      <a:lnTo>
                        <a:pt x="14" y="140"/>
                      </a:lnTo>
                      <a:lnTo>
                        <a:pt x="26" y="113"/>
                      </a:lnTo>
                      <a:lnTo>
                        <a:pt x="20" y="64"/>
                      </a:lnTo>
                      <a:lnTo>
                        <a:pt x="16" y="35"/>
                      </a:lnTo>
                      <a:lnTo>
                        <a:pt x="14" y="6"/>
                      </a:lnTo>
                      <a:lnTo>
                        <a:pt x="55" y="4"/>
                      </a:lnTo>
                      <a:lnTo>
                        <a:pt x="95" y="4"/>
                      </a:lnTo>
                      <a:lnTo>
                        <a:pt x="103" y="0"/>
                      </a:lnTo>
                      <a:lnTo>
                        <a:pt x="109" y="14"/>
                      </a:lnTo>
                      <a:lnTo>
                        <a:pt x="123" y="47"/>
                      </a:lnTo>
                      <a:lnTo>
                        <a:pt x="121" y="64"/>
                      </a:lnTo>
                      <a:lnTo>
                        <a:pt x="125" y="90"/>
                      </a:lnTo>
                      <a:lnTo>
                        <a:pt x="128" y="115"/>
                      </a:lnTo>
                      <a:lnTo>
                        <a:pt x="130" y="144"/>
                      </a:lnTo>
                      <a:lnTo>
                        <a:pt x="132" y="175"/>
                      </a:lnTo>
                      <a:lnTo>
                        <a:pt x="150" y="192"/>
                      </a:lnTo>
                      <a:lnTo>
                        <a:pt x="132" y="206"/>
                      </a:lnTo>
                      <a:lnTo>
                        <a:pt x="119" y="196"/>
                      </a:lnTo>
                      <a:lnTo>
                        <a:pt x="132" y="20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49" name="Freeform 138"/>
                <p:cNvSpPr>
                  <a:spLocks/>
                </p:cNvSpPr>
                <p:nvPr/>
              </p:nvSpPr>
              <p:spPr bwMode="auto">
                <a:xfrm>
                  <a:off x="3969529" y="3026185"/>
                  <a:ext cx="188230" cy="154491"/>
                </a:xfrm>
                <a:custGeom>
                  <a:avLst/>
                  <a:gdLst>
                    <a:gd name="T0" fmla="*/ 170340 w 242"/>
                    <a:gd name="T1" fmla="*/ 36748 h 206"/>
                    <a:gd name="T2" fmla="*/ 167229 w 242"/>
                    <a:gd name="T3" fmla="*/ 44997 h 206"/>
                    <a:gd name="T4" fmla="*/ 170340 w 242"/>
                    <a:gd name="T5" fmla="*/ 46497 h 206"/>
                    <a:gd name="T6" fmla="*/ 183563 w 242"/>
                    <a:gd name="T7" fmla="*/ 71246 h 206"/>
                    <a:gd name="T8" fmla="*/ 181230 w 242"/>
                    <a:gd name="T9" fmla="*/ 92995 h 206"/>
                    <a:gd name="T10" fmla="*/ 183563 w 242"/>
                    <a:gd name="T11" fmla="*/ 98994 h 206"/>
                    <a:gd name="T12" fmla="*/ 185119 w 242"/>
                    <a:gd name="T13" fmla="*/ 104994 h 206"/>
                    <a:gd name="T14" fmla="*/ 188230 w 242"/>
                    <a:gd name="T15" fmla="*/ 114743 h 206"/>
                    <a:gd name="T16" fmla="*/ 186674 w 242"/>
                    <a:gd name="T17" fmla="*/ 120743 h 206"/>
                    <a:gd name="T18" fmla="*/ 176563 w 242"/>
                    <a:gd name="T19" fmla="*/ 122243 h 206"/>
                    <a:gd name="T20" fmla="*/ 181230 w 242"/>
                    <a:gd name="T21" fmla="*/ 135742 h 206"/>
                    <a:gd name="T22" fmla="*/ 171896 w 242"/>
                    <a:gd name="T23" fmla="*/ 145492 h 206"/>
                    <a:gd name="T24" fmla="*/ 170340 w 242"/>
                    <a:gd name="T25" fmla="*/ 145492 h 206"/>
                    <a:gd name="T26" fmla="*/ 162562 w 242"/>
                    <a:gd name="T27" fmla="*/ 146991 h 206"/>
                    <a:gd name="T28" fmla="*/ 150895 w 242"/>
                    <a:gd name="T29" fmla="*/ 154491 h 206"/>
                    <a:gd name="T30" fmla="*/ 144673 w 242"/>
                    <a:gd name="T31" fmla="*/ 148491 h 206"/>
                    <a:gd name="T32" fmla="*/ 136895 w 242"/>
                    <a:gd name="T33" fmla="*/ 119243 h 206"/>
                    <a:gd name="T34" fmla="*/ 123672 w 242"/>
                    <a:gd name="T35" fmla="*/ 119243 h 206"/>
                    <a:gd name="T36" fmla="*/ 112782 w 242"/>
                    <a:gd name="T37" fmla="*/ 122243 h 206"/>
                    <a:gd name="T38" fmla="*/ 114338 w 242"/>
                    <a:gd name="T39" fmla="*/ 103494 h 206"/>
                    <a:gd name="T40" fmla="*/ 98004 w 242"/>
                    <a:gd name="T41" fmla="*/ 77246 h 206"/>
                    <a:gd name="T42" fmla="*/ 63003 w 242"/>
                    <a:gd name="T43" fmla="*/ 86245 h 206"/>
                    <a:gd name="T44" fmla="*/ 43557 w 242"/>
                    <a:gd name="T45" fmla="*/ 104994 h 206"/>
                    <a:gd name="T46" fmla="*/ 42002 w 242"/>
                    <a:gd name="T47" fmla="*/ 95994 h 206"/>
                    <a:gd name="T48" fmla="*/ 35779 w 242"/>
                    <a:gd name="T49" fmla="*/ 87745 h 206"/>
                    <a:gd name="T50" fmla="*/ 31890 w 242"/>
                    <a:gd name="T51" fmla="*/ 81745 h 206"/>
                    <a:gd name="T52" fmla="*/ 24112 w 242"/>
                    <a:gd name="T53" fmla="*/ 74246 h 206"/>
                    <a:gd name="T54" fmla="*/ 10889 w 242"/>
                    <a:gd name="T55" fmla="*/ 59997 h 206"/>
                    <a:gd name="T56" fmla="*/ 10889 w 242"/>
                    <a:gd name="T57" fmla="*/ 53997 h 206"/>
                    <a:gd name="T58" fmla="*/ 7778 w 242"/>
                    <a:gd name="T59" fmla="*/ 55497 h 206"/>
                    <a:gd name="T60" fmla="*/ 6222 w 242"/>
                    <a:gd name="T61" fmla="*/ 47997 h 206"/>
                    <a:gd name="T62" fmla="*/ 0 w 242"/>
                    <a:gd name="T63" fmla="*/ 50997 h 206"/>
                    <a:gd name="T64" fmla="*/ 0 w 242"/>
                    <a:gd name="T65" fmla="*/ 49497 h 206"/>
                    <a:gd name="T66" fmla="*/ 6222 w 242"/>
                    <a:gd name="T67" fmla="*/ 38248 h 206"/>
                    <a:gd name="T68" fmla="*/ 30335 w 242"/>
                    <a:gd name="T69" fmla="*/ 29248 h 206"/>
                    <a:gd name="T70" fmla="*/ 31890 w 242"/>
                    <a:gd name="T71" fmla="*/ 13499 h 206"/>
                    <a:gd name="T72" fmla="*/ 35001 w 242"/>
                    <a:gd name="T73" fmla="*/ 0 h 206"/>
                    <a:gd name="T74" fmla="*/ 57558 w 242"/>
                    <a:gd name="T75" fmla="*/ 6000 h 206"/>
                    <a:gd name="T76" fmla="*/ 94893 w 242"/>
                    <a:gd name="T77" fmla="*/ 8999 h 206"/>
                    <a:gd name="T78" fmla="*/ 91782 w 242"/>
                    <a:gd name="T79" fmla="*/ 14999 h 206"/>
                    <a:gd name="T80" fmla="*/ 108893 w 242"/>
                    <a:gd name="T81" fmla="*/ 16499 h 206"/>
                    <a:gd name="T82" fmla="*/ 115894 w 242"/>
                    <a:gd name="T83" fmla="*/ 18749 h 206"/>
                    <a:gd name="T84" fmla="*/ 131450 w 242"/>
                    <a:gd name="T85" fmla="*/ 16499 h 206"/>
                    <a:gd name="T86" fmla="*/ 149340 w 242"/>
                    <a:gd name="T87" fmla="*/ 10499 h 206"/>
                    <a:gd name="T88" fmla="*/ 152451 w 242"/>
                    <a:gd name="T89" fmla="*/ 6000 h 206"/>
                    <a:gd name="T90" fmla="*/ 161007 w 242"/>
                    <a:gd name="T91" fmla="*/ 29248 h 206"/>
                    <a:gd name="T92" fmla="*/ 170340 w 242"/>
                    <a:gd name="T93" fmla="*/ 36748 h 20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42"/>
                    <a:gd name="T142" fmla="*/ 0 h 206"/>
                    <a:gd name="T143" fmla="*/ 242 w 242"/>
                    <a:gd name="T144" fmla="*/ 206 h 20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42" h="206">
                      <a:moveTo>
                        <a:pt x="219" y="49"/>
                      </a:moveTo>
                      <a:lnTo>
                        <a:pt x="215" y="60"/>
                      </a:lnTo>
                      <a:lnTo>
                        <a:pt x="219" y="62"/>
                      </a:lnTo>
                      <a:lnTo>
                        <a:pt x="236" y="95"/>
                      </a:lnTo>
                      <a:lnTo>
                        <a:pt x="233" y="124"/>
                      </a:lnTo>
                      <a:lnTo>
                        <a:pt x="236" y="132"/>
                      </a:lnTo>
                      <a:lnTo>
                        <a:pt x="238" y="140"/>
                      </a:lnTo>
                      <a:lnTo>
                        <a:pt x="242" y="153"/>
                      </a:lnTo>
                      <a:lnTo>
                        <a:pt x="240" y="161"/>
                      </a:lnTo>
                      <a:lnTo>
                        <a:pt x="227" y="163"/>
                      </a:lnTo>
                      <a:lnTo>
                        <a:pt x="233" y="181"/>
                      </a:lnTo>
                      <a:lnTo>
                        <a:pt x="221" y="194"/>
                      </a:lnTo>
                      <a:lnTo>
                        <a:pt x="219" y="194"/>
                      </a:lnTo>
                      <a:lnTo>
                        <a:pt x="209" y="196"/>
                      </a:lnTo>
                      <a:lnTo>
                        <a:pt x="194" y="206"/>
                      </a:lnTo>
                      <a:lnTo>
                        <a:pt x="186" y="198"/>
                      </a:lnTo>
                      <a:lnTo>
                        <a:pt x="176" y="159"/>
                      </a:lnTo>
                      <a:lnTo>
                        <a:pt x="159" y="159"/>
                      </a:lnTo>
                      <a:lnTo>
                        <a:pt x="145" y="163"/>
                      </a:lnTo>
                      <a:lnTo>
                        <a:pt x="147" y="138"/>
                      </a:lnTo>
                      <a:lnTo>
                        <a:pt x="126" y="103"/>
                      </a:lnTo>
                      <a:lnTo>
                        <a:pt x="81" y="115"/>
                      </a:lnTo>
                      <a:lnTo>
                        <a:pt x="56" y="140"/>
                      </a:lnTo>
                      <a:lnTo>
                        <a:pt x="54" y="128"/>
                      </a:lnTo>
                      <a:lnTo>
                        <a:pt x="46" y="117"/>
                      </a:lnTo>
                      <a:lnTo>
                        <a:pt x="41" y="109"/>
                      </a:lnTo>
                      <a:lnTo>
                        <a:pt x="31" y="99"/>
                      </a:lnTo>
                      <a:lnTo>
                        <a:pt x="14" y="80"/>
                      </a:lnTo>
                      <a:lnTo>
                        <a:pt x="14" y="72"/>
                      </a:lnTo>
                      <a:lnTo>
                        <a:pt x="10" y="74"/>
                      </a:lnTo>
                      <a:lnTo>
                        <a:pt x="8" y="64"/>
                      </a:lnTo>
                      <a:lnTo>
                        <a:pt x="0" y="68"/>
                      </a:lnTo>
                      <a:lnTo>
                        <a:pt x="0" y="66"/>
                      </a:lnTo>
                      <a:lnTo>
                        <a:pt x="8" y="51"/>
                      </a:lnTo>
                      <a:lnTo>
                        <a:pt x="39" y="39"/>
                      </a:lnTo>
                      <a:lnTo>
                        <a:pt x="41" y="18"/>
                      </a:lnTo>
                      <a:lnTo>
                        <a:pt x="45" y="0"/>
                      </a:lnTo>
                      <a:lnTo>
                        <a:pt x="74" y="8"/>
                      </a:lnTo>
                      <a:lnTo>
                        <a:pt x="122" y="12"/>
                      </a:lnTo>
                      <a:lnTo>
                        <a:pt x="118" y="20"/>
                      </a:lnTo>
                      <a:lnTo>
                        <a:pt x="140" y="22"/>
                      </a:lnTo>
                      <a:lnTo>
                        <a:pt x="149" y="25"/>
                      </a:lnTo>
                      <a:lnTo>
                        <a:pt x="169" y="22"/>
                      </a:lnTo>
                      <a:lnTo>
                        <a:pt x="192" y="14"/>
                      </a:lnTo>
                      <a:lnTo>
                        <a:pt x="196" y="8"/>
                      </a:lnTo>
                      <a:lnTo>
                        <a:pt x="207" y="39"/>
                      </a:lnTo>
                      <a:lnTo>
                        <a:pt x="219" y="4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0" name="Freeform 139"/>
                <p:cNvSpPr>
                  <a:spLocks/>
                </p:cNvSpPr>
                <p:nvPr/>
              </p:nvSpPr>
              <p:spPr bwMode="auto">
                <a:xfrm>
                  <a:off x="3926911" y="3026185"/>
                  <a:ext cx="79909" cy="53273"/>
                </a:xfrm>
                <a:custGeom>
                  <a:avLst/>
                  <a:gdLst>
                    <a:gd name="T0" fmla="*/ 39559 w 101"/>
                    <a:gd name="T1" fmla="*/ 33094 h 66"/>
                    <a:gd name="T2" fmla="*/ 36394 w 101"/>
                    <a:gd name="T3" fmla="*/ 41165 h 66"/>
                    <a:gd name="T4" fmla="*/ 41141 w 101"/>
                    <a:gd name="T5" fmla="*/ 48430 h 66"/>
                    <a:gd name="T6" fmla="*/ 44306 w 101"/>
                    <a:gd name="T7" fmla="*/ 53273 h 66"/>
                    <a:gd name="T8" fmla="*/ 50635 w 101"/>
                    <a:gd name="T9" fmla="*/ 41165 h 66"/>
                    <a:gd name="T10" fmla="*/ 75162 w 101"/>
                    <a:gd name="T11" fmla="*/ 31479 h 66"/>
                    <a:gd name="T12" fmla="*/ 76744 w 101"/>
                    <a:gd name="T13" fmla="*/ 14529 h 66"/>
                    <a:gd name="T14" fmla="*/ 79909 w 101"/>
                    <a:gd name="T15" fmla="*/ 0 h 66"/>
                    <a:gd name="T16" fmla="*/ 56174 w 101"/>
                    <a:gd name="T17" fmla="*/ 1614 h 66"/>
                    <a:gd name="T18" fmla="*/ 34812 w 101"/>
                    <a:gd name="T19" fmla="*/ 4843 h 66"/>
                    <a:gd name="T20" fmla="*/ 0 w 101"/>
                    <a:gd name="T21" fmla="*/ 11300 h 66"/>
                    <a:gd name="T22" fmla="*/ 13450 w 101"/>
                    <a:gd name="T23" fmla="*/ 12915 h 66"/>
                    <a:gd name="T24" fmla="*/ 8703 w 101"/>
                    <a:gd name="T25" fmla="*/ 17758 h 66"/>
                    <a:gd name="T26" fmla="*/ 22944 w 101"/>
                    <a:gd name="T27" fmla="*/ 20179 h 66"/>
                    <a:gd name="T28" fmla="*/ 21362 w 101"/>
                    <a:gd name="T29" fmla="*/ 25022 h 66"/>
                    <a:gd name="T30" fmla="*/ 39559 w 101"/>
                    <a:gd name="T31" fmla="*/ 23408 h 66"/>
                    <a:gd name="T32" fmla="*/ 44306 w 101"/>
                    <a:gd name="T33" fmla="*/ 28251 h 66"/>
                    <a:gd name="T34" fmla="*/ 30065 w 101"/>
                    <a:gd name="T35" fmla="*/ 29865 h 66"/>
                    <a:gd name="T36" fmla="*/ 39559 w 101"/>
                    <a:gd name="T37" fmla="*/ 33094 h 6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1"/>
                    <a:gd name="T58" fmla="*/ 0 h 66"/>
                    <a:gd name="T59" fmla="*/ 101 w 101"/>
                    <a:gd name="T60" fmla="*/ 66 h 6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1" h="66">
                      <a:moveTo>
                        <a:pt x="50" y="41"/>
                      </a:moveTo>
                      <a:lnTo>
                        <a:pt x="46" y="51"/>
                      </a:lnTo>
                      <a:lnTo>
                        <a:pt x="52" y="60"/>
                      </a:lnTo>
                      <a:lnTo>
                        <a:pt x="56" y="66"/>
                      </a:lnTo>
                      <a:lnTo>
                        <a:pt x="64" y="51"/>
                      </a:lnTo>
                      <a:lnTo>
                        <a:pt x="95" y="39"/>
                      </a:lnTo>
                      <a:lnTo>
                        <a:pt x="97" y="18"/>
                      </a:lnTo>
                      <a:lnTo>
                        <a:pt x="101" y="0"/>
                      </a:lnTo>
                      <a:lnTo>
                        <a:pt x="71" y="2"/>
                      </a:lnTo>
                      <a:lnTo>
                        <a:pt x="44" y="6"/>
                      </a:lnTo>
                      <a:lnTo>
                        <a:pt x="0" y="14"/>
                      </a:lnTo>
                      <a:lnTo>
                        <a:pt x="17" y="16"/>
                      </a:lnTo>
                      <a:lnTo>
                        <a:pt x="11" y="22"/>
                      </a:lnTo>
                      <a:lnTo>
                        <a:pt x="29" y="25"/>
                      </a:lnTo>
                      <a:lnTo>
                        <a:pt x="27" y="31"/>
                      </a:lnTo>
                      <a:lnTo>
                        <a:pt x="50" y="29"/>
                      </a:lnTo>
                      <a:lnTo>
                        <a:pt x="56" y="35"/>
                      </a:lnTo>
                      <a:lnTo>
                        <a:pt x="38" y="37"/>
                      </a:lnTo>
                      <a:lnTo>
                        <a:pt x="50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1" name="Freeform 140"/>
                <p:cNvSpPr>
                  <a:spLocks/>
                </p:cNvSpPr>
                <p:nvPr/>
              </p:nvSpPr>
              <p:spPr bwMode="auto">
                <a:xfrm>
                  <a:off x="4143552" y="3086560"/>
                  <a:ext cx="150939" cy="182903"/>
                </a:xfrm>
                <a:custGeom>
                  <a:avLst/>
                  <a:gdLst>
                    <a:gd name="T0" fmla="*/ 84526 w 200"/>
                    <a:gd name="T1" fmla="*/ 11337 h 242"/>
                    <a:gd name="T2" fmla="*/ 74715 w 200"/>
                    <a:gd name="T3" fmla="*/ 7558 h 242"/>
                    <a:gd name="T4" fmla="*/ 57357 w 200"/>
                    <a:gd name="T5" fmla="*/ 9825 h 242"/>
                    <a:gd name="T6" fmla="*/ 54338 w 200"/>
                    <a:gd name="T7" fmla="*/ 0 h 242"/>
                    <a:gd name="T8" fmla="*/ 45282 w 200"/>
                    <a:gd name="T9" fmla="*/ 7558 h 242"/>
                    <a:gd name="T10" fmla="*/ 33961 w 200"/>
                    <a:gd name="T11" fmla="*/ 12849 h 242"/>
                    <a:gd name="T12" fmla="*/ 18867 w 200"/>
                    <a:gd name="T13" fmla="*/ 9825 h 242"/>
                    <a:gd name="T14" fmla="*/ 12830 w 200"/>
                    <a:gd name="T15" fmla="*/ 14360 h 242"/>
                    <a:gd name="T16" fmla="*/ 10566 w 200"/>
                    <a:gd name="T17" fmla="*/ 36278 h 242"/>
                    <a:gd name="T18" fmla="*/ 12830 w 200"/>
                    <a:gd name="T19" fmla="*/ 42325 h 242"/>
                    <a:gd name="T20" fmla="*/ 14339 w 200"/>
                    <a:gd name="T21" fmla="*/ 48371 h 242"/>
                    <a:gd name="T22" fmla="*/ 17358 w 200"/>
                    <a:gd name="T23" fmla="*/ 58196 h 242"/>
                    <a:gd name="T24" fmla="*/ 15849 w 200"/>
                    <a:gd name="T25" fmla="*/ 64243 h 242"/>
                    <a:gd name="T26" fmla="*/ 6038 w 200"/>
                    <a:gd name="T27" fmla="*/ 65754 h 242"/>
                    <a:gd name="T28" fmla="*/ 10566 w 200"/>
                    <a:gd name="T29" fmla="*/ 79359 h 242"/>
                    <a:gd name="T30" fmla="*/ 1509 w 200"/>
                    <a:gd name="T31" fmla="*/ 89184 h 242"/>
                    <a:gd name="T32" fmla="*/ 0 w 200"/>
                    <a:gd name="T33" fmla="*/ 89184 h 242"/>
                    <a:gd name="T34" fmla="*/ 0 w 200"/>
                    <a:gd name="T35" fmla="*/ 115637 h 242"/>
                    <a:gd name="T36" fmla="*/ 0 w 200"/>
                    <a:gd name="T37" fmla="*/ 121683 h 242"/>
                    <a:gd name="T38" fmla="*/ 15849 w 200"/>
                    <a:gd name="T39" fmla="*/ 136044 h 242"/>
                    <a:gd name="T40" fmla="*/ 26414 w 200"/>
                    <a:gd name="T41" fmla="*/ 148136 h 242"/>
                    <a:gd name="T42" fmla="*/ 23396 w 200"/>
                    <a:gd name="T43" fmla="*/ 182903 h 242"/>
                    <a:gd name="T44" fmla="*/ 55847 w 200"/>
                    <a:gd name="T45" fmla="*/ 171566 h 242"/>
                    <a:gd name="T46" fmla="*/ 86035 w 200"/>
                    <a:gd name="T47" fmla="*/ 159473 h 242"/>
                    <a:gd name="T48" fmla="*/ 80752 w 200"/>
                    <a:gd name="T49" fmla="*/ 159473 h 242"/>
                    <a:gd name="T50" fmla="*/ 112450 w 200"/>
                    <a:gd name="T51" fmla="*/ 156450 h 242"/>
                    <a:gd name="T52" fmla="*/ 95092 w 200"/>
                    <a:gd name="T53" fmla="*/ 157962 h 242"/>
                    <a:gd name="T54" fmla="*/ 115468 w 200"/>
                    <a:gd name="T55" fmla="*/ 156450 h 242"/>
                    <a:gd name="T56" fmla="*/ 131317 w 200"/>
                    <a:gd name="T57" fmla="*/ 156450 h 242"/>
                    <a:gd name="T58" fmla="*/ 134336 w 200"/>
                    <a:gd name="T59" fmla="*/ 160985 h 242"/>
                    <a:gd name="T60" fmla="*/ 143392 w 200"/>
                    <a:gd name="T61" fmla="*/ 154938 h 242"/>
                    <a:gd name="T62" fmla="*/ 137354 w 200"/>
                    <a:gd name="T63" fmla="*/ 133020 h 242"/>
                    <a:gd name="T64" fmla="*/ 131317 w 200"/>
                    <a:gd name="T65" fmla="*/ 111102 h 242"/>
                    <a:gd name="T66" fmla="*/ 141883 w 200"/>
                    <a:gd name="T67" fmla="*/ 92207 h 242"/>
                    <a:gd name="T68" fmla="*/ 150939 w 200"/>
                    <a:gd name="T69" fmla="*/ 71801 h 242"/>
                    <a:gd name="T70" fmla="*/ 146411 w 200"/>
                    <a:gd name="T71" fmla="*/ 34767 h 242"/>
                    <a:gd name="T72" fmla="*/ 123015 w 200"/>
                    <a:gd name="T73" fmla="*/ 21918 h 242"/>
                    <a:gd name="T74" fmla="*/ 99620 w 200"/>
                    <a:gd name="T75" fmla="*/ 29476 h 242"/>
                    <a:gd name="T76" fmla="*/ 84526 w 200"/>
                    <a:gd name="T77" fmla="*/ 11337 h 24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"/>
                    <a:gd name="T118" fmla="*/ 0 h 242"/>
                    <a:gd name="T119" fmla="*/ 200 w 200"/>
                    <a:gd name="T120" fmla="*/ 242 h 24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" h="242">
                      <a:moveTo>
                        <a:pt x="112" y="15"/>
                      </a:moveTo>
                      <a:lnTo>
                        <a:pt x="99" y="10"/>
                      </a:lnTo>
                      <a:lnTo>
                        <a:pt x="76" y="13"/>
                      </a:lnTo>
                      <a:lnTo>
                        <a:pt x="72" y="0"/>
                      </a:lnTo>
                      <a:lnTo>
                        <a:pt x="60" y="10"/>
                      </a:lnTo>
                      <a:lnTo>
                        <a:pt x="45" y="17"/>
                      </a:lnTo>
                      <a:lnTo>
                        <a:pt x="25" y="13"/>
                      </a:lnTo>
                      <a:lnTo>
                        <a:pt x="17" y="19"/>
                      </a:lnTo>
                      <a:lnTo>
                        <a:pt x="14" y="48"/>
                      </a:lnTo>
                      <a:lnTo>
                        <a:pt x="17" y="56"/>
                      </a:lnTo>
                      <a:lnTo>
                        <a:pt x="19" y="64"/>
                      </a:lnTo>
                      <a:lnTo>
                        <a:pt x="23" y="77"/>
                      </a:lnTo>
                      <a:lnTo>
                        <a:pt x="21" y="85"/>
                      </a:lnTo>
                      <a:lnTo>
                        <a:pt x="8" y="87"/>
                      </a:lnTo>
                      <a:lnTo>
                        <a:pt x="14" y="105"/>
                      </a:lnTo>
                      <a:lnTo>
                        <a:pt x="2" y="118"/>
                      </a:lnTo>
                      <a:lnTo>
                        <a:pt x="0" y="118"/>
                      </a:lnTo>
                      <a:lnTo>
                        <a:pt x="0" y="153"/>
                      </a:lnTo>
                      <a:lnTo>
                        <a:pt x="0" y="161"/>
                      </a:lnTo>
                      <a:lnTo>
                        <a:pt x="21" y="180"/>
                      </a:lnTo>
                      <a:lnTo>
                        <a:pt x="35" y="196"/>
                      </a:lnTo>
                      <a:lnTo>
                        <a:pt x="31" y="242"/>
                      </a:lnTo>
                      <a:lnTo>
                        <a:pt x="74" y="227"/>
                      </a:lnTo>
                      <a:lnTo>
                        <a:pt x="114" y="211"/>
                      </a:lnTo>
                      <a:lnTo>
                        <a:pt x="107" y="211"/>
                      </a:lnTo>
                      <a:lnTo>
                        <a:pt x="149" y="207"/>
                      </a:lnTo>
                      <a:lnTo>
                        <a:pt x="126" y="209"/>
                      </a:lnTo>
                      <a:lnTo>
                        <a:pt x="153" y="207"/>
                      </a:lnTo>
                      <a:lnTo>
                        <a:pt x="174" y="207"/>
                      </a:lnTo>
                      <a:lnTo>
                        <a:pt x="178" y="213"/>
                      </a:lnTo>
                      <a:lnTo>
                        <a:pt x="190" y="205"/>
                      </a:lnTo>
                      <a:lnTo>
                        <a:pt x="182" y="176"/>
                      </a:lnTo>
                      <a:lnTo>
                        <a:pt x="174" y="147"/>
                      </a:lnTo>
                      <a:lnTo>
                        <a:pt x="188" y="122"/>
                      </a:lnTo>
                      <a:lnTo>
                        <a:pt x="200" y="95"/>
                      </a:lnTo>
                      <a:lnTo>
                        <a:pt x="194" y="46"/>
                      </a:lnTo>
                      <a:lnTo>
                        <a:pt x="163" y="29"/>
                      </a:lnTo>
                      <a:lnTo>
                        <a:pt x="132" y="39"/>
                      </a:lnTo>
                      <a:lnTo>
                        <a:pt x="112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2" name="Freeform 141"/>
                <p:cNvSpPr>
                  <a:spLocks/>
                </p:cNvSpPr>
                <p:nvPr/>
              </p:nvSpPr>
              <p:spPr bwMode="auto">
                <a:xfrm>
                  <a:off x="4013923" y="3104318"/>
                  <a:ext cx="78133" cy="94115"/>
                </a:xfrm>
                <a:custGeom>
                  <a:avLst/>
                  <a:gdLst>
                    <a:gd name="T0" fmla="*/ 78133 w 103"/>
                    <a:gd name="T1" fmla="*/ 45435 h 116"/>
                    <a:gd name="T2" fmla="*/ 65996 w 103"/>
                    <a:gd name="T3" fmla="*/ 65718 h 116"/>
                    <a:gd name="T4" fmla="*/ 54617 w 103"/>
                    <a:gd name="T5" fmla="*/ 85190 h 116"/>
                    <a:gd name="T6" fmla="*/ 45514 w 103"/>
                    <a:gd name="T7" fmla="*/ 94115 h 116"/>
                    <a:gd name="T8" fmla="*/ 20481 w 103"/>
                    <a:gd name="T9" fmla="*/ 80322 h 116"/>
                    <a:gd name="T10" fmla="*/ 25033 w 103"/>
                    <a:gd name="T11" fmla="*/ 75454 h 116"/>
                    <a:gd name="T12" fmla="*/ 18964 w 103"/>
                    <a:gd name="T13" fmla="*/ 70586 h 116"/>
                    <a:gd name="T14" fmla="*/ 3034 w 103"/>
                    <a:gd name="T15" fmla="*/ 50303 h 116"/>
                    <a:gd name="T16" fmla="*/ 10620 w 103"/>
                    <a:gd name="T17" fmla="*/ 43812 h 116"/>
                    <a:gd name="T18" fmla="*/ 1517 w 103"/>
                    <a:gd name="T19" fmla="*/ 40567 h 116"/>
                    <a:gd name="T20" fmla="*/ 9103 w 103"/>
                    <a:gd name="T21" fmla="*/ 34887 h 116"/>
                    <a:gd name="T22" fmla="*/ 0 w 103"/>
                    <a:gd name="T23" fmla="*/ 30019 h 116"/>
                    <a:gd name="T24" fmla="*/ 18964 w 103"/>
                    <a:gd name="T25" fmla="*/ 9736 h 116"/>
                    <a:gd name="T26" fmla="*/ 53100 w 103"/>
                    <a:gd name="T27" fmla="*/ 0 h 116"/>
                    <a:gd name="T28" fmla="*/ 69030 w 103"/>
                    <a:gd name="T29" fmla="*/ 28397 h 116"/>
                    <a:gd name="T30" fmla="*/ 67513 w 103"/>
                    <a:gd name="T31" fmla="*/ 48680 h 116"/>
                    <a:gd name="T32" fmla="*/ 78133 w 103"/>
                    <a:gd name="T33" fmla="*/ 45435 h 11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3"/>
                    <a:gd name="T52" fmla="*/ 0 h 116"/>
                    <a:gd name="T53" fmla="*/ 103 w 103"/>
                    <a:gd name="T54" fmla="*/ 116 h 11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3" h="116">
                      <a:moveTo>
                        <a:pt x="103" y="56"/>
                      </a:moveTo>
                      <a:lnTo>
                        <a:pt x="87" y="81"/>
                      </a:lnTo>
                      <a:lnTo>
                        <a:pt x="72" y="105"/>
                      </a:lnTo>
                      <a:lnTo>
                        <a:pt x="60" y="116"/>
                      </a:lnTo>
                      <a:lnTo>
                        <a:pt x="27" y="99"/>
                      </a:lnTo>
                      <a:lnTo>
                        <a:pt x="33" y="93"/>
                      </a:lnTo>
                      <a:lnTo>
                        <a:pt x="25" y="87"/>
                      </a:lnTo>
                      <a:lnTo>
                        <a:pt x="4" y="62"/>
                      </a:lnTo>
                      <a:lnTo>
                        <a:pt x="14" y="54"/>
                      </a:lnTo>
                      <a:lnTo>
                        <a:pt x="2" y="50"/>
                      </a:lnTo>
                      <a:lnTo>
                        <a:pt x="12" y="43"/>
                      </a:lnTo>
                      <a:lnTo>
                        <a:pt x="0" y="37"/>
                      </a:lnTo>
                      <a:lnTo>
                        <a:pt x="25" y="12"/>
                      </a:lnTo>
                      <a:lnTo>
                        <a:pt x="70" y="0"/>
                      </a:lnTo>
                      <a:lnTo>
                        <a:pt x="91" y="35"/>
                      </a:lnTo>
                      <a:lnTo>
                        <a:pt x="89" y="60"/>
                      </a:lnTo>
                      <a:lnTo>
                        <a:pt x="103" y="5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3" name="Freeform 142"/>
                <p:cNvSpPr>
                  <a:spLocks/>
                </p:cNvSpPr>
                <p:nvPr/>
              </p:nvSpPr>
              <p:spPr bwMode="auto">
                <a:xfrm>
                  <a:off x="4360194" y="3074130"/>
                  <a:ext cx="42618" cy="142060"/>
                </a:xfrm>
                <a:custGeom>
                  <a:avLst/>
                  <a:gdLst>
                    <a:gd name="T0" fmla="*/ 19178 w 60"/>
                    <a:gd name="T1" fmla="*/ 4439 h 192"/>
                    <a:gd name="T2" fmla="*/ 0 w 60"/>
                    <a:gd name="T3" fmla="*/ 0 h 192"/>
                    <a:gd name="T4" fmla="*/ 4262 w 60"/>
                    <a:gd name="T5" fmla="*/ 10359 h 192"/>
                    <a:gd name="T6" fmla="*/ 14206 w 60"/>
                    <a:gd name="T7" fmla="*/ 34775 h 192"/>
                    <a:gd name="T8" fmla="*/ 12785 w 60"/>
                    <a:gd name="T9" fmla="*/ 47353 h 192"/>
                    <a:gd name="T10" fmla="*/ 15627 w 60"/>
                    <a:gd name="T11" fmla="*/ 66591 h 192"/>
                    <a:gd name="T12" fmla="*/ 17758 w 60"/>
                    <a:gd name="T13" fmla="*/ 85088 h 192"/>
                    <a:gd name="T14" fmla="*/ 19178 w 60"/>
                    <a:gd name="T15" fmla="*/ 106545 h 192"/>
                    <a:gd name="T16" fmla="*/ 20599 w 60"/>
                    <a:gd name="T17" fmla="*/ 129482 h 192"/>
                    <a:gd name="T18" fmla="*/ 33384 w 60"/>
                    <a:gd name="T19" fmla="*/ 142060 h 192"/>
                    <a:gd name="T20" fmla="*/ 42618 w 60"/>
                    <a:gd name="T21" fmla="*/ 139100 h 192"/>
                    <a:gd name="T22" fmla="*/ 42618 w 60"/>
                    <a:gd name="T23" fmla="*/ 117643 h 192"/>
                    <a:gd name="T24" fmla="*/ 41197 w 60"/>
                    <a:gd name="T25" fmla="*/ 97666 h 192"/>
                    <a:gd name="T26" fmla="*/ 39777 w 60"/>
                    <a:gd name="T27" fmla="*/ 76209 h 192"/>
                    <a:gd name="T28" fmla="*/ 39777 w 60"/>
                    <a:gd name="T29" fmla="*/ 54752 h 192"/>
                    <a:gd name="T30" fmla="*/ 36225 w 60"/>
                    <a:gd name="T31" fmla="*/ 33295 h 192"/>
                    <a:gd name="T32" fmla="*/ 23440 w 60"/>
                    <a:gd name="T33" fmla="*/ 16278 h 192"/>
                    <a:gd name="T34" fmla="*/ 26281 w 60"/>
                    <a:gd name="T35" fmla="*/ 4439 h 192"/>
                    <a:gd name="T36" fmla="*/ 19178 w 60"/>
                    <a:gd name="T37" fmla="*/ 4439 h 19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0"/>
                    <a:gd name="T58" fmla="*/ 0 h 192"/>
                    <a:gd name="T59" fmla="*/ 60 w 60"/>
                    <a:gd name="T60" fmla="*/ 192 h 19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0" h="192">
                      <a:moveTo>
                        <a:pt x="27" y="6"/>
                      </a:moveTo>
                      <a:lnTo>
                        <a:pt x="0" y="0"/>
                      </a:lnTo>
                      <a:lnTo>
                        <a:pt x="6" y="14"/>
                      </a:lnTo>
                      <a:lnTo>
                        <a:pt x="20" y="47"/>
                      </a:lnTo>
                      <a:lnTo>
                        <a:pt x="18" y="64"/>
                      </a:lnTo>
                      <a:lnTo>
                        <a:pt x="22" y="90"/>
                      </a:lnTo>
                      <a:lnTo>
                        <a:pt x="25" y="115"/>
                      </a:lnTo>
                      <a:lnTo>
                        <a:pt x="27" y="144"/>
                      </a:lnTo>
                      <a:lnTo>
                        <a:pt x="29" y="175"/>
                      </a:lnTo>
                      <a:lnTo>
                        <a:pt x="47" y="192"/>
                      </a:lnTo>
                      <a:lnTo>
                        <a:pt x="60" y="188"/>
                      </a:lnTo>
                      <a:lnTo>
                        <a:pt x="60" y="159"/>
                      </a:lnTo>
                      <a:lnTo>
                        <a:pt x="58" y="132"/>
                      </a:lnTo>
                      <a:lnTo>
                        <a:pt x="56" y="103"/>
                      </a:lnTo>
                      <a:lnTo>
                        <a:pt x="56" y="74"/>
                      </a:lnTo>
                      <a:lnTo>
                        <a:pt x="51" y="45"/>
                      </a:lnTo>
                      <a:lnTo>
                        <a:pt x="33" y="22"/>
                      </a:lnTo>
                      <a:lnTo>
                        <a:pt x="37" y="6"/>
                      </a:lnTo>
                      <a:lnTo>
                        <a:pt x="27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4" name="Freeform 143"/>
                <p:cNvSpPr>
                  <a:spLocks/>
                </p:cNvSpPr>
                <p:nvPr/>
              </p:nvSpPr>
              <p:spPr bwMode="auto">
                <a:xfrm>
                  <a:off x="4143552" y="2340744"/>
                  <a:ext cx="527398" cy="507866"/>
                </a:xfrm>
                <a:custGeom>
                  <a:avLst/>
                  <a:gdLst>
                    <a:gd name="T0" fmla="*/ 0 w 675"/>
                    <a:gd name="T1" fmla="*/ 264810 h 677"/>
                    <a:gd name="T2" fmla="*/ 24221 w 675"/>
                    <a:gd name="T3" fmla="*/ 292567 h 677"/>
                    <a:gd name="T4" fmla="*/ 72664 w 675"/>
                    <a:gd name="T5" fmla="*/ 324824 h 677"/>
                    <a:gd name="T6" fmla="*/ 116418 w 675"/>
                    <a:gd name="T7" fmla="*/ 354831 h 677"/>
                    <a:gd name="T8" fmla="*/ 154703 w 675"/>
                    <a:gd name="T9" fmla="*/ 382587 h 677"/>
                    <a:gd name="T10" fmla="*/ 192207 w 675"/>
                    <a:gd name="T11" fmla="*/ 410344 h 677"/>
                    <a:gd name="T12" fmla="*/ 230492 w 675"/>
                    <a:gd name="T13" fmla="*/ 438100 h 677"/>
                    <a:gd name="T14" fmla="*/ 250026 w 675"/>
                    <a:gd name="T15" fmla="*/ 461355 h 677"/>
                    <a:gd name="T16" fmla="*/ 300031 w 675"/>
                    <a:gd name="T17" fmla="*/ 486111 h 677"/>
                    <a:gd name="T18" fmla="*/ 328940 w 675"/>
                    <a:gd name="T19" fmla="*/ 507866 h 677"/>
                    <a:gd name="T20" fmla="*/ 369569 w 675"/>
                    <a:gd name="T21" fmla="*/ 498864 h 677"/>
                    <a:gd name="T22" fmla="*/ 411761 w 675"/>
                    <a:gd name="T23" fmla="*/ 459855 h 677"/>
                    <a:gd name="T24" fmla="*/ 469580 w 675"/>
                    <a:gd name="T25" fmla="*/ 422346 h 677"/>
                    <a:gd name="T26" fmla="*/ 527398 w 675"/>
                    <a:gd name="T27" fmla="*/ 382587 h 677"/>
                    <a:gd name="T28" fmla="*/ 485988 w 675"/>
                    <a:gd name="T29" fmla="*/ 354831 h 677"/>
                    <a:gd name="T30" fmla="*/ 458641 w 675"/>
                    <a:gd name="T31" fmla="*/ 308320 h 677"/>
                    <a:gd name="T32" fmla="*/ 469580 w 675"/>
                    <a:gd name="T33" fmla="*/ 264810 h 677"/>
                    <a:gd name="T34" fmla="*/ 457078 w 675"/>
                    <a:gd name="T35" fmla="*/ 199546 h 677"/>
                    <a:gd name="T36" fmla="*/ 453172 w 675"/>
                    <a:gd name="T37" fmla="*/ 164288 h 677"/>
                    <a:gd name="T38" fmla="*/ 427388 w 675"/>
                    <a:gd name="T39" fmla="*/ 117777 h 677"/>
                    <a:gd name="T40" fmla="*/ 418012 w 675"/>
                    <a:gd name="T41" fmla="*/ 68266 h 677"/>
                    <a:gd name="T42" fmla="*/ 425825 w 675"/>
                    <a:gd name="T43" fmla="*/ 9002 h 677"/>
                    <a:gd name="T44" fmla="*/ 393790 w 675"/>
                    <a:gd name="T45" fmla="*/ 0 h 677"/>
                    <a:gd name="T46" fmla="*/ 345348 w 675"/>
                    <a:gd name="T47" fmla="*/ 4501 h 677"/>
                    <a:gd name="T48" fmla="*/ 289092 w 675"/>
                    <a:gd name="T49" fmla="*/ 6001 h 677"/>
                    <a:gd name="T50" fmla="*/ 225804 w 675"/>
                    <a:gd name="T51" fmla="*/ 23255 h 677"/>
                    <a:gd name="T52" fmla="*/ 187519 w 675"/>
                    <a:gd name="T53" fmla="*/ 42760 h 677"/>
                    <a:gd name="T54" fmla="*/ 171111 w 675"/>
                    <a:gd name="T55" fmla="*/ 60014 h 677"/>
                    <a:gd name="T56" fmla="*/ 178925 w 675"/>
                    <a:gd name="T57" fmla="*/ 102023 h 677"/>
                    <a:gd name="T58" fmla="*/ 187519 w 675"/>
                    <a:gd name="T59" fmla="*/ 135781 h 677"/>
                    <a:gd name="T60" fmla="*/ 127357 w 675"/>
                    <a:gd name="T61" fmla="*/ 148534 h 677"/>
                    <a:gd name="T62" fmla="*/ 108605 w 675"/>
                    <a:gd name="T63" fmla="*/ 179291 h 677"/>
                    <a:gd name="T64" fmla="*/ 69538 w 675"/>
                    <a:gd name="T65" fmla="*/ 199546 h 677"/>
                    <a:gd name="T66" fmla="*/ 25784 w 675"/>
                    <a:gd name="T67" fmla="*/ 219800 h 67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75"/>
                    <a:gd name="T103" fmla="*/ 0 h 677"/>
                    <a:gd name="T104" fmla="*/ 675 w 675"/>
                    <a:gd name="T105" fmla="*/ 677 h 67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75" h="677">
                      <a:moveTo>
                        <a:pt x="8" y="309"/>
                      </a:moveTo>
                      <a:lnTo>
                        <a:pt x="0" y="353"/>
                      </a:lnTo>
                      <a:lnTo>
                        <a:pt x="0" y="367"/>
                      </a:lnTo>
                      <a:lnTo>
                        <a:pt x="31" y="390"/>
                      </a:lnTo>
                      <a:lnTo>
                        <a:pt x="62" y="411"/>
                      </a:lnTo>
                      <a:lnTo>
                        <a:pt x="93" y="433"/>
                      </a:lnTo>
                      <a:lnTo>
                        <a:pt x="124" y="454"/>
                      </a:lnTo>
                      <a:lnTo>
                        <a:pt x="149" y="473"/>
                      </a:lnTo>
                      <a:lnTo>
                        <a:pt x="172" y="491"/>
                      </a:lnTo>
                      <a:lnTo>
                        <a:pt x="198" y="510"/>
                      </a:lnTo>
                      <a:lnTo>
                        <a:pt x="221" y="530"/>
                      </a:lnTo>
                      <a:lnTo>
                        <a:pt x="246" y="547"/>
                      </a:lnTo>
                      <a:lnTo>
                        <a:pt x="269" y="566"/>
                      </a:lnTo>
                      <a:lnTo>
                        <a:pt x="295" y="584"/>
                      </a:lnTo>
                      <a:lnTo>
                        <a:pt x="320" y="603"/>
                      </a:lnTo>
                      <a:lnTo>
                        <a:pt x="320" y="615"/>
                      </a:lnTo>
                      <a:lnTo>
                        <a:pt x="335" y="629"/>
                      </a:lnTo>
                      <a:lnTo>
                        <a:pt x="384" y="648"/>
                      </a:lnTo>
                      <a:lnTo>
                        <a:pt x="384" y="677"/>
                      </a:lnTo>
                      <a:lnTo>
                        <a:pt x="421" y="677"/>
                      </a:lnTo>
                      <a:lnTo>
                        <a:pt x="448" y="671"/>
                      </a:lnTo>
                      <a:lnTo>
                        <a:pt x="473" y="665"/>
                      </a:lnTo>
                      <a:lnTo>
                        <a:pt x="500" y="638"/>
                      </a:lnTo>
                      <a:lnTo>
                        <a:pt x="527" y="613"/>
                      </a:lnTo>
                      <a:lnTo>
                        <a:pt x="564" y="588"/>
                      </a:lnTo>
                      <a:lnTo>
                        <a:pt x="601" y="563"/>
                      </a:lnTo>
                      <a:lnTo>
                        <a:pt x="638" y="535"/>
                      </a:lnTo>
                      <a:lnTo>
                        <a:pt x="675" y="510"/>
                      </a:lnTo>
                      <a:lnTo>
                        <a:pt x="659" y="481"/>
                      </a:lnTo>
                      <a:lnTo>
                        <a:pt x="622" y="473"/>
                      </a:lnTo>
                      <a:lnTo>
                        <a:pt x="609" y="442"/>
                      </a:lnTo>
                      <a:lnTo>
                        <a:pt x="587" y="411"/>
                      </a:lnTo>
                      <a:lnTo>
                        <a:pt x="603" y="398"/>
                      </a:lnTo>
                      <a:lnTo>
                        <a:pt x="601" y="353"/>
                      </a:lnTo>
                      <a:lnTo>
                        <a:pt x="601" y="311"/>
                      </a:lnTo>
                      <a:lnTo>
                        <a:pt x="585" y="266"/>
                      </a:lnTo>
                      <a:lnTo>
                        <a:pt x="589" y="256"/>
                      </a:lnTo>
                      <a:lnTo>
                        <a:pt x="580" y="219"/>
                      </a:lnTo>
                      <a:lnTo>
                        <a:pt x="572" y="185"/>
                      </a:lnTo>
                      <a:lnTo>
                        <a:pt x="547" y="157"/>
                      </a:lnTo>
                      <a:lnTo>
                        <a:pt x="519" y="121"/>
                      </a:lnTo>
                      <a:lnTo>
                        <a:pt x="535" y="91"/>
                      </a:lnTo>
                      <a:lnTo>
                        <a:pt x="549" y="64"/>
                      </a:lnTo>
                      <a:lnTo>
                        <a:pt x="545" y="12"/>
                      </a:lnTo>
                      <a:lnTo>
                        <a:pt x="552" y="2"/>
                      </a:lnTo>
                      <a:lnTo>
                        <a:pt x="504" y="0"/>
                      </a:lnTo>
                      <a:lnTo>
                        <a:pt x="477" y="0"/>
                      </a:lnTo>
                      <a:lnTo>
                        <a:pt x="442" y="6"/>
                      </a:lnTo>
                      <a:lnTo>
                        <a:pt x="405" y="8"/>
                      </a:lnTo>
                      <a:lnTo>
                        <a:pt x="370" y="8"/>
                      </a:lnTo>
                      <a:lnTo>
                        <a:pt x="329" y="20"/>
                      </a:lnTo>
                      <a:lnTo>
                        <a:pt x="289" y="31"/>
                      </a:lnTo>
                      <a:lnTo>
                        <a:pt x="271" y="41"/>
                      </a:lnTo>
                      <a:lnTo>
                        <a:pt x="240" y="57"/>
                      </a:lnTo>
                      <a:lnTo>
                        <a:pt x="211" y="70"/>
                      </a:lnTo>
                      <a:lnTo>
                        <a:pt x="219" y="80"/>
                      </a:lnTo>
                      <a:lnTo>
                        <a:pt x="223" y="107"/>
                      </a:lnTo>
                      <a:lnTo>
                        <a:pt x="229" y="136"/>
                      </a:lnTo>
                      <a:lnTo>
                        <a:pt x="248" y="169"/>
                      </a:lnTo>
                      <a:lnTo>
                        <a:pt x="240" y="181"/>
                      </a:lnTo>
                      <a:lnTo>
                        <a:pt x="205" y="183"/>
                      </a:lnTo>
                      <a:lnTo>
                        <a:pt x="163" y="198"/>
                      </a:lnTo>
                      <a:lnTo>
                        <a:pt x="163" y="221"/>
                      </a:lnTo>
                      <a:lnTo>
                        <a:pt x="139" y="239"/>
                      </a:lnTo>
                      <a:lnTo>
                        <a:pt x="116" y="254"/>
                      </a:lnTo>
                      <a:lnTo>
                        <a:pt x="89" y="266"/>
                      </a:lnTo>
                      <a:lnTo>
                        <a:pt x="60" y="280"/>
                      </a:lnTo>
                      <a:lnTo>
                        <a:pt x="33" y="293"/>
                      </a:lnTo>
                      <a:lnTo>
                        <a:pt x="8" y="30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5" name="Freeform 144"/>
                <p:cNvSpPr>
                  <a:spLocks/>
                </p:cNvSpPr>
                <p:nvPr/>
              </p:nvSpPr>
              <p:spPr bwMode="auto">
                <a:xfrm>
                  <a:off x="3997941" y="2571592"/>
                  <a:ext cx="15982" cy="10655"/>
                </a:xfrm>
                <a:custGeom>
                  <a:avLst/>
                  <a:gdLst>
                    <a:gd name="T0" fmla="*/ 15982 w 17"/>
                    <a:gd name="T1" fmla="*/ 0 h 21"/>
                    <a:gd name="T2" fmla="*/ 14102 w 17"/>
                    <a:gd name="T3" fmla="*/ 7611 h 21"/>
                    <a:gd name="T4" fmla="*/ 0 w 17"/>
                    <a:gd name="T5" fmla="*/ 10655 h 21"/>
                    <a:gd name="T6" fmla="*/ 15982 w 17"/>
                    <a:gd name="T7" fmla="*/ 0 h 2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21"/>
                    <a:gd name="T14" fmla="*/ 17 w 17"/>
                    <a:gd name="T15" fmla="*/ 21 h 2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21">
                      <a:moveTo>
                        <a:pt x="17" y="0"/>
                      </a:moveTo>
                      <a:lnTo>
                        <a:pt x="15" y="15"/>
                      </a:lnTo>
                      <a:lnTo>
                        <a:pt x="0" y="21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6" name="Freeform 145"/>
                <p:cNvSpPr>
                  <a:spLocks/>
                </p:cNvSpPr>
                <p:nvPr/>
              </p:nvSpPr>
              <p:spPr bwMode="auto">
                <a:xfrm>
                  <a:off x="3941117" y="2582246"/>
                  <a:ext cx="14206" cy="12430"/>
                </a:xfrm>
                <a:custGeom>
                  <a:avLst/>
                  <a:gdLst>
                    <a:gd name="T0" fmla="*/ 14206 w 18"/>
                    <a:gd name="T1" fmla="*/ 0 h 16"/>
                    <a:gd name="T2" fmla="*/ 0 w 18"/>
                    <a:gd name="T3" fmla="*/ 12430 h 16"/>
                    <a:gd name="T4" fmla="*/ 0 w 18"/>
                    <a:gd name="T5" fmla="*/ 3108 h 16"/>
                    <a:gd name="T6" fmla="*/ 14206 w 18"/>
                    <a:gd name="T7" fmla="*/ 0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6"/>
                    <a:gd name="T14" fmla="*/ 18 w 18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6">
                      <a:moveTo>
                        <a:pt x="18" y="0"/>
                      </a:moveTo>
                      <a:lnTo>
                        <a:pt x="0" y="16"/>
                      </a:lnTo>
                      <a:lnTo>
                        <a:pt x="0" y="4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7" name="Freeform 146"/>
                <p:cNvSpPr>
                  <a:spLocks/>
                </p:cNvSpPr>
                <p:nvPr/>
              </p:nvSpPr>
              <p:spPr bwMode="auto">
                <a:xfrm>
                  <a:off x="3962426" y="2594676"/>
                  <a:ext cx="14206" cy="5327"/>
                </a:xfrm>
                <a:custGeom>
                  <a:avLst/>
                  <a:gdLst>
                    <a:gd name="T0" fmla="*/ 14206 w 14"/>
                    <a:gd name="T1" fmla="*/ 0 h 7"/>
                    <a:gd name="T2" fmla="*/ 12177 w 14"/>
                    <a:gd name="T3" fmla="*/ 5327 h 7"/>
                    <a:gd name="T4" fmla="*/ 0 w 14"/>
                    <a:gd name="T5" fmla="*/ 0 h 7"/>
                    <a:gd name="T6" fmla="*/ 14206 w 14"/>
                    <a:gd name="T7" fmla="*/ 0 h 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7"/>
                    <a:gd name="T14" fmla="*/ 14 w 14"/>
                    <a:gd name="T15" fmla="*/ 7 h 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7">
                      <a:moveTo>
                        <a:pt x="14" y="0"/>
                      </a:moveTo>
                      <a:lnTo>
                        <a:pt x="12" y="7"/>
                      </a:lnTo>
                      <a:lnTo>
                        <a:pt x="0" y="0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8" name="Freeform 147"/>
                <p:cNvSpPr>
                  <a:spLocks/>
                </p:cNvSpPr>
                <p:nvPr/>
              </p:nvSpPr>
              <p:spPr bwMode="auto">
                <a:xfrm>
                  <a:off x="4013923" y="2559161"/>
                  <a:ext cx="14206" cy="0"/>
                </a:xfrm>
                <a:custGeom>
                  <a:avLst/>
                  <a:gdLst>
                    <a:gd name="T0" fmla="*/ 9471 w 12"/>
                    <a:gd name="T1" fmla="*/ 0 h 4"/>
                    <a:gd name="T2" fmla="*/ 14206 w 12"/>
                    <a:gd name="T3" fmla="*/ 0 h 4"/>
                    <a:gd name="T4" fmla="*/ 0 w 12"/>
                    <a:gd name="T5" fmla="*/ 0 h 4"/>
                    <a:gd name="T6" fmla="*/ 9471 w 12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4"/>
                    <a:gd name="T14" fmla="*/ 12 w 12"/>
                    <a:gd name="T15" fmla="*/ 0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4">
                      <a:moveTo>
                        <a:pt x="8" y="4"/>
                      </a:moveTo>
                      <a:lnTo>
                        <a:pt x="12" y="0"/>
                      </a:lnTo>
                      <a:lnTo>
                        <a:pt x="0" y="4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59" name="Freeform 148"/>
                <p:cNvSpPr>
                  <a:spLocks/>
                </p:cNvSpPr>
                <p:nvPr/>
              </p:nvSpPr>
              <p:spPr bwMode="auto">
                <a:xfrm>
                  <a:off x="3738681" y="2914312"/>
                  <a:ext cx="0" cy="5327"/>
                </a:xfrm>
                <a:custGeom>
                  <a:avLst/>
                  <a:gdLst>
                    <a:gd name="T0" fmla="*/ 0 w 7"/>
                    <a:gd name="T1" fmla="*/ 5327 h 4"/>
                    <a:gd name="T2" fmla="*/ 0 w 7"/>
                    <a:gd name="T3" fmla="*/ 2664 h 4"/>
                    <a:gd name="T4" fmla="*/ 0 w 7"/>
                    <a:gd name="T5" fmla="*/ 0 h 4"/>
                    <a:gd name="T6" fmla="*/ 0 w 7"/>
                    <a:gd name="T7" fmla="*/ 5327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4"/>
                    <a:gd name="T14" fmla="*/ 0 w 7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4">
                      <a:moveTo>
                        <a:pt x="7" y="4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0" name="Freeform 149"/>
                <p:cNvSpPr>
                  <a:spLocks/>
                </p:cNvSpPr>
                <p:nvPr/>
              </p:nvSpPr>
              <p:spPr bwMode="auto">
                <a:xfrm>
                  <a:off x="4230564" y="2358501"/>
                  <a:ext cx="0" cy="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w 2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2"/>
                    <a:gd name="T17" fmla="*/ 2 w 2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1" name="Freeform 150"/>
                <p:cNvSpPr>
                  <a:spLocks/>
                </p:cNvSpPr>
                <p:nvPr/>
              </p:nvSpPr>
              <p:spPr bwMode="auto">
                <a:xfrm>
                  <a:off x="4598145" y="2447289"/>
                  <a:ext cx="411974" cy="390666"/>
                </a:xfrm>
                <a:custGeom>
                  <a:avLst/>
                  <a:gdLst>
                    <a:gd name="T0" fmla="*/ 385930 w 522"/>
                    <a:gd name="T1" fmla="*/ 390666 h 519"/>
                    <a:gd name="T2" fmla="*/ 385930 w 522"/>
                    <a:gd name="T3" fmla="*/ 376364 h 519"/>
                    <a:gd name="T4" fmla="*/ 411974 w 522"/>
                    <a:gd name="T5" fmla="*/ 376364 h 519"/>
                    <a:gd name="T6" fmla="*/ 410396 w 522"/>
                    <a:gd name="T7" fmla="*/ 348513 h 519"/>
                    <a:gd name="T8" fmla="*/ 408817 w 522"/>
                    <a:gd name="T9" fmla="*/ 319157 h 519"/>
                    <a:gd name="T10" fmla="*/ 407239 w 522"/>
                    <a:gd name="T11" fmla="*/ 293564 h 519"/>
                    <a:gd name="T12" fmla="*/ 405660 w 522"/>
                    <a:gd name="T13" fmla="*/ 265713 h 519"/>
                    <a:gd name="T14" fmla="*/ 404082 w 522"/>
                    <a:gd name="T15" fmla="*/ 239368 h 519"/>
                    <a:gd name="T16" fmla="*/ 402503 w 522"/>
                    <a:gd name="T17" fmla="*/ 213022 h 519"/>
                    <a:gd name="T18" fmla="*/ 400925 w 522"/>
                    <a:gd name="T19" fmla="*/ 185171 h 519"/>
                    <a:gd name="T20" fmla="*/ 397768 w 522"/>
                    <a:gd name="T21" fmla="*/ 158826 h 519"/>
                    <a:gd name="T22" fmla="*/ 396189 w 522"/>
                    <a:gd name="T23" fmla="*/ 130975 h 519"/>
                    <a:gd name="T24" fmla="*/ 394611 w 522"/>
                    <a:gd name="T25" fmla="*/ 104629 h 519"/>
                    <a:gd name="T26" fmla="*/ 393822 w 522"/>
                    <a:gd name="T27" fmla="*/ 82800 h 519"/>
                    <a:gd name="T28" fmla="*/ 392243 w 522"/>
                    <a:gd name="T29" fmla="*/ 60971 h 519"/>
                    <a:gd name="T30" fmla="*/ 396189 w 522"/>
                    <a:gd name="T31" fmla="*/ 43658 h 519"/>
                    <a:gd name="T32" fmla="*/ 382773 w 522"/>
                    <a:gd name="T33" fmla="*/ 33120 h 519"/>
                    <a:gd name="T34" fmla="*/ 343312 w 522"/>
                    <a:gd name="T35" fmla="*/ 23335 h 519"/>
                    <a:gd name="T36" fmla="*/ 338576 w 522"/>
                    <a:gd name="T37" fmla="*/ 12796 h 519"/>
                    <a:gd name="T38" fmla="*/ 304640 w 522"/>
                    <a:gd name="T39" fmla="*/ 6775 h 519"/>
                    <a:gd name="T40" fmla="*/ 286488 w 522"/>
                    <a:gd name="T41" fmla="*/ 17313 h 519"/>
                    <a:gd name="T42" fmla="*/ 266757 w 522"/>
                    <a:gd name="T43" fmla="*/ 29356 h 519"/>
                    <a:gd name="T44" fmla="*/ 269914 w 522"/>
                    <a:gd name="T45" fmla="*/ 66993 h 519"/>
                    <a:gd name="T46" fmla="*/ 243870 w 522"/>
                    <a:gd name="T47" fmla="*/ 82800 h 519"/>
                    <a:gd name="T48" fmla="*/ 214668 w 522"/>
                    <a:gd name="T49" fmla="*/ 70004 h 519"/>
                    <a:gd name="T50" fmla="*/ 185467 w 522"/>
                    <a:gd name="T51" fmla="*/ 54949 h 519"/>
                    <a:gd name="T52" fmla="*/ 156266 w 522"/>
                    <a:gd name="T53" fmla="*/ 48175 h 519"/>
                    <a:gd name="T54" fmla="*/ 144428 w 522"/>
                    <a:gd name="T55" fmla="*/ 21829 h 519"/>
                    <a:gd name="T56" fmla="*/ 115226 w 522"/>
                    <a:gd name="T57" fmla="*/ 15807 h 519"/>
                    <a:gd name="T58" fmla="*/ 87604 w 522"/>
                    <a:gd name="T59" fmla="*/ 8280 h 519"/>
                    <a:gd name="T60" fmla="*/ 50510 w 522"/>
                    <a:gd name="T61" fmla="*/ 0 h 519"/>
                    <a:gd name="T62" fmla="*/ 48932 w 522"/>
                    <a:gd name="T63" fmla="*/ 23335 h 519"/>
                    <a:gd name="T64" fmla="*/ 32358 w 522"/>
                    <a:gd name="T65" fmla="*/ 36131 h 519"/>
                    <a:gd name="T66" fmla="*/ 17363 w 522"/>
                    <a:gd name="T67" fmla="*/ 49680 h 519"/>
                    <a:gd name="T68" fmla="*/ 15784 w 522"/>
                    <a:gd name="T69" fmla="*/ 74520 h 519"/>
                    <a:gd name="T70" fmla="*/ 3157 w 522"/>
                    <a:gd name="T71" fmla="*/ 84306 h 519"/>
                    <a:gd name="T72" fmla="*/ 0 w 522"/>
                    <a:gd name="T73" fmla="*/ 91833 h 519"/>
                    <a:gd name="T74" fmla="*/ 12628 w 522"/>
                    <a:gd name="T75" fmla="*/ 125706 h 519"/>
                    <a:gd name="T76" fmla="*/ 12628 w 522"/>
                    <a:gd name="T77" fmla="*/ 157320 h 519"/>
                    <a:gd name="T78" fmla="*/ 14206 w 522"/>
                    <a:gd name="T79" fmla="*/ 191193 h 519"/>
                    <a:gd name="T80" fmla="*/ 1578 w 522"/>
                    <a:gd name="T81" fmla="*/ 200978 h 519"/>
                    <a:gd name="T82" fmla="*/ 18941 w 522"/>
                    <a:gd name="T83" fmla="*/ 224313 h 519"/>
                    <a:gd name="T84" fmla="*/ 29201 w 522"/>
                    <a:gd name="T85" fmla="*/ 247648 h 519"/>
                    <a:gd name="T86" fmla="*/ 58402 w 522"/>
                    <a:gd name="T87" fmla="*/ 253669 h 519"/>
                    <a:gd name="T88" fmla="*/ 71030 w 522"/>
                    <a:gd name="T89" fmla="*/ 275499 h 519"/>
                    <a:gd name="T90" fmla="*/ 107334 w 522"/>
                    <a:gd name="T91" fmla="*/ 284531 h 519"/>
                    <a:gd name="T92" fmla="*/ 128643 w 522"/>
                    <a:gd name="T93" fmla="*/ 301844 h 519"/>
                    <a:gd name="T94" fmla="*/ 146795 w 522"/>
                    <a:gd name="T95" fmla="*/ 292059 h 519"/>
                    <a:gd name="T96" fmla="*/ 174418 w 522"/>
                    <a:gd name="T97" fmla="*/ 277004 h 519"/>
                    <a:gd name="T98" fmla="*/ 200462 w 522"/>
                    <a:gd name="T99" fmla="*/ 292059 h 519"/>
                    <a:gd name="T100" fmla="*/ 226507 w 522"/>
                    <a:gd name="T101" fmla="*/ 304855 h 519"/>
                    <a:gd name="T102" fmla="*/ 252551 w 522"/>
                    <a:gd name="T103" fmla="*/ 319157 h 519"/>
                    <a:gd name="T104" fmla="*/ 280174 w 522"/>
                    <a:gd name="T105" fmla="*/ 334211 h 519"/>
                    <a:gd name="T106" fmla="*/ 306218 w 522"/>
                    <a:gd name="T107" fmla="*/ 348513 h 519"/>
                    <a:gd name="T108" fmla="*/ 332262 w 522"/>
                    <a:gd name="T109" fmla="*/ 363568 h 519"/>
                    <a:gd name="T110" fmla="*/ 359885 w 522"/>
                    <a:gd name="T111" fmla="*/ 376364 h 519"/>
                    <a:gd name="T112" fmla="*/ 385930 w 522"/>
                    <a:gd name="T113" fmla="*/ 390666 h 519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522"/>
                    <a:gd name="T172" fmla="*/ 0 h 519"/>
                    <a:gd name="T173" fmla="*/ 522 w 522"/>
                    <a:gd name="T174" fmla="*/ 519 h 519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522" h="519">
                      <a:moveTo>
                        <a:pt x="489" y="519"/>
                      </a:moveTo>
                      <a:lnTo>
                        <a:pt x="489" y="500"/>
                      </a:lnTo>
                      <a:lnTo>
                        <a:pt x="522" y="500"/>
                      </a:lnTo>
                      <a:lnTo>
                        <a:pt x="520" y="463"/>
                      </a:lnTo>
                      <a:lnTo>
                        <a:pt x="518" y="424"/>
                      </a:lnTo>
                      <a:lnTo>
                        <a:pt x="516" y="390"/>
                      </a:lnTo>
                      <a:lnTo>
                        <a:pt x="514" y="353"/>
                      </a:lnTo>
                      <a:lnTo>
                        <a:pt x="512" y="318"/>
                      </a:lnTo>
                      <a:lnTo>
                        <a:pt x="510" y="283"/>
                      </a:lnTo>
                      <a:lnTo>
                        <a:pt x="508" y="246"/>
                      </a:lnTo>
                      <a:lnTo>
                        <a:pt x="504" y="211"/>
                      </a:lnTo>
                      <a:lnTo>
                        <a:pt x="502" y="174"/>
                      </a:lnTo>
                      <a:lnTo>
                        <a:pt x="500" y="139"/>
                      </a:lnTo>
                      <a:lnTo>
                        <a:pt x="499" y="110"/>
                      </a:lnTo>
                      <a:lnTo>
                        <a:pt x="497" y="81"/>
                      </a:lnTo>
                      <a:lnTo>
                        <a:pt x="502" y="58"/>
                      </a:lnTo>
                      <a:lnTo>
                        <a:pt x="485" y="44"/>
                      </a:lnTo>
                      <a:lnTo>
                        <a:pt x="435" y="31"/>
                      </a:lnTo>
                      <a:lnTo>
                        <a:pt x="429" y="17"/>
                      </a:lnTo>
                      <a:lnTo>
                        <a:pt x="386" y="9"/>
                      </a:lnTo>
                      <a:lnTo>
                        <a:pt x="363" y="23"/>
                      </a:lnTo>
                      <a:lnTo>
                        <a:pt x="338" y="39"/>
                      </a:lnTo>
                      <a:lnTo>
                        <a:pt x="342" y="89"/>
                      </a:lnTo>
                      <a:lnTo>
                        <a:pt x="309" y="110"/>
                      </a:lnTo>
                      <a:lnTo>
                        <a:pt x="272" y="93"/>
                      </a:lnTo>
                      <a:lnTo>
                        <a:pt x="235" y="73"/>
                      </a:lnTo>
                      <a:lnTo>
                        <a:pt x="198" y="64"/>
                      </a:lnTo>
                      <a:lnTo>
                        <a:pt x="183" y="29"/>
                      </a:lnTo>
                      <a:lnTo>
                        <a:pt x="146" y="21"/>
                      </a:lnTo>
                      <a:lnTo>
                        <a:pt x="111" y="11"/>
                      </a:lnTo>
                      <a:lnTo>
                        <a:pt x="64" y="0"/>
                      </a:lnTo>
                      <a:lnTo>
                        <a:pt x="62" y="31"/>
                      </a:lnTo>
                      <a:lnTo>
                        <a:pt x="41" y="48"/>
                      </a:lnTo>
                      <a:lnTo>
                        <a:pt x="22" y="66"/>
                      </a:lnTo>
                      <a:lnTo>
                        <a:pt x="20" y="99"/>
                      </a:lnTo>
                      <a:lnTo>
                        <a:pt x="4" y="112"/>
                      </a:lnTo>
                      <a:lnTo>
                        <a:pt x="0" y="122"/>
                      </a:lnTo>
                      <a:lnTo>
                        <a:pt x="16" y="167"/>
                      </a:lnTo>
                      <a:lnTo>
                        <a:pt x="16" y="209"/>
                      </a:lnTo>
                      <a:lnTo>
                        <a:pt x="18" y="254"/>
                      </a:lnTo>
                      <a:lnTo>
                        <a:pt x="2" y="267"/>
                      </a:lnTo>
                      <a:lnTo>
                        <a:pt x="24" y="298"/>
                      </a:lnTo>
                      <a:lnTo>
                        <a:pt x="37" y="329"/>
                      </a:lnTo>
                      <a:lnTo>
                        <a:pt x="74" y="337"/>
                      </a:lnTo>
                      <a:lnTo>
                        <a:pt x="90" y="366"/>
                      </a:lnTo>
                      <a:lnTo>
                        <a:pt x="136" y="378"/>
                      </a:lnTo>
                      <a:lnTo>
                        <a:pt x="163" y="401"/>
                      </a:lnTo>
                      <a:lnTo>
                        <a:pt x="186" y="388"/>
                      </a:lnTo>
                      <a:lnTo>
                        <a:pt x="221" y="368"/>
                      </a:lnTo>
                      <a:lnTo>
                        <a:pt x="254" y="388"/>
                      </a:lnTo>
                      <a:lnTo>
                        <a:pt x="287" y="405"/>
                      </a:lnTo>
                      <a:lnTo>
                        <a:pt x="320" y="424"/>
                      </a:lnTo>
                      <a:lnTo>
                        <a:pt x="355" y="444"/>
                      </a:lnTo>
                      <a:lnTo>
                        <a:pt x="388" y="463"/>
                      </a:lnTo>
                      <a:lnTo>
                        <a:pt x="421" y="483"/>
                      </a:lnTo>
                      <a:lnTo>
                        <a:pt x="456" y="500"/>
                      </a:lnTo>
                      <a:lnTo>
                        <a:pt x="489" y="51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2" name="Freeform 151"/>
                <p:cNvSpPr>
                  <a:spLocks/>
                </p:cNvSpPr>
                <p:nvPr/>
              </p:nvSpPr>
              <p:spPr bwMode="auto">
                <a:xfrm>
                  <a:off x="4042335" y="2678137"/>
                  <a:ext cx="433283" cy="419078"/>
                </a:xfrm>
                <a:custGeom>
                  <a:avLst/>
                  <a:gdLst>
                    <a:gd name="T0" fmla="*/ 95053 w 547"/>
                    <a:gd name="T1" fmla="*/ 393071 h 564"/>
                    <a:gd name="T2" fmla="*/ 111687 w 547"/>
                    <a:gd name="T3" fmla="*/ 419078 h 564"/>
                    <a:gd name="T4" fmla="*/ 133866 w 547"/>
                    <a:gd name="T5" fmla="*/ 417592 h 564"/>
                    <a:gd name="T6" fmla="*/ 155253 w 547"/>
                    <a:gd name="T7" fmla="*/ 404960 h 564"/>
                    <a:gd name="T8" fmla="*/ 176640 w 547"/>
                    <a:gd name="T9" fmla="*/ 412391 h 564"/>
                    <a:gd name="T10" fmla="*/ 190106 w 547"/>
                    <a:gd name="T11" fmla="*/ 368551 h 564"/>
                    <a:gd name="T12" fmla="*/ 209909 w 547"/>
                    <a:gd name="T13" fmla="*/ 344030 h 564"/>
                    <a:gd name="T14" fmla="*/ 232088 w 547"/>
                    <a:gd name="T15" fmla="*/ 334371 h 564"/>
                    <a:gd name="T16" fmla="*/ 240801 w 547"/>
                    <a:gd name="T17" fmla="*/ 320996 h 564"/>
                    <a:gd name="T18" fmla="*/ 266940 w 547"/>
                    <a:gd name="T19" fmla="*/ 306878 h 564"/>
                    <a:gd name="T20" fmla="*/ 304169 w 547"/>
                    <a:gd name="T21" fmla="*/ 280871 h 564"/>
                    <a:gd name="T22" fmla="*/ 333477 w 547"/>
                    <a:gd name="T23" fmla="*/ 283844 h 564"/>
                    <a:gd name="T24" fmla="*/ 384964 w 547"/>
                    <a:gd name="T25" fmla="*/ 273441 h 564"/>
                    <a:gd name="T26" fmla="*/ 428530 w 547"/>
                    <a:gd name="T27" fmla="*/ 247434 h 564"/>
                    <a:gd name="T28" fmla="*/ 431699 w 547"/>
                    <a:gd name="T29" fmla="*/ 207310 h 564"/>
                    <a:gd name="T30" fmla="*/ 433283 w 547"/>
                    <a:gd name="T31" fmla="*/ 165699 h 564"/>
                    <a:gd name="T32" fmla="*/ 403975 w 547"/>
                    <a:gd name="T33" fmla="*/ 144151 h 564"/>
                    <a:gd name="T34" fmla="*/ 353280 w 547"/>
                    <a:gd name="T35" fmla="*/ 119630 h 564"/>
                    <a:gd name="T36" fmla="*/ 333477 w 547"/>
                    <a:gd name="T37" fmla="*/ 96596 h 564"/>
                    <a:gd name="T38" fmla="*/ 294664 w 547"/>
                    <a:gd name="T39" fmla="*/ 69103 h 564"/>
                    <a:gd name="T40" fmla="*/ 256643 w 547"/>
                    <a:gd name="T41" fmla="*/ 41611 h 564"/>
                    <a:gd name="T42" fmla="*/ 217830 w 547"/>
                    <a:gd name="T43" fmla="*/ 14118 h 564"/>
                    <a:gd name="T44" fmla="*/ 175056 w 547"/>
                    <a:gd name="T45" fmla="*/ 0 h 564"/>
                    <a:gd name="T46" fmla="*/ 155253 w 547"/>
                    <a:gd name="T47" fmla="*/ 30465 h 564"/>
                    <a:gd name="T48" fmla="*/ 160006 w 547"/>
                    <a:gd name="T49" fmla="*/ 90652 h 564"/>
                    <a:gd name="T50" fmla="*/ 165551 w 547"/>
                    <a:gd name="T51" fmla="*/ 151581 h 564"/>
                    <a:gd name="T52" fmla="*/ 171887 w 547"/>
                    <a:gd name="T53" fmla="*/ 210282 h 564"/>
                    <a:gd name="T54" fmla="*/ 182977 w 547"/>
                    <a:gd name="T55" fmla="*/ 245205 h 564"/>
                    <a:gd name="T56" fmla="*/ 152085 w 547"/>
                    <a:gd name="T57" fmla="*/ 269726 h 564"/>
                    <a:gd name="T58" fmla="*/ 101390 w 547"/>
                    <a:gd name="T59" fmla="*/ 269726 h 564"/>
                    <a:gd name="T60" fmla="*/ 73666 w 547"/>
                    <a:gd name="T61" fmla="*/ 266754 h 564"/>
                    <a:gd name="T62" fmla="*/ 32476 w 547"/>
                    <a:gd name="T63" fmla="*/ 276413 h 564"/>
                    <a:gd name="T64" fmla="*/ 4753 w 547"/>
                    <a:gd name="T65" fmla="*/ 291274 h 564"/>
                    <a:gd name="T66" fmla="*/ 6337 w 547"/>
                    <a:gd name="T67" fmla="*/ 318767 h 564"/>
                    <a:gd name="T68" fmla="*/ 21387 w 547"/>
                    <a:gd name="T69" fmla="*/ 357405 h 564"/>
                    <a:gd name="T70" fmla="*/ 35645 w 547"/>
                    <a:gd name="T71" fmla="*/ 364836 h 564"/>
                    <a:gd name="T72" fmla="*/ 58616 w 547"/>
                    <a:gd name="T73" fmla="*/ 364836 h 564"/>
                    <a:gd name="T74" fmla="*/ 80003 w 547"/>
                    <a:gd name="T75" fmla="*/ 354433 h 564"/>
                    <a:gd name="T76" fmla="*/ 98221 w 547"/>
                    <a:gd name="T77" fmla="*/ 384898 h 56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547"/>
                    <a:gd name="T118" fmla="*/ 0 h 564"/>
                    <a:gd name="T119" fmla="*/ 547 w 547"/>
                    <a:gd name="T120" fmla="*/ 564 h 56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547" h="564">
                      <a:moveTo>
                        <a:pt x="124" y="518"/>
                      </a:moveTo>
                      <a:lnTo>
                        <a:pt x="120" y="529"/>
                      </a:lnTo>
                      <a:lnTo>
                        <a:pt x="124" y="531"/>
                      </a:lnTo>
                      <a:lnTo>
                        <a:pt x="141" y="564"/>
                      </a:lnTo>
                      <a:lnTo>
                        <a:pt x="149" y="558"/>
                      </a:lnTo>
                      <a:lnTo>
                        <a:pt x="169" y="562"/>
                      </a:lnTo>
                      <a:lnTo>
                        <a:pt x="184" y="555"/>
                      </a:lnTo>
                      <a:lnTo>
                        <a:pt x="196" y="545"/>
                      </a:lnTo>
                      <a:lnTo>
                        <a:pt x="200" y="558"/>
                      </a:lnTo>
                      <a:lnTo>
                        <a:pt x="223" y="555"/>
                      </a:lnTo>
                      <a:lnTo>
                        <a:pt x="231" y="504"/>
                      </a:lnTo>
                      <a:lnTo>
                        <a:pt x="240" y="496"/>
                      </a:lnTo>
                      <a:lnTo>
                        <a:pt x="260" y="479"/>
                      </a:lnTo>
                      <a:lnTo>
                        <a:pt x="265" y="463"/>
                      </a:lnTo>
                      <a:lnTo>
                        <a:pt x="271" y="442"/>
                      </a:lnTo>
                      <a:lnTo>
                        <a:pt x="293" y="450"/>
                      </a:lnTo>
                      <a:lnTo>
                        <a:pt x="298" y="436"/>
                      </a:lnTo>
                      <a:lnTo>
                        <a:pt x="304" y="432"/>
                      </a:lnTo>
                      <a:lnTo>
                        <a:pt x="318" y="415"/>
                      </a:lnTo>
                      <a:lnTo>
                        <a:pt x="337" y="413"/>
                      </a:lnTo>
                      <a:lnTo>
                        <a:pt x="341" y="399"/>
                      </a:lnTo>
                      <a:lnTo>
                        <a:pt x="384" y="378"/>
                      </a:lnTo>
                      <a:lnTo>
                        <a:pt x="415" y="382"/>
                      </a:lnTo>
                      <a:lnTo>
                        <a:pt x="421" y="382"/>
                      </a:lnTo>
                      <a:lnTo>
                        <a:pt x="452" y="370"/>
                      </a:lnTo>
                      <a:lnTo>
                        <a:pt x="486" y="368"/>
                      </a:lnTo>
                      <a:lnTo>
                        <a:pt x="523" y="368"/>
                      </a:lnTo>
                      <a:lnTo>
                        <a:pt x="541" y="333"/>
                      </a:lnTo>
                      <a:lnTo>
                        <a:pt x="543" y="306"/>
                      </a:lnTo>
                      <a:lnTo>
                        <a:pt x="545" y="279"/>
                      </a:lnTo>
                      <a:lnTo>
                        <a:pt x="547" y="250"/>
                      </a:lnTo>
                      <a:lnTo>
                        <a:pt x="547" y="223"/>
                      </a:lnTo>
                      <a:lnTo>
                        <a:pt x="510" y="223"/>
                      </a:lnTo>
                      <a:lnTo>
                        <a:pt x="510" y="194"/>
                      </a:lnTo>
                      <a:lnTo>
                        <a:pt x="461" y="175"/>
                      </a:lnTo>
                      <a:lnTo>
                        <a:pt x="446" y="161"/>
                      </a:lnTo>
                      <a:lnTo>
                        <a:pt x="446" y="149"/>
                      </a:lnTo>
                      <a:lnTo>
                        <a:pt x="421" y="130"/>
                      </a:lnTo>
                      <a:lnTo>
                        <a:pt x="395" y="112"/>
                      </a:lnTo>
                      <a:lnTo>
                        <a:pt x="372" y="93"/>
                      </a:lnTo>
                      <a:lnTo>
                        <a:pt x="347" y="76"/>
                      </a:lnTo>
                      <a:lnTo>
                        <a:pt x="324" y="56"/>
                      </a:lnTo>
                      <a:lnTo>
                        <a:pt x="298" y="37"/>
                      </a:lnTo>
                      <a:lnTo>
                        <a:pt x="275" y="19"/>
                      </a:lnTo>
                      <a:lnTo>
                        <a:pt x="250" y="0"/>
                      </a:lnTo>
                      <a:lnTo>
                        <a:pt x="221" y="0"/>
                      </a:lnTo>
                      <a:lnTo>
                        <a:pt x="192" y="0"/>
                      </a:lnTo>
                      <a:lnTo>
                        <a:pt x="196" y="41"/>
                      </a:lnTo>
                      <a:lnTo>
                        <a:pt x="200" y="81"/>
                      </a:lnTo>
                      <a:lnTo>
                        <a:pt x="202" y="122"/>
                      </a:lnTo>
                      <a:lnTo>
                        <a:pt x="205" y="163"/>
                      </a:lnTo>
                      <a:lnTo>
                        <a:pt x="209" y="204"/>
                      </a:lnTo>
                      <a:lnTo>
                        <a:pt x="213" y="242"/>
                      </a:lnTo>
                      <a:lnTo>
                        <a:pt x="217" y="283"/>
                      </a:lnTo>
                      <a:lnTo>
                        <a:pt x="221" y="324"/>
                      </a:lnTo>
                      <a:lnTo>
                        <a:pt x="231" y="330"/>
                      </a:lnTo>
                      <a:lnTo>
                        <a:pt x="225" y="363"/>
                      </a:lnTo>
                      <a:lnTo>
                        <a:pt x="192" y="363"/>
                      </a:lnTo>
                      <a:lnTo>
                        <a:pt x="161" y="363"/>
                      </a:lnTo>
                      <a:lnTo>
                        <a:pt x="128" y="363"/>
                      </a:lnTo>
                      <a:lnTo>
                        <a:pt x="97" y="363"/>
                      </a:lnTo>
                      <a:lnTo>
                        <a:pt x="93" y="359"/>
                      </a:lnTo>
                      <a:lnTo>
                        <a:pt x="46" y="370"/>
                      </a:lnTo>
                      <a:lnTo>
                        <a:pt x="41" y="372"/>
                      </a:lnTo>
                      <a:lnTo>
                        <a:pt x="21" y="361"/>
                      </a:lnTo>
                      <a:lnTo>
                        <a:pt x="6" y="392"/>
                      </a:lnTo>
                      <a:lnTo>
                        <a:pt x="0" y="390"/>
                      </a:lnTo>
                      <a:lnTo>
                        <a:pt x="8" y="429"/>
                      </a:lnTo>
                      <a:lnTo>
                        <a:pt x="17" y="442"/>
                      </a:lnTo>
                      <a:lnTo>
                        <a:pt x="27" y="481"/>
                      </a:lnTo>
                      <a:lnTo>
                        <a:pt x="23" y="489"/>
                      </a:lnTo>
                      <a:lnTo>
                        <a:pt x="45" y="491"/>
                      </a:lnTo>
                      <a:lnTo>
                        <a:pt x="54" y="494"/>
                      </a:lnTo>
                      <a:lnTo>
                        <a:pt x="74" y="491"/>
                      </a:lnTo>
                      <a:lnTo>
                        <a:pt x="97" y="483"/>
                      </a:lnTo>
                      <a:lnTo>
                        <a:pt x="101" y="477"/>
                      </a:lnTo>
                      <a:lnTo>
                        <a:pt x="112" y="508"/>
                      </a:lnTo>
                      <a:lnTo>
                        <a:pt x="124" y="51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3" name="Freeform 152"/>
                <p:cNvSpPr>
                  <a:spLocks/>
                </p:cNvSpPr>
                <p:nvPr/>
              </p:nvSpPr>
              <p:spPr bwMode="auto">
                <a:xfrm>
                  <a:off x="4713569" y="2369156"/>
                  <a:ext cx="7103" cy="7103"/>
                </a:xfrm>
                <a:custGeom>
                  <a:avLst/>
                  <a:gdLst>
                    <a:gd name="T0" fmla="*/ 7103 w 7"/>
                    <a:gd name="T1" fmla="*/ 4735 h 6"/>
                    <a:gd name="T2" fmla="*/ 4059 w 7"/>
                    <a:gd name="T3" fmla="*/ 7103 h 6"/>
                    <a:gd name="T4" fmla="*/ 0 w 7"/>
                    <a:gd name="T5" fmla="*/ 0 h 6"/>
                    <a:gd name="T6" fmla="*/ 7103 w 7"/>
                    <a:gd name="T7" fmla="*/ 4735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6"/>
                    <a:gd name="T14" fmla="*/ 7 w 7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6">
                      <a:moveTo>
                        <a:pt x="7" y="4"/>
                      </a:moveTo>
                      <a:lnTo>
                        <a:pt x="4" y="6"/>
                      </a:lnTo>
                      <a:lnTo>
                        <a:pt x="0" y="0"/>
                      </a:lnTo>
                      <a:lnTo>
                        <a:pt x="7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4" name="Freeform 153"/>
                <p:cNvSpPr>
                  <a:spLocks/>
                </p:cNvSpPr>
                <p:nvPr/>
              </p:nvSpPr>
              <p:spPr bwMode="auto">
                <a:xfrm>
                  <a:off x="3919808" y="2612434"/>
                  <a:ext cx="317860" cy="360478"/>
                </a:xfrm>
                <a:custGeom>
                  <a:avLst/>
                  <a:gdLst>
                    <a:gd name="T0" fmla="*/ 16482 w 405"/>
                    <a:gd name="T1" fmla="*/ 310809 h 479"/>
                    <a:gd name="T2" fmla="*/ 10203 w 405"/>
                    <a:gd name="T3" fmla="*/ 322097 h 479"/>
                    <a:gd name="T4" fmla="*/ 16482 w 405"/>
                    <a:gd name="T5" fmla="*/ 288984 h 479"/>
                    <a:gd name="T6" fmla="*/ 24330 w 405"/>
                    <a:gd name="T7" fmla="*/ 253614 h 479"/>
                    <a:gd name="T8" fmla="*/ 16482 w 405"/>
                    <a:gd name="T9" fmla="*/ 225769 h 479"/>
                    <a:gd name="T10" fmla="*/ 18051 w 405"/>
                    <a:gd name="T11" fmla="*/ 197172 h 479"/>
                    <a:gd name="T12" fmla="*/ 1570 w 405"/>
                    <a:gd name="T13" fmla="*/ 179110 h 479"/>
                    <a:gd name="T14" fmla="*/ 0 w 405"/>
                    <a:gd name="T15" fmla="*/ 186636 h 479"/>
                    <a:gd name="T16" fmla="*/ 3139 w 405"/>
                    <a:gd name="T17" fmla="*/ 170832 h 479"/>
                    <a:gd name="T18" fmla="*/ 29039 w 405"/>
                    <a:gd name="T19" fmla="*/ 170832 h 479"/>
                    <a:gd name="T20" fmla="*/ 54939 w 405"/>
                    <a:gd name="T21" fmla="*/ 170832 h 479"/>
                    <a:gd name="T22" fmla="*/ 79269 w 405"/>
                    <a:gd name="T23" fmla="*/ 170832 h 479"/>
                    <a:gd name="T24" fmla="*/ 105169 w 405"/>
                    <a:gd name="T25" fmla="*/ 170832 h 479"/>
                    <a:gd name="T26" fmla="*/ 105169 w 405"/>
                    <a:gd name="T27" fmla="*/ 147502 h 479"/>
                    <a:gd name="T28" fmla="*/ 106738 w 405"/>
                    <a:gd name="T29" fmla="*/ 122668 h 479"/>
                    <a:gd name="T30" fmla="*/ 131853 w 405"/>
                    <a:gd name="T31" fmla="*/ 110627 h 479"/>
                    <a:gd name="T32" fmla="*/ 131853 w 405"/>
                    <a:gd name="T33" fmla="*/ 74504 h 479"/>
                    <a:gd name="T34" fmla="*/ 133423 w 405"/>
                    <a:gd name="T35" fmla="*/ 37628 h 479"/>
                    <a:gd name="T36" fmla="*/ 155398 w 405"/>
                    <a:gd name="T37" fmla="*/ 37628 h 479"/>
                    <a:gd name="T38" fmla="*/ 176589 w 405"/>
                    <a:gd name="T39" fmla="*/ 37628 h 479"/>
                    <a:gd name="T40" fmla="*/ 197780 w 405"/>
                    <a:gd name="T41" fmla="*/ 37628 h 479"/>
                    <a:gd name="T42" fmla="*/ 218970 w 405"/>
                    <a:gd name="T43" fmla="*/ 37628 h 479"/>
                    <a:gd name="T44" fmla="*/ 220540 w 405"/>
                    <a:gd name="T45" fmla="*/ 0 h 479"/>
                    <a:gd name="T46" fmla="*/ 244870 w 405"/>
                    <a:gd name="T47" fmla="*/ 17309 h 479"/>
                    <a:gd name="T48" fmla="*/ 269200 w 405"/>
                    <a:gd name="T49" fmla="*/ 33113 h 479"/>
                    <a:gd name="T50" fmla="*/ 293530 w 405"/>
                    <a:gd name="T51" fmla="*/ 49669 h 479"/>
                    <a:gd name="T52" fmla="*/ 317860 w 405"/>
                    <a:gd name="T53" fmla="*/ 65473 h 479"/>
                    <a:gd name="T54" fmla="*/ 295100 w 405"/>
                    <a:gd name="T55" fmla="*/ 65473 h 479"/>
                    <a:gd name="T56" fmla="*/ 272339 w 405"/>
                    <a:gd name="T57" fmla="*/ 65473 h 479"/>
                    <a:gd name="T58" fmla="*/ 275479 w 405"/>
                    <a:gd name="T59" fmla="*/ 96328 h 479"/>
                    <a:gd name="T60" fmla="*/ 278618 w 405"/>
                    <a:gd name="T61" fmla="*/ 126431 h 479"/>
                    <a:gd name="T62" fmla="*/ 280188 w 405"/>
                    <a:gd name="T63" fmla="*/ 157286 h 479"/>
                    <a:gd name="T64" fmla="*/ 282542 w 405"/>
                    <a:gd name="T65" fmla="*/ 188141 h 479"/>
                    <a:gd name="T66" fmla="*/ 285682 w 405"/>
                    <a:gd name="T67" fmla="*/ 218996 h 479"/>
                    <a:gd name="T68" fmla="*/ 288821 w 405"/>
                    <a:gd name="T69" fmla="*/ 247593 h 479"/>
                    <a:gd name="T70" fmla="*/ 291960 w 405"/>
                    <a:gd name="T71" fmla="*/ 278449 h 479"/>
                    <a:gd name="T72" fmla="*/ 295100 w 405"/>
                    <a:gd name="T73" fmla="*/ 309304 h 479"/>
                    <a:gd name="T74" fmla="*/ 302948 w 405"/>
                    <a:gd name="T75" fmla="*/ 313819 h 479"/>
                    <a:gd name="T76" fmla="*/ 298239 w 405"/>
                    <a:gd name="T77" fmla="*/ 338654 h 479"/>
                    <a:gd name="T78" fmla="*/ 272339 w 405"/>
                    <a:gd name="T79" fmla="*/ 338654 h 479"/>
                    <a:gd name="T80" fmla="*/ 248009 w 405"/>
                    <a:gd name="T81" fmla="*/ 338654 h 479"/>
                    <a:gd name="T82" fmla="*/ 222110 w 405"/>
                    <a:gd name="T83" fmla="*/ 338654 h 479"/>
                    <a:gd name="T84" fmla="*/ 197780 w 405"/>
                    <a:gd name="T85" fmla="*/ 338654 h 479"/>
                    <a:gd name="T86" fmla="*/ 194640 w 405"/>
                    <a:gd name="T87" fmla="*/ 335643 h 479"/>
                    <a:gd name="T88" fmla="*/ 157753 w 405"/>
                    <a:gd name="T89" fmla="*/ 343922 h 479"/>
                    <a:gd name="T90" fmla="*/ 153829 w 405"/>
                    <a:gd name="T91" fmla="*/ 345427 h 479"/>
                    <a:gd name="T92" fmla="*/ 138132 w 405"/>
                    <a:gd name="T93" fmla="*/ 337149 h 479"/>
                    <a:gd name="T94" fmla="*/ 126359 w 405"/>
                    <a:gd name="T95" fmla="*/ 360478 h 479"/>
                    <a:gd name="T96" fmla="*/ 121650 w 405"/>
                    <a:gd name="T97" fmla="*/ 358973 h 479"/>
                    <a:gd name="T98" fmla="*/ 102029 w 405"/>
                    <a:gd name="T99" fmla="*/ 340159 h 479"/>
                    <a:gd name="T100" fmla="*/ 82408 w 405"/>
                    <a:gd name="T101" fmla="*/ 319087 h 479"/>
                    <a:gd name="T102" fmla="*/ 58078 w 405"/>
                    <a:gd name="T103" fmla="*/ 306293 h 479"/>
                    <a:gd name="T104" fmla="*/ 36103 w 405"/>
                    <a:gd name="T105" fmla="*/ 307799 h 479"/>
                    <a:gd name="T106" fmla="*/ 16482 w 405"/>
                    <a:gd name="T107" fmla="*/ 310809 h 479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405"/>
                    <a:gd name="T163" fmla="*/ 0 h 479"/>
                    <a:gd name="T164" fmla="*/ 405 w 405"/>
                    <a:gd name="T165" fmla="*/ 479 h 479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405" h="479">
                      <a:moveTo>
                        <a:pt x="21" y="413"/>
                      </a:moveTo>
                      <a:lnTo>
                        <a:pt x="13" y="428"/>
                      </a:lnTo>
                      <a:lnTo>
                        <a:pt x="21" y="384"/>
                      </a:lnTo>
                      <a:lnTo>
                        <a:pt x="31" y="337"/>
                      </a:lnTo>
                      <a:lnTo>
                        <a:pt x="21" y="300"/>
                      </a:lnTo>
                      <a:lnTo>
                        <a:pt x="23" y="262"/>
                      </a:lnTo>
                      <a:lnTo>
                        <a:pt x="2" y="238"/>
                      </a:lnTo>
                      <a:lnTo>
                        <a:pt x="0" y="248"/>
                      </a:lnTo>
                      <a:lnTo>
                        <a:pt x="4" y="227"/>
                      </a:lnTo>
                      <a:lnTo>
                        <a:pt x="37" y="227"/>
                      </a:lnTo>
                      <a:lnTo>
                        <a:pt x="70" y="227"/>
                      </a:lnTo>
                      <a:lnTo>
                        <a:pt x="101" y="227"/>
                      </a:lnTo>
                      <a:lnTo>
                        <a:pt x="134" y="227"/>
                      </a:lnTo>
                      <a:lnTo>
                        <a:pt x="134" y="196"/>
                      </a:lnTo>
                      <a:lnTo>
                        <a:pt x="136" y="163"/>
                      </a:lnTo>
                      <a:lnTo>
                        <a:pt x="168" y="147"/>
                      </a:lnTo>
                      <a:lnTo>
                        <a:pt x="168" y="99"/>
                      </a:lnTo>
                      <a:lnTo>
                        <a:pt x="170" y="50"/>
                      </a:lnTo>
                      <a:lnTo>
                        <a:pt x="198" y="50"/>
                      </a:lnTo>
                      <a:lnTo>
                        <a:pt x="225" y="50"/>
                      </a:lnTo>
                      <a:lnTo>
                        <a:pt x="252" y="50"/>
                      </a:lnTo>
                      <a:lnTo>
                        <a:pt x="279" y="50"/>
                      </a:lnTo>
                      <a:lnTo>
                        <a:pt x="281" y="0"/>
                      </a:lnTo>
                      <a:lnTo>
                        <a:pt x="312" y="23"/>
                      </a:lnTo>
                      <a:lnTo>
                        <a:pt x="343" y="44"/>
                      </a:lnTo>
                      <a:lnTo>
                        <a:pt x="374" y="66"/>
                      </a:lnTo>
                      <a:lnTo>
                        <a:pt x="405" y="87"/>
                      </a:lnTo>
                      <a:lnTo>
                        <a:pt x="376" y="87"/>
                      </a:lnTo>
                      <a:lnTo>
                        <a:pt x="347" y="87"/>
                      </a:lnTo>
                      <a:lnTo>
                        <a:pt x="351" y="128"/>
                      </a:lnTo>
                      <a:lnTo>
                        <a:pt x="355" y="168"/>
                      </a:lnTo>
                      <a:lnTo>
                        <a:pt x="357" y="209"/>
                      </a:lnTo>
                      <a:lnTo>
                        <a:pt x="360" y="250"/>
                      </a:lnTo>
                      <a:lnTo>
                        <a:pt x="364" y="291"/>
                      </a:lnTo>
                      <a:lnTo>
                        <a:pt x="368" y="329"/>
                      </a:lnTo>
                      <a:lnTo>
                        <a:pt x="372" y="370"/>
                      </a:lnTo>
                      <a:lnTo>
                        <a:pt x="376" y="411"/>
                      </a:lnTo>
                      <a:lnTo>
                        <a:pt x="386" y="417"/>
                      </a:lnTo>
                      <a:lnTo>
                        <a:pt x="380" y="450"/>
                      </a:lnTo>
                      <a:lnTo>
                        <a:pt x="347" y="450"/>
                      </a:lnTo>
                      <a:lnTo>
                        <a:pt x="316" y="450"/>
                      </a:lnTo>
                      <a:lnTo>
                        <a:pt x="283" y="450"/>
                      </a:lnTo>
                      <a:lnTo>
                        <a:pt x="252" y="450"/>
                      </a:lnTo>
                      <a:lnTo>
                        <a:pt x="248" y="446"/>
                      </a:lnTo>
                      <a:lnTo>
                        <a:pt x="201" y="457"/>
                      </a:lnTo>
                      <a:lnTo>
                        <a:pt x="196" y="459"/>
                      </a:lnTo>
                      <a:lnTo>
                        <a:pt x="176" y="448"/>
                      </a:lnTo>
                      <a:lnTo>
                        <a:pt x="161" y="479"/>
                      </a:lnTo>
                      <a:lnTo>
                        <a:pt x="155" y="477"/>
                      </a:lnTo>
                      <a:lnTo>
                        <a:pt x="130" y="452"/>
                      </a:lnTo>
                      <a:lnTo>
                        <a:pt x="105" y="424"/>
                      </a:lnTo>
                      <a:lnTo>
                        <a:pt x="74" y="407"/>
                      </a:lnTo>
                      <a:lnTo>
                        <a:pt x="46" y="409"/>
                      </a:lnTo>
                      <a:lnTo>
                        <a:pt x="21" y="4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5" name="Freeform 155"/>
                <p:cNvSpPr>
                  <a:spLocks/>
                </p:cNvSpPr>
                <p:nvPr/>
              </p:nvSpPr>
              <p:spPr bwMode="auto">
                <a:xfrm>
                  <a:off x="4367297" y="2724307"/>
                  <a:ext cx="411974" cy="332066"/>
                </a:xfrm>
                <a:custGeom>
                  <a:avLst/>
                  <a:gdLst>
                    <a:gd name="T0" fmla="*/ 44452 w 519"/>
                    <a:gd name="T1" fmla="*/ 303414 h 452"/>
                    <a:gd name="T2" fmla="*/ 34927 w 519"/>
                    <a:gd name="T3" fmla="*/ 304884 h 452"/>
                    <a:gd name="T4" fmla="*/ 19845 w 519"/>
                    <a:gd name="T5" fmla="*/ 293864 h 452"/>
                    <a:gd name="T6" fmla="*/ 19845 w 519"/>
                    <a:gd name="T7" fmla="*/ 285048 h 452"/>
                    <a:gd name="T8" fmla="*/ 24607 w 519"/>
                    <a:gd name="T9" fmla="*/ 283578 h 452"/>
                    <a:gd name="T10" fmla="*/ 3175 w 519"/>
                    <a:gd name="T11" fmla="*/ 263743 h 452"/>
                    <a:gd name="T12" fmla="*/ 0 w 519"/>
                    <a:gd name="T13" fmla="*/ 239499 h 452"/>
                    <a:gd name="T14" fmla="*/ 4763 w 519"/>
                    <a:gd name="T15" fmla="*/ 239499 h 452"/>
                    <a:gd name="T16" fmla="*/ 29370 w 519"/>
                    <a:gd name="T17" fmla="*/ 230683 h 452"/>
                    <a:gd name="T18" fmla="*/ 56359 w 519"/>
                    <a:gd name="T19" fmla="*/ 229214 h 452"/>
                    <a:gd name="T20" fmla="*/ 85729 w 519"/>
                    <a:gd name="T21" fmla="*/ 229214 h 452"/>
                    <a:gd name="T22" fmla="*/ 100017 w 519"/>
                    <a:gd name="T23" fmla="*/ 203501 h 452"/>
                    <a:gd name="T24" fmla="*/ 101604 w 519"/>
                    <a:gd name="T25" fmla="*/ 183665 h 452"/>
                    <a:gd name="T26" fmla="*/ 103192 w 519"/>
                    <a:gd name="T27" fmla="*/ 163829 h 452"/>
                    <a:gd name="T28" fmla="*/ 104780 w 519"/>
                    <a:gd name="T29" fmla="*/ 142524 h 452"/>
                    <a:gd name="T30" fmla="*/ 104780 w 519"/>
                    <a:gd name="T31" fmla="*/ 122688 h 452"/>
                    <a:gd name="T32" fmla="*/ 126212 w 519"/>
                    <a:gd name="T33" fmla="*/ 118280 h 452"/>
                    <a:gd name="T34" fmla="*/ 146056 w 519"/>
                    <a:gd name="T35" fmla="*/ 113872 h 452"/>
                    <a:gd name="T36" fmla="*/ 167488 w 519"/>
                    <a:gd name="T37" fmla="*/ 94036 h 452"/>
                    <a:gd name="T38" fmla="*/ 188921 w 519"/>
                    <a:gd name="T39" fmla="*/ 75670 h 452"/>
                    <a:gd name="T40" fmla="*/ 218291 w 519"/>
                    <a:gd name="T41" fmla="*/ 57303 h 452"/>
                    <a:gd name="T42" fmla="*/ 247661 w 519"/>
                    <a:gd name="T43" fmla="*/ 38937 h 452"/>
                    <a:gd name="T44" fmla="*/ 277031 w 519"/>
                    <a:gd name="T45" fmla="*/ 18366 h 452"/>
                    <a:gd name="T46" fmla="*/ 306401 w 519"/>
                    <a:gd name="T47" fmla="*/ 0 h 452"/>
                    <a:gd name="T48" fmla="*/ 342915 w 519"/>
                    <a:gd name="T49" fmla="*/ 8816 h 452"/>
                    <a:gd name="T50" fmla="*/ 364347 w 519"/>
                    <a:gd name="T51" fmla="*/ 25713 h 452"/>
                    <a:gd name="T52" fmla="*/ 382604 w 519"/>
                    <a:gd name="T53" fmla="*/ 16163 h 452"/>
                    <a:gd name="T54" fmla="*/ 384191 w 519"/>
                    <a:gd name="T55" fmla="*/ 16163 h 452"/>
                    <a:gd name="T56" fmla="*/ 387367 w 519"/>
                    <a:gd name="T57" fmla="*/ 35998 h 452"/>
                    <a:gd name="T58" fmla="*/ 390542 w 519"/>
                    <a:gd name="T59" fmla="*/ 57303 h 452"/>
                    <a:gd name="T60" fmla="*/ 411974 w 519"/>
                    <a:gd name="T61" fmla="*/ 89628 h 452"/>
                    <a:gd name="T62" fmla="*/ 406418 w 519"/>
                    <a:gd name="T63" fmla="*/ 101383 h 452"/>
                    <a:gd name="T64" fmla="*/ 404830 w 519"/>
                    <a:gd name="T65" fmla="*/ 122688 h 452"/>
                    <a:gd name="T66" fmla="*/ 404830 w 519"/>
                    <a:gd name="T67" fmla="*/ 142524 h 452"/>
                    <a:gd name="T68" fmla="*/ 403242 w 519"/>
                    <a:gd name="T69" fmla="*/ 163829 h 452"/>
                    <a:gd name="T70" fmla="*/ 401655 w 519"/>
                    <a:gd name="T71" fmla="*/ 185134 h 452"/>
                    <a:gd name="T72" fmla="*/ 388954 w 519"/>
                    <a:gd name="T73" fmla="*/ 202766 h 452"/>
                    <a:gd name="T74" fmla="*/ 377047 w 519"/>
                    <a:gd name="T75" fmla="*/ 219663 h 452"/>
                    <a:gd name="T76" fmla="*/ 365934 w 519"/>
                    <a:gd name="T77" fmla="*/ 235091 h 452"/>
                    <a:gd name="T78" fmla="*/ 354028 w 519"/>
                    <a:gd name="T79" fmla="*/ 251988 h 452"/>
                    <a:gd name="T80" fmla="*/ 354028 w 519"/>
                    <a:gd name="T81" fmla="*/ 274763 h 452"/>
                    <a:gd name="T82" fmla="*/ 324658 w 519"/>
                    <a:gd name="T83" fmla="*/ 290925 h 452"/>
                    <a:gd name="T84" fmla="*/ 298463 w 519"/>
                    <a:gd name="T85" fmla="*/ 287986 h 452"/>
                    <a:gd name="T86" fmla="*/ 270680 w 519"/>
                    <a:gd name="T87" fmla="*/ 286517 h 452"/>
                    <a:gd name="T88" fmla="*/ 239723 w 519"/>
                    <a:gd name="T89" fmla="*/ 299006 h 452"/>
                    <a:gd name="T90" fmla="*/ 219878 w 519"/>
                    <a:gd name="T91" fmla="*/ 292394 h 452"/>
                    <a:gd name="T92" fmla="*/ 200034 w 519"/>
                    <a:gd name="T93" fmla="*/ 285048 h 452"/>
                    <a:gd name="T94" fmla="*/ 173839 w 519"/>
                    <a:gd name="T95" fmla="*/ 292394 h 452"/>
                    <a:gd name="T96" fmla="*/ 155582 w 519"/>
                    <a:gd name="T97" fmla="*/ 276232 h 452"/>
                    <a:gd name="T98" fmla="*/ 129387 w 519"/>
                    <a:gd name="T99" fmla="*/ 274028 h 452"/>
                    <a:gd name="T100" fmla="*/ 103192 w 519"/>
                    <a:gd name="T101" fmla="*/ 280640 h 452"/>
                    <a:gd name="T102" fmla="*/ 98429 w 519"/>
                    <a:gd name="T103" fmla="*/ 301945 h 452"/>
                    <a:gd name="T104" fmla="*/ 90491 w 519"/>
                    <a:gd name="T105" fmla="*/ 319577 h 452"/>
                    <a:gd name="T106" fmla="*/ 88904 w 519"/>
                    <a:gd name="T107" fmla="*/ 332066 h 452"/>
                    <a:gd name="T108" fmla="*/ 65884 w 519"/>
                    <a:gd name="T109" fmla="*/ 313700 h 452"/>
                    <a:gd name="T110" fmla="*/ 57946 w 519"/>
                    <a:gd name="T111" fmla="*/ 321781 h 452"/>
                    <a:gd name="T112" fmla="*/ 56359 w 519"/>
                    <a:gd name="T113" fmla="*/ 326189 h 452"/>
                    <a:gd name="T114" fmla="*/ 56359 w 519"/>
                    <a:gd name="T115" fmla="*/ 324719 h 452"/>
                    <a:gd name="T116" fmla="*/ 50802 w 519"/>
                    <a:gd name="T117" fmla="*/ 312230 h 452"/>
                    <a:gd name="T118" fmla="*/ 44452 w 519"/>
                    <a:gd name="T119" fmla="*/ 303414 h 45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19"/>
                    <a:gd name="T181" fmla="*/ 0 h 452"/>
                    <a:gd name="T182" fmla="*/ 519 w 519"/>
                    <a:gd name="T183" fmla="*/ 452 h 45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19" h="452">
                      <a:moveTo>
                        <a:pt x="56" y="413"/>
                      </a:moveTo>
                      <a:lnTo>
                        <a:pt x="44" y="415"/>
                      </a:lnTo>
                      <a:lnTo>
                        <a:pt x="25" y="400"/>
                      </a:lnTo>
                      <a:lnTo>
                        <a:pt x="25" y="388"/>
                      </a:lnTo>
                      <a:lnTo>
                        <a:pt x="31" y="386"/>
                      </a:lnTo>
                      <a:lnTo>
                        <a:pt x="4" y="359"/>
                      </a:lnTo>
                      <a:lnTo>
                        <a:pt x="0" y="326"/>
                      </a:lnTo>
                      <a:lnTo>
                        <a:pt x="6" y="326"/>
                      </a:lnTo>
                      <a:lnTo>
                        <a:pt x="37" y="314"/>
                      </a:lnTo>
                      <a:lnTo>
                        <a:pt x="71" y="312"/>
                      </a:lnTo>
                      <a:lnTo>
                        <a:pt x="108" y="312"/>
                      </a:lnTo>
                      <a:lnTo>
                        <a:pt x="126" y="277"/>
                      </a:lnTo>
                      <a:lnTo>
                        <a:pt x="128" y="250"/>
                      </a:lnTo>
                      <a:lnTo>
                        <a:pt x="130" y="223"/>
                      </a:lnTo>
                      <a:lnTo>
                        <a:pt x="132" y="194"/>
                      </a:lnTo>
                      <a:lnTo>
                        <a:pt x="132" y="167"/>
                      </a:lnTo>
                      <a:lnTo>
                        <a:pt x="159" y="161"/>
                      </a:lnTo>
                      <a:lnTo>
                        <a:pt x="184" y="155"/>
                      </a:lnTo>
                      <a:lnTo>
                        <a:pt x="211" y="128"/>
                      </a:lnTo>
                      <a:lnTo>
                        <a:pt x="238" y="103"/>
                      </a:lnTo>
                      <a:lnTo>
                        <a:pt x="275" y="78"/>
                      </a:lnTo>
                      <a:lnTo>
                        <a:pt x="312" y="53"/>
                      </a:lnTo>
                      <a:lnTo>
                        <a:pt x="349" y="25"/>
                      </a:lnTo>
                      <a:lnTo>
                        <a:pt x="386" y="0"/>
                      </a:lnTo>
                      <a:lnTo>
                        <a:pt x="432" y="12"/>
                      </a:lnTo>
                      <a:lnTo>
                        <a:pt x="459" y="35"/>
                      </a:lnTo>
                      <a:lnTo>
                        <a:pt x="482" y="22"/>
                      </a:lnTo>
                      <a:lnTo>
                        <a:pt x="484" y="22"/>
                      </a:lnTo>
                      <a:lnTo>
                        <a:pt x="488" y="49"/>
                      </a:lnTo>
                      <a:lnTo>
                        <a:pt x="492" y="78"/>
                      </a:lnTo>
                      <a:lnTo>
                        <a:pt x="519" y="122"/>
                      </a:lnTo>
                      <a:lnTo>
                        <a:pt x="512" y="138"/>
                      </a:lnTo>
                      <a:lnTo>
                        <a:pt x="510" y="167"/>
                      </a:lnTo>
                      <a:lnTo>
                        <a:pt x="510" y="194"/>
                      </a:lnTo>
                      <a:lnTo>
                        <a:pt x="508" y="223"/>
                      </a:lnTo>
                      <a:lnTo>
                        <a:pt x="506" y="252"/>
                      </a:lnTo>
                      <a:lnTo>
                        <a:pt x="490" y="276"/>
                      </a:lnTo>
                      <a:lnTo>
                        <a:pt x="475" y="299"/>
                      </a:lnTo>
                      <a:lnTo>
                        <a:pt x="461" y="320"/>
                      </a:lnTo>
                      <a:lnTo>
                        <a:pt x="446" y="343"/>
                      </a:lnTo>
                      <a:lnTo>
                        <a:pt x="446" y="374"/>
                      </a:lnTo>
                      <a:lnTo>
                        <a:pt x="409" y="396"/>
                      </a:lnTo>
                      <a:lnTo>
                        <a:pt x="376" y="392"/>
                      </a:lnTo>
                      <a:lnTo>
                        <a:pt x="341" y="390"/>
                      </a:lnTo>
                      <a:lnTo>
                        <a:pt x="302" y="407"/>
                      </a:lnTo>
                      <a:lnTo>
                        <a:pt x="277" y="398"/>
                      </a:lnTo>
                      <a:lnTo>
                        <a:pt x="252" y="388"/>
                      </a:lnTo>
                      <a:lnTo>
                        <a:pt x="219" y="398"/>
                      </a:lnTo>
                      <a:lnTo>
                        <a:pt x="196" y="376"/>
                      </a:lnTo>
                      <a:lnTo>
                        <a:pt x="163" y="373"/>
                      </a:lnTo>
                      <a:lnTo>
                        <a:pt x="130" y="382"/>
                      </a:lnTo>
                      <a:lnTo>
                        <a:pt x="124" y="411"/>
                      </a:lnTo>
                      <a:lnTo>
                        <a:pt x="114" y="435"/>
                      </a:lnTo>
                      <a:lnTo>
                        <a:pt x="112" y="452"/>
                      </a:lnTo>
                      <a:lnTo>
                        <a:pt x="83" y="427"/>
                      </a:lnTo>
                      <a:lnTo>
                        <a:pt x="73" y="438"/>
                      </a:lnTo>
                      <a:lnTo>
                        <a:pt x="71" y="444"/>
                      </a:lnTo>
                      <a:lnTo>
                        <a:pt x="71" y="442"/>
                      </a:lnTo>
                      <a:lnTo>
                        <a:pt x="64" y="425"/>
                      </a:lnTo>
                      <a:lnTo>
                        <a:pt x="56" y="4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6" name="Freeform 156"/>
                <p:cNvSpPr>
                  <a:spLocks/>
                </p:cNvSpPr>
                <p:nvPr/>
              </p:nvSpPr>
              <p:spPr bwMode="auto">
                <a:xfrm>
                  <a:off x="3912705" y="2914312"/>
                  <a:ext cx="150939" cy="124303"/>
                </a:xfrm>
                <a:custGeom>
                  <a:avLst/>
                  <a:gdLst>
                    <a:gd name="T0" fmla="*/ 29433 w 200"/>
                    <a:gd name="T1" fmla="*/ 4576 h 163"/>
                    <a:gd name="T2" fmla="*/ 23396 w 200"/>
                    <a:gd name="T3" fmla="*/ 16014 h 163"/>
                    <a:gd name="T4" fmla="*/ 12075 w 200"/>
                    <a:gd name="T5" fmla="*/ 36605 h 163"/>
                    <a:gd name="T6" fmla="*/ 0 w 200"/>
                    <a:gd name="T7" fmla="*/ 56432 h 163"/>
                    <a:gd name="T8" fmla="*/ 16603 w 200"/>
                    <a:gd name="T9" fmla="*/ 77022 h 163"/>
                    <a:gd name="T10" fmla="*/ 21886 w 200"/>
                    <a:gd name="T11" fmla="*/ 70921 h 163"/>
                    <a:gd name="T12" fmla="*/ 18113 w 200"/>
                    <a:gd name="T13" fmla="*/ 77022 h 163"/>
                    <a:gd name="T14" fmla="*/ 21131 w 200"/>
                    <a:gd name="T15" fmla="*/ 80072 h 163"/>
                    <a:gd name="T16" fmla="*/ 21131 w 200"/>
                    <a:gd name="T17" fmla="*/ 86936 h 163"/>
                    <a:gd name="T18" fmla="*/ 48300 w 200"/>
                    <a:gd name="T19" fmla="*/ 86936 h 163"/>
                    <a:gd name="T20" fmla="*/ 51319 w 200"/>
                    <a:gd name="T21" fmla="*/ 81598 h 163"/>
                    <a:gd name="T22" fmla="*/ 82262 w 200"/>
                    <a:gd name="T23" fmla="*/ 88461 h 163"/>
                    <a:gd name="T24" fmla="*/ 89809 w 200"/>
                    <a:gd name="T25" fmla="*/ 96087 h 163"/>
                    <a:gd name="T26" fmla="*/ 55847 w 200"/>
                    <a:gd name="T27" fmla="*/ 88461 h 163"/>
                    <a:gd name="T28" fmla="*/ 35471 w 200"/>
                    <a:gd name="T29" fmla="*/ 96087 h 163"/>
                    <a:gd name="T30" fmla="*/ 16603 w 200"/>
                    <a:gd name="T31" fmla="*/ 103713 h 163"/>
                    <a:gd name="T32" fmla="*/ 18113 w 200"/>
                    <a:gd name="T33" fmla="*/ 115152 h 163"/>
                    <a:gd name="T34" fmla="*/ 36980 w 200"/>
                    <a:gd name="T35" fmla="*/ 112101 h 163"/>
                    <a:gd name="T36" fmla="*/ 46791 w 200"/>
                    <a:gd name="T37" fmla="*/ 110576 h 163"/>
                    <a:gd name="T38" fmla="*/ 46791 w 200"/>
                    <a:gd name="T39" fmla="*/ 112101 h 163"/>
                    <a:gd name="T40" fmla="*/ 21886 w 200"/>
                    <a:gd name="T41" fmla="*/ 116677 h 163"/>
                    <a:gd name="T42" fmla="*/ 16603 w 200"/>
                    <a:gd name="T43" fmla="*/ 124303 h 163"/>
                    <a:gd name="T44" fmla="*/ 49810 w 200"/>
                    <a:gd name="T45" fmla="*/ 118202 h 163"/>
                    <a:gd name="T46" fmla="*/ 70187 w 200"/>
                    <a:gd name="T47" fmla="*/ 115152 h 163"/>
                    <a:gd name="T48" fmla="*/ 92827 w 200"/>
                    <a:gd name="T49" fmla="*/ 113627 h 163"/>
                    <a:gd name="T50" fmla="*/ 114714 w 200"/>
                    <a:gd name="T51" fmla="*/ 119727 h 163"/>
                    <a:gd name="T52" fmla="*/ 150939 w 200"/>
                    <a:gd name="T53" fmla="*/ 122778 h 163"/>
                    <a:gd name="T54" fmla="*/ 143392 w 200"/>
                    <a:gd name="T55" fmla="*/ 93037 h 163"/>
                    <a:gd name="T56" fmla="*/ 136600 w 200"/>
                    <a:gd name="T57" fmla="*/ 83123 h 163"/>
                    <a:gd name="T58" fmla="*/ 130562 w 200"/>
                    <a:gd name="T59" fmla="*/ 53382 h 163"/>
                    <a:gd name="T60" fmla="*/ 111695 w 200"/>
                    <a:gd name="T61" fmla="*/ 34317 h 163"/>
                    <a:gd name="T62" fmla="*/ 92827 w 200"/>
                    <a:gd name="T63" fmla="*/ 12964 h 163"/>
                    <a:gd name="T64" fmla="*/ 69432 w 200"/>
                    <a:gd name="T65" fmla="*/ 0 h 163"/>
                    <a:gd name="T66" fmla="*/ 48300 w 200"/>
                    <a:gd name="T67" fmla="*/ 1525 h 163"/>
                    <a:gd name="T68" fmla="*/ 29433 w 200"/>
                    <a:gd name="T69" fmla="*/ 4576 h 163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0"/>
                    <a:gd name="T106" fmla="*/ 0 h 163"/>
                    <a:gd name="T107" fmla="*/ 200 w 200"/>
                    <a:gd name="T108" fmla="*/ 163 h 163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0" h="163">
                      <a:moveTo>
                        <a:pt x="39" y="6"/>
                      </a:moveTo>
                      <a:lnTo>
                        <a:pt x="31" y="21"/>
                      </a:lnTo>
                      <a:lnTo>
                        <a:pt x="16" y="48"/>
                      </a:lnTo>
                      <a:lnTo>
                        <a:pt x="0" y="74"/>
                      </a:lnTo>
                      <a:lnTo>
                        <a:pt x="22" y="101"/>
                      </a:lnTo>
                      <a:lnTo>
                        <a:pt x="29" y="93"/>
                      </a:lnTo>
                      <a:lnTo>
                        <a:pt x="24" y="101"/>
                      </a:lnTo>
                      <a:lnTo>
                        <a:pt x="28" y="105"/>
                      </a:lnTo>
                      <a:lnTo>
                        <a:pt x="28" y="114"/>
                      </a:lnTo>
                      <a:lnTo>
                        <a:pt x="64" y="114"/>
                      </a:lnTo>
                      <a:lnTo>
                        <a:pt x="68" y="107"/>
                      </a:lnTo>
                      <a:lnTo>
                        <a:pt x="109" y="116"/>
                      </a:lnTo>
                      <a:lnTo>
                        <a:pt x="119" y="126"/>
                      </a:lnTo>
                      <a:lnTo>
                        <a:pt x="74" y="116"/>
                      </a:lnTo>
                      <a:lnTo>
                        <a:pt x="47" y="126"/>
                      </a:lnTo>
                      <a:lnTo>
                        <a:pt x="22" y="136"/>
                      </a:lnTo>
                      <a:lnTo>
                        <a:pt x="24" y="151"/>
                      </a:lnTo>
                      <a:lnTo>
                        <a:pt x="49" y="147"/>
                      </a:lnTo>
                      <a:lnTo>
                        <a:pt x="62" y="145"/>
                      </a:lnTo>
                      <a:lnTo>
                        <a:pt x="62" y="147"/>
                      </a:lnTo>
                      <a:lnTo>
                        <a:pt x="29" y="153"/>
                      </a:lnTo>
                      <a:lnTo>
                        <a:pt x="22" y="163"/>
                      </a:lnTo>
                      <a:lnTo>
                        <a:pt x="66" y="155"/>
                      </a:lnTo>
                      <a:lnTo>
                        <a:pt x="93" y="151"/>
                      </a:lnTo>
                      <a:lnTo>
                        <a:pt x="123" y="149"/>
                      </a:lnTo>
                      <a:lnTo>
                        <a:pt x="152" y="157"/>
                      </a:lnTo>
                      <a:lnTo>
                        <a:pt x="200" y="161"/>
                      </a:lnTo>
                      <a:lnTo>
                        <a:pt x="190" y="122"/>
                      </a:lnTo>
                      <a:lnTo>
                        <a:pt x="181" y="109"/>
                      </a:lnTo>
                      <a:lnTo>
                        <a:pt x="173" y="70"/>
                      </a:lnTo>
                      <a:lnTo>
                        <a:pt x="148" y="45"/>
                      </a:lnTo>
                      <a:lnTo>
                        <a:pt x="123" y="17"/>
                      </a:lnTo>
                      <a:lnTo>
                        <a:pt x="92" y="0"/>
                      </a:lnTo>
                      <a:lnTo>
                        <a:pt x="64" y="2"/>
                      </a:lnTo>
                      <a:lnTo>
                        <a:pt x="39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7" name="Freeform 157"/>
                <p:cNvSpPr>
                  <a:spLocks/>
                </p:cNvSpPr>
                <p:nvPr/>
              </p:nvSpPr>
              <p:spPr bwMode="auto">
                <a:xfrm>
                  <a:off x="4546648" y="2328313"/>
                  <a:ext cx="108321" cy="200660"/>
                </a:xfrm>
                <a:custGeom>
                  <a:avLst/>
                  <a:gdLst>
                    <a:gd name="T0" fmla="*/ 71658 w 130"/>
                    <a:gd name="T1" fmla="*/ 190890 h 267"/>
                    <a:gd name="T2" fmla="*/ 58327 w 130"/>
                    <a:gd name="T3" fmla="*/ 200660 h 267"/>
                    <a:gd name="T4" fmla="*/ 50828 w 130"/>
                    <a:gd name="T5" fmla="*/ 172853 h 267"/>
                    <a:gd name="T6" fmla="*/ 44162 w 130"/>
                    <a:gd name="T7" fmla="*/ 147301 h 267"/>
                    <a:gd name="T8" fmla="*/ 23331 w 130"/>
                    <a:gd name="T9" fmla="*/ 126258 h 267"/>
                    <a:gd name="T10" fmla="*/ 0 w 130"/>
                    <a:gd name="T11" fmla="*/ 99203 h 267"/>
                    <a:gd name="T12" fmla="*/ 13332 w 130"/>
                    <a:gd name="T13" fmla="*/ 76657 h 267"/>
                    <a:gd name="T14" fmla="*/ 24997 w 130"/>
                    <a:gd name="T15" fmla="*/ 56365 h 267"/>
                    <a:gd name="T16" fmla="*/ 21664 w 130"/>
                    <a:gd name="T17" fmla="*/ 17285 h 267"/>
                    <a:gd name="T18" fmla="*/ 27497 w 130"/>
                    <a:gd name="T19" fmla="*/ 9770 h 267"/>
                    <a:gd name="T20" fmla="*/ 56660 w 130"/>
                    <a:gd name="T21" fmla="*/ 0 h 267"/>
                    <a:gd name="T22" fmla="*/ 68326 w 130"/>
                    <a:gd name="T23" fmla="*/ 5261 h 267"/>
                    <a:gd name="T24" fmla="*/ 74991 w 130"/>
                    <a:gd name="T25" fmla="*/ 14279 h 267"/>
                    <a:gd name="T26" fmla="*/ 90823 w 130"/>
                    <a:gd name="T27" fmla="*/ 6764 h 267"/>
                    <a:gd name="T28" fmla="*/ 77491 w 130"/>
                    <a:gd name="T29" fmla="*/ 36074 h 267"/>
                    <a:gd name="T30" fmla="*/ 95822 w 130"/>
                    <a:gd name="T31" fmla="*/ 56365 h 267"/>
                    <a:gd name="T32" fmla="*/ 80824 w 130"/>
                    <a:gd name="T33" fmla="*/ 74402 h 267"/>
                    <a:gd name="T34" fmla="*/ 68326 w 130"/>
                    <a:gd name="T35" fmla="*/ 91687 h 267"/>
                    <a:gd name="T36" fmla="*/ 90823 w 130"/>
                    <a:gd name="T37" fmla="*/ 104463 h 267"/>
                    <a:gd name="T38" fmla="*/ 108321 w 130"/>
                    <a:gd name="T39" fmla="*/ 116488 h 267"/>
                    <a:gd name="T40" fmla="*/ 106655 w 130"/>
                    <a:gd name="T41" fmla="*/ 139786 h 267"/>
                    <a:gd name="T42" fmla="*/ 89156 w 130"/>
                    <a:gd name="T43" fmla="*/ 152562 h 267"/>
                    <a:gd name="T44" fmla="*/ 73325 w 130"/>
                    <a:gd name="T45" fmla="*/ 166089 h 267"/>
                    <a:gd name="T46" fmla="*/ 71658 w 130"/>
                    <a:gd name="T47" fmla="*/ 190890 h 267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30"/>
                    <a:gd name="T73" fmla="*/ 0 h 267"/>
                    <a:gd name="T74" fmla="*/ 130 w 130"/>
                    <a:gd name="T75" fmla="*/ 267 h 267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30" h="267">
                      <a:moveTo>
                        <a:pt x="86" y="254"/>
                      </a:moveTo>
                      <a:lnTo>
                        <a:pt x="70" y="267"/>
                      </a:lnTo>
                      <a:lnTo>
                        <a:pt x="61" y="230"/>
                      </a:lnTo>
                      <a:lnTo>
                        <a:pt x="53" y="196"/>
                      </a:lnTo>
                      <a:lnTo>
                        <a:pt x="28" y="168"/>
                      </a:lnTo>
                      <a:lnTo>
                        <a:pt x="0" y="132"/>
                      </a:lnTo>
                      <a:lnTo>
                        <a:pt x="16" y="102"/>
                      </a:lnTo>
                      <a:lnTo>
                        <a:pt x="30" y="75"/>
                      </a:lnTo>
                      <a:lnTo>
                        <a:pt x="26" y="23"/>
                      </a:lnTo>
                      <a:lnTo>
                        <a:pt x="33" y="13"/>
                      </a:lnTo>
                      <a:lnTo>
                        <a:pt x="68" y="0"/>
                      </a:lnTo>
                      <a:lnTo>
                        <a:pt x="82" y="7"/>
                      </a:lnTo>
                      <a:lnTo>
                        <a:pt x="90" y="19"/>
                      </a:lnTo>
                      <a:lnTo>
                        <a:pt x="109" y="9"/>
                      </a:lnTo>
                      <a:lnTo>
                        <a:pt x="93" y="48"/>
                      </a:lnTo>
                      <a:lnTo>
                        <a:pt x="115" y="75"/>
                      </a:lnTo>
                      <a:lnTo>
                        <a:pt x="97" y="99"/>
                      </a:lnTo>
                      <a:lnTo>
                        <a:pt x="82" y="122"/>
                      </a:lnTo>
                      <a:lnTo>
                        <a:pt x="109" y="139"/>
                      </a:lnTo>
                      <a:lnTo>
                        <a:pt x="130" y="155"/>
                      </a:lnTo>
                      <a:lnTo>
                        <a:pt x="128" y="186"/>
                      </a:lnTo>
                      <a:lnTo>
                        <a:pt x="107" y="203"/>
                      </a:lnTo>
                      <a:lnTo>
                        <a:pt x="88" y="221"/>
                      </a:lnTo>
                      <a:lnTo>
                        <a:pt x="86" y="2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8" name="Freeform 158"/>
                <p:cNvSpPr>
                  <a:spLocks/>
                </p:cNvSpPr>
                <p:nvPr/>
              </p:nvSpPr>
              <p:spPr bwMode="auto">
                <a:xfrm>
                  <a:off x="4063644" y="3150488"/>
                  <a:ext cx="101218" cy="118976"/>
                </a:xfrm>
                <a:custGeom>
                  <a:avLst/>
                  <a:gdLst>
                    <a:gd name="T0" fmla="*/ 98284 w 138"/>
                    <a:gd name="T1" fmla="*/ 118976 h 159"/>
                    <a:gd name="T2" fmla="*/ 72613 w 138"/>
                    <a:gd name="T3" fmla="*/ 101766 h 159"/>
                    <a:gd name="T4" fmla="*/ 46942 w 138"/>
                    <a:gd name="T5" fmla="*/ 86052 h 159"/>
                    <a:gd name="T6" fmla="*/ 24204 w 138"/>
                    <a:gd name="T7" fmla="*/ 65100 h 159"/>
                    <a:gd name="T8" fmla="*/ 0 w 138"/>
                    <a:gd name="T9" fmla="*/ 44897 h 159"/>
                    <a:gd name="T10" fmla="*/ 8802 w 138"/>
                    <a:gd name="T11" fmla="*/ 36666 h 159"/>
                    <a:gd name="T12" fmla="*/ 19804 w 138"/>
                    <a:gd name="T13" fmla="*/ 18707 h 159"/>
                    <a:gd name="T14" fmla="*/ 31539 w 138"/>
                    <a:gd name="T15" fmla="*/ 0 h 159"/>
                    <a:gd name="T16" fmla="*/ 44008 w 138"/>
                    <a:gd name="T17" fmla="*/ 0 h 159"/>
                    <a:gd name="T18" fmla="*/ 51342 w 138"/>
                    <a:gd name="T19" fmla="*/ 29183 h 159"/>
                    <a:gd name="T20" fmla="*/ 57210 w 138"/>
                    <a:gd name="T21" fmla="*/ 35169 h 159"/>
                    <a:gd name="T22" fmla="*/ 68212 w 138"/>
                    <a:gd name="T23" fmla="*/ 27686 h 159"/>
                    <a:gd name="T24" fmla="*/ 75547 w 138"/>
                    <a:gd name="T25" fmla="*/ 26190 h 159"/>
                    <a:gd name="T26" fmla="*/ 75547 w 138"/>
                    <a:gd name="T27" fmla="*/ 52379 h 159"/>
                    <a:gd name="T28" fmla="*/ 75547 w 138"/>
                    <a:gd name="T29" fmla="*/ 58366 h 159"/>
                    <a:gd name="T30" fmla="*/ 90949 w 138"/>
                    <a:gd name="T31" fmla="*/ 72583 h 159"/>
                    <a:gd name="T32" fmla="*/ 101218 w 138"/>
                    <a:gd name="T33" fmla="*/ 84555 h 159"/>
                    <a:gd name="T34" fmla="*/ 98284 w 138"/>
                    <a:gd name="T35" fmla="*/ 118976 h 15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8"/>
                    <a:gd name="T55" fmla="*/ 0 h 159"/>
                    <a:gd name="T56" fmla="*/ 138 w 138"/>
                    <a:gd name="T57" fmla="*/ 159 h 15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8" h="159">
                      <a:moveTo>
                        <a:pt x="134" y="159"/>
                      </a:moveTo>
                      <a:lnTo>
                        <a:pt x="99" y="136"/>
                      </a:lnTo>
                      <a:lnTo>
                        <a:pt x="64" y="115"/>
                      </a:lnTo>
                      <a:lnTo>
                        <a:pt x="33" y="87"/>
                      </a:lnTo>
                      <a:lnTo>
                        <a:pt x="0" y="60"/>
                      </a:lnTo>
                      <a:lnTo>
                        <a:pt x="12" y="49"/>
                      </a:lnTo>
                      <a:lnTo>
                        <a:pt x="27" y="25"/>
                      </a:lnTo>
                      <a:lnTo>
                        <a:pt x="43" y="0"/>
                      </a:lnTo>
                      <a:lnTo>
                        <a:pt x="60" y="0"/>
                      </a:lnTo>
                      <a:lnTo>
                        <a:pt x="70" y="39"/>
                      </a:lnTo>
                      <a:lnTo>
                        <a:pt x="78" y="47"/>
                      </a:lnTo>
                      <a:lnTo>
                        <a:pt x="93" y="37"/>
                      </a:lnTo>
                      <a:lnTo>
                        <a:pt x="103" y="35"/>
                      </a:lnTo>
                      <a:lnTo>
                        <a:pt x="103" y="70"/>
                      </a:lnTo>
                      <a:lnTo>
                        <a:pt x="103" y="78"/>
                      </a:lnTo>
                      <a:lnTo>
                        <a:pt x="124" y="97"/>
                      </a:lnTo>
                      <a:lnTo>
                        <a:pt x="138" y="113"/>
                      </a:lnTo>
                      <a:lnTo>
                        <a:pt x="134" y="15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69" name="Freeform 159"/>
                <p:cNvSpPr>
                  <a:spLocks/>
                </p:cNvSpPr>
                <p:nvPr/>
              </p:nvSpPr>
              <p:spPr bwMode="auto">
                <a:xfrm>
                  <a:off x="2186674" y="3114972"/>
                  <a:ext cx="87012" cy="71030"/>
                </a:xfrm>
                <a:custGeom>
                  <a:avLst/>
                  <a:gdLst>
                    <a:gd name="T0" fmla="*/ 0 w 107"/>
                    <a:gd name="T1" fmla="*/ 45552 h 92"/>
                    <a:gd name="T2" fmla="*/ 1626 w 107"/>
                    <a:gd name="T3" fmla="*/ 23162 h 92"/>
                    <a:gd name="T4" fmla="*/ 1626 w 107"/>
                    <a:gd name="T5" fmla="*/ 3088 h 92"/>
                    <a:gd name="T6" fmla="*/ 11385 w 107"/>
                    <a:gd name="T7" fmla="*/ 0 h 92"/>
                    <a:gd name="T8" fmla="*/ 18704 w 107"/>
                    <a:gd name="T9" fmla="*/ 12353 h 92"/>
                    <a:gd name="T10" fmla="*/ 31715 w 107"/>
                    <a:gd name="T11" fmla="*/ 16985 h 92"/>
                    <a:gd name="T12" fmla="*/ 39847 w 107"/>
                    <a:gd name="T13" fmla="*/ 24706 h 92"/>
                    <a:gd name="T14" fmla="*/ 77254 w 107"/>
                    <a:gd name="T15" fmla="*/ 10809 h 92"/>
                    <a:gd name="T16" fmla="*/ 82133 w 107"/>
                    <a:gd name="T17" fmla="*/ 15441 h 92"/>
                    <a:gd name="T18" fmla="*/ 87012 w 107"/>
                    <a:gd name="T19" fmla="*/ 23162 h 92"/>
                    <a:gd name="T20" fmla="*/ 66682 w 107"/>
                    <a:gd name="T21" fmla="*/ 40919 h 92"/>
                    <a:gd name="T22" fmla="*/ 78880 w 107"/>
                    <a:gd name="T23" fmla="*/ 60221 h 92"/>
                    <a:gd name="T24" fmla="*/ 55297 w 107"/>
                    <a:gd name="T25" fmla="*/ 71030 h 92"/>
                    <a:gd name="T26" fmla="*/ 50418 w 107"/>
                    <a:gd name="T27" fmla="*/ 50956 h 92"/>
                    <a:gd name="T28" fmla="*/ 47165 w 107"/>
                    <a:gd name="T29" fmla="*/ 57133 h 92"/>
                    <a:gd name="T30" fmla="*/ 33341 w 107"/>
                    <a:gd name="T31" fmla="*/ 45552 h 92"/>
                    <a:gd name="T32" fmla="*/ 6506 w 107"/>
                    <a:gd name="T33" fmla="*/ 37831 h 92"/>
                    <a:gd name="T34" fmla="*/ 0 w 107"/>
                    <a:gd name="T35" fmla="*/ 45552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07"/>
                    <a:gd name="T55" fmla="*/ 0 h 92"/>
                    <a:gd name="T56" fmla="*/ 107 w 107"/>
                    <a:gd name="T57" fmla="*/ 92 h 9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07" h="92">
                      <a:moveTo>
                        <a:pt x="0" y="59"/>
                      </a:moveTo>
                      <a:lnTo>
                        <a:pt x="2" y="30"/>
                      </a:lnTo>
                      <a:lnTo>
                        <a:pt x="2" y="4"/>
                      </a:lnTo>
                      <a:lnTo>
                        <a:pt x="14" y="0"/>
                      </a:lnTo>
                      <a:lnTo>
                        <a:pt x="23" y="16"/>
                      </a:lnTo>
                      <a:lnTo>
                        <a:pt x="39" y="22"/>
                      </a:lnTo>
                      <a:lnTo>
                        <a:pt x="49" y="32"/>
                      </a:lnTo>
                      <a:lnTo>
                        <a:pt x="95" y="14"/>
                      </a:lnTo>
                      <a:lnTo>
                        <a:pt x="101" y="20"/>
                      </a:lnTo>
                      <a:lnTo>
                        <a:pt x="107" y="30"/>
                      </a:lnTo>
                      <a:lnTo>
                        <a:pt x="82" y="53"/>
                      </a:lnTo>
                      <a:lnTo>
                        <a:pt x="97" y="78"/>
                      </a:lnTo>
                      <a:lnTo>
                        <a:pt x="68" y="92"/>
                      </a:lnTo>
                      <a:lnTo>
                        <a:pt x="62" y="66"/>
                      </a:lnTo>
                      <a:lnTo>
                        <a:pt x="58" y="74"/>
                      </a:lnTo>
                      <a:lnTo>
                        <a:pt x="41" y="59"/>
                      </a:lnTo>
                      <a:lnTo>
                        <a:pt x="8" y="49"/>
                      </a:lnTo>
                      <a:lnTo>
                        <a:pt x="0" y="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0" name="Freeform 160"/>
                <p:cNvSpPr>
                  <a:spLocks/>
                </p:cNvSpPr>
                <p:nvPr/>
              </p:nvSpPr>
              <p:spPr bwMode="auto">
                <a:xfrm>
                  <a:off x="2273686" y="3122076"/>
                  <a:ext cx="63927" cy="58600"/>
                </a:xfrm>
                <a:custGeom>
                  <a:avLst/>
                  <a:gdLst>
                    <a:gd name="T0" fmla="*/ 37223 w 79"/>
                    <a:gd name="T1" fmla="*/ 32026 h 86"/>
                    <a:gd name="T2" fmla="*/ 46934 w 79"/>
                    <a:gd name="T3" fmla="*/ 33388 h 86"/>
                    <a:gd name="T4" fmla="*/ 43697 w 79"/>
                    <a:gd name="T5" fmla="*/ 27937 h 86"/>
                    <a:gd name="T6" fmla="*/ 35605 w 79"/>
                    <a:gd name="T7" fmla="*/ 26574 h 86"/>
                    <a:gd name="T8" fmla="*/ 28322 w 79"/>
                    <a:gd name="T9" fmla="*/ 19760 h 86"/>
                    <a:gd name="T10" fmla="*/ 8901 w 79"/>
                    <a:gd name="T11" fmla="*/ 12265 h 86"/>
                    <a:gd name="T12" fmla="*/ 1618 w 79"/>
                    <a:gd name="T13" fmla="*/ 6814 h 86"/>
                    <a:gd name="T14" fmla="*/ 0 w 79"/>
                    <a:gd name="T15" fmla="*/ 0 h 86"/>
                    <a:gd name="T16" fmla="*/ 26704 w 79"/>
                    <a:gd name="T17" fmla="*/ 1363 h 86"/>
                    <a:gd name="T18" fmla="*/ 45315 w 79"/>
                    <a:gd name="T19" fmla="*/ 10902 h 86"/>
                    <a:gd name="T20" fmla="*/ 62309 w 79"/>
                    <a:gd name="T21" fmla="*/ 21123 h 86"/>
                    <a:gd name="T22" fmla="*/ 63927 w 79"/>
                    <a:gd name="T23" fmla="*/ 40884 h 86"/>
                    <a:gd name="T24" fmla="*/ 53407 w 79"/>
                    <a:gd name="T25" fmla="*/ 47698 h 86"/>
                    <a:gd name="T26" fmla="*/ 46934 w 79"/>
                    <a:gd name="T27" fmla="*/ 58600 h 86"/>
                    <a:gd name="T28" fmla="*/ 40460 w 79"/>
                    <a:gd name="T29" fmla="*/ 50423 h 86"/>
                    <a:gd name="T30" fmla="*/ 37223 w 79"/>
                    <a:gd name="T31" fmla="*/ 32026 h 8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9"/>
                    <a:gd name="T49" fmla="*/ 0 h 86"/>
                    <a:gd name="T50" fmla="*/ 79 w 79"/>
                    <a:gd name="T51" fmla="*/ 86 h 8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9" h="86">
                      <a:moveTo>
                        <a:pt x="46" y="47"/>
                      </a:moveTo>
                      <a:lnTo>
                        <a:pt x="58" y="49"/>
                      </a:lnTo>
                      <a:lnTo>
                        <a:pt x="54" y="41"/>
                      </a:lnTo>
                      <a:lnTo>
                        <a:pt x="44" y="39"/>
                      </a:lnTo>
                      <a:lnTo>
                        <a:pt x="35" y="29"/>
                      </a:lnTo>
                      <a:lnTo>
                        <a:pt x="11" y="18"/>
                      </a:lnTo>
                      <a:lnTo>
                        <a:pt x="2" y="10"/>
                      </a:lnTo>
                      <a:lnTo>
                        <a:pt x="0" y="0"/>
                      </a:lnTo>
                      <a:lnTo>
                        <a:pt x="33" y="2"/>
                      </a:lnTo>
                      <a:lnTo>
                        <a:pt x="56" y="16"/>
                      </a:lnTo>
                      <a:lnTo>
                        <a:pt x="77" y="31"/>
                      </a:lnTo>
                      <a:lnTo>
                        <a:pt x="79" y="60"/>
                      </a:lnTo>
                      <a:lnTo>
                        <a:pt x="66" y="70"/>
                      </a:lnTo>
                      <a:lnTo>
                        <a:pt x="58" y="86"/>
                      </a:lnTo>
                      <a:lnTo>
                        <a:pt x="50" y="74"/>
                      </a:lnTo>
                      <a:lnTo>
                        <a:pt x="46" y="4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1" name="Freeform 161"/>
                <p:cNvSpPr>
                  <a:spLocks/>
                </p:cNvSpPr>
                <p:nvPr/>
              </p:nvSpPr>
              <p:spPr bwMode="auto">
                <a:xfrm>
                  <a:off x="2930714" y="3228621"/>
                  <a:ext cx="71030" cy="99442"/>
                </a:xfrm>
                <a:custGeom>
                  <a:avLst/>
                  <a:gdLst>
                    <a:gd name="T0" fmla="*/ 55963 w 99"/>
                    <a:gd name="T1" fmla="*/ 25974 h 134"/>
                    <a:gd name="T2" fmla="*/ 33721 w 99"/>
                    <a:gd name="T3" fmla="*/ 4453 h 134"/>
                    <a:gd name="T4" fmla="*/ 16502 w 99"/>
                    <a:gd name="T5" fmla="*/ 0 h 134"/>
                    <a:gd name="T6" fmla="*/ 11480 w 99"/>
                    <a:gd name="T7" fmla="*/ 9647 h 134"/>
                    <a:gd name="T8" fmla="*/ 4305 w 99"/>
                    <a:gd name="T9" fmla="*/ 32653 h 134"/>
                    <a:gd name="T10" fmla="*/ 12915 w 99"/>
                    <a:gd name="T11" fmla="*/ 67531 h 134"/>
                    <a:gd name="T12" fmla="*/ 0 w 99"/>
                    <a:gd name="T13" fmla="*/ 94989 h 134"/>
                    <a:gd name="T14" fmla="*/ 15784 w 99"/>
                    <a:gd name="T15" fmla="*/ 97958 h 134"/>
                    <a:gd name="T16" fmla="*/ 38744 w 99"/>
                    <a:gd name="T17" fmla="*/ 99442 h 134"/>
                    <a:gd name="T18" fmla="*/ 54528 w 99"/>
                    <a:gd name="T19" fmla="*/ 73468 h 134"/>
                    <a:gd name="T20" fmla="*/ 71030 w 99"/>
                    <a:gd name="T21" fmla="*/ 47495 h 134"/>
                    <a:gd name="T22" fmla="*/ 65290 w 99"/>
                    <a:gd name="T23" fmla="*/ 31910 h 134"/>
                    <a:gd name="T24" fmla="*/ 63855 w 99"/>
                    <a:gd name="T25" fmla="*/ 35621 h 134"/>
                    <a:gd name="T26" fmla="*/ 55963 w 99"/>
                    <a:gd name="T27" fmla="*/ 25974 h 13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99"/>
                    <a:gd name="T43" fmla="*/ 0 h 134"/>
                    <a:gd name="T44" fmla="*/ 99 w 99"/>
                    <a:gd name="T45" fmla="*/ 134 h 13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99" h="134">
                      <a:moveTo>
                        <a:pt x="78" y="35"/>
                      </a:moveTo>
                      <a:lnTo>
                        <a:pt x="47" y="6"/>
                      </a:lnTo>
                      <a:lnTo>
                        <a:pt x="23" y="0"/>
                      </a:lnTo>
                      <a:lnTo>
                        <a:pt x="16" y="13"/>
                      </a:lnTo>
                      <a:lnTo>
                        <a:pt x="6" y="44"/>
                      </a:lnTo>
                      <a:lnTo>
                        <a:pt x="18" y="91"/>
                      </a:lnTo>
                      <a:lnTo>
                        <a:pt x="0" y="128"/>
                      </a:lnTo>
                      <a:lnTo>
                        <a:pt x="22" y="132"/>
                      </a:lnTo>
                      <a:lnTo>
                        <a:pt x="54" y="134"/>
                      </a:lnTo>
                      <a:lnTo>
                        <a:pt x="76" y="99"/>
                      </a:lnTo>
                      <a:lnTo>
                        <a:pt x="99" y="64"/>
                      </a:lnTo>
                      <a:lnTo>
                        <a:pt x="91" y="43"/>
                      </a:lnTo>
                      <a:lnTo>
                        <a:pt x="89" y="48"/>
                      </a:lnTo>
                      <a:lnTo>
                        <a:pt x="78" y="3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2" name="Freeform 162"/>
                <p:cNvSpPr>
                  <a:spLocks/>
                </p:cNvSpPr>
                <p:nvPr/>
              </p:nvSpPr>
              <p:spPr bwMode="auto">
                <a:xfrm>
                  <a:off x="2287892" y="3038615"/>
                  <a:ext cx="317860" cy="467023"/>
                </a:xfrm>
                <a:custGeom>
                  <a:avLst/>
                  <a:gdLst>
                    <a:gd name="T0" fmla="*/ 124789 w 405"/>
                    <a:gd name="T1" fmla="*/ 42996 h 630"/>
                    <a:gd name="T2" fmla="*/ 113017 w 405"/>
                    <a:gd name="T3" fmla="*/ 38548 h 630"/>
                    <a:gd name="T4" fmla="*/ 91041 w 405"/>
                    <a:gd name="T5" fmla="*/ 81544 h 630"/>
                    <a:gd name="T6" fmla="*/ 59648 w 405"/>
                    <a:gd name="T7" fmla="*/ 123798 h 630"/>
                    <a:gd name="T8" fmla="*/ 47090 w 405"/>
                    <a:gd name="T9" fmla="*/ 103042 h 630"/>
                    <a:gd name="T10" fmla="*/ 38457 w 405"/>
                    <a:gd name="T11" fmla="*/ 131953 h 630"/>
                    <a:gd name="T12" fmla="*/ 40027 w 405"/>
                    <a:gd name="T13" fmla="*/ 154933 h 630"/>
                    <a:gd name="T14" fmla="*/ 40027 w 405"/>
                    <a:gd name="T15" fmla="*/ 192740 h 630"/>
                    <a:gd name="T16" fmla="*/ 43951 w 405"/>
                    <a:gd name="T17" fmla="*/ 235735 h 630"/>
                    <a:gd name="T18" fmla="*/ 30609 w 405"/>
                    <a:gd name="T19" fmla="*/ 269835 h 630"/>
                    <a:gd name="T20" fmla="*/ 9418 w 405"/>
                    <a:gd name="T21" fmla="*/ 292816 h 630"/>
                    <a:gd name="T22" fmla="*/ 3139 w 405"/>
                    <a:gd name="T23" fmla="*/ 307642 h 630"/>
                    <a:gd name="T24" fmla="*/ 41596 w 405"/>
                    <a:gd name="T25" fmla="*/ 335812 h 630"/>
                    <a:gd name="T26" fmla="*/ 95750 w 405"/>
                    <a:gd name="T27" fmla="*/ 350638 h 630"/>
                    <a:gd name="T28" fmla="*/ 113017 w 405"/>
                    <a:gd name="T29" fmla="*/ 361757 h 630"/>
                    <a:gd name="T30" fmla="*/ 147550 w 405"/>
                    <a:gd name="T31" fmla="*/ 398082 h 630"/>
                    <a:gd name="T32" fmla="*/ 184437 w 405"/>
                    <a:gd name="T33" fmla="*/ 412166 h 630"/>
                    <a:gd name="T34" fmla="*/ 231528 w 405"/>
                    <a:gd name="T35" fmla="*/ 421062 h 630"/>
                    <a:gd name="T36" fmla="*/ 237806 w 405"/>
                    <a:gd name="T37" fmla="*/ 467023 h 630"/>
                    <a:gd name="T38" fmla="*/ 249579 w 405"/>
                    <a:gd name="T39" fmla="*/ 387703 h 630"/>
                    <a:gd name="T40" fmla="*/ 233097 w 405"/>
                    <a:gd name="T41" fmla="*/ 332105 h 630"/>
                    <a:gd name="T42" fmla="*/ 257427 w 405"/>
                    <a:gd name="T43" fmla="*/ 323210 h 630"/>
                    <a:gd name="T44" fmla="*/ 239376 w 405"/>
                    <a:gd name="T45" fmla="*/ 298746 h 630"/>
                    <a:gd name="T46" fmla="*/ 284897 w 405"/>
                    <a:gd name="T47" fmla="*/ 298746 h 630"/>
                    <a:gd name="T48" fmla="*/ 288036 w 405"/>
                    <a:gd name="T49" fmla="*/ 297264 h 630"/>
                    <a:gd name="T50" fmla="*/ 312366 w 405"/>
                    <a:gd name="T51" fmla="*/ 312090 h 630"/>
                    <a:gd name="T52" fmla="*/ 312366 w 405"/>
                    <a:gd name="T53" fmla="*/ 289851 h 630"/>
                    <a:gd name="T54" fmla="*/ 306087 w 405"/>
                    <a:gd name="T55" fmla="*/ 255751 h 630"/>
                    <a:gd name="T56" fmla="*/ 299809 w 405"/>
                    <a:gd name="T57" fmla="*/ 196446 h 630"/>
                    <a:gd name="T58" fmla="*/ 283327 w 405"/>
                    <a:gd name="T59" fmla="*/ 173466 h 630"/>
                    <a:gd name="T60" fmla="*/ 236237 w 405"/>
                    <a:gd name="T61" fmla="*/ 150485 h 630"/>
                    <a:gd name="T62" fmla="*/ 196210 w 405"/>
                    <a:gd name="T63" fmla="*/ 149003 h 630"/>
                    <a:gd name="T64" fmla="*/ 178159 w 405"/>
                    <a:gd name="T65" fmla="*/ 120833 h 630"/>
                    <a:gd name="T66" fmla="*/ 153829 w 405"/>
                    <a:gd name="T67" fmla="*/ 88957 h 630"/>
                    <a:gd name="T68" fmla="*/ 179728 w 405"/>
                    <a:gd name="T69" fmla="*/ 41513 h 630"/>
                    <a:gd name="T70" fmla="*/ 211907 w 405"/>
                    <a:gd name="T71" fmla="*/ 12602 h 630"/>
                    <a:gd name="T72" fmla="*/ 197780 w 405"/>
                    <a:gd name="T73" fmla="*/ 1483 h 630"/>
                    <a:gd name="T74" fmla="*/ 149120 w 405"/>
                    <a:gd name="T75" fmla="*/ 30394 h 63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05"/>
                    <a:gd name="T115" fmla="*/ 0 h 630"/>
                    <a:gd name="T116" fmla="*/ 405 w 405"/>
                    <a:gd name="T117" fmla="*/ 630 h 63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05" h="630">
                      <a:moveTo>
                        <a:pt x="171" y="42"/>
                      </a:moveTo>
                      <a:lnTo>
                        <a:pt x="159" y="58"/>
                      </a:lnTo>
                      <a:lnTo>
                        <a:pt x="163" y="50"/>
                      </a:lnTo>
                      <a:lnTo>
                        <a:pt x="144" y="52"/>
                      </a:lnTo>
                      <a:lnTo>
                        <a:pt x="120" y="83"/>
                      </a:lnTo>
                      <a:lnTo>
                        <a:pt x="116" y="110"/>
                      </a:lnTo>
                      <a:lnTo>
                        <a:pt x="80" y="145"/>
                      </a:lnTo>
                      <a:lnTo>
                        <a:pt x="76" y="167"/>
                      </a:lnTo>
                      <a:lnTo>
                        <a:pt x="68" y="149"/>
                      </a:lnTo>
                      <a:lnTo>
                        <a:pt x="60" y="139"/>
                      </a:lnTo>
                      <a:lnTo>
                        <a:pt x="62" y="168"/>
                      </a:lnTo>
                      <a:lnTo>
                        <a:pt x="49" y="178"/>
                      </a:lnTo>
                      <a:lnTo>
                        <a:pt x="41" y="194"/>
                      </a:lnTo>
                      <a:lnTo>
                        <a:pt x="51" y="209"/>
                      </a:lnTo>
                      <a:lnTo>
                        <a:pt x="58" y="244"/>
                      </a:lnTo>
                      <a:lnTo>
                        <a:pt x="51" y="260"/>
                      </a:lnTo>
                      <a:lnTo>
                        <a:pt x="53" y="289"/>
                      </a:lnTo>
                      <a:lnTo>
                        <a:pt x="56" y="318"/>
                      </a:lnTo>
                      <a:lnTo>
                        <a:pt x="60" y="322"/>
                      </a:lnTo>
                      <a:lnTo>
                        <a:pt x="39" y="364"/>
                      </a:lnTo>
                      <a:lnTo>
                        <a:pt x="18" y="374"/>
                      </a:lnTo>
                      <a:lnTo>
                        <a:pt x="12" y="395"/>
                      </a:lnTo>
                      <a:lnTo>
                        <a:pt x="0" y="401"/>
                      </a:lnTo>
                      <a:lnTo>
                        <a:pt x="4" y="415"/>
                      </a:lnTo>
                      <a:lnTo>
                        <a:pt x="31" y="434"/>
                      </a:lnTo>
                      <a:lnTo>
                        <a:pt x="53" y="453"/>
                      </a:lnTo>
                      <a:lnTo>
                        <a:pt x="84" y="453"/>
                      </a:lnTo>
                      <a:lnTo>
                        <a:pt x="122" y="473"/>
                      </a:lnTo>
                      <a:lnTo>
                        <a:pt x="124" y="471"/>
                      </a:lnTo>
                      <a:lnTo>
                        <a:pt x="144" y="488"/>
                      </a:lnTo>
                      <a:lnTo>
                        <a:pt x="161" y="508"/>
                      </a:lnTo>
                      <a:lnTo>
                        <a:pt x="188" y="537"/>
                      </a:lnTo>
                      <a:lnTo>
                        <a:pt x="194" y="554"/>
                      </a:lnTo>
                      <a:lnTo>
                        <a:pt x="235" y="556"/>
                      </a:lnTo>
                      <a:lnTo>
                        <a:pt x="262" y="556"/>
                      </a:lnTo>
                      <a:lnTo>
                        <a:pt x="295" y="568"/>
                      </a:lnTo>
                      <a:lnTo>
                        <a:pt x="281" y="614"/>
                      </a:lnTo>
                      <a:lnTo>
                        <a:pt x="303" y="630"/>
                      </a:lnTo>
                      <a:lnTo>
                        <a:pt x="310" y="576"/>
                      </a:lnTo>
                      <a:lnTo>
                        <a:pt x="318" y="523"/>
                      </a:lnTo>
                      <a:lnTo>
                        <a:pt x="305" y="483"/>
                      </a:lnTo>
                      <a:lnTo>
                        <a:pt x="297" y="448"/>
                      </a:lnTo>
                      <a:lnTo>
                        <a:pt x="322" y="446"/>
                      </a:lnTo>
                      <a:lnTo>
                        <a:pt x="328" y="436"/>
                      </a:lnTo>
                      <a:lnTo>
                        <a:pt x="308" y="428"/>
                      </a:lnTo>
                      <a:lnTo>
                        <a:pt x="305" y="403"/>
                      </a:lnTo>
                      <a:lnTo>
                        <a:pt x="334" y="403"/>
                      </a:lnTo>
                      <a:lnTo>
                        <a:pt x="363" y="403"/>
                      </a:lnTo>
                      <a:lnTo>
                        <a:pt x="359" y="397"/>
                      </a:lnTo>
                      <a:lnTo>
                        <a:pt x="367" y="401"/>
                      </a:lnTo>
                      <a:lnTo>
                        <a:pt x="386" y="388"/>
                      </a:lnTo>
                      <a:lnTo>
                        <a:pt x="398" y="421"/>
                      </a:lnTo>
                      <a:lnTo>
                        <a:pt x="405" y="422"/>
                      </a:lnTo>
                      <a:lnTo>
                        <a:pt x="398" y="391"/>
                      </a:lnTo>
                      <a:lnTo>
                        <a:pt x="378" y="362"/>
                      </a:lnTo>
                      <a:lnTo>
                        <a:pt x="390" y="345"/>
                      </a:lnTo>
                      <a:lnTo>
                        <a:pt x="374" y="296"/>
                      </a:lnTo>
                      <a:lnTo>
                        <a:pt x="382" y="265"/>
                      </a:lnTo>
                      <a:lnTo>
                        <a:pt x="390" y="232"/>
                      </a:lnTo>
                      <a:lnTo>
                        <a:pt x="361" y="234"/>
                      </a:lnTo>
                      <a:lnTo>
                        <a:pt x="332" y="236"/>
                      </a:lnTo>
                      <a:lnTo>
                        <a:pt x="301" y="203"/>
                      </a:lnTo>
                      <a:lnTo>
                        <a:pt x="275" y="201"/>
                      </a:lnTo>
                      <a:lnTo>
                        <a:pt x="250" y="201"/>
                      </a:lnTo>
                      <a:lnTo>
                        <a:pt x="225" y="188"/>
                      </a:lnTo>
                      <a:lnTo>
                        <a:pt x="227" y="163"/>
                      </a:lnTo>
                      <a:lnTo>
                        <a:pt x="210" y="120"/>
                      </a:lnTo>
                      <a:lnTo>
                        <a:pt x="196" y="120"/>
                      </a:lnTo>
                      <a:lnTo>
                        <a:pt x="210" y="89"/>
                      </a:lnTo>
                      <a:lnTo>
                        <a:pt x="229" y="56"/>
                      </a:lnTo>
                      <a:lnTo>
                        <a:pt x="248" y="25"/>
                      </a:lnTo>
                      <a:lnTo>
                        <a:pt x="270" y="17"/>
                      </a:lnTo>
                      <a:lnTo>
                        <a:pt x="274" y="0"/>
                      </a:lnTo>
                      <a:lnTo>
                        <a:pt x="252" y="2"/>
                      </a:lnTo>
                      <a:lnTo>
                        <a:pt x="221" y="21"/>
                      </a:lnTo>
                      <a:lnTo>
                        <a:pt x="190" y="41"/>
                      </a:lnTo>
                      <a:lnTo>
                        <a:pt x="171" y="4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3" name="Freeform 163"/>
                <p:cNvSpPr>
                  <a:spLocks/>
                </p:cNvSpPr>
                <p:nvPr/>
              </p:nvSpPr>
              <p:spPr bwMode="auto">
                <a:xfrm>
                  <a:off x="2756690" y="3150488"/>
                  <a:ext cx="122527" cy="202436"/>
                </a:xfrm>
                <a:custGeom>
                  <a:avLst/>
                  <a:gdLst>
                    <a:gd name="T0" fmla="*/ 98638 w 159"/>
                    <a:gd name="T1" fmla="*/ 144808 h 274"/>
                    <a:gd name="T2" fmla="*/ 85538 w 159"/>
                    <a:gd name="T3" fmla="*/ 129293 h 274"/>
                    <a:gd name="T4" fmla="*/ 88620 w 159"/>
                    <a:gd name="T5" fmla="*/ 104912 h 274"/>
                    <a:gd name="T6" fmla="*/ 100179 w 159"/>
                    <a:gd name="T7" fmla="*/ 99002 h 274"/>
                    <a:gd name="T8" fmla="*/ 104803 w 159"/>
                    <a:gd name="T9" fmla="*/ 84964 h 274"/>
                    <a:gd name="T10" fmla="*/ 103262 w 159"/>
                    <a:gd name="T11" fmla="*/ 63538 h 274"/>
                    <a:gd name="T12" fmla="*/ 76290 w 159"/>
                    <a:gd name="T13" fmla="*/ 45807 h 274"/>
                    <a:gd name="T14" fmla="*/ 70126 w 159"/>
                    <a:gd name="T15" fmla="*/ 56150 h 274"/>
                    <a:gd name="T16" fmla="*/ 71667 w 159"/>
                    <a:gd name="T17" fmla="*/ 28814 h 274"/>
                    <a:gd name="T18" fmla="*/ 57025 w 159"/>
                    <a:gd name="T19" fmla="*/ 16993 h 274"/>
                    <a:gd name="T20" fmla="*/ 42384 w 159"/>
                    <a:gd name="T21" fmla="*/ 4433 h 274"/>
                    <a:gd name="T22" fmla="*/ 47778 w 159"/>
                    <a:gd name="T23" fmla="*/ 8866 h 274"/>
                    <a:gd name="T24" fmla="*/ 37760 w 159"/>
                    <a:gd name="T25" fmla="*/ 0 h 274"/>
                    <a:gd name="T26" fmla="*/ 40842 w 159"/>
                    <a:gd name="T27" fmla="*/ 5911 h 274"/>
                    <a:gd name="T28" fmla="*/ 16953 w 159"/>
                    <a:gd name="T29" fmla="*/ 27336 h 274"/>
                    <a:gd name="T30" fmla="*/ 26971 w 159"/>
                    <a:gd name="T31" fmla="*/ 39157 h 274"/>
                    <a:gd name="T32" fmla="*/ 9247 w 159"/>
                    <a:gd name="T33" fmla="*/ 50240 h 274"/>
                    <a:gd name="T34" fmla="*/ 0 w 159"/>
                    <a:gd name="T35" fmla="*/ 71665 h 274"/>
                    <a:gd name="T36" fmla="*/ 13871 w 159"/>
                    <a:gd name="T37" fmla="*/ 93091 h 274"/>
                    <a:gd name="T38" fmla="*/ 28513 w 159"/>
                    <a:gd name="T39" fmla="*/ 91613 h 274"/>
                    <a:gd name="T40" fmla="*/ 31595 w 159"/>
                    <a:gd name="T41" fmla="*/ 107867 h 274"/>
                    <a:gd name="T42" fmla="*/ 42384 w 159"/>
                    <a:gd name="T43" fmla="*/ 123383 h 274"/>
                    <a:gd name="T44" fmla="*/ 34677 w 159"/>
                    <a:gd name="T45" fmla="*/ 147763 h 274"/>
                    <a:gd name="T46" fmla="*/ 37760 w 159"/>
                    <a:gd name="T47" fmla="*/ 181010 h 274"/>
                    <a:gd name="T48" fmla="*/ 55484 w 159"/>
                    <a:gd name="T49" fmla="*/ 202436 h 274"/>
                    <a:gd name="T50" fmla="*/ 70126 w 159"/>
                    <a:gd name="T51" fmla="*/ 202436 h 274"/>
                    <a:gd name="T52" fmla="*/ 97097 w 159"/>
                    <a:gd name="T53" fmla="*/ 189137 h 274"/>
                    <a:gd name="T54" fmla="*/ 122527 w 159"/>
                    <a:gd name="T55" fmla="*/ 184704 h 274"/>
                    <a:gd name="T56" fmla="*/ 110968 w 159"/>
                    <a:gd name="T57" fmla="*/ 164756 h 274"/>
                    <a:gd name="T58" fmla="*/ 98638 w 159"/>
                    <a:gd name="T59" fmla="*/ 144808 h 27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59"/>
                    <a:gd name="T91" fmla="*/ 0 h 274"/>
                    <a:gd name="T92" fmla="*/ 159 w 159"/>
                    <a:gd name="T93" fmla="*/ 274 h 27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59" h="274">
                      <a:moveTo>
                        <a:pt x="128" y="196"/>
                      </a:moveTo>
                      <a:lnTo>
                        <a:pt x="111" y="175"/>
                      </a:lnTo>
                      <a:lnTo>
                        <a:pt x="115" y="142"/>
                      </a:lnTo>
                      <a:lnTo>
                        <a:pt x="130" y="134"/>
                      </a:lnTo>
                      <a:lnTo>
                        <a:pt x="136" y="115"/>
                      </a:lnTo>
                      <a:lnTo>
                        <a:pt x="134" y="86"/>
                      </a:lnTo>
                      <a:lnTo>
                        <a:pt x="99" y="62"/>
                      </a:lnTo>
                      <a:lnTo>
                        <a:pt x="91" y="76"/>
                      </a:lnTo>
                      <a:lnTo>
                        <a:pt x="93" y="39"/>
                      </a:lnTo>
                      <a:lnTo>
                        <a:pt x="74" y="23"/>
                      </a:lnTo>
                      <a:lnTo>
                        <a:pt x="55" y="6"/>
                      </a:lnTo>
                      <a:lnTo>
                        <a:pt x="62" y="12"/>
                      </a:lnTo>
                      <a:lnTo>
                        <a:pt x="49" y="0"/>
                      </a:lnTo>
                      <a:lnTo>
                        <a:pt x="53" y="8"/>
                      </a:lnTo>
                      <a:lnTo>
                        <a:pt x="22" y="37"/>
                      </a:lnTo>
                      <a:lnTo>
                        <a:pt x="35" y="53"/>
                      </a:lnTo>
                      <a:lnTo>
                        <a:pt x="12" y="68"/>
                      </a:lnTo>
                      <a:lnTo>
                        <a:pt x="0" y="97"/>
                      </a:lnTo>
                      <a:lnTo>
                        <a:pt x="18" y="126"/>
                      </a:lnTo>
                      <a:lnTo>
                        <a:pt x="37" y="124"/>
                      </a:lnTo>
                      <a:lnTo>
                        <a:pt x="41" y="146"/>
                      </a:lnTo>
                      <a:lnTo>
                        <a:pt x="55" y="167"/>
                      </a:lnTo>
                      <a:lnTo>
                        <a:pt x="45" y="200"/>
                      </a:lnTo>
                      <a:lnTo>
                        <a:pt x="49" y="245"/>
                      </a:lnTo>
                      <a:lnTo>
                        <a:pt x="72" y="274"/>
                      </a:lnTo>
                      <a:lnTo>
                        <a:pt x="91" y="274"/>
                      </a:lnTo>
                      <a:lnTo>
                        <a:pt x="126" y="256"/>
                      </a:lnTo>
                      <a:lnTo>
                        <a:pt x="159" y="250"/>
                      </a:lnTo>
                      <a:lnTo>
                        <a:pt x="144" y="223"/>
                      </a:lnTo>
                      <a:lnTo>
                        <a:pt x="128" y="19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4" name="Freeform 164"/>
                <p:cNvSpPr>
                  <a:spLocks/>
                </p:cNvSpPr>
                <p:nvPr/>
              </p:nvSpPr>
              <p:spPr bwMode="auto">
                <a:xfrm>
                  <a:off x="2843702" y="3221518"/>
                  <a:ext cx="101218" cy="118976"/>
                </a:xfrm>
                <a:custGeom>
                  <a:avLst/>
                  <a:gdLst>
                    <a:gd name="T0" fmla="*/ 13036 w 132"/>
                    <a:gd name="T1" fmla="*/ 74456 h 155"/>
                    <a:gd name="T2" fmla="*/ 0 w 132"/>
                    <a:gd name="T3" fmla="*/ 58337 h 155"/>
                    <a:gd name="T4" fmla="*/ 3067 w 132"/>
                    <a:gd name="T5" fmla="*/ 33006 h 155"/>
                    <a:gd name="T6" fmla="*/ 14569 w 132"/>
                    <a:gd name="T7" fmla="*/ 26866 h 155"/>
                    <a:gd name="T8" fmla="*/ 19170 w 132"/>
                    <a:gd name="T9" fmla="*/ 12281 h 155"/>
                    <a:gd name="T10" fmla="*/ 23771 w 132"/>
                    <a:gd name="T11" fmla="*/ 1535 h 155"/>
                    <a:gd name="T12" fmla="*/ 53676 w 132"/>
                    <a:gd name="T13" fmla="*/ 3070 h 155"/>
                    <a:gd name="T14" fmla="*/ 77447 w 132"/>
                    <a:gd name="T15" fmla="*/ 1535 h 155"/>
                    <a:gd name="T16" fmla="*/ 75913 w 132"/>
                    <a:gd name="T17" fmla="*/ 0 h 155"/>
                    <a:gd name="T18" fmla="*/ 101218 w 132"/>
                    <a:gd name="T19" fmla="*/ 1535 h 155"/>
                    <a:gd name="T20" fmla="*/ 98151 w 132"/>
                    <a:gd name="T21" fmla="*/ 16119 h 155"/>
                    <a:gd name="T22" fmla="*/ 90483 w 132"/>
                    <a:gd name="T23" fmla="*/ 39915 h 155"/>
                    <a:gd name="T24" fmla="*/ 99684 w 132"/>
                    <a:gd name="T25" fmla="*/ 75991 h 155"/>
                    <a:gd name="T26" fmla="*/ 85882 w 132"/>
                    <a:gd name="T27" fmla="*/ 104392 h 155"/>
                    <a:gd name="T28" fmla="*/ 69779 w 132"/>
                    <a:gd name="T29" fmla="*/ 99786 h 155"/>
                    <a:gd name="T30" fmla="*/ 47542 w 132"/>
                    <a:gd name="T31" fmla="*/ 104392 h 155"/>
                    <a:gd name="T32" fmla="*/ 49075 w 132"/>
                    <a:gd name="T33" fmla="*/ 118976 h 155"/>
                    <a:gd name="T34" fmla="*/ 36807 w 132"/>
                    <a:gd name="T35" fmla="*/ 115906 h 155"/>
                    <a:gd name="T36" fmla="*/ 25305 w 132"/>
                    <a:gd name="T37" fmla="*/ 95181 h 155"/>
                    <a:gd name="T38" fmla="*/ 13036 w 132"/>
                    <a:gd name="T39" fmla="*/ 74456 h 15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2"/>
                    <a:gd name="T61" fmla="*/ 0 h 155"/>
                    <a:gd name="T62" fmla="*/ 132 w 132"/>
                    <a:gd name="T63" fmla="*/ 155 h 15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2" h="155">
                      <a:moveTo>
                        <a:pt x="17" y="97"/>
                      </a:moveTo>
                      <a:lnTo>
                        <a:pt x="0" y="76"/>
                      </a:lnTo>
                      <a:lnTo>
                        <a:pt x="4" y="43"/>
                      </a:lnTo>
                      <a:lnTo>
                        <a:pt x="19" y="35"/>
                      </a:lnTo>
                      <a:lnTo>
                        <a:pt x="25" y="16"/>
                      </a:lnTo>
                      <a:lnTo>
                        <a:pt x="31" y="2"/>
                      </a:lnTo>
                      <a:lnTo>
                        <a:pt x="70" y="4"/>
                      </a:lnTo>
                      <a:lnTo>
                        <a:pt x="101" y="2"/>
                      </a:lnTo>
                      <a:lnTo>
                        <a:pt x="99" y="0"/>
                      </a:lnTo>
                      <a:lnTo>
                        <a:pt x="132" y="2"/>
                      </a:lnTo>
                      <a:lnTo>
                        <a:pt x="128" y="21"/>
                      </a:lnTo>
                      <a:lnTo>
                        <a:pt x="118" y="52"/>
                      </a:lnTo>
                      <a:lnTo>
                        <a:pt x="130" y="99"/>
                      </a:lnTo>
                      <a:lnTo>
                        <a:pt x="112" y="136"/>
                      </a:lnTo>
                      <a:lnTo>
                        <a:pt x="91" y="130"/>
                      </a:lnTo>
                      <a:lnTo>
                        <a:pt x="62" y="136"/>
                      </a:lnTo>
                      <a:lnTo>
                        <a:pt x="64" y="155"/>
                      </a:lnTo>
                      <a:lnTo>
                        <a:pt x="48" y="151"/>
                      </a:lnTo>
                      <a:lnTo>
                        <a:pt x="33" y="124"/>
                      </a:lnTo>
                      <a:lnTo>
                        <a:pt x="17" y="9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5" name="Freeform 165"/>
                <p:cNvSpPr>
                  <a:spLocks/>
                </p:cNvSpPr>
                <p:nvPr/>
              </p:nvSpPr>
              <p:spPr bwMode="auto">
                <a:xfrm>
                  <a:off x="2742484" y="3086560"/>
                  <a:ext cx="28412" cy="17758"/>
                </a:xfrm>
                <a:custGeom>
                  <a:avLst/>
                  <a:gdLst>
                    <a:gd name="T0" fmla="*/ 8249 w 31"/>
                    <a:gd name="T1" fmla="*/ 0 h 25"/>
                    <a:gd name="T2" fmla="*/ 28412 w 31"/>
                    <a:gd name="T3" fmla="*/ 0 h 25"/>
                    <a:gd name="T4" fmla="*/ 19247 w 31"/>
                    <a:gd name="T5" fmla="*/ 17758 h 25"/>
                    <a:gd name="T6" fmla="*/ 0 w 31"/>
                    <a:gd name="T7" fmla="*/ 16337 h 25"/>
                    <a:gd name="T8" fmla="*/ 11915 w 31"/>
                    <a:gd name="T9" fmla="*/ 5683 h 25"/>
                    <a:gd name="T10" fmla="*/ 8249 w 31"/>
                    <a:gd name="T11" fmla="*/ 0 h 2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1"/>
                    <a:gd name="T19" fmla="*/ 0 h 25"/>
                    <a:gd name="T20" fmla="*/ 31 w 31"/>
                    <a:gd name="T21" fmla="*/ 25 h 2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1" h="25">
                      <a:moveTo>
                        <a:pt x="9" y="0"/>
                      </a:moveTo>
                      <a:lnTo>
                        <a:pt x="31" y="0"/>
                      </a:lnTo>
                      <a:lnTo>
                        <a:pt x="21" y="25"/>
                      </a:lnTo>
                      <a:lnTo>
                        <a:pt x="0" y="23"/>
                      </a:lnTo>
                      <a:lnTo>
                        <a:pt x="13" y="8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6" name="Freeform 166"/>
                <p:cNvSpPr>
                  <a:spLocks/>
                </p:cNvSpPr>
                <p:nvPr/>
              </p:nvSpPr>
              <p:spPr bwMode="auto">
                <a:xfrm>
                  <a:off x="2438831" y="3043942"/>
                  <a:ext cx="355150" cy="319636"/>
                </a:xfrm>
                <a:custGeom>
                  <a:avLst/>
                  <a:gdLst>
                    <a:gd name="T0" fmla="*/ 293863 w 452"/>
                    <a:gd name="T1" fmla="*/ 65547 h 434"/>
                    <a:gd name="T2" fmla="*/ 277363 w 452"/>
                    <a:gd name="T3" fmla="*/ 59656 h 434"/>
                    <a:gd name="T4" fmla="*/ 275791 w 452"/>
                    <a:gd name="T5" fmla="*/ 50818 h 434"/>
                    <a:gd name="T6" fmla="*/ 274220 w 452"/>
                    <a:gd name="T7" fmla="*/ 42716 h 434"/>
                    <a:gd name="T8" fmla="*/ 254577 w 452"/>
                    <a:gd name="T9" fmla="*/ 47135 h 434"/>
                    <a:gd name="T10" fmla="*/ 191718 w 452"/>
                    <a:gd name="T11" fmla="*/ 47135 h 434"/>
                    <a:gd name="T12" fmla="*/ 143003 w 452"/>
                    <a:gd name="T13" fmla="*/ 47135 h 434"/>
                    <a:gd name="T14" fmla="*/ 105288 w 452"/>
                    <a:gd name="T15" fmla="*/ 18412 h 434"/>
                    <a:gd name="T16" fmla="*/ 86430 w 452"/>
                    <a:gd name="T17" fmla="*/ 11047 h 434"/>
                    <a:gd name="T18" fmla="*/ 92716 w 452"/>
                    <a:gd name="T19" fmla="*/ 19885 h 434"/>
                    <a:gd name="T20" fmla="*/ 53430 w 452"/>
                    <a:gd name="T21" fmla="*/ 38297 h 434"/>
                    <a:gd name="T22" fmla="*/ 48715 w 452"/>
                    <a:gd name="T23" fmla="*/ 86906 h 434"/>
                    <a:gd name="T24" fmla="*/ 48715 w 452"/>
                    <a:gd name="T25" fmla="*/ 44189 h 434"/>
                    <a:gd name="T26" fmla="*/ 58144 w 452"/>
                    <a:gd name="T27" fmla="*/ 8101 h 434"/>
                    <a:gd name="T28" fmla="*/ 25929 w 452"/>
                    <a:gd name="T29" fmla="*/ 36824 h 434"/>
                    <a:gd name="T30" fmla="*/ 0 w 452"/>
                    <a:gd name="T31" fmla="*/ 83960 h 434"/>
                    <a:gd name="T32" fmla="*/ 24358 w 452"/>
                    <a:gd name="T33" fmla="*/ 115629 h 434"/>
                    <a:gd name="T34" fmla="*/ 42429 w 452"/>
                    <a:gd name="T35" fmla="*/ 143615 h 434"/>
                    <a:gd name="T36" fmla="*/ 82502 w 452"/>
                    <a:gd name="T37" fmla="*/ 145088 h 434"/>
                    <a:gd name="T38" fmla="*/ 129645 w 452"/>
                    <a:gd name="T39" fmla="*/ 167919 h 434"/>
                    <a:gd name="T40" fmla="*/ 146146 w 452"/>
                    <a:gd name="T41" fmla="*/ 190751 h 434"/>
                    <a:gd name="T42" fmla="*/ 152432 w 452"/>
                    <a:gd name="T43" fmla="*/ 249670 h 434"/>
                    <a:gd name="T44" fmla="*/ 158717 w 452"/>
                    <a:gd name="T45" fmla="*/ 283548 h 434"/>
                    <a:gd name="T46" fmla="*/ 185432 w 452"/>
                    <a:gd name="T47" fmla="*/ 319636 h 434"/>
                    <a:gd name="T48" fmla="*/ 202718 w 452"/>
                    <a:gd name="T49" fmla="*/ 319636 h 434"/>
                    <a:gd name="T50" fmla="*/ 253005 w 452"/>
                    <a:gd name="T51" fmla="*/ 281339 h 434"/>
                    <a:gd name="T52" fmla="*/ 240433 w 452"/>
                    <a:gd name="T53" fmla="*/ 268082 h 434"/>
                    <a:gd name="T54" fmla="*/ 223933 w 452"/>
                    <a:gd name="T55" fmla="*/ 222420 h 434"/>
                    <a:gd name="T56" fmla="*/ 274220 w 452"/>
                    <a:gd name="T57" fmla="*/ 237886 h 434"/>
                    <a:gd name="T58" fmla="*/ 301720 w 452"/>
                    <a:gd name="T59" fmla="*/ 219474 h 434"/>
                    <a:gd name="T60" fmla="*/ 330792 w 452"/>
                    <a:gd name="T61" fmla="*/ 195169 h 434"/>
                    <a:gd name="T62" fmla="*/ 313506 w 452"/>
                    <a:gd name="T63" fmla="*/ 173811 h 434"/>
                    <a:gd name="T64" fmla="*/ 341007 w 452"/>
                    <a:gd name="T65" fmla="*/ 141406 h 434"/>
                    <a:gd name="T66" fmla="*/ 355150 w 452"/>
                    <a:gd name="T67" fmla="*/ 108264 h 434"/>
                    <a:gd name="T68" fmla="*/ 324507 w 452"/>
                    <a:gd name="T69" fmla="*/ 100899 h 434"/>
                    <a:gd name="T70" fmla="*/ 313506 w 452"/>
                    <a:gd name="T71" fmla="*/ 99426 h 434"/>
                    <a:gd name="T72" fmla="*/ 330792 w 452"/>
                    <a:gd name="T73" fmla="*/ 81014 h 434"/>
                    <a:gd name="T74" fmla="*/ 304863 w 452"/>
                    <a:gd name="T75" fmla="*/ 68493 h 434"/>
                    <a:gd name="T76" fmla="*/ 295435 w 452"/>
                    <a:gd name="T77" fmla="*/ 69966 h 43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452"/>
                    <a:gd name="T118" fmla="*/ 0 h 434"/>
                    <a:gd name="T119" fmla="*/ 452 w 452"/>
                    <a:gd name="T120" fmla="*/ 434 h 43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452" h="434">
                      <a:moveTo>
                        <a:pt x="376" y="95"/>
                      </a:moveTo>
                      <a:lnTo>
                        <a:pt x="374" y="89"/>
                      </a:lnTo>
                      <a:lnTo>
                        <a:pt x="366" y="79"/>
                      </a:lnTo>
                      <a:lnTo>
                        <a:pt x="353" y="81"/>
                      </a:lnTo>
                      <a:lnTo>
                        <a:pt x="361" y="79"/>
                      </a:lnTo>
                      <a:lnTo>
                        <a:pt x="351" y="69"/>
                      </a:lnTo>
                      <a:lnTo>
                        <a:pt x="384" y="58"/>
                      </a:lnTo>
                      <a:lnTo>
                        <a:pt x="349" y="58"/>
                      </a:lnTo>
                      <a:lnTo>
                        <a:pt x="312" y="60"/>
                      </a:lnTo>
                      <a:lnTo>
                        <a:pt x="324" y="64"/>
                      </a:lnTo>
                      <a:lnTo>
                        <a:pt x="291" y="79"/>
                      </a:lnTo>
                      <a:lnTo>
                        <a:pt x="244" y="64"/>
                      </a:lnTo>
                      <a:lnTo>
                        <a:pt x="213" y="64"/>
                      </a:lnTo>
                      <a:lnTo>
                        <a:pt x="182" y="64"/>
                      </a:lnTo>
                      <a:lnTo>
                        <a:pt x="171" y="40"/>
                      </a:lnTo>
                      <a:lnTo>
                        <a:pt x="134" y="25"/>
                      </a:lnTo>
                      <a:lnTo>
                        <a:pt x="120" y="0"/>
                      </a:lnTo>
                      <a:lnTo>
                        <a:pt x="110" y="15"/>
                      </a:lnTo>
                      <a:lnTo>
                        <a:pt x="126" y="25"/>
                      </a:lnTo>
                      <a:lnTo>
                        <a:pt x="118" y="27"/>
                      </a:lnTo>
                      <a:lnTo>
                        <a:pt x="74" y="44"/>
                      </a:lnTo>
                      <a:lnTo>
                        <a:pt x="68" y="52"/>
                      </a:lnTo>
                      <a:lnTo>
                        <a:pt x="78" y="100"/>
                      </a:lnTo>
                      <a:lnTo>
                        <a:pt x="62" y="118"/>
                      </a:lnTo>
                      <a:lnTo>
                        <a:pt x="45" y="93"/>
                      </a:lnTo>
                      <a:lnTo>
                        <a:pt x="62" y="60"/>
                      </a:lnTo>
                      <a:lnTo>
                        <a:pt x="52" y="29"/>
                      </a:lnTo>
                      <a:lnTo>
                        <a:pt x="74" y="11"/>
                      </a:lnTo>
                      <a:lnTo>
                        <a:pt x="52" y="19"/>
                      </a:lnTo>
                      <a:lnTo>
                        <a:pt x="33" y="50"/>
                      </a:lnTo>
                      <a:lnTo>
                        <a:pt x="14" y="83"/>
                      </a:lnTo>
                      <a:lnTo>
                        <a:pt x="0" y="114"/>
                      </a:lnTo>
                      <a:lnTo>
                        <a:pt x="14" y="114"/>
                      </a:lnTo>
                      <a:lnTo>
                        <a:pt x="31" y="157"/>
                      </a:lnTo>
                      <a:lnTo>
                        <a:pt x="29" y="182"/>
                      </a:lnTo>
                      <a:lnTo>
                        <a:pt x="54" y="195"/>
                      </a:lnTo>
                      <a:lnTo>
                        <a:pt x="79" y="195"/>
                      </a:lnTo>
                      <a:lnTo>
                        <a:pt x="105" y="197"/>
                      </a:lnTo>
                      <a:lnTo>
                        <a:pt x="136" y="230"/>
                      </a:lnTo>
                      <a:lnTo>
                        <a:pt x="165" y="228"/>
                      </a:lnTo>
                      <a:lnTo>
                        <a:pt x="194" y="226"/>
                      </a:lnTo>
                      <a:lnTo>
                        <a:pt x="186" y="259"/>
                      </a:lnTo>
                      <a:lnTo>
                        <a:pt x="178" y="290"/>
                      </a:lnTo>
                      <a:lnTo>
                        <a:pt x="194" y="339"/>
                      </a:lnTo>
                      <a:lnTo>
                        <a:pt x="182" y="356"/>
                      </a:lnTo>
                      <a:lnTo>
                        <a:pt x="202" y="385"/>
                      </a:lnTo>
                      <a:lnTo>
                        <a:pt x="209" y="416"/>
                      </a:lnTo>
                      <a:lnTo>
                        <a:pt x="236" y="434"/>
                      </a:lnTo>
                      <a:lnTo>
                        <a:pt x="254" y="432"/>
                      </a:lnTo>
                      <a:lnTo>
                        <a:pt x="258" y="434"/>
                      </a:lnTo>
                      <a:lnTo>
                        <a:pt x="293" y="409"/>
                      </a:lnTo>
                      <a:lnTo>
                        <a:pt x="322" y="382"/>
                      </a:lnTo>
                      <a:lnTo>
                        <a:pt x="328" y="372"/>
                      </a:lnTo>
                      <a:lnTo>
                        <a:pt x="306" y="364"/>
                      </a:lnTo>
                      <a:lnTo>
                        <a:pt x="297" y="321"/>
                      </a:lnTo>
                      <a:lnTo>
                        <a:pt x="285" y="302"/>
                      </a:lnTo>
                      <a:lnTo>
                        <a:pt x="318" y="312"/>
                      </a:lnTo>
                      <a:lnTo>
                        <a:pt x="349" y="323"/>
                      </a:lnTo>
                      <a:lnTo>
                        <a:pt x="355" y="310"/>
                      </a:lnTo>
                      <a:lnTo>
                        <a:pt x="384" y="298"/>
                      </a:lnTo>
                      <a:lnTo>
                        <a:pt x="411" y="287"/>
                      </a:lnTo>
                      <a:lnTo>
                        <a:pt x="421" y="265"/>
                      </a:lnTo>
                      <a:lnTo>
                        <a:pt x="417" y="265"/>
                      </a:lnTo>
                      <a:lnTo>
                        <a:pt x="399" y="236"/>
                      </a:lnTo>
                      <a:lnTo>
                        <a:pt x="411" y="207"/>
                      </a:lnTo>
                      <a:lnTo>
                        <a:pt x="434" y="192"/>
                      </a:lnTo>
                      <a:lnTo>
                        <a:pt x="421" y="176"/>
                      </a:lnTo>
                      <a:lnTo>
                        <a:pt x="452" y="147"/>
                      </a:lnTo>
                      <a:lnTo>
                        <a:pt x="448" y="139"/>
                      </a:lnTo>
                      <a:lnTo>
                        <a:pt x="413" y="137"/>
                      </a:lnTo>
                      <a:lnTo>
                        <a:pt x="392" y="137"/>
                      </a:lnTo>
                      <a:lnTo>
                        <a:pt x="399" y="135"/>
                      </a:lnTo>
                      <a:lnTo>
                        <a:pt x="411" y="118"/>
                      </a:lnTo>
                      <a:lnTo>
                        <a:pt x="421" y="110"/>
                      </a:lnTo>
                      <a:lnTo>
                        <a:pt x="399" y="91"/>
                      </a:lnTo>
                      <a:lnTo>
                        <a:pt x="388" y="93"/>
                      </a:lnTo>
                      <a:lnTo>
                        <a:pt x="374" y="85"/>
                      </a:lnTo>
                      <a:lnTo>
                        <a:pt x="376" y="9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7" name="Freeform 167"/>
                <p:cNvSpPr>
                  <a:spLocks/>
                </p:cNvSpPr>
                <p:nvPr/>
              </p:nvSpPr>
              <p:spPr bwMode="auto">
                <a:xfrm>
                  <a:off x="2685660" y="3074130"/>
                  <a:ext cx="14206" cy="5327"/>
                </a:xfrm>
                <a:custGeom>
                  <a:avLst/>
                  <a:gdLst>
                    <a:gd name="T0" fmla="*/ 14206 w 16"/>
                    <a:gd name="T1" fmla="*/ 5327 h 4"/>
                    <a:gd name="T2" fmla="*/ 14206 w 16"/>
                    <a:gd name="T3" fmla="*/ 2664 h 4"/>
                    <a:gd name="T4" fmla="*/ 0 w 16"/>
                    <a:gd name="T5" fmla="*/ 0 h 4"/>
                    <a:gd name="T6" fmla="*/ 14206 w 16"/>
                    <a:gd name="T7" fmla="*/ 5327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4"/>
                    <a:gd name="T14" fmla="*/ 16 w 16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4">
                      <a:moveTo>
                        <a:pt x="16" y="4"/>
                      </a:move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16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8" name="Freeform 168"/>
                <p:cNvSpPr>
                  <a:spLocks/>
                </p:cNvSpPr>
                <p:nvPr/>
              </p:nvSpPr>
              <p:spPr bwMode="auto">
                <a:xfrm>
                  <a:off x="2179571" y="2731410"/>
                  <a:ext cx="273466" cy="88788"/>
                </a:xfrm>
                <a:custGeom>
                  <a:avLst/>
                  <a:gdLst>
                    <a:gd name="T0" fmla="*/ 191823 w 345"/>
                    <a:gd name="T1" fmla="*/ 34933 h 122"/>
                    <a:gd name="T2" fmla="*/ 191823 w 345"/>
                    <a:gd name="T3" fmla="*/ 37844 h 122"/>
                    <a:gd name="T4" fmla="*/ 165665 w 345"/>
                    <a:gd name="T5" fmla="*/ 25472 h 122"/>
                    <a:gd name="T6" fmla="*/ 139507 w 345"/>
                    <a:gd name="T7" fmla="*/ 12372 h 122"/>
                    <a:gd name="T8" fmla="*/ 119691 w 345"/>
                    <a:gd name="T9" fmla="*/ 5822 h 122"/>
                    <a:gd name="T10" fmla="*/ 99875 w 345"/>
                    <a:gd name="T11" fmla="*/ 1456 h 122"/>
                    <a:gd name="T12" fmla="*/ 90363 w 345"/>
                    <a:gd name="T13" fmla="*/ 0 h 122"/>
                    <a:gd name="T14" fmla="*/ 57864 w 345"/>
                    <a:gd name="T15" fmla="*/ 5822 h 122"/>
                    <a:gd name="T16" fmla="*/ 27743 w 345"/>
                    <a:gd name="T17" fmla="*/ 10917 h 122"/>
                    <a:gd name="T18" fmla="*/ 13475 w 345"/>
                    <a:gd name="T19" fmla="*/ 28383 h 122"/>
                    <a:gd name="T20" fmla="*/ 0 w 345"/>
                    <a:gd name="T21" fmla="*/ 36389 h 122"/>
                    <a:gd name="T22" fmla="*/ 8719 w 345"/>
                    <a:gd name="T23" fmla="*/ 33477 h 122"/>
                    <a:gd name="T24" fmla="*/ 30121 w 345"/>
                    <a:gd name="T25" fmla="*/ 25472 h 122"/>
                    <a:gd name="T26" fmla="*/ 52315 w 345"/>
                    <a:gd name="T27" fmla="*/ 15283 h 122"/>
                    <a:gd name="T28" fmla="*/ 85607 w 345"/>
                    <a:gd name="T29" fmla="*/ 15283 h 122"/>
                    <a:gd name="T30" fmla="*/ 73717 w 345"/>
                    <a:gd name="T31" fmla="*/ 19650 h 122"/>
                    <a:gd name="T32" fmla="*/ 96704 w 345"/>
                    <a:gd name="T33" fmla="*/ 25472 h 122"/>
                    <a:gd name="T34" fmla="*/ 110179 w 345"/>
                    <a:gd name="T35" fmla="*/ 29111 h 122"/>
                    <a:gd name="T36" fmla="*/ 118106 w 345"/>
                    <a:gd name="T37" fmla="*/ 33477 h 122"/>
                    <a:gd name="T38" fmla="*/ 154568 w 345"/>
                    <a:gd name="T39" fmla="*/ 42211 h 122"/>
                    <a:gd name="T40" fmla="*/ 162494 w 345"/>
                    <a:gd name="T41" fmla="*/ 57494 h 122"/>
                    <a:gd name="T42" fmla="*/ 193408 w 345"/>
                    <a:gd name="T43" fmla="*/ 72049 h 122"/>
                    <a:gd name="T44" fmla="*/ 179140 w 345"/>
                    <a:gd name="T45" fmla="*/ 88788 h 122"/>
                    <a:gd name="T46" fmla="*/ 203712 w 345"/>
                    <a:gd name="T47" fmla="*/ 88788 h 122"/>
                    <a:gd name="T48" fmla="*/ 229870 w 345"/>
                    <a:gd name="T49" fmla="*/ 87332 h 122"/>
                    <a:gd name="T50" fmla="*/ 252064 w 345"/>
                    <a:gd name="T51" fmla="*/ 84421 h 122"/>
                    <a:gd name="T52" fmla="*/ 273466 w 345"/>
                    <a:gd name="T53" fmla="*/ 81510 h 122"/>
                    <a:gd name="T54" fmla="*/ 252857 w 345"/>
                    <a:gd name="T55" fmla="*/ 73505 h 122"/>
                    <a:gd name="T56" fmla="*/ 234626 w 345"/>
                    <a:gd name="T57" fmla="*/ 63316 h 122"/>
                    <a:gd name="T58" fmla="*/ 233041 w 345"/>
                    <a:gd name="T59" fmla="*/ 54583 h 122"/>
                    <a:gd name="T60" fmla="*/ 214810 w 345"/>
                    <a:gd name="T61" fmla="*/ 49488 h 122"/>
                    <a:gd name="T62" fmla="*/ 194993 w 345"/>
                    <a:gd name="T63" fmla="*/ 42211 h 122"/>
                    <a:gd name="T64" fmla="*/ 191823 w 345"/>
                    <a:gd name="T65" fmla="*/ 34933 h 12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45"/>
                    <a:gd name="T100" fmla="*/ 0 h 122"/>
                    <a:gd name="T101" fmla="*/ 345 w 345"/>
                    <a:gd name="T102" fmla="*/ 122 h 12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45" h="122">
                      <a:moveTo>
                        <a:pt x="242" y="48"/>
                      </a:moveTo>
                      <a:lnTo>
                        <a:pt x="242" y="52"/>
                      </a:lnTo>
                      <a:lnTo>
                        <a:pt x="209" y="35"/>
                      </a:lnTo>
                      <a:lnTo>
                        <a:pt x="176" y="17"/>
                      </a:lnTo>
                      <a:lnTo>
                        <a:pt x="151" y="8"/>
                      </a:lnTo>
                      <a:lnTo>
                        <a:pt x="126" y="2"/>
                      </a:lnTo>
                      <a:lnTo>
                        <a:pt x="114" y="0"/>
                      </a:lnTo>
                      <a:lnTo>
                        <a:pt x="73" y="8"/>
                      </a:lnTo>
                      <a:lnTo>
                        <a:pt x="35" y="15"/>
                      </a:lnTo>
                      <a:lnTo>
                        <a:pt x="17" y="39"/>
                      </a:lnTo>
                      <a:lnTo>
                        <a:pt x="0" y="50"/>
                      </a:lnTo>
                      <a:lnTo>
                        <a:pt x="11" y="46"/>
                      </a:lnTo>
                      <a:lnTo>
                        <a:pt x="38" y="35"/>
                      </a:lnTo>
                      <a:lnTo>
                        <a:pt x="66" y="21"/>
                      </a:lnTo>
                      <a:lnTo>
                        <a:pt x="108" y="21"/>
                      </a:lnTo>
                      <a:lnTo>
                        <a:pt x="93" y="27"/>
                      </a:lnTo>
                      <a:lnTo>
                        <a:pt x="122" y="35"/>
                      </a:lnTo>
                      <a:lnTo>
                        <a:pt x="139" y="40"/>
                      </a:lnTo>
                      <a:lnTo>
                        <a:pt x="149" y="46"/>
                      </a:lnTo>
                      <a:lnTo>
                        <a:pt x="195" y="58"/>
                      </a:lnTo>
                      <a:lnTo>
                        <a:pt x="205" y="79"/>
                      </a:lnTo>
                      <a:lnTo>
                        <a:pt x="244" y="99"/>
                      </a:lnTo>
                      <a:lnTo>
                        <a:pt x="226" y="122"/>
                      </a:lnTo>
                      <a:lnTo>
                        <a:pt x="257" y="122"/>
                      </a:lnTo>
                      <a:lnTo>
                        <a:pt x="290" y="120"/>
                      </a:lnTo>
                      <a:lnTo>
                        <a:pt x="318" y="116"/>
                      </a:lnTo>
                      <a:lnTo>
                        <a:pt x="345" y="112"/>
                      </a:lnTo>
                      <a:lnTo>
                        <a:pt x="319" y="101"/>
                      </a:lnTo>
                      <a:lnTo>
                        <a:pt x="296" y="87"/>
                      </a:lnTo>
                      <a:lnTo>
                        <a:pt x="294" y="75"/>
                      </a:lnTo>
                      <a:lnTo>
                        <a:pt x="271" y="68"/>
                      </a:lnTo>
                      <a:lnTo>
                        <a:pt x="246" y="58"/>
                      </a:lnTo>
                      <a:lnTo>
                        <a:pt x="242" y="4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79" name="Freeform 169"/>
                <p:cNvSpPr>
                  <a:spLocks/>
                </p:cNvSpPr>
                <p:nvPr/>
              </p:nvSpPr>
              <p:spPr bwMode="auto">
                <a:xfrm>
                  <a:off x="2222189" y="2766925"/>
                  <a:ext cx="15982" cy="10655"/>
                </a:xfrm>
                <a:custGeom>
                  <a:avLst/>
                  <a:gdLst>
                    <a:gd name="T0" fmla="*/ 0 w 17"/>
                    <a:gd name="T1" fmla="*/ 10655 h 16"/>
                    <a:gd name="T2" fmla="*/ 15982 w 17"/>
                    <a:gd name="T3" fmla="*/ 10655 h 16"/>
                    <a:gd name="T4" fmla="*/ 5641 w 17"/>
                    <a:gd name="T5" fmla="*/ 0 h 16"/>
                    <a:gd name="T6" fmla="*/ 0 w 17"/>
                    <a:gd name="T7" fmla="*/ 10655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6"/>
                    <a:gd name="T14" fmla="*/ 17 w 17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6">
                      <a:moveTo>
                        <a:pt x="0" y="16"/>
                      </a:moveTo>
                      <a:lnTo>
                        <a:pt x="17" y="16"/>
                      </a:lnTo>
                      <a:lnTo>
                        <a:pt x="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0" name="Freeform 170"/>
                <p:cNvSpPr>
                  <a:spLocks/>
                </p:cNvSpPr>
                <p:nvPr/>
              </p:nvSpPr>
              <p:spPr bwMode="auto">
                <a:xfrm>
                  <a:off x="2259480" y="2837955"/>
                  <a:ext cx="7103" cy="5327"/>
                </a:xfrm>
                <a:custGeom>
                  <a:avLst/>
                  <a:gdLst>
                    <a:gd name="T0" fmla="*/ 7103 w 10"/>
                    <a:gd name="T1" fmla="*/ 3551 h 6"/>
                    <a:gd name="T2" fmla="*/ 7103 w 10"/>
                    <a:gd name="T3" fmla="*/ 1776 h 6"/>
                    <a:gd name="T4" fmla="*/ 5682 w 10"/>
                    <a:gd name="T5" fmla="*/ 1776 h 6"/>
                    <a:gd name="T6" fmla="*/ 4262 w 10"/>
                    <a:gd name="T7" fmla="*/ 1776 h 6"/>
                    <a:gd name="T8" fmla="*/ 2841 w 10"/>
                    <a:gd name="T9" fmla="*/ 1776 h 6"/>
                    <a:gd name="T10" fmla="*/ 2841 w 10"/>
                    <a:gd name="T11" fmla="*/ 3551 h 6"/>
                    <a:gd name="T12" fmla="*/ 1421 w 10"/>
                    <a:gd name="T13" fmla="*/ 3551 h 6"/>
                    <a:gd name="T14" fmla="*/ 0 w 10"/>
                    <a:gd name="T15" fmla="*/ 3551 h 6"/>
                    <a:gd name="T16" fmla="*/ 0 w 10"/>
                    <a:gd name="T17" fmla="*/ 1776 h 6"/>
                    <a:gd name="T18" fmla="*/ 0 w 10"/>
                    <a:gd name="T19" fmla="*/ 0 h 6"/>
                    <a:gd name="T20" fmla="*/ 1421 w 10"/>
                    <a:gd name="T21" fmla="*/ 0 h 6"/>
                    <a:gd name="T22" fmla="*/ 0 w 10"/>
                    <a:gd name="T23" fmla="*/ 0 h 6"/>
                    <a:gd name="T24" fmla="*/ 0 w 10"/>
                    <a:gd name="T25" fmla="*/ 1776 h 6"/>
                    <a:gd name="T26" fmla="*/ 0 w 10"/>
                    <a:gd name="T27" fmla="*/ 3551 h 6"/>
                    <a:gd name="T28" fmla="*/ 0 w 10"/>
                    <a:gd name="T29" fmla="*/ 5327 h 6"/>
                    <a:gd name="T30" fmla="*/ 1421 w 10"/>
                    <a:gd name="T31" fmla="*/ 5327 h 6"/>
                    <a:gd name="T32" fmla="*/ 2841 w 10"/>
                    <a:gd name="T33" fmla="*/ 5327 h 6"/>
                    <a:gd name="T34" fmla="*/ 4262 w 10"/>
                    <a:gd name="T35" fmla="*/ 3551 h 6"/>
                    <a:gd name="T36" fmla="*/ 5682 w 10"/>
                    <a:gd name="T37" fmla="*/ 3551 h 6"/>
                    <a:gd name="T38" fmla="*/ 7103 w 10"/>
                    <a:gd name="T39" fmla="*/ 3551 h 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0"/>
                    <a:gd name="T61" fmla="*/ 0 h 6"/>
                    <a:gd name="T62" fmla="*/ 10 w 10"/>
                    <a:gd name="T63" fmla="*/ 6 h 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0" h="6">
                      <a:moveTo>
                        <a:pt x="10" y="4"/>
                      </a:moveTo>
                      <a:lnTo>
                        <a:pt x="10" y="2"/>
                      </a:lnTo>
                      <a:lnTo>
                        <a:pt x="8" y="2"/>
                      </a:lnTo>
                      <a:lnTo>
                        <a:pt x="6" y="2"/>
                      </a:lnTo>
                      <a:lnTo>
                        <a:pt x="4" y="2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6" y="4"/>
                      </a:lnTo>
                      <a:lnTo>
                        <a:pt x="8" y="4"/>
                      </a:lnTo>
                      <a:lnTo>
                        <a:pt x="10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1" name="Freeform 171"/>
                <p:cNvSpPr>
                  <a:spLocks/>
                </p:cNvSpPr>
                <p:nvPr/>
              </p:nvSpPr>
              <p:spPr bwMode="auto">
                <a:xfrm>
                  <a:off x="2302098" y="2825525"/>
                  <a:ext cx="0" cy="5327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0 w 4"/>
                    <a:gd name="T5" fmla="*/ 2664 h 4"/>
                    <a:gd name="T6" fmla="*/ 0 w 4"/>
                    <a:gd name="T7" fmla="*/ 2664 h 4"/>
                    <a:gd name="T8" fmla="*/ 0 w 4"/>
                    <a:gd name="T9" fmla="*/ 5327 h 4"/>
                    <a:gd name="T10" fmla="*/ 0 w 4"/>
                    <a:gd name="T11" fmla="*/ 2664 h 4"/>
                    <a:gd name="T12" fmla="*/ 0 w 4"/>
                    <a:gd name="T13" fmla="*/ 2664 h 4"/>
                    <a:gd name="T14" fmla="*/ 0 w 4"/>
                    <a:gd name="T15" fmla="*/ 2664 h 4"/>
                    <a:gd name="T16" fmla="*/ 0 w 4"/>
                    <a:gd name="T17" fmla="*/ 0 h 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"/>
                    <a:gd name="T28" fmla="*/ 0 h 4"/>
                    <a:gd name="T29" fmla="*/ 0 w 4"/>
                    <a:gd name="T30" fmla="*/ 4 h 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2" name="Freeform 172"/>
                <p:cNvSpPr>
                  <a:spLocks/>
                </p:cNvSpPr>
                <p:nvPr/>
              </p:nvSpPr>
              <p:spPr bwMode="auto">
                <a:xfrm>
                  <a:off x="2294995" y="2830852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w 4"/>
                    <a:gd name="T11" fmla="*/ 0 h 2"/>
                    <a:gd name="T12" fmla="*/ 0 w 4"/>
                    <a:gd name="T13" fmla="*/ 0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"/>
                    <a:gd name="T22" fmla="*/ 0 h 2"/>
                    <a:gd name="T23" fmla="*/ 4 w 4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3" name="Freeform 173"/>
                <p:cNvSpPr>
                  <a:spLocks/>
                </p:cNvSpPr>
                <p:nvPr/>
              </p:nvSpPr>
              <p:spPr bwMode="auto">
                <a:xfrm>
                  <a:off x="2685660" y="2866367"/>
                  <a:ext cx="7103" cy="0"/>
                </a:xfrm>
                <a:custGeom>
                  <a:avLst/>
                  <a:gdLst>
                    <a:gd name="T0" fmla="*/ 7103 w 6"/>
                    <a:gd name="T1" fmla="*/ 0 h 2"/>
                    <a:gd name="T2" fmla="*/ 4735 w 6"/>
                    <a:gd name="T3" fmla="*/ 0 h 2"/>
                    <a:gd name="T4" fmla="*/ 2368 w 6"/>
                    <a:gd name="T5" fmla="*/ 0 h 2"/>
                    <a:gd name="T6" fmla="*/ 2368 w 6"/>
                    <a:gd name="T7" fmla="*/ 0 h 2"/>
                    <a:gd name="T8" fmla="*/ 0 w 6"/>
                    <a:gd name="T9" fmla="*/ 0 h 2"/>
                    <a:gd name="T10" fmla="*/ 2368 w 6"/>
                    <a:gd name="T11" fmla="*/ 0 h 2"/>
                    <a:gd name="T12" fmla="*/ 4735 w 6"/>
                    <a:gd name="T13" fmla="*/ 0 h 2"/>
                    <a:gd name="T14" fmla="*/ 4735 w 6"/>
                    <a:gd name="T15" fmla="*/ 0 h 2"/>
                    <a:gd name="T16" fmla="*/ 4735 w 6"/>
                    <a:gd name="T17" fmla="*/ 0 h 2"/>
                    <a:gd name="T18" fmla="*/ 4735 w 6"/>
                    <a:gd name="T19" fmla="*/ 0 h 2"/>
                    <a:gd name="T20" fmla="*/ 7103 w 6"/>
                    <a:gd name="T21" fmla="*/ 0 h 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"/>
                    <a:gd name="T34" fmla="*/ 0 h 2"/>
                    <a:gd name="T35" fmla="*/ 6 w 6"/>
                    <a:gd name="T36" fmla="*/ 0 h 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" h="2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4" name="Freeform 174"/>
                <p:cNvSpPr>
                  <a:spLocks/>
                </p:cNvSpPr>
                <p:nvPr/>
              </p:nvSpPr>
              <p:spPr bwMode="auto">
                <a:xfrm>
                  <a:off x="2699866" y="2855712"/>
                  <a:ext cx="0" cy="5327"/>
                </a:xfrm>
                <a:custGeom>
                  <a:avLst/>
                  <a:gdLst>
                    <a:gd name="T0" fmla="*/ 0 w 4"/>
                    <a:gd name="T1" fmla="*/ 5327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w 4"/>
                    <a:gd name="T11" fmla="*/ 5327 h 2"/>
                    <a:gd name="T12" fmla="*/ 0 w 4"/>
                    <a:gd name="T13" fmla="*/ 532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"/>
                    <a:gd name="T22" fmla="*/ 0 h 2"/>
                    <a:gd name="T23" fmla="*/ 0 w 4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" h="2">
                      <a:moveTo>
                        <a:pt x="4" y="2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5" name="Freeform 175"/>
                <p:cNvSpPr>
                  <a:spLocks/>
                </p:cNvSpPr>
                <p:nvPr/>
              </p:nvSpPr>
              <p:spPr bwMode="auto">
                <a:xfrm>
                  <a:off x="2699866" y="2866367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w 4"/>
                    <a:gd name="T11" fmla="*/ 0 h 2"/>
                    <a:gd name="T12" fmla="*/ 0 w 4"/>
                    <a:gd name="T13" fmla="*/ 0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"/>
                    <a:gd name="T22" fmla="*/ 0 h 2"/>
                    <a:gd name="T23" fmla="*/ 4 w 4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6" name="Freeform 176"/>
                <p:cNvSpPr>
                  <a:spLocks/>
                </p:cNvSpPr>
                <p:nvPr/>
              </p:nvSpPr>
              <p:spPr bwMode="auto">
                <a:xfrm>
                  <a:off x="2685660" y="2866367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7" name="Freeform 177"/>
                <p:cNvSpPr>
                  <a:spLocks/>
                </p:cNvSpPr>
                <p:nvPr/>
              </p:nvSpPr>
              <p:spPr bwMode="auto">
                <a:xfrm>
                  <a:off x="2692763" y="2866367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88" name="Rectangle 178"/>
                <p:cNvSpPr>
                  <a:spLocks noChangeArrowheads="1"/>
                </p:cNvSpPr>
                <p:nvPr/>
              </p:nvSpPr>
              <p:spPr bwMode="auto">
                <a:xfrm>
                  <a:off x="2685660" y="2866367"/>
                  <a:ext cx="7103" cy="0"/>
                </a:xfrm>
                <a:prstGeom prst="rect">
                  <a:avLst/>
                </a:prstGeom>
                <a:grpFill/>
                <a:ln w="6350">
                  <a:solidFill>
                    <a:schemeClr val="accent6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algn="ctr" eaLnBrk="0" hangingPunct="0"/>
                  <a:endParaRPr lang="es-ES" sz="1079">
                    <a:latin typeface="Arial" charset="0"/>
                  </a:endParaRPr>
                </a:p>
              </p:txBody>
            </p:sp>
            <p:sp>
              <p:nvSpPr>
                <p:cNvPr id="189" name="Freeform 179"/>
                <p:cNvSpPr>
                  <a:spLocks/>
                </p:cNvSpPr>
                <p:nvPr/>
              </p:nvSpPr>
              <p:spPr bwMode="auto">
                <a:xfrm>
                  <a:off x="2504534" y="2825525"/>
                  <a:ext cx="87012" cy="65703"/>
                </a:xfrm>
                <a:custGeom>
                  <a:avLst/>
                  <a:gdLst>
                    <a:gd name="T0" fmla="*/ 6637 w 118"/>
                    <a:gd name="T1" fmla="*/ 4531 h 87"/>
                    <a:gd name="T2" fmla="*/ 3687 w 118"/>
                    <a:gd name="T3" fmla="*/ 24922 h 87"/>
                    <a:gd name="T4" fmla="*/ 0 w 118"/>
                    <a:gd name="T5" fmla="*/ 34740 h 87"/>
                    <a:gd name="T6" fmla="*/ 2212 w 118"/>
                    <a:gd name="T7" fmla="*/ 52864 h 87"/>
                    <a:gd name="T8" fmla="*/ 9586 w 118"/>
                    <a:gd name="T9" fmla="*/ 65703 h 87"/>
                    <a:gd name="T10" fmla="*/ 19910 w 118"/>
                    <a:gd name="T11" fmla="*/ 49844 h 87"/>
                    <a:gd name="T12" fmla="*/ 32445 w 118"/>
                    <a:gd name="T13" fmla="*/ 42292 h 87"/>
                    <a:gd name="T14" fmla="*/ 44243 w 118"/>
                    <a:gd name="T15" fmla="*/ 43802 h 87"/>
                    <a:gd name="T16" fmla="*/ 75214 w 118"/>
                    <a:gd name="T17" fmla="*/ 45312 h 87"/>
                    <a:gd name="T18" fmla="*/ 87012 w 118"/>
                    <a:gd name="T19" fmla="*/ 34740 h 87"/>
                    <a:gd name="T20" fmla="*/ 59729 w 118"/>
                    <a:gd name="T21" fmla="*/ 21901 h 87"/>
                    <a:gd name="T22" fmla="*/ 65628 w 118"/>
                    <a:gd name="T23" fmla="*/ 15859 h 87"/>
                    <a:gd name="T24" fmla="*/ 52355 w 118"/>
                    <a:gd name="T25" fmla="*/ 9818 h 87"/>
                    <a:gd name="T26" fmla="*/ 18435 w 118"/>
                    <a:gd name="T27" fmla="*/ 0 h 87"/>
                    <a:gd name="T28" fmla="*/ 6637 w 118"/>
                    <a:gd name="T29" fmla="*/ 4531 h 8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18"/>
                    <a:gd name="T46" fmla="*/ 0 h 87"/>
                    <a:gd name="T47" fmla="*/ 118 w 118"/>
                    <a:gd name="T48" fmla="*/ 87 h 8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18" h="87">
                      <a:moveTo>
                        <a:pt x="9" y="6"/>
                      </a:moveTo>
                      <a:lnTo>
                        <a:pt x="5" y="33"/>
                      </a:lnTo>
                      <a:lnTo>
                        <a:pt x="0" y="46"/>
                      </a:lnTo>
                      <a:lnTo>
                        <a:pt x="3" y="70"/>
                      </a:lnTo>
                      <a:lnTo>
                        <a:pt x="13" y="87"/>
                      </a:lnTo>
                      <a:lnTo>
                        <a:pt x="27" y="66"/>
                      </a:lnTo>
                      <a:lnTo>
                        <a:pt x="44" y="56"/>
                      </a:lnTo>
                      <a:lnTo>
                        <a:pt x="60" y="58"/>
                      </a:lnTo>
                      <a:lnTo>
                        <a:pt x="102" y="60"/>
                      </a:lnTo>
                      <a:lnTo>
                        <a:pt x="118" y="46"/>
                      </a:lnTo>
                      <a:lnTo>
                        <a:pt x="81" y="29"/>
                      </a:lnTo>
                      <a:lnTo>
                        <a:pt x="89" y="21"/>
                      </a:lnTo>
                      <a:lnTo>
                        <a:pt x="71" y="13"/>
                      </a:lnTo>
                      <a:lnTo>
                        <a:pt x="25" y="0"/>
                      </a:lnTo>
                      <a:lnTo>
                        <a:pt x="9" y="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0" name="Freeform 180"/>
                <p:cNvSpPr>
                  <a:spLocks/>
                </p:cNvSpPr>
                <p:nvPr/>
              </p:nvSpPr>
              <p:spPr bwMode="auto">
                <a:xfrm>
                  <a:off x="2438831" y="2825525"/>
                  <a:ext cx="72806" cy="53273"/>
                </a:xfrm>
                <a:custGeom>
                  <a:avLst/>
                  <a:gdLst>
                    <a:gd name="T0" fmla="*/ 72806 w 95"/>
                    <a:gd name="T1" fmla="*/ 3134 h 68"/>
                    <a:gd name="T2" fmla="*/ 69740 w 95"/>
                    <a:gd name="T3" fmla="*/ 24286 h 68"/>
                    <a:gd name="T4" fmla="*/ 65909 w 95"/>
                    <a:gd name="T5" fmla="*/ 34471 h 68"/>
                    <a:gd name="T6" fmla="*/ 68208 w 95"/>
                    <a:gd name="T7" fmla="*/ 53273 h 68"/>
                    <a:gd name="T8" fmla="*/ 42151 w 95"/>
                    <a:gd name="T9" fmla="*/ 51706 h 68"/>
                    <a:gd name="T10" fmla="*/ 16860 w 95"/>
                    <a:gd name="T11" fmla="*/ 50139 h 68"/>
                    <a:gd name="T12" fmla="*/ 0 w 95"/>
                    <a:gd name="T13" fmla="*/ 40738 h 68"/>
                    <a:gd name="T14" fmla="*/ 13795 w 95"/>
                    <a:gd name="T15" fmla="*/ 36038 h 68"/>
                    <a:gd name="T16" fmla="*/ 34487 w 95"/>
                    <a:gd name="T17" fmla="*/ 37604 h 68"/>
                    <a:gd name="T18" fmla="*/ 55179 w 95"/>
                    <a:gd name="T19" fmla="*/ 37604 h 68"/>
                    <a:gd name="T20" fmla="*/ 45983 w 95"/>
                    <a:gd name="T21" fmla="*/ 14885 h 68"/>
                    <a:gd name="T22" fmla="*/ 36020 w 95"/>
                    <a:gd name="T23" fmla="*/ 6267 h 68"/>
                    <a:gd name="T24" fmla="*/ 32954 w 95"/>
                    <a:gd name="T25" fmla="*/ 0 h 68"/>
                    <a:gd name="T26" fmla="*/ 58245 w 95"/>
                    <a:gd name="T27" fmla="*/ 1567 h 68"/>
                    <a:gd name="T28" fmla="*/ 72806 w 95"/>
                    <a:gd name="T29" fmla="*/ 3134 h 6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5"/>
                    <a:gd name="T46" fmla="*/ 0 h 68"/>
                    <a:gd name="T47" fmla="*/ 95 w 95"/>
                    <a:gd name="T48" fmla="*/ 68 h 6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5" h="68">
                      <a:moveTo>
                        <a:pt x="95" y="4"/>
                      </a:moveTo>
                      <a:lnTo>
                        <a:pt x="91" y="31"/>
                      </a:lnTo>
                      <a:lnTo>
                        <a:pt x="86" y="44"/>
                      </a:lnTo>
                      <a:lnTo>
                        <a:pt x="89" y="68"/>
                      </a:lnTo>
                      <a:lnTo>
                        <a:pt x="55" y="66"/>
                      </a:lnTo>
                      <a:lnTo>
                        <a:pt x="22" y="64"/>
                      </a:lnTo>
                      <a:lnTo>
                        <a:pt x="0" y="52"/>
                      </a:lnTo>
                      <a:lnTo>
                        <a:pt x="18" y="46"/>
                      </a:lnTo>
                      <a:lnTo>
                        <a:pt x="45" y="48"/>
                      </a:lnTo>
                      <a:lnTo>
                        <a:pt x="72" y="48"/>
                      </a:lnTo>
                      <a:lnTo>
                        <a:pt x="60" y="19"/>
                      </a:lnTo>
                      <a:lnTo>
                        <a:pt x="47" y="8"/>
                      </a:lnTo>
                      <a:lnTo>
                        <a:pt x="43" y="0"/>
                      </a:lnTo>
                      <a:lnTo>
                        <a:pt x="76" y="2"/>
                      </a:lnTo>
                      <a:lnTo>
                        <a:pt x="95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1" name="Freeform 181"/>
                <p:cNvSpPr>
                  <a:spLocks/>
                </p:cNvSpPr>
                <p:nvPr/>
              </p:nvSpPr>
              <p:spPr bwMode="auto">
                <a:xfrm>
                  <a:off x="2504534" y="2772252"/>
                  <a:ext cx="7103" cy="0"/>
                </a:xfrm>
                <a:custGeom>
                  <a:avLst/>
                  <a:gdLst>
                    <a:gd name="T0" fmla="*/ 3044 w 7"/>
                    <a:gd name="T1" fmla="*/ 0 h 4"/>
                    <a:gd name="T2" fmla="*/ 2029 w 7"/>
                    <a:gd name="T3" fmla="*/ 0 h 4"/>
                    <a:gd name="T4" fmla="*/ 0 w 7"/>
                    <a:gd name="T5" fmla="*/ 0 h 4"/>
                    <a:gd name="T6" fmla="*/ 7103 w 7"/>
                    <a:gd name="T7" fmla="*/ 0 h 4"/>
                    <a:gd name="T8" fmla="*/ 3044 w 7"/>
                    <a:gd name="T9" fmla="*/ 0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4"/>
                    <a:gd name="T17" fmla="*/ 7 w 7"/>
                    <a:gd name="T18" fmla="*/ 0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7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2" name="Freeform 182"/>
                <p:cNvSpPr>
                  <a:spLocks/>
                </p:cNvSpPr>
                <p:nvPr/>
              </p:nvSpPr>
              <p:spPr bwMode="auto">
                <a:xfrm>
                  <a:off x="2518740" y="2772252"/>
                  <a:ext cx="0" cy="0"/>
                </a:xfrm>
                <a:custGeom>
                  <a:avLst/>
                  <a:gdLst>
                    <a:gd name="T0" fmla="*/ 0 w 6"/>
                    <a:gd name="T1" fmla="*/ 0 h 2"/>
                    <a:gd name="T2" fmla="*/ 0 w 6"/>
                    <a:gd name="T3" fmla="*/ 0 h 2"/>
                    <a:gd name="T4" fmla="*/ 0 w 6"/>
                    <a:gd name="T5" fmla="*/ 0 h 2"/>
                    <a:gd name="T6" fmla="*/ 0 w 6"/>
                    <a:gd name="T7" fmla="*/ 0 h 2"/>
                    <a:gd name="T8" fmla="*/ 0 w 6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2"/>
                    <a:gd name="T17" fmla="*/ 6 w 6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2">
                      <a:moveTo>
                        <a:pt x="6" y="2"/>
                      </a:move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3" name="Freeform 183"/>
                <p:cNvSpPr>
                  <a:spLocks/>
                </p:cNvSpPr>
                <p:nvPr/>
              </p:nvSpPr>
              <p:spPr bwMode="auto">
                <a:xfrm>
                  <a:off x="2770896" y="2990670"/>
                  <a:ext cx="7103" cy="12430"/>
                </a:xfrm>
                <a:custGeom>
                  <a:avLst/>
                  <a:gdLst>
                    <a:gd name="T0" fmla="*/ 3044 w 7"/>
                    <a:gd name="T1" fmla="*/ 12430 h 13"/>
                    <a:gd name="T2" fmla="*/ 0 w 7"/>
                    <a:gd name="T3" fmla="*/ 7649 h 13"/>
                    <a:gd name="T4" fmla="*/ 7103 w 7"/>
                    <a:gd name="T5" fmla="*/ 0 h 13"/>
                    <a:gd name="T6" fmla="*/ 3044 w 7"/>
                    <a:gd name="T7" fmla="*/ 12430 h 1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3"/>
                    <a:gd name="T14" fmla="*/ 7 w 7"/>
                    <a:gd name="T15" fmla="*/ 13 h 1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3">
                      <a:moveTo>
                        <a:pt x="3" y="13"/>
                      </a:moveTo>
                      <a:lnTo>
                        <a:pt x="0" y="8"/>
                      </a:lnTo>
                      <a:lnTo>
                        <a:pt x="7" y="0"/>
                      </a:lnTo>
                      <a:lnTo>
                        <a:pt x="3" y="13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4" name="Freeform 184"/>
                <p:cNvSpPr>
                  <a:spLocks/>
                </p:cNvSpPr>
                <p:nvPr/>
              </p:nvSpPr>
              <p:spPr bwMode="auto">
                <a:xfrm>
                  <a:off x="2113868" y="3074130"/>
                  <a:ext cx="87012" cy="88788"/>
                </a:xfrm>
                <a:custGeom>
                  <a:avLst/>
                  <a:gdLst>
                    <a:gd name="T0" fmla="*/ 18360 w 109"/>
                    <a:gd name="T1" fmla="*/ 44780 h 115"/>
                    <a:gd name="T2" fmla="*/ 0 w 109"/>
                    <a:gd name="T3" fmla="*/ 20846 h 115"/>
                    <a:gd name="T4" fmla="*/ 4790 w 109"/>
                    <a:gd name="T5" fmla="*/ 7721 h 115"/>
                    <a:gd name="T6" fmla="*/ 4790 w 109"/>
                    <a:gd name="T7" fmla="*/ 3088 h 115"/>
                    <a:gd name="T8" fmla="*/ 7983 w 109"/>
                    <a:gd name="T9" fmla="*/ 0 h 115"/>
                    <a:gd name="T10" fmla="*/ 44703 w 109"/>
                    <a:gd name="T11" fmla="*/ 7721 h 115"/>
                    <a:gd name="T12" fmla="*/ 60669 w 109"/>
                    <a:gd name="T13" fmla="*/ 4632 h 115"/>
                    <a:gd name="T14" fmla="*/ 74240 w 109"/>
                    <a:gd name="T15" fmla="*/ 23934 h 115"/>
                    <a:gd name="T16" fmla="*/ 87012 w 109"/>
                    <a:gd name="T17" fmla="*/ 43236 h 115"/>
                    <a:gd name="T18" fmla="*/ 77433 w 109"/>
                    <a:gd name="T19" fmla="*/ 46324 h 115"/>
                    <a:gd name="T20" fmla="*/ 77433 w 109"/>
                    <a:gd name="T21" fmla="*/ 66398 h 115"/>
                    <a:gd name="T22" fmla="*/ 75836 w 109"/>
                    <a:gd name="T23" fmla="*/ 88788 h 115"/>
                    <a:gd name="T24" fmla="*/ 63862 w 109"/>
                    <a:gd name="T25" fmla="*/ 68714 h 115"/>
                    <a:gd name="T26" fmla="*/ 63862 w 109"/>
                    <a:gd name="T27" fmla="*/ 77979 h 115"/>
                    <a:gd name="T28" fmla="*/ 57476 w 109"/>
                    <a:gd name="T29" fmla="*/ 68714 h 115"/>
                    <a:gd name="T30" fmla="*/ 51090 w 109"/>
                    <a:gd name="T31" fmla="*/ 50957 h 115"/>
                    <a:gd name="T32" fmla="*/ 32729 w 109"/>
                    <a:gd name="T33" fmla="*/ 37831 h 115"/>
                    <a:gd name="T34" fmla="*/ 17562 w 109"/>
                    <a:gd name="T35" fmla="*/ 23934 h 115"/>
                    <a:gd name="T36" fmla="*/ 23150 w 109"/>
                    <a:gd name="T37" fmla="*/ 39376 h 115"/>
                    <a:gd name="T38" fmla="*/ 18360 w 109"/>
                    <a:gd name="T39" fmla="*/ 44780 h 11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09"/>
                    <a:gd name="T61" fmla="*/ 0 h 115"/>
                    <a:gd name="T62" fmla="*/ 109 w 109"/>
                    <a:gd name="T63" fmla="*/ 115 h 11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09" h="115">
                      <a:moveTo>
                        <a:pt x="23" y="58"/>
                      </a:moveTo>
                      <a:lnTo>
                        <a:pt x="0" y="27"/>
                      </a:lnTo>
                      <a:lnTo>
                        <a:pt x="6" y="10"/>
                      </a:lnTo>
                      <a:lnTo>
                        <a:pt x="6" y="4"/>
                      </a:lnTo>
                      <a:lnTo>
                        <a:pt x="10" y="0"/>
                      </a:lnTo>
                      <a:lnTo>
                        <a:pt x="56" y="10"/>
                      </a:lnTo>
                      <a:lnTo>
                        <a:pt x="76" y="6"/>
                      </a:lnTo>
                      <a:lnTo>
                        <a:pt x="93" y="31"/>
                      </a:lnTo>
                      <a:lnTo>
                        <a:pt x="109" y="56"/>
                      </a:lnTo>
                      <a:lnTo>
                        <a:pt x="97" y="60"/>
                      </a:lnTo>
                      <a:lnTo>
                        <a:pt x="97" y="86"/>
                      </a:lnTo>
                      <a:lnTo>
                        <a:pt x="95" y="115"/>
                      </a:lnTo>
                      <a:lnTo>
                        <a:pt x="80" y="89"/>
                      </a:lnTo>
                      <a:lnTo>
                        <a:pt x="80" y="101"/>
                      </a:lnTo>
                      <a:lnTo>
                        <a:pt x="72" y="89"/>
                      </a:lnTo>
                      <a:lnTo>
                        <a:pt x="64" y="66"/>
                      </a:lnTo>
                      <a:lnTo>
                        <a:pt x="41" y="49"/>
                      </a:lnTo>
                      <a:lnTo>
                        <a:pt x="22" y="31"/>
                      </a:lnTo>
                      <a:lnTo>
                        <a:pt x="29" y="51"/>
                      </a:lnTo>
                      <a:lnTo>
                        <a:pt x="23" y="5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5" name="Freeform 185"/>
                <p:cNvSpPr>
                  <a:spLocks/>
                </p:cNvSpPr>
                <p:nvPr/>
              </p:nvSpPr>
              <p:spPr bwMode="auto">
                <a:xfrm>
                  <a:off x="2532946" y="3026185"/>
                  <a:ext cx="7103" cy="12430"/>
                </a:xfrm>
                <a:custGeom>
                  <a:avLst/>
                  <a:gdLst>
                    <a:gd name="T0" fmla="*/ 2368 w 6"/>
                    <a:gd name="T1" fmla="*/ 0 h 8"/>
                    <a:gd name="T2" fmla="*/ 0 w 6"/>
                    <a:gd name="T3" fmla="*/ 3108 h 8"/>
                    <a:gd name="T4" fmla="*/ 7103 w 6"/>
                    <a:gd name="T5" fmla="*/ 12430 h 8"/>
                    <a:gd name="T6" fmla="*/ 2368 w 6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8"/>
                    <a:gd name="T14" fmla="*/ 6 w 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8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6" y="8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6" name="Freeform 186"/>
                <p:cNvSpPr>
                  <a:spLocks/>
                </p:cNvSpPr>
                <p:nvPr/>
              </p:nvSpPr>
              <p:spPr bwMode="auto">
                <a:xfrm>
                  <a:off x="2808187" y="3008427"/>
                  <a:ext cx="7103" cy="7103"/>
                </a:xfrm>
                <a:custGeom>
                  <a:avLst/>
                  <a:gdLst>
                    <a:gd name="T0" fmla="*/ 7103 w 8"/>
                    <a:gd name="T1" fmla="*/ 5327 h 8"/>
                    <a:gd name="T2" fmla="*/ 1776 w 8"/>
                    <a:gd name="T3" fmla="*/ 7103 h 8"/>
                    <a:gd name="T4" fmla="*/ 0 w 8"/>
                    <a:gd name="T5" fmla="*/ 0 h 8"/>
                    <a:gd name="T6" fmla="*/ 7103 w 8"/>
                    <a:gd name="T7" fmla="*/ 532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8" y="6"/>
                      </a:moveTo>
                      <a:lnTo>
                        <a:pt x="2" y="8"/>
                      </a:lnTo>
                      <a:lnTo>
                        <a:pt x="0" y="0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7" name="Freeform 187"/>
                <p:cNvSpPr>
                  <a:spLocks/>
                </p:cNvSpPr>
                <p:nvPr/>
              </p:nvSpPr>
              <p:spPr bwMode="auto">
                <a:xfrm>
                  <a:off x="2763793" y="2944500"/>
                  <a:ext cx="7103" cy="17758"/>
                </a:xfrm>
                <a:custGeom>
                  <a:avLst/>
                  <a:gdLst>
                    <a:gd name="T0" fmla="*/ 7103 w 6"/>
                    <a:gd name="T1" fmla="*/ 10655 h 15"/>
                    <a:gd name="T2" fmla="*/ 2368 w 6"/>
                    <a:gd name="T3" fmla="*/ 17758 h 15"/>
                    <a:gd name="T4" fmla="*/ 0 w 6"/>
                    <a:gd name="T5" fmla="*/ 0 h 15"/>
                    <a:gd name="T6" fmla="*/ 4735 w 6"/>
                    <a:gd name="T7" fmla="*/ 0 h 15"/>
                    <a:gd name="T8" fmla="*/ 7103 w 6"/>
                    <a:gd name="T9" fmla="*/ 10655 h 1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5"/>
                    <a:gd name="T17" fmla="*/ 6 w 6"/>
                    <a:gd name="T18" fmla="*/ 15 h 1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5">
                      <a:moveTo>
                        <a:pt x="6" y="9"/>
                      </a:moveTo>
                      <a:lnTo>
                        <a:pt x="2" y="15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8" name="Freeform 188"/>
                <p:cNvSpPr>
                  <a:spLocks/>
                </p:cNvSpPr>
                <p:nvPr/>
              </p:nvSpPr>
              <p:spPr bwMode="auto">
                <a:xfrm>
                  <a:off x="2014426" y="2980015"/>
                  <a:ext cx="56824" cy="35515"/>
                </a:xfrm>
                <a:custGeom>
                  <a:avLst/>
                  <a:gdLst>
                    <a:gd name="T0" fmla="*/ 56824 w 76"/>
                    <a:gd name="T1" fmla="*/ 26817 h 49"/>
                    <a:gd name="T2" fmla="*/ 49347 w 76"/>
                    <a:gd name="T3" fmla="*/ 35515 h 49"/>
                    <a:gd name="T4" fmla="*/ 36637 w 76"/>
                    <a:gd name="T5" fmla="*/ 32616 h 49"/>
                    <a:gd name="T6" fmla="*/ 19440 w 76"/>
                    <a:gd name="T7" fmla="*/ 25368 h 49"/>
                    <a:gd name="T8" fmla="*/ 0 w 76"/>
                    <a:gd name="T9" fmla="*/ 18845 h 49"/>
                    <a:gd name="T10" fmla="*/ 20187 w 76"/>
                    <a:gd name="T11" fmla="*/ 0 h 49"/>
                    <a:gd name="T12" fmla="*/ 36637 w 76"/>
                    <a:gd name="T13" fmla="*/ 11597 h 49"/>
                    <a:gd name="T14" fmla="*/ 56824 w 76"/>
                    <a:gd name="T15" fmla="*/ 14496 h 49"/>
                    <a:gd name="T16" fmla="*/ 56824 w 76"/>
                    <a:gd name="T17" fmla="*/ 26817 h 4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6"/>
                    <a:gd name="T28" fmla="*/ 0 h 49"/>
                    <a:gd name="T29" fmla="*/ 76 w 76"/>
                    <a:gd name="T30" fmla="*/ 49 h 4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6" h="49">
                      <a:moveTo>
                        <a:pt x="76" y="37"/>
                      </a:moveTo>
                      <a:lnTo>
                        <a:pt x="66" y="49"/>
                      </a:lnTo>
                      <a:lnTo>
                        <a:pt x="49" y="45"/>
                      </a:lnTo>
                      <a:lnTo>
                        <a:pt x="26" y="35"/>
                      </a:lnTo>
                      <a:lnTo>
                        <a:pt x="0" y="26"/>
                      </a:lnTo>
                      <a:lnTo>
                        <a:pt x="27" y="0"/>
                      </a:lnTo>
                      <a:lnTo>
                        <a:pt x="49" y="16"/>
                      </a:lnTo>
                      <a:lnTo>
                        <a:pt x="76" y="20"/>
                      </a:lnTo>
                      <a:lnTo>
                        <a:pt x="76" y="3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199" name="Freeform 189"/>
                <p:cNvSpPr>
                  <a:spLocks/>
                </p:cNvSpPr>
                <p:nvPr/>
              </p:nvSpPr>
              <p:spPr bwMode="auto">
                <a:xfrm>
                  <a:off x="2749587" y="3043942"/>
                  <a:ext cx="7103" cy="7103"/>
                </a:xfrm>
                <a:custGeom>
                  <a:avLst/>
                  <a:gdLst>
                    <a:gd name="T0" fmla="*/ 7103 w 6"/>
                    <a:gd name="T1" fmla="*/ 3157 h 9"/>
                    <a:gd name="T2" fmla="*/ 7103 w 6"/>
                    <a:gd name="T3" fmla="*/ 1578 h 9"/>
                    <a:gd name="T4" fmla="*/ 7103 w 6"/>
                    <a:gd name="T5" fmla="*/ 0 h 9"/>
                    <a:gd name="T6" fmla="*/ 4735 w 6"/>
                    <a:gd name="T7" fmla="*/ 0 h 9"/>
                    <a:gd name="T8" fmla="*/ 2368 w 6"/>
                    <a:gd name="T9" fmla="*/ 1578 h 9"/>
                    <a:gd name="T10" fmla="*/ 2368 w 6"/>
                    <a:gd name="T11" fmla="*/ 3157 h 9"/>
                    <a:gd name="T12" fmla="*/ 0 w 6"/>
                    <a:gd name="T13" fmla="*/ 3946 h 9"/>
                    <a:gd name="T14" fmla="*/ 2368 w 6"/>
                    <a:gd name="T15" fmla="*/ 3946 h 9"/>
                    <a:gd name="T16" fmla="*/ 2368 w 6"/>
                    <a:gd name="T17" fmla="*/ 5525 h 9"/>
                    <a:gd name="T18" fmla="*/ 0 w 6"/>
                    <a:gd name="T19" fmla="*/ 5525 h 9"/>
                    <a:gd name="T20" fmla="*/ 0 w 6"/>
                    <a:gd name="T21" fmla="*/ 7103 h 9"/>
                    <a:gd name="T22" fmla="*/ 0 w 6"/>
                    <a:gd name="T23" fmla="*/ 5525 h 9"/>
                    <a:gd name="T24" fmla="*/ 2368 w 6"/>
                    <a:gd name="T25" fmla="*/ 5525 h 9"/>
                    <a:gd name="T26" fmla="*/ 4735 w 6"/>
                    <a:gd name="T27" fmla="*/ 5525 h 9"/>
                    <a:gd name="T28" fmla="*/ 7103 w 6"/>
                    <a:gd name="T29" fmla="*/ 5525 h 9"/>
                    <a:gd name="T30" fmla="*/ 7103 w 6"/>
                    <a:gd name="T31" fmla="*/ 3946 h 9"/>
                    <a:gd name="T32" fmla="*/ 7103 w 6"/>
                    <a:gd name="T33" fmla="*/ 3157 h 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"/>
                    <a:gd name="T52" fmla="*/ 0 h 9"/>
                    <a:gd name="T53" fmla="*/ 6 w 6"/>
                    <a:gd name="T54" fmla="*/ 9 h 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" h="9">
                      <a:moveTo>
                        <a:pt x="6" y="4"/>
                      </a:move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5"/>
                      </a:lnTo>
                      <a:lnTo>
                        <a:pt x="2" y="5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9"/>
                      </a:lnTo>
                      <a:lnTo>
                        <a:pt x="0" y="7"/>
                      </a:lnTo>
                      <a:lnTo>
                        <a:pt x="2" y="7"/>
                      </a:lnTo>
                      <a:lnTo>
                        <a:pt x="4" y="7"/>
                      </a:lnTo>
                      <a:lnTo>
                        <a:pt x="6" y="7"/>
                      </a:lnTo>
                      <a:lnTo>
                        <a:pt x="6" y="5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0" name="Freeform 190"/>
                <p:cNvSpPr>
                  <a:spLocks/>
                </p:cNvSpPr>
                <p:nvPr/>
              </p:nvSpPr>
              <p:spPr bwMode="auto">
                <a:xfrm>
                  <a:off x="2756690" y="3038615"/>
                  <a:ext cx="0" cy="0"/>
                </a:xfrm>
                <a:custGeom>
                  <a:avLst/>
                  <a:gdLst>
                    <a:gd name="T0" fmla="*/ 0 h 2"/>
                    <a:gd name="T1" fmla="*/ 0 h 2"/>
                    <a:gd name="T2" fmla="*/ 0 h 2"/>
                    <a:gd name="T3" fmla="*/ 0 60000 65536"/>
                    <a:gd name="T4" fmla="*/ 0 60000 65536"/>
                    <a:gd name="T5" fmla="*/ 0 60000 65536"/>
                    <a:gd name="T6" fmla="*/ 0 h 2"/>
                    <a:gd name="T7" fmla="*/ 2 h 2"/>
                  </a:gdLst>
                  <a:ahLst/>
                  <a:cxnLst>
                    <a:cxn ang="T3">
                      <a:pos x="0" y="T0"/>
                    </a:cxn>
                    <a:cxn ang="T4">
                      <a:pos x="0" y="T1"/>
                    </a:cxn>
                    <a:cxn ang="T5">
                      <a:pos x="0" y="T2"/>
                    </a:cxn>
                  </a:cxnLst>
                  <a:rect l="0" t="T6" r="0" b="T7"/>
                  <a:pathLst>
                    <a:path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1" name="Freeform 191"/>
                <p:cNvSpPr>
                  <a:spLocks/>
                </p:cNvSpPr>
                <p:nvPr/>
              </p:nvSpPr>
              <p:spPr bwMode="auto">
                <a:xfrm>
                  <a:off x="2035735" y="2937397"/>
                  <a:ext cx="165145" cy="83460"/>
                </a:xfrm>
                <a:custGeom>
                  <a:avLst/>
                  <a:gdLst>
                    <a:gd name="T0" fmla="*/ 88864 w 210"/>
                    <a:gd name="T1" fmla="*/ 57144 h 111"/>
                    <a:gd name="T2" fmla="*/ 79427 w 210"/>
                    <a:gd name="T3" fmla="*/ 60151 h 111"/>
                    <a:gd name="T4" fmla="*/ 66058 w 210"/>
                    <a:gd name="T5" fmla="*/ 65415 h 111"/>
                    <a:gd name="T6" fmla="*/ 56621 w 210"/>
                    <a:gd name="T7" fmla="*/ 83460 h 111"/>
                    <a:gd name="T8" fmla="*/ 50330 w 210"/>
                    <a:gd name="T9" fmla="*/ 83460 h 111"/>
                    <a:gd name="T10" fmla="*/ 47971 w 210"/>
                    <a:gd name="T11" fmla="*/ 72934 h 111"/>
                    <a:gd name="T12" fmla="*/ 38534 w 210"/>
                    <a:gd name="T13" fmla="*/ 69926 h 111"/>
                    <a:gd name="T14" fmla="*/ 38534 w 210"/>
                    <a:gd name="T15" fmla="*/ 57144 h 111"/>
                    <a:gd name="T16" fmla="*/ 17301 w 210"/>
                    <a:gd name="T17" fmla="*/ 54136 h 111"/>
                    <a:gd name="T18" fmla="*/ 0 w 210"/>
                    <a:gd name="T19" fmla="*/ 42106 h 111"/>
                    <a:gd name="T20" fmla="*/ 17301 w 210"/>
                    <a:gd name="T21" fmla="*/ 18797 h 111"/>
                    <a:gd name="T22" fmla="*/ 33815 w 210"/>
                    <a:gd name="T23" fmla="*/ 4511 h 111"/>
                    <a:gd name="T24" fmla="*/ 38534 w 210"/>
                    <a:gd name="T25" fmla="*/ 4511 h 111"/>
                    <a:gd name="T26" fmla="*/ 62912 w 210"/>
                    <a:gd name="T27" fmla="*/ 3008 h 111"/>
                    <a:gd name="T28" fmla="*/ 87291 w 210"/>
                    <a:gd name="T29" fmla="*/ 0 h 111"/>
                    <a:gd name="T30" fmla="*/ 108524 w 210"/>
                    <a:gd name="T31" fmla="*/ 1504 h 111"/>
                    <a:gd name="T32" fmla="*/ 129757 w 210"/>
                    <a:gd name="T33" fmla="*/ 1504 h 111"/>
                    <a:gd name="T34" fmla="*/ 147058 w 210"/>
                    <a:gd name="T35" fmla="*/ 13534 h 111"/>
                    <a:gd name="T36" fmla="*/ 142339 w 210"/>
                    <a:gd name="T37" fmla="*/ 10526 h 111"/>
                    <a:gd name="T38" fmla="*/ 145485 w 210"/>
                    <a:gd name="T39" fmla="*/ 15790 h 111"/>
                    <a:gd name="T40" fmla="*/ 154135 w 210"/>
                    <a:gd name="T41" fmla="*/ 15790 h 111"/>
                    <a:gd name="T42" fmla="*/ 165145 w 210"/>
                    <a:gd name="T43" fmla="*/ 26316 h 111"/>
                    <a:gd name="T44" fmla="*/ 143912 w 210"/>
                    <a:gd name="T45" fmla="*/ 29324 h 111"/>
                    <a:gd name="T46" fmla="*/ 122679 w 210"/>
                    <a:gd name="T47" fmla="*/ 32331 h 111"/>
                    <a:gd name="T48" fmla="*/ 88864 w 210"/>
                    <a:gd name="T49" fmla="*/ 57144 h 111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210"/>
                    <a:gd name="T76" fmla="*/ 0 h 111"/>
                    <a:gd name="T77" fmla="*/ 210 w 210"/>
                    <a:gd name="T78" fmla="*/ 111 h 111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210" h="111">
                      <a:moveTo>
                        <a:pt x="113" y="76"/>
                      </a:moveTo>
                      <a:lnTo>
                        <a:pt x="101" y="80"/>
                      </a:lnTo>
                      <a:lnTo>
                        <a:pt x="84" y="87"/>
                      </a:lnTo>
                      <a:lnTo>
                        <a:pt x="72" y="111"/>
                      </a:lnTo>
                      <a:lnTo>
                        <a:pt x="64" y="111"/>
                      </a:lnTo>
                      <a:lnTo>
                        <a:pt x="61" y="97"/>
                      </a:lnTo>
                      <a:lnTo>
                        <a:pt x="49" y="93"/>
                      </a:lnTo>
                      <a:lnTo>
                        <a:pt x="49" y="76"/>
                      </a:lnTo>
                      <a:lnTo>
                        <a:pt x="22" y="72"/>
                      </a:lnTo>
                      <a:lnTo>
                        <a:pt x="0" y="56"/>
                      </a:lnTo>
                      <a:lnTo>
                        <a:pt x="22" y="25"/>
                      </a:lnTo>
                      <a:lnTo>
                        <a:pt x="43" y="6"/>
                      </a:lnTo>
                      <a:lnTo>
                        <a:pt x="49" y="6"/>
                      </a:lnTo>
                      <a:lnTo>
                        <a:pt x="80" y="4"/>
                      </a:lnTo>
                      <a:lnTo>
                        <a:pt x="111" y="0"/>
                      </a:lnTo>
                      <a:lnTo>
                        <a:pt x="138" y="2"/>
                      </a:lnTo>
                      <a:lnTo>
                        <a:pt x="165" y="2"/>
                      </a:lnTo>
                      <a:lnTo>
                        <a:pt x="187" y="18"/>
                      </a:lnTo>
                      <a:lnTo>
                        <a:pt x="181" y="14"/>
                      </a:lnTo>
                      <a:lnTo>
                        <a:pt x="185" y="21"/>
                      </a:lnTo>
                      <a:lnTo>
                        <a:pt x="196" y="21"/>
                      </a:lnTo>
                      <a:lnTo>
                        <a:pt x="210" y="35"/>
                      </a:lnTo>
                      <a:lnTo>
                        <a:pt x="183" y="39"/>
                      </a:lnTo>
                      <a:lnTo>
                        <a:pt x="156" y="43"/>
                      </a:lnTo>
                      <a:lnTo>
                        <a:pt x="113" y="7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2" name="Freeform 192"/>
                <p:cNvSpPr>
                  <a:spLocks/>
                </p:cNvSpPr>
                <p:nvPr/>
              </p:nvSpPr>
              <p:spPr bwMode="auto">
                <a:xfrm>
                  <a:off x="2770896" y="2967585"/>
                  <a:ext cx="7103" cy="12430"/>
                </a:xfrm>
                <a:custGeom>
                  <a:avLst/>
                  <a:gdLst>
                    <a:gd name="T0" fmla="*/ 7103 w 11"/>
                    <a:gd name="T1" fmla="*/ 10518 h 13"/>
                    <a:gd name="T2" fmla="*/ 0 w 11"/>
                    <a:gd name="T3" fmla="*/ 0 h 13"/>
                    <a:gd name="T4" fmla="*/ 7103 w 11"/>
                    <a:gd name="T5" fmla="*/ 12430 h 13"/>
                    <a:gd name="T6" fmla="*/ 7103 w 11"/>
                    <a:gd name="T7" fmla="*/ 10518 h 1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13"/>
                    <a:gd name="T14" fmla="*/ 11 w 11"/>
                    <a:gd name="T15" fmla="*/ 13 h 1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13">
                      <a:moveTo>
                        <a:pt x="11" y="11"/>
                      </a:moveTo>
                      <a:lnTo>
                        <a:pt x="0" y="0"/>
                      </a:lnTo>
                      <a:lnTo>
                        <a:pt x="11" y="13"/>
                      </a:lnTo>
                      <a:lnTo>
                        <a:pt x="11" y="1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3" name="Freeform 193"/>
                <p:cNvSpPr>
                  <a:spLocks/>
                </p:cNvSpPr>
                <p:nvPr/>
              </p:nvSpPr>
              <p:spPr bwMode="auto">
                <a:xfrm>
                  <a:off x="2071250" y="2962258"/>
                  <a:ext cx="129630" cy="117200"/>
                </a:xfrm>
                <a:custGeom>
                  <a:avLst/>
                  <a:gdLst>
                    <a:gd name="T0" fmla="*/ 50548 w 159"/>
                    <a:gd name="T1" fmla="*/ 30221 h 159"/>
                    <a:gd name="T2" fmla="*/ 40764 w 159"/>
                    <a:gd name="T3" fmla="*/ 33170 h 159"/>
                    <a:gd name="T4" fmla="*/ 26904 w 159"/>
                    <a:gd name="T5" fmla="*/ 38330 h 159"/>
                    <a:gd name="T6" fmla="*/ 17121 w 159"/>
                    <a:gd name="T7" fmla="*/ 56020 h 159"/>
                    <a:gd name="T8" fmla="*/ 10599 w 159"/>
                    <a:gd name="T9" fmla="*/ 56020 h 159"/>
                    <a:gd name="T10" fmla="*/ 0 w 159"/>
                    <a:gd name="T11" fmla="*/ 58231 h 159"/>
                    <a:gd name="T12" fmla="*/ 25274 w 159"/>
                    <a:gd name="T13" fmla="*/ 84030 h 159"/>
                    <a:gd name="T14" fmla="*/ 50548 w 159"/>
                    <a:gd name="T15" fmla="*/ 109829 h 159"/>
                    <a:gd name="T16" fmla="*/ 88051 w 159"/>
                    <a:gd name="T17" fmla="*/ 117200 h 159"/>
                    <a:gd name="T18" fmla="*/ 104356 w 159"/>
                    <a:gd name="T19" fmla="*/ 114252 h 159"/>
                    <a:gd name="T20" fmla="*/ 104356 w 159"/>
                    <a:gd name="T21" fmla="*/ 95824 h 159"/>
                    <a:gd name="T22" fmla="*/ 105987 w 159"/>
                    <a:gd name="T23" fmla="*/ 81082 h 159"/>
                    <a:gd name="T24" fmla="*/ 111694 w 159"/>
                    <a:gd name="T25" fmla="*/ 64128 h 159"/>
                    <a:gd name="T26" fmla="*/ 113324 w 159"/>
                    <a:gd name="T27" fmla="*/ 70025 h 159"/>
                    <a:gd name="T28" fmla="*/ 116585 w 159"/>
                    <a:gd name="T29" fmla="*/ 48649 h 159"/>
                    <a:gd name="T30" fmla="*/ 121477 w 159"/>
                    <a:gd name="T31" fmla="*/ 25799 h 159"/>
                    <a:gd name="T32" fmla="*/ 121477 w 159"/>
                    <a:gd name="T33" fmla="*/ 4423 h 159"/>
                    <a:gd name="T34" fmla="*/ 129630 w 159"/>
                    <a:gd name="T35" fmla="*/ 0 h 159"/>
                    <a:gd name="T36" fmla="*/ 107617 w 159"/>
                    <a:gd name="T37" fmla="*/ 2948 h 159"/>
                    <a:gd name="T38" fmla="*/ 85605 w 159"/>
                    <a:gd name="T39" fmla="*/ 5897 h 159"/>
                    <a:gd name="T40" fmla="*/ 50548 w 159"/>
                    <a:gd name="T41" fmla="*/ 30221 h 159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59"/>
                    <a:gd name="T64" fmla="*/ 0 h 159"/>
                    <a:gd name="T65" fmla="*/ 159 w 159"/>
                    <a:gd name="T66" fmla="*/ 159 h 159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59" h="159">
                      <a:moveTo>
                        <a:pt x="62" y="41"/>
                      </a:moveTo>
                      <a:lnTo>
                        <a:pt x="50" y="45"/>
                      </a:lnTo>
                      <a:lnTo>
                        <a:pt x="33" y="52"/>
                      </a:lnTo>
                      <a:lnTo>
                        <a:pt x="21" y="76"/>
                      </a:lnTo>
                      <a:lnTo>
                        <a:pt x="13" y="76"/>
                      </a:lnTo>
                      <a:lnTo>
                        <a:pt x="0" y="79"/>
                      </a:lnTo>
                      <a:lnTo>
                        <a:pt x="31" y="114"/>
                      </a:lnTo>
                      <a:lnTo>
                        <a:pt x="62" y="149"/>
                      </a:lnTo>
                      <a:lnTo>
                        <a:pt x="108" y="159"/>
                      </a:lnTo>
                      <a:lnTo>
                        <a:pt x="128" y="155"/>
                      </a:lnTo>
                      <a:lnTo>
                        <a:pt x="128" y="130"/>
                      </a:lnTo>
                      <a:lnTo>
                        <a:pt x="130" y="110"/>
                      </a:lnTo>
                      <a:lnTo>
                        <a:pt x="137" y="87"/>
                      </a:lnTo>
                      <a:lnTo>
                        <a:pt x="139" y="95"/>
                      </a:lnTo>
                      <a:lnTo>
                        <a:pt x="143" y="66"/>
                      </a:lnTo>
                      <a:lnTo>
                        <a:pt x="149" y="35"/>
                      </a:lnTo>
                      <a:lnTo>
                        <a:pt x="149" y="6"/>
                      </a:lnTo>
                      <a:lnTo>
                        <a:pt x="159" y="0"/>
                      </a:lnTo>
                      <a:lnTo>
                        <a:pt x="132" y="4"/>
                      </a:lnTo>
                      <a:lnTo>
                        <a:pt x="105" y="8"/>
                      </a:lnTo>
                      <a:lnTo>
                        <a:pt x="62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4" name="Freeform 194"/>
                <p:cNvSpPr>
                  <a:spLocks/>
                </p:cNvSpPr>
                <p:nvPr/>
              </p:nvSpPr>
              <p:spPr bwMode="auto">
                <a:xfrm>
                  <a:off x="2763793" y="3008427"/>
                  <a:ext cx="7103" cy="7103"/>
                </a:xfrm>
                <a:custGeom>
                  <a:avLst/>
                  <a:gdLst>
                    <a:gd name="T0" fmla="*/ 7103 w 4"/>
                    <a:gd name="T1" fmla="*/ 7103 h 8"/>
                    <a:gd name="T2" fmla="*/ 7103 w 4"/>
                    <a:gd name="T3" fmla="*/ 0 h 8"/>
                    <a:gd name="T4" fmla="*/ 0 w 4"/>
                    <a:gd name="T5" fmla="*/ 3552 h 8"/>
                    <a:gd name="T6" fmla="*/ 7103 w 4"/>
                    <a:gd name="T7" fmla="*/ 7103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8"/>
                    <a:gd name="T14" fmla="*/ 4 w 4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8">
                      <a:moveTo>
                        <a:pt x="4" y="8"/>
                      </a:moveTo>
                      <a:lnTo>
                        <a:pt x="4" y="0"/>
                      </a:lnTo>
                      <a:lnTo>
                        <a:pt x="0" y="4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5" name="Freeform 195"/>
                <p:cNvSpPr>
                  <a:spLocks/>
                </p:cNvSpPr>
                <p:nvPr/>
              </p:nvSpPr>
              <p:spPr bwMode="auto">
                <a:xfrm>
                  <a:off x="2742484" y="2901882"/>
                  <a:ext cx="0" cy="0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0 h 2"/>
                    <a:gd name="T4" fmla="*/ 0 w 2"/>
                    <a:gd name="T5" fmla="*/ 0 h 2"/>
                    <a:gd name="T6" fmla="*/ 0 w 2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2"/>
                    <a:gd name="T14" fmla="*/ 2 w 2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2">
                      <a:moveTo>
                        <a:pt x="0" y="2"/>
                      </a:move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6" name="Freeform 196"/>
                <p:cNvSpPr>
                  <a:spLocks/>
                </p:cNvSpPr>
                <p:nvPr/>
              </p:nvSpPr>
              <p:spPr bwMode="auto">
                <a:xfrm>
                  <a:off x="2735381" y="2896555"/>
                  <a:ext cx="7103" cy="5327"/>
                </a:xfrm>
                <a:custGeom>
                  <a:avLst/>
                  <a:gdLst>
                    <a:gd name="T0" fmla="*/ 7103 w 8"/>
                    <a:gd name="T1" fmla="*/ 5327 h 6"/>
                    <a:gd name="T2" fmla="*/ 0 w 8"/>
                    <a:gd name="T3" fmla="*/ 0 h 6"/>
                    <a:gd name="T4" fmla="*/ 5327 w 8"/>
                    <a:gd name="T5" fmla="*/ 3551 h 6"/>
                    <a:gd name="T6" fmla="*/ 7103 w 8"/>
                    <a:gd name="T7" fmla="*/ 5327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6"/>
                    <a:gd name="T14" fmla="*/ 8 w 8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6">
                      <a:moveTo>
                        <a:pt x="8" y="6"/>
                      </a:moveTo>
                      <a:lnTo>
                        <a:pt x="0" y="0"/>
                      </a:lnTo>
                      <a:lnTo>
                        <a:pt x="6" y="4"/>
                      </a:lnTo>
                      <a:lnTo>
                        <a:pt x="8" y="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7" name="Freeform 197"/>
                <p:cNvSpPr>
                  <a:spLocks/>
                </p:cNvSpPr>
                <p:nvPr/>
              </p:nvSpPr>
              <p:spPr bwMode="auto">
                <a:xfrm>
                  <a:off x="2763793" y="2926743"/>
                  <a:ext cx="0" cy="5327"/>
                </a:xfrm>
                <a:custGeom>
                  <a:avLst/>
                  <a:gdLst>
                    <a:gd name="T0" fmla="*/ 0 w 6"/>
                    <a:gd name="T1" fmla="*/ 0 h 9"/>
                    <a:gd name="T2" fmla="*/ 0 w 6"/>
                    <a:gd name="T3" fmla="*/ 592 h 9"/>
                    <a:gd name="T4" fmla="*/ 0 w 6"/>
                    <a:gd name="T5" fmla="*/ 5327 h 9"/>
                    <a:gd name="T6" fmla="*/ 0 w 6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9"/>
                    <a:gd name="T14" fmla="*/ 0 w 6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9">
                      <a:moveTo>
                        <a:pt x="6" y="0"/>
                      </a:moveTo>
                      <a:lnTo>
                        <a:pt x="6" y="1"/>
                      </a:lnTo>
                      <a:lnTo>
                        <a:pt x="0" y="9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8" name="Freeform 198"/>
                <p:cNvSpPr>
                  <a:spLocks/>
                </p:cNvSpPr>
                <p:nvPr/>
              </p:nvSpPr>
              <p:spPr bwMode="auto">
                <a:xfrm>
                  <a:off x="2728278" y="2866367"/>
                  <a:ext cx="7103" cy="7103"/>
                </a:xfrm>
                <a:custGeom>
                  <a:avLst/>
                  <a:gdLst>
                    <a:gd name="T0" fmla="*/ 7103 w 8"/>
                    <a:gd name="T1" fmla="*/ 0 h 4"/>
                    <a:gd name="T2" fmla="*/ 5327 w 8"/>
                    <a:gd name="T3" fmla="*/ 0 h 4"/>
                    <a:gd name="T4" fmla="*/ 3552 w 8"/>
                    <a:gd name="T5" fmla="*/ 0 h 4"/>
                    <a:gd name="T6" fmla="*/ 3552 w 8"/>
                    <a:gd name="T7" fmla="*/ 3552 h 4"/>
                    <a:gd name="T8" fmla="*/ 1776 w 8"/>
                    <a:gd name="T9" fmla="*/ 3552 h 4"/>
                    <a:gd name="T10" fmla="*/ 1776 w 8"/>
                    <a:gd name="T11" fmla="*/ 7103 h 4"/>
                    <a:gd name="T12" fmla="*/ 0 w 8"/>
                    <a:gd name="T13" fmla="*/ 7103 h 4"/>
                    <a:gd name="T14" fmla="*/ 1776 w 8"/>
                    <a:gd name="T15" fmla="*/ 7103 h 4"/>
                    <a:gd name="T16" fmla="*/ 3552 w 8"/>
                    <a:gd name="T17" fmla="*/ 7103 h 4"/>
                    <a:gd name="T18" fmla="*/ 5327 w 8"/>
                    <a:gd name="T19" fmla="*/ 3552 h 4"/>
                    <a:gd name="T20" fmla="*/ 7103 w 8"/>
                    <a:gd name="T21" fmla="*/ 0 h 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8"/>
                    <a:gd name="T34" fmla="*/ 0 h 4"/>
                    <a:gd name="T35" fmla="*/ 8 w 8"/>
                    <a:gd name="T36" fmla="*/ 4 h 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8" h="4">
                      <a:moveTo>
                        <a:pt x="8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09" name="Freeform 199"/>
                <p:cNvSpPr>
                  <a:spLocks/>
                </p:cNvSpPr>
                <p:nvPr/>
              </p:nvSpPr>
              <p:spPr bwMode="auto">
                <a:xfrm>
                  <a:off x="2756690" y="2901882"/>
                  <a:ext cx="7103" cy="7103"/>
                </a:xfrm>
                <a:custGeom>
                  <a:avLst/>
                  <a:gdLst>
                    <a:gd name="T0" fmla="*/ 3552 w 8"/>
                    <a:gd name="T1" fmla="*/ 0 h 5"/>
                    <a:gd name="T2" fmla="*/ 1776 w 8"/>
                    <a:gd name="T3" fmla="*/ 2841 h 5"/>
                    <a:gd name="T4" fmla="*/ 0 w 8"/>
                    <a:gd name="T5" fmla="*/ 7103 h 5"/>
                    <a:gd name="T6" fmla="*/ 7103 w 8"/>
                    <a:gd name="T7" fmla="*/ 4262 h 5"/>
                    <a:gd name="T8" fmla="*/ 3552 w 8"/>
                    <a:gd name="T9" fmla="*/ 0 h 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5"/>
                    <a:gd name="T17" fmla="*/ 8 w 8"/>
                    <a:gd name="T18" fmla="*/ 5 h 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5">
                      <a:moveTo>
                        <a:pt x="4" y="0"/>
                      </a:move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8" y="3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0" name="Freeform 200"/>
                <p:cNvSpPr>
                  <a:spLocks/>
                </p:cNvSpPr>
                <p:nvPr/>
              </p:nvSpPr>
              <p:spPr bwMode="auto">
                <a:xfrm>
                  <a:off x="2763793" y="2884124"/>
                  <a:ext cx="0" cy="7103"/>
                </a:xfrm>
                <a:custGeom>
                  <a:avLst/>
                  <a:gdLst>
                    <a:gd name="T0" fmla="*/ 0 w 6"/>
                    <a:gd name="T1" fmla="*/ 7103 h 4"/>
                    <a:gd name="T2" fmla="*/ 0 w 6"/>
                    <a:gd name="T3" fmla="*/ 7103 h 4"/>
                    <a:gd name="T4" fmla="*/ 0 w 6"/>
                    <a:gd name="T5" fmla="*/ 0 h 4"/>
                    <a:gd name="T6" fmla="*/ 0 w 6"/>
                    <a:gd name="T7" fmla="*/ 3552 h 4"/>
                    <a:gd name="T8" fmla="*/ 0 w 6"/>
                    <a:gd name="T9" fmla="*/ 0 h 4"/>
                    <a:gd name="T10" fmla="*/ 0 w 6"/>
                    <a:gd name="T11" fmla="*/ 3552 h 4"/>
                    <a:gd name="T12" fmla="*/ 0 w 6"/>
                    <a:gd name="T13" fmla="*/ 7103 h 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4"/>
                    <a:gd name="T23" fmla="*/ 0 w 6"/>
                    <a:gd name="T24" fmla="*/ 4 h 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4">
                      <a:moveTo>
                        <a:pt x="6" y="4"/>
                      </a:move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6" y="2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1" name="Freeform 201"/>
                <p:cNvSpPr>
                  <a:spLocks/>
                </p:cNvSpPr>
                <p:nvPr/>
              </p:nvSpPr>
              <p:spPr bwMode="auto">
                <a:xfrm>
                  <a:off x="2049941" y="2866367"/>
                  <a:ext cx="28412" cy="71030"/>
                </a:xfrm>
                <a:custGeom>
                  <a:avLst/>
                  <a:gdLst>
                    <a:gd name="T0" fmla="*/ 17047 w 45"/>
                    <a:gd name="T1" fmla="*/ 57398 h 99"/>
                    <a:gd name="T2" fmla="*/ 6314 w 45"/>
                    <a:gd name="T3" fmla="*/ 71030 h 99"/>
                    <a:gd name="T4" fmla="*/ 0 w 45"/>
                    <a:gd name="T5" fmla="*/ 71030 h 99"/>
                    <a:gd name="T6" fmla="*/ 3788 w 45"/>
                    <a:gd name="T7" fmla="*/ 44483 h 99"/>
                    <a:gd name="T8" fmla="*/ 7577 w 45"/>
                    <a:gd name="T9" fmla="*/ 17937 h 99"/>
                    <a:gd name="T10" fmla="*/ 25886 w 45"/>
                    <a:gd name="T11" fmla="*/ 0 h 99"/>
                    <a:gd name="T12" fmla="*/ 28412 w 45"/>
                    <a:gd name="T13" fmla="*/ 4305 h 99"/>
                    <a:gd name="T14" fmla="*/ 22098 w 45"/>
                    <a:gd name="T15" fmla="*/ 30851 h 99"/>
                    <a:gd name="T16" fmla="*/ 17047 w 45"/>
                    <a:gd name="T17" fmla="*/ 57398 h 9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5"/>
                    <a:gd name="T28" fmla="*/ 0 h 99"/>
                    <a:gd name="T29" fmla="*/ 45 w 45"/>
                    <a:gd name="T30" fmla="*/ 99 h 9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5" h="99">
                      <a:moveTo>
                        <a:pt x="27" y="80"/>
                      </a:moveTo>
                      <a:lnTo>
                        <a:pt x="10" y="99"/>
                      </a:lnTo>
                      <a:lnTo>
                        <a:pt x="0" y="99"/>
                      </a:lnTo>
                      <a:lnTo>
                        <a:pt x="6" y="62"/>
                      </a:lnTo>
                      <a:lnTo>
                        <a:pt x="12" y="25"/>
                      </a:lnTo>
                      <a:lnTo>
                        <a:pt x="41" y="0"/>
                      </a:lnTo>
                      <a:lnTo>
                        <a:pt x="45" y="6"/>
                      </a:lnTo>
                      <a:lnTo>
                        <a:pt x="35" y="43"/>
                      </a:lnTo>
                      <a:lnTo>
                        <a:pt x="27" y="8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2" name="Freeform 202"/>
                <p:cNvSpPr>
                  <a:spLocks/>
                </p:cNvSpPr>
                <p:nvPr/>
              </p:nvSpPr>
              <p:spPr bwMode="auto">
                <a:xfrm>
                  <a:off x="1962929" y="2884124"/>
                  <a:ext cx="108321" cy="113648"/>
                </a:xfrm>
                <a:custGeom>
                  <a:avLst/>
                  <a:gdLst>
                    <a:gd name="T0" fmla="*/ 10131 w 139"/>
                    <a:gd name="T1" fmla="*/ 100535 h 156"/>
                    <a:gd name="T2" fmla="*/ 0 w 139"/>
                    <a:gd name="T3" fmla="*/ 90336 h 156"/>
                    <a:gd name="T4" fmla="*/ 2338 w 139"/>
                    <a:gd name="T5" fmla="*/ 70666 h 156"/>
                    <a:gd name="T6" fmla="*/ 19482 w 139"/>
                    <a:gd name="T7" fmla="*/ 49539 h 156"/>
                    <a:gd name="T8" fmla="*/ 52212 w 139"/>
                    <a:gd name="T9" fmla="*/ 43711 h 156"/>
                    <a:gd name="T10" fmla="*/ 34289 w 139"/>
                    <a:gd name="T11" fmla="*/ 18941 h 156"/>
                    <a:gd name="T12" fmla="*/ 43640 w 139"/>
                    <a:gd name="T13" fmla="*/ 16027 h 156"/>
                    <a:gd name="T14" fmla="*/ 45199 w 139"/>
                    <a:gd name="T15" fmla="*/ 0 h 156"/>
                    <a:gd name="T16" fmla="*/ 69357 w 139"/>
                    <a:gd name="T17" fmla="*/ 0 h 156"/>
                    <a:gd name="T18" fmla="*/ 93515 w 139"/>
                    <a:gd name="T19" fmla="*/ 0 h 156"/>
                    <a:gd name="T20" fmla="*/ 88839 w 139"/>
                    <a:gd name="T21" fmla="*/ 26955 h 156"/>
                    <a:gd name="T22" fmla="*/ 84163 w 139"/>
                    <a:gd name="T23" fmla="*/ 53910 h 156"/>
                    <a:gd name="T24" fmla="*/ 91956 w 139"/>
                    <a:gd name="T25" fmla="*/ 53910 h 156"/>
                    <a:gd name="T26" fmla="*/ 100528 w 139"/>
                    <a:gd name="T27" fmla="*/ 55367 h 156"/>
                    <a:gd name="T28" fmla="*/ 108321 w 139"/>
                    <a:gd name="T29" fmla="*/ 58281 h 156"/>
                    <a:gd name="T30" fmla="*/ 91956 w 139"/>
                    <a:gd name="T31" fmla="*/ 72123 h 156"/>
                    <a:gd name="T32" fmla="*/ 74812 w 139"/>
                    <a:gd name="T33" fmla="*/ 94707 h 156"/>
                    <a:gd name="T34" fmla="*/ 53771 w 139"/>
                    <a:gd name="T35" fmla="*/ 113648 h 156"/>
                    <a:gd name="T36" fmla="*/ 32730 w 139"/>
                    <a:gd name="T37" fmla="*/ 107820 h 156"/>
                    <a:gd name="T38" fmla="*/ 10131 w 139"/>
                    <a:gd name="T39" fmla="*/ 100535 h 15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9"/>
                    <a:gd name="T61" fmla="*/ 0 h 156"/>
                    <a:gd name="T62" fmla="*/ 139 w 139"/>
                    <a:gd name="T63" fmla="*/ 156 h 15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9" h="156">
                      <a:moveTo>
                        <a:pt x="13" y="138"/>
                      </a:moveTo>
                      <a:lnTo>
                        <a:pt x="0" y="124"/>
                      </a:lnTo>
                      <a:lnTo>
                        <a:pt x="3" y="97"/>
                      </a:lnTo>
                      <a:lnTo>
                        <a:pt x="25" y="68"/>
                      </a:lnTo>
                      <a:lnTo>
                        <a:pt x="67" y="60"/>
                      </a:lnTo>
                      <a:lnTo>
                        <a:pt x="44" y="26"/>
                      </a:lnTo>
                      <a:lnTo>
                        <a:pt x="56" y="22"/>
                      </a:lnTo>
                      <a:lnTo>
                        <a:pt x="58" y="0"/>
                      </a:lnTo>
                      <a:lnTo>
                        <a:pt x="89" y="0"/>
                      </a:lnTo>
                      <a:lnTo>
                        <a:pt x="120" y="0"/>
                      </a:lnTo>
                      <a:lnTo>
                        <a:pt x="114" y="37"/>
                      </a:lnTo>
                      <a:lnTo>
                        <a:pt x="108" y="74"/>
                      </a:lnTo>
                      <a:lnTo>
                        <a:pt x="118" y="74"/>
                      </a:lnTo>
                      <a:lnTo>
                        <a:pt x="129" y="76"/>
                      </a:lnTo>
                      <a:lnTo>
                        <a:pt x="139" y="80"/>
                      </a:lnTo>
                      <a:lnTo>
                        <a:pt x="118" y="99"/>
                      </a:lnTo>
                      <a:lnTo>
                        <a:pt x="96" y="130"/>
                      </a:lnTo>
                      <a:lnTo>
                        <a:pt x="69" y="156"/>
                      </a:lnTo>
                      <a:lnTo>
                        <a:pt x="42" y="148"/>
                      </a:lnTo>
                      <a:lnTo>
                        <a:pt x="13" y="13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3" name="Freeform 203"/>
                <p:cNvSpPr>
                  <a:spLocks/>
                </p:cNvSpPr>
                <p:nvPr/>
              </p:nvSpPr>
              <p:spPr bwMode="auto">
                <a:xfrm>
                  <a:off x="2330510" y="2866367"/>
                  <a:ext cx="58600" cy="17758"/>
                </a:xfrm>
                <a:custGeom>
                  <a:avLst/>
                  <a:gdLst>
                    <a:gd name="T0" fmla="*/ 23603 w 72"/>
                    <a:gd name="T1" fmla="*/ 0 h 27"/>
                    <a:gd name="T2" fmla="*/ 0 w 72"/>
                    <a:gd name="T3" fmla="*/ 6577 h 27"/>
                    <a:gd name="T4" fmla="*/ 31742 w 72"/>
                    <a:gd name="T5" fmla="*/ 17758 h 27"/>
                    <a:gd name="T6" fmla="*/ 58600 w 72"/>
                    <a:gd name="T7" fmla="*/ 14469 h 27"/>
                    <a:gd name="T8" fmla="*/ 23603 w 72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2"/>
                    <a:gd name="T16" fmla="*/ 0 h 27"/>
                    <a:gd name="T17" fmla="*/ 72 w 72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2" h="27">
                      <a:moveTo>
                        <a:pt x="29" y="0"/>
                      </a:moveTo>
                      <a:lnTo>
                        <a:pt x="0" y="10"/>
                      </a:lnTo>
                      <a:lnTo>
                        <a:pt x="39" y="27"/>
                      </a:lnTo>
                      <a:lnTo>
                        <a:pt x="72" y="22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4" name="Freeform 204"/>
                <p:cNvSpPr>
                  <a:spLocks/>
                </p:cNvSpPr>
                <p:nvPr/>
              </p:nvSpPr>
              <p:spPr bwMode="auto">
                <a:xfrm>
                  <a:off x="2619958" y="2866367"/>
                  <a:ext cx="42618" cy="12430"/>
                </a:xfrm>
                <a:custGeom>
                  <a:avLst/>
                  <a:gdLst>
                    <a:gd name="T0" fmla="*/ 42618 w 52"/>
                    <a:gd name="T1" fmla="*/ 6215 h 20"/>
                    <a:gd name="T2" fmla="*/ 39340 w 52"/>
                    <a:gd name="T3" fmla="*/ 7458 h 20"/>
                    <a:gd name="T4" fmla="*/ 9015 w 52"/>
                    <a:gd name="T5" fmla="*/ 12430 h 20"/>
                    <a:gd name="T6" fmla="*/ 0 w 52"/>
                    <a:gd name="T7" fmla="*/ 9944 h 20"/>
                    <a:gd name="T8" fmla="*/ 2459 w 52"/>
                    <a:gd name="T9" fmla="*/ 0 h 20"/>
                    <a:gd name="T10" fmla="*/ 42618 w 52"/>
                    <a:gd name="T11" fmla="*/ 6215 h 2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2"/>
                    <a:gd name="T19" fmla="*/ 0 h 20"/>
                    <a:gd name="T20" fmla="*/ 52 w 52"/>
                    <a:gd name="T21" fmla="*/ 20 h 2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2" h="20">
                      <a:moveTo>
                        <a:pt x="52" y="10"/>
                      </a:moveTo>
                      <a:lnTo>
                        <a:pt x="48" y="12"/>
                      </a:lnTo>
                      <a:lnTo>
                        <a:pt x="11" y="20"/>
                      </a:lnTo>
                      <a:lnTo>
                        <a:pt x="0" y="16"/>
                      </a:lnTo>
                      <a:lnTo>
                        <a:pt x="3" y="0"/>
                      </a:lnTo>
                      <a:lnTo>
                        <a:pt x="52" y="1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5" name="Freeform 205"/>
                <p:cNvSpPr>
                  <a:spLocks/>
                </p:cNvSpPr>
                <p:nvPr/>
              </p:nvSpPr>
              <p:spPr bwMode="auto">
                <a:xfrm>
                  <a:off x="2685660" y="2884124"/>
                  <a:ext cx="0" cy="0"/>
                </a:xfrm>
                <a:custGeom>
                  <a:avLst/>
                  <a:gdLst>
                    <a:gd name="T0" fmla="*/ 0 w 10"/>
                    <a:gd name="T1" fmla="*/ 0 h 2"/>
                    <a:gd name="T2" fmla="*/ 0 w 10"/>
                    <a:gd name="T3" fmla="*/ 0 h 2"/>
                    <a:gd name="T4" fmla="*/ 0 w 10"/>
                    <a:gd name="T5" fmla="*/ 0 h 2"/>
                    <a:gd name="T6" fmla="*/ 0 w 10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2"/>
                    <a:gd name="T14" fmla="*/ 10 w 10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2">
                      <a:moveTo>
                        <a:pt x="10" y="2"/>
                      </a:move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6" name="Freeform 206"/>
                <p:cNvSpPr>
                  <a:spLocks/>
                </p:cNvSpPr>
                <p:nvPr/>
              </p:nvSpPr>
              <p:spPr bwMode="auto">
                <a:xfrm>
                  <a:off x="1435531" y="2457943"/>
                  <a:ext cx="694319" cy="514969"/>
                </a:xfrm>
                <a:custGeom>
                  <a:avLst/>
                  <a:gdLst>
                    <a:gd name="T0" fmla="*/ 87572 w 888"/>
                    <a:gd name="T1" fmla="*/ 249999 h 688"/>
                    <a:gd name="T2" fmla="*/ 57860 w 888"/>
                    <a:gd name="T3" fmla="*/ 180389 h 688"/>
                    <a:gd name="T4" fmla="*/ 21111 w 888"/>
                    <a:gd name="T5" fmla="*/ 151197 h 688"/>
                    <a:gd name="T6" fmla="*/ 34403 w 888"/>
                    <a:gd name="T7" fmla="*/ 111527 h 688"/>
                    <a:gd name="T8" fmla="*/ 3128 w 888"/>
                    <a:gd name="T9" fmla="*/ 39671 h 688"/>
                    <a:gd name="T10" fmla="*/ 60206 w 888"/>
                    <a:gd name="T11" fmla="*/ 0 h 688"/>
                    <a:gd name="T12" fmla="*/ 119629 w 888"/>
                    <a:gd name="T13" fmla="*/ 27695 h 688"/>
                    <a:gd name="T14" fmla="*/ 210329 w 888"/>
                    <a:gd name="T15" fmla="*/ 38174 h 688"/>
                    <a:gd name="T16" fmla="*/ 279135 w 888"/>
                    <a:gd name="T17" fmla="*/ 52395 h 688"/>
                    <a:gd name="T18" fmla="*/ 318230 w 888"/>
                    <a:gd name="T19" fmla="*/ 104790 h 688"/>
                    <a:gd name="T20" fmla="*/ 381563 w 888"/>
                    <a:gd name="T21" fmla="*/ 113024 h 688"/>
                    <a:gd name="T22" fmla="*/ 419875 w 888"/>
                    <a:gd name="T23" fmla="*/ 185628 h 688"/>
                    <a:gd name="T24" fmla="*/ 419875 w 888"/>
                    <a:gd name="T25" fmla="*/ 267215 h 688"/>
                    <a:gd name="T26" fmla="*/ 433168 w 888"/>
                    <a:gd name="T27" fmla="*/ 358532 h 688"/>
                    <a:gd name="T28" fmla="*/ 451933 w 888"/>
                    <a:gd name="T29" fmla="*/ 395957 h 688"/>
                    <a:gd name="T30" fmla="*/ 530122 w 888"/>
                    <a:gd name="T31" fmla="*/ 401945 h 688"/>
                    <a:gd name="T32" fmla="*/ 566871 w 888"/>
                    <a:gd name="T33" fmla="*/ 395957 h 688"/>
                    <a:gd name="T34" fmla="*/ 598928 w 888"/>
                    <a:gd name="T35" fmla="*/ 336826 h 688"/>
                    <a:gd name="T36" fmla="*/ 675554 w 888"/>
                    <a:gd name="T37" fmla="*/ 318113 h 688"/>
                    <a:gd name="T38" fmla="*/ 694319 w 888"/>
                    <a:gd name="T39" fmla="*/ 327844 h 688"/>
                    <a:gd name="T40" fmla="*/ 665389 w 888"/>
                    <a:gd name="T41" fmla="*/ 377245 h 688"/>
                    <a:gd name="T42" fmla="*/ 648969 w 888"/>
                    <a:gd name="T43" fmla="*/ 395957 h 688"/>
                    <a:gd name="T44" fmla="*/ 595801 w 888"/>
                    <a:gd name="T45" fmla="*/ 422155 h 688"/>
                    <a:gd name="T46" fmla="*/ 560616 w 888"/>
                    <a:gd name="T47" fmla="*/ 441616 h 688"/>
                    <a:gd name="T48" fmla="*/ 528558 w 888"/>
                    <a:gd name="T49" fmla="*/ 494759 h 688"/>
                    <a:gd name="T50" fmla="*/ 476172 w 888"/>
                    <a:gd name="T51" fmla="*/ 466316 h 688"/>
                    <a:gd name="T52" fmla="*/ 458970 w 888"/>
                    <a:gd name="T53" fmla="*/ 467065 h 688"/>
                    <a:gd name="T54" fmla="*/ 413620 w 888"/>
                    <a:gd name="T55" fmla="*/ 482035 h 688"/>
                    <a:gd name="T56" fmla="*/ 327612 w 888"/>
                    <a:gd name="T57" fmla="*/ 443861 h 688"/>
                    <a:gd name="T58" fmla="*/ 263497 w 888"/>
                    <a:gd name="T59" fmla="*/ 410927 h 688"/>
                    <a:gd name="T60" fmla="*/ 207201 w 888"/>
                    <a:gd name="T61" fmla="*/ 367514 h 688"/>
                    <a:gd name="T62" fmla="*/ 210329 w 888"/>
                    <a:gd name="T63" fmla="*/ 335329 h 688"/>
                    <a:gd name="T64" fmla="*/ 200164 w 888"/>
                    <a:gd name="T65" fmla="*/ 273203 h 688"/>
                    <a:gd name="T66" fmla="*/ 175925 w 888"/>
                    <a:gd name="T67" fmla="*/ 235029 h 688"/>
                    <a:gd name="T68" fmla="*/ 163415 w 888"/>
                    <a:gd name="T69" fmla="*/ 214820 h 688"/>
                    <a:gd name="T70" fmla="*/ 137613 w 888"/>
                    <a:gd name="T71" fmla="*/ 197604 h 688"/>
                    <a:gd name="T72" fmla="*/ 119629 w 888"/>
                    <a:gd name="T73" fmla="*/ 142215 h 688"/>
                    <a:gd name="T74" fmla="*/ 93827 w 888"/>
                    <a:gd name="T75" fmla="*/ 98802 h 688"/>
                    <a:gd name="T76" fmla="*/ 66461 w 888"/>
                    <a:gd name="T77" fmla="*/ 33683 h 688"/>
                    <a:gd name="T78" fmla="*/ 40658 w 888"/>
                    <a:gd name="T79" fmla="*/ 81587 h 688"/>
                    <a:gd name="T80" fmla="*/ 74280 w 888"/>
                    <a:gd name="T81" fmla="*/ 149700 h 688"/>
                    <a:gd name="T82" fmla="*/ 89136 w 888"/>
                    <a:gd name="T83" fmla="*/ 200598 h 688"/>
                    <a:gd name="T84" fmla="*/ 116502 w 888"/>
                    <a:gd name="T85" fmla="*/ 253742 h 688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888"/>
                    <a:gd name="T130" fmla="*/ 0 h 688"/>
                    <a:gd name="T131" fmla="*/ 888 w 888"/>
                    <a:gd name="T132" fmla="*/ 688 h 688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888" h="688">
                      <a:moveTo>
                        <a:pt x="153" y="359"/>
                      </a:moveTo>
                      <a:lnTo>
                        <a:pt x="132" y="369"/>
                      </a:lnTo>
                      <a:lnTo>
                        <a:pt x="112" y="334"/>
                      </a:lnTo>
                      <a:lnTo>
                        <a:pt x="79" y="301"/>
                      </a:lnTo>
                      <a:lnTo>
                        <a:pt x="85" y="270"/>
                      </a:lnTo>
                      <a:lnTo>
                        <a:pt x="74" y="241"/>
                      </a:lnTo>
                      <a:lnTo>
                        <a:pt x="64" y="219"/>
                      </a:lnTo>
                      <a:lnTo>
                        <a:pt x="43" y="219"/>
                      </a:lnTo>
                      <a:lnTo>
                        <a:pt x="27" y="202"/>
                      </a:lnTo>
                      <a:lnTo>
                        <a:pt x="12" y="184"/>
                      </a:lnTo>
                      <a:lnTo>
                        <a:pt x="39" y="188"/>
                      </a:lnTo>
                      <a:lnTo>
                        <a:pt x="44" y="149"/>
                      </a:lnTo>
                      <a:lnTo>
                        <a:pt x="27" y="124"/>
                      </a:lnTo>
                      <a:lnTo>
                        <a:pt x="10" y="99"/>
                      </a:lnTo>
                      <a:lnTo>
                        <a:pt x="4" y="53"/>
                      </a:lnTo>
                      <a:lnTo>
                        <a:pt x="0" y="4"/>
                      </a:lnTo>
                      <a:lnTo>
                        <a:pt x="39" y="2"/>
                      </a:lnTo>
                      <a:lnTo>
                        <a:pt x="77" y="0"/>
                      </a:lnTo>
                      <a:lnTo>
                        <a:pt x="103" y="14"/>
                      </a:lnTo>
                      <a:lnTo>
                        <a:pt x="128" y="25"/>
                      </a:lnTo>
                      <a:lnTo>
                        <a:pt x="153" y="37"/>
                      </a:lnTo>
                      <a:lnTo>
                        <a:pt x="178" y="51"/>
                      </a:lnTo>
                      <a:lnTo>
                        <a:pt x="225" y="51"/>
                      </a:lnTo>
                      <a:lnTo>
                        <a:pt x="269" y="51"/>
                      </a:lnTo>
                      <a:lnTo>
                        <a:pt x="275" y="33"/>
                      </a:lnTo>
                      <a:lnTo>
                        <a:pt x="329" y="33"/>
                      </a:lnTo>
                      <a:lnTo>
                        <a:pt x="357" y="70"/>
                      </a:lnTo>
                      <a:lnTo>
                        <a:pt x="368" y="109"/>
                      </a:lnTo>
                      <a:lnTo>
                        <a:pt x="388" y="124"/>
                      </a:lnTo>
                      <a:lnTo>
                        <a:pt x="407" y="140"/>
                      </a:lnTo>
                      <a:lnTo>
                        <a:pt x="430" y="111"/>
                      </a:lnTo>
                      <a:lnTo>
                        <a:pt x="475" y="117"/>
                      </a:lnTo>
                      <a:lnTo>
                        <a:pt x="488" y="151"/>
                      </a:lnTo>
                      <a:lnTo>
                        <a:pt x="504" y="186"/>
                      </a:lnTo>
                      <a:lnTo>
                        <a:pt x="516" y="231"/>
                      </a:lnTo>
                      <a:lnTo>
                        <a:pt x="537" y="248"/>
                      </a:lnTo>
                      <a:lnTo>
                        <a:pt x="576" y="254"/>
                      </a:lnTo>
                      <a:lnTo>
                        <a:pt x="556" y="305"/>
                      </a:lnTo>
                      <a:lnTo>
                        <a:pt x="537" y="357"/>
                      </a:lnTo>
                      <a:lnTo>
                        <a:pt x="531" y="407"/>
                      </a:lnTo>
                      <a:lnTo>
                        <a:pt x="543" y="444"/>
                      </a:lnTo>
                      <a:lnTo>
                        <a:pt x="554" y="479"/>
                      </a:lnTo>
                      <a:lnTo>
                        <a:pt x="564" y="502"/>
                      </a:lnTo>
                      <a:lnTo>
                        <a:pt x="574" y="528"/>
                      </a:lnTo>
                      <a:lnTo>
                        <a:pt x="578" y="529"/>
                      </a:lnTo>
                      <a:lnTo>
                        <a:pt x="612" y="547"/>
                      </a:lnTo>
                      <a:lnTo>
                        <a:pt x="643" y="545"/>
                      </a:lnTo>
                      <a:lnTo>
                        <a:pt x="678" y="537"/>
                      </a:lnTo>
                      <a:lnTo>
                        <a:pt x="702" y="535"/>
                      </a:lnTo>
                      <a:lnTo>
                        <a:pt x="715" y="539"/>
                      </a:lnTo>
                      <a:lnTo>
                        <a:pt x="725" y="529"/>
                      </a:lnTo>
                      <a:lnTo>
                        <a:pt x="723" y="524"/>
                      </a:lnTo>
                      <a:lnTo>
                        <a:pt x="748" y="497"/>
                      </a:lnTo>
                      <a:lnTo>
                        <a:pt x="766" y="450"/>
                      </a:lnTo>
                      <a:lnTo>
                        <a:pt x="800" y="431"/>
                      </a:lnTo>
                      <a:lnTo>
                        <a:pt x="831" y="429"/>
                      </a:lnTo>
                      <a:lnTo>
                        <a:pt x="864" y="425"/>
                      </a:lnTo>
                      <a:lnTo>
                        <a:pt x="872" y="423"/>
                      </a:lnTo>
                      <a:lnTo>
                        <a:pt x="886" y="433"/>
                      </a:lnTo>
                      <a:lnTo>
                        <a:pt x="888" y="438"/>
                      </a:lnTo>
                      <a:lnTo>
                        <a:pt x="857" y="485"/>
                      </a:lnTo>
                      <a:lnTo>
                        <a:pt x="851" y="498"/>
                      </a:lnTo>
                      <a:lnTo>
                        <a:pt x="851" y="504"/>
                      </a:lnTo>
                      <a:lnTo>
                        <a:pt x="851" y="508"/>
                      </a:lnTo>
                      <a:lnTo>
                        <a:pt x="835" y="545"/>
                      </a:lnTo>
                      <a:lnTo>
                        <a:pt x="830" y="529"/>
                      </a:lnTo>
                      <a:lnTo>
                        <a:pt x="822" y="539"/>
                      </a:lnTo>
                      <a:lnTo>
                        <a:pt x="793" y="564"/>
                      </a:lnTo>
                      <a:lnTo>
                        <a:pt x="762" y="564"/>
                      </a:lnTo>
                      <a:lnTo>
                        <a:pt x="731" y="564"/>
                      </a:lnTo>
                      <a:lnTo>
                        <a:pt x="729" y="586"/>
                      </a:lnTo>
                      <a:lnTo>
                        <a:pt x="717" y="590"/>
                      </a:lnTo>
                      <a:lnTo>
                        <a:pt x="740" y="624"/>
                      </a:lnTo>
                      <a:lnTo>
                        <a:pt x="698" y="632"/>
                      </a:lnTo>
                      <a:lnTo>
                        <a:pt x="676" y="661"/>
                      </a:lnTo>
                      <a:lnTo>
                        <a:pt x="673" y="688"/>
                      </a:lnTo>
                      <a:lnTo>
                        <a:pt x="642" y="656"/>
                      </a:lnTo>
                      <a:lnTo>
                        <a:pt x="609" y="623"/>
                      </a:lnTo>
                      <a:lnTo>
                        <a:pt x="622" y="634"/>
                      </a:lnTo>
                      <a:lnTo>
                        <a:pt x="603" y="623"/>
                      </a:lnTo>
                      <a:lnTo>
                        <a:pt x="587" y="624"/>
                      </a:lnTo>
                      <a:lnTo>
                        <a:pt x="595" y="626"/>
                      </a:lnTo>
                      <a:lnTo>
                        <a:pt x="562" y="636"/>
                      </a:lnTo>
                      <a:lnTo>
                        <a:pt x="529" y="644"/>
                      </a:lnTo>
                      <a:lnTo>
                        <a:pt x="492" y="628"/>
                      </a:lnTo>
                      <a:lnTo>
                        <a:pt x="455" y="611"/>
                      </a:lnTo>
                      <a:lnTo>
                        <a:pt x="419" y="593"/>
                      </a:lnTo>
                      <a:lnTo>
                        <a:pt x="382" y="576"/>
                      </a:lnTo>
                      <a:lnTo>
                        <a:pt x="360" y="561"/>
                      </a:lnTo>
                      <a:lnTo>
                        <a:pt x="337" y="549"/>
                      </a:lnTo>
                      <a:lnTo>
                        <a:pt x="314" y="535"/>
                      </a:lnTo>
                      <a:lnTo>
                        <a:pt x="289" y="512"/>
                      </a:lnTo>
                      <a:lnTo>
                        <a:pt x="265" y="491"/>
                      </a:lnTo>
                      <a:lnTo>
                        <a:pt x="262" y="464"/>
                      </a:lnTo>
                      <a:lnTo>
                        <a:pt x="275" y="458"/>
                      </a:lnTo>
                      <a:lnTo>
                        <a:pt x="269" y="448"/>
                      </a:lnTo>
                      <a:lnTo>
                        <a:pt x="279" y="425"/>
                      </a:lnTo>
                      <a:lnTo>
                        <a:pt x="267" y="394"/>
                      </a:lnTo>
                      <a:lnTo>
                        <a:pt x="256" y="365"/>
                      </a:lnTo>
                      <a:lnTo>
                        <a:pt x="236" y="338"/>
                      </a:lnTo>
                      <a:lnTo>
                        <a:pt x="217" y="310"/>
                      </a:lnTo>
                      <a:lnTo>
                        <a:pt x="225" y="314"/>
                      </a:lnTo>
                      <a:lnTo>
                        <a:pt x="211" y="295"/>
                      </a:lnTo>
                      <a:lnTo>
                        <a:pt x="205" y="289"/>
                      </a:lnTo>
                      <a:lnTo>
                        <a:pt x="209" y="287"/>
                      </a:lnTo>
                      <a:lnTo>
                        <a:pt x="184" y="274"/>
                      </a:lnTo>
                      <a:lnTo>
                        <a:pt x="190" y="266"/>
                      </a:lnTo>
                      <a:lnTo>
                        <a:pt x="176" y="264"/>
                      </a:lnTo>
                      <a:lnTo>
                        <a:pt x="186" y="241"/>
                      </a:lnTo>
                      <a:lnTo>
                        <a:pt x="174" y="229"/>
                      </a:lnTo>
                      <a:lnTo>
                        <a:pt x="153" y="190"/>
                      </a:lnTo>
                      <a:lnTo>
                        <a:pt x="153" y="180"/>
                      </a:lnTo>
                      <a:lnTo>
                        <a:pt x="132" y="165"/>
                      </a:lnTo>
                      <a:lnTo>
                        <a:pt x="120" y="132"/>
                      </a:lnTo>
                      <a:lnTo>
                        <a:pt x="107" y="99"/>
                      </a:lnTo>
                      <a:lnTo>
                        <a:pt x="107" y="54"/>
                      </a:lnTo>
                      <a:lnTo>
                        <a:pt x="85" y="45"/>
                      </a:lnTo>
                      <a:lnTo>
                        <a:pt x="60" y="29"/>
                      </a:lnTo>
                      <a:lnTo>
                        <a:pt x="56" y="68"/>
                      </a:lnTo>
                      <a:lnTo>
                        <a:pt x="52" y="109"/>
                      </a:lnTo>
                      <a:lnTo>
                        <a:pt x="70" y="140"/>
                      </a:lnTo>
                      <a:lnTo>
                        <a:pt x="87" y="173"/>
                      </a:lnTo>
                      <a:lnTo>
                        <a:pt x="95" y="200"/>
                      </a:lnTo>
                      <a:lnTo>
                        <a:pt x="105" y="227"/>
                      </a:lnTo>
                      <a:lnTo>
                        <a:pt x="108" y="223"/>
                      </a:lnTo>
                      <a:lnTo>
                        <a:pt x="114" y="268"/>
                      </a:lnTo>
                      <a:lnTo>
                        <a:pt x="120" y="312"/>
                      </a:lnTo>
                      <a:lnTo>
                        <a:pt x="134" y="320"/>
                      </a:lnTo>
                      <a:lnTo>
                        <a:pt x="149" y="339"/>
                      </a:lnTo>
                      <a:lnTo>
                        <a:pt x="153" y="35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7" name="Freeform 207"/>
                <p:cNvSpPr>
                  <a:spLocks/>
                </p:cNvSpPr>
                <p:nvPr/>
              </p:nvSpPr>
              <p:spPr bwMode="auto">
                <a:xfrm>
                  <a:off x="2360698" y="2671034"/>
                  <a:ext cx="14206" cy="24861"/>
                </a:xfrm>
                <a:custGeom>
                  <a:avLst/>
                  <a:gdLst>
                    <a:gd name="T0" fmla="*/ 14206 w 18"/>
                    <a:gd name="T1" fmla="*/ 23146 h 29"/>
                    <a:gd name="T2" fmla="*/ 9471 w 18"/>
                    <a:gd name="T3" fmla="*/ 0 h 29"/>
                    <a:gd name="T4" fmla="*/ 0 w 18"/>
                    <a:gd name="T5" fmla="*/ 19717 h 29"/>
                    <a:gd name="T6" fmla="*/ 3157 w 18"/>
                    <a:gd name="T7" fmla="*/ 24861 h 29"/>
                    <a:gd name="T8" fmla="*/ 14206 w 18"/>
                    <a:gd name="T9" fmla="*/ 23146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"/>
                    <a:gd name="T16" fmla="*/ 0 h 29"/>
                    <a:gd name="T17" fmla="*/ 18 w 18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" h="29">
                      <a:moveTo>
                        <a:pt x="18" y="27"/>
                      </a:moveTo>
                      <a:lnTo>
                        <a:pt x="12" y="0"/>
                      </a:lnTo>
                      <a:lnTo>
                        <a:pt x="0" y="23"/>
                      </a:lnTo>
                      <a:lnTo>
                        <a:pt x="4" y="29"/>
                      </a:lnTo>
                      <a:lnTo>
                        <a:pt x="18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8" name="Freeform 208"/>
                <p:cNvSpPr>
                  <a:spLocks/>
                </p:cNvSpPr>
                <p:nvPr/>
              </p:nvSpPr>
              <p:spPr bwMode="auto">
                <a:xfrm>
                  <a:off x="2382007" y="2624864"/>
                  <a:ext cx="14206" cy="23085"/>
                </a:xfrm>
                <a:custGeom>
                  <a:avLst/>
                  <a:gdLst>
                    <a:gd name="T0" fmla="*/ 7103 w 24"/>
                    <a:gd name="T1" fmla="*/ 23085 h 35"/>
                    <a:gd name="T2" fmla="*/ 10655 w 24"/>
                    <a:gd name="T3" fmla="*/ 11872 h 35"/>
                    <a:gd name="T4" fmla="*/ 0 w 24"/>
                    <a:gd name="T5" fmla="*/ 0 h 35"/>
                    <a:gd name="T6" fmla="*/ 14206 w 24"/>
                    <a:gd name="T7" fmla="*/ 15830 h 35"/>
                    <a:gd name="T8" fmla="*/ 7103 w 24"/>
                    <a:gd name="T9" fmla="*/ 23085 h 3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35"/>
                    <a:gd name="T17" fmla="*/ 24 w 24"/>
                    <a:gd name="T18" fmla="*/ 35 h 3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35">
                      <a:moveTo>
                        <a:pt x="12" y="35"/>
                      </a:moveTo>
                      <a:lnTo>
                        <a:pt x="18" y="18"/>
                      </a:lnTo>
                      <a:lnTo>
                        <a:pt x="0" y="0"/>
                      </a:lnTo>
                      <a:lnTo>
                        <a:pt x="24" y="24"/>
                      </a:lnTo>
                      <a:lnTo>
                        <a:pt x="12" y="3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19" name="Freeform 209"/>
                <p:cNvSpPr>
                  <a:spLocks/>
                </p:cNvSpPr>
                <p:nvPr/>
              </p:nvSpPr>
              <p:spPr bwMode="auto">
                <a:xfrm>
                  <a:off x="2403316" y="2665707"/>
                  <a:ext cx="14206" cy="23085"/>
                </a:xfrm>
                <a:custGeom>
                  <a:avLst/>
                  <a:gdLst>
                    <a:gd name="T0" fmla="*/ 8524 w 15"/>
                    <a:gd name="T1" fmla="*/ 23085 h 27"/>
                    <a:gd name="T2" fmla="*/ 14206 w 15"/>
                    <a:gd name="T3" fmla="*/ 12825 h 27"/>
                    <a:gd name="T4" fmla="*/ 947 w 15"/>
                    <a:gd name="T5" fmla="*/ 0 h 27"/>
                    <a:gd name="T6" fmla="*/ 0 w 15"/>
                    <a:gd name="T7" fmla="*/ 855 h 27"/>
                    <a:gd name="T8" fmla="*/ 6629 w 15"/>
                    <a:gd name="T9" fmla="*/ 7695 h 27"/>
                    <a:gd name="T10" fmla="*/ 12312 w 15"/>
                    <a:gd name="T11" fmla="*/ 12825 h 27"/>
                    <a:gd name="T12" fmla="*/ 6629 w 15"/>
                    <a:gd name="T13" fmla="*/ 21375 h 27"/>
                    <a:gd name="T14" fmla="*/ 8524 w 15"/>
                    <a:gd name="T15" fmla="*/ 23085 h 2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"/>
                    <a:gd name="T25" fmla="*/ 0 h 27"/>
                    <a:gd name="T26" fmla="*/ 15 w 15"/>
                    <a:gd name="T27" fmla="*/ 27 h 2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" h="27">
                      <a:moveTo>
                        <a:pt x="9" y="27"/>
                      </a:moveTo>
                      <a:lnTo>
                        <a:pt x="15" y="15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7" y="9"/>
                      </a:lnTo>
                      <a:lnTo>
                        <a:pt x="13" y="15"/>
                      </a:lnTo>
                      <a:lnTo>
                        <a:pt x="7" y="25"/>
                      </a:lnTo>
                      <a:lnTo>
                        <a:pt x="9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0" name="Freeform 210"/>
                <p:cNvSpPr>
                  <a:spLocks/>
                </p:cNvSpPr>
                <p:nvPr/>
              </p:nvSpPr>
              <p:spPr bwMode="auto">
                <a:xfrm>
                  <a:off x="2461916" y="2784682"/>
                  <a:ext cx="21309" cy="10655"/>
                </a:xfrm>
                <a:custGeom>
                  <a:avLst/>
                  <a:gdLst>
                    <a:gd name="T0" fmla="*/ 21309 w 21"/>
                    <a:gd name="T1" fmla="*/ 0 h 13"/>
                    <a:gd name="T2" fmla="*/ 19280 w 21"/>
                    <a:gd name="T3" fmla="*/ 4098 h 13"/>
                    <a:gd name="T4" fmla="*/ 0 w 21"/>
                    <a:gd name="T5" fmla="*/ 10655 h 13"/>
                    <a:gd name="T6" fmla="*/ 21309 w 21"/>
                    <a:gd name="T7" fmla="*/ 0 h 1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"/>
                    <a:gd name="T13" fmla="*/ 0 h 13"/>
                    <a:gd name="T14" fmla="*/ 21 w 21"/>
                    <a:gd name="T15" fmla="*/ 13 h 1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" h="13">
                      <a:moveTo>
                        <a:pt x="21" y="0"/>
                      </a:moveTo>
                      <a:lnTo>
                        <a:pt x="19" y="5"/>
                      </a:lnTo>
                      <a:lnTo>
                        <a:pt x="0" y="13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1" name="Freeform 211"/>
                <p:cNvSpPr>
                  <a:spLocks/>
                </p:cNvSpPr>
                <p:nvPr/>
              </p:nvSpPr>
              <p:spPr bwMode="auto">
                <a:xfrm>
                  <a:off x="2453037" y="2749167"/>
                  <a:ext cx="8879" cy="5327"/>
                </a:xfrm>
                <a:custGeom>
                  <a:avLst/>
                  <a:gdLst>
                    <a:gd name="T0" fmla="*/ 8879 w 12"/>
                    <a:gd name="T1" fmla="*/ 1776 h 12"/>
                    <a:gd name="T2" fmla="*/ 4440 w 12"/>
                    <a:gd name="T3" fmla="*/ 0 h 12"/>
                    <a:gd name="T4" fmla="*/ 0 w 12"/>
                    <a:gd name="T5" fmla="*/ 5327 h 12"/>
                    <a:gd name="T6" fmla="*/ 8879 w 12"/>
                    <a:gd name="T7" fmla="*/ 1776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12"/>
                    <a:gd name="T14" fmla="*/ 12 w 12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12">
                      <a:moveTo>
                        <a:pt x="12" y="4"/>
                      </a:moveTo>
                      <a:lnTo>
                        <a:pt x="6" y="0"/>
                      </a:lnTo>
                      <a:lnTo>
                        <a:pt x="0" y="12"/>
                      </a:lnTo>
                      <a:lnTo>
                        <a:pt x="12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2" name="Freeform 212"/>
                <p:cNvSpPr>
                  <a:spLocks/>
                </p:cNvSpPr>
                <p:nvPr/>
              </p:nvSpPr>
              <p:spPr bwMode="auto">
                <a:xfrm>
                  <a:off x="2353595" y="2630192"/>
                  <a:ext cx="21309" cy="5327"/>
                </a:xfrm>
                <a:custGeom>
                  <a:avLst/>
                  <a:gdLst>
                    <a:gd name="T0" fmla="*/ 7915 w 35"/>
                    <a:gd name="T1" fmla="*/ 0 h 4"/>
                    <a:gd name="T2" fmla="*/ 21309 w 35"/>
                    <a:gd name="T3" fmla="*/ 2664 h 4"/>
                    <a:gd name="T4" fmla="*/ 14003 w 35"/>
                    <a:gd name="T5" fmla="*/ 5327 h 4"/>
                    <a:gd name="T6" fmla="*/ 0 w 35"/>
                    <a:gd name="T7" fmla="*/ 0 h 4"/>
                    <a:gd name="T8" fmla="*/ 7915 w 35"/>
                    <a:gd name="T9" fmla="*/ 0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4"/>
                    <a:gd name="T17" fmla="*/ 35 w 35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4">
                      <a:moveTo>
                        <a:pt x="13" y="0"/>
                      </a:moveTo>
                      <a:lnTo>
                        <a:pt x="35" y="2"/>
                      </a:lnTo>
                      <a:lnTo>
                        <a:pt x="23" y="4"/>
                      </a:lnTo>
                      <a:lnTo>
                        <a:pt x="0" y="0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3" name="Freeform 213"/>
                <p:cNvSpPr>
                  <a:spLocks/>
                </p:cNvSpPr>
                <p:nvPr/>
              </p:nvSpPr>
              <p:spPr bwMode="auto">
                <a:xfrm>
                  <a:off x="2367801" y="2701222"/>
                  <a:ext cx="7103" cy="12430"/>
                </a:xfrm>
                <a:custGeom>
                  <a:avLst/>
                  <a:gdLst>
                    <a:gd name="T0" fmla="*/ 7103 w 8"/>
                    <a:gd name="T1" fmla="*/ 10654 h 14"/>
                    <a:gd name="T2" fmla="*/ 3552 w 8"/>
                    <a:gd name="T3" fmla="*/ 3551 h 14"/>
                    <a:gd name="T4" fmla="*/ 0 w 8"/>
                    <a:gd name="T5" fmla="*/ 0 h 14"/>
                    <a:gd name="T6" fmla="*/ 3552 w 8"/>
                    <a:gd name="T7" fmla="*/ 12430 h 14"/>
                    <a:gd name="T8" fmla="*/ 7103 w 8"/>
                    <a:gd name="T9" fmla="*/ 10654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4"/>
                    <a:gd name="T17" fmla="*/ 8 w 8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4">
                      <a:moveTo>
                        <a:pt x="8" y="12"/>
                      </a:moveTo>
                      <a:lnTo>
                        <a:pt x="4" y="4"/>
                      </a:lnTo>
                      <a:lnTo>
                        <a:pt x="0" y="0"/>
                      </a:lnTo>
                      <a:lnTo>
                        <a:pt x="4" y="14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4" name="Freeform 214"/>
                <p:cNvSpPr>
                  <a:spLocks/>
                </p:cNvSpPr>
                <p:nvPr/>
              </p:nvSpPr>
              <p:spPr bwMode="auto">
                <a:xfrm>
                  <a:off x="5839395" y="3962007"/>
                  <a:ext cx="14206" cy="12430"/>
                </a:xfrm>
                <a:custGeom>
                  <a:avLst/>
                  <a:gdLst>
                    <a:gd name="T0" fmla="*/ 13370 w 17"/>
                    <a:gd name="T1" fmla="*/ 0 h 15"/>
                    <a:gd name="T2" fmla="*/ 0 w 17"/>
                    <a:gd name="T3" fmla="*/ 12430 h 15"/>
                    <a:gd name="T4" fmla="*/ 14206 w 17"/>
                    <a:gd name="T5" fmla="*/ 4972 h 15"/>
                    <a:gd name="T6" fmla="*/ 13370 w 17"/>
                    <a:gd name="T7" fmla="*/ 0 h 1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"/>
                    <a:gd name="T13" fmla="*/ 0 h 15"/>
                    <a:gd name="T14" fmla="*/ 17 w 17"/>
                    <a:gd name="T15" fmla="*/ 15 h 1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" h="15">
                      <a:moveTo>
                        <a:pt x="16" y="0"/>
                      </a:moveTo>
                      <a:lnTo>
                        <a:pt x="0" y="15"/>
                      </a:lnTo>
                      <a:lnTo>
                        <a:pt x="17" y="6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5" name="Freeform 215"/>
                <p:cNvSpPr>
                  <a:spLocks/>
                </p:cNvSpPr>
                <p:nvPr/>
              </p:nvSpPr>
              <p:spPr bwMode="auto">
                <a:xfrm>
                  <a:off x="7226257" y="3695644"/>
                  <a:ext cx="1045918" cy="804417"/>
                </a:xfrm>
                <a:custGeom>
                  <a:avLst/>
                  <a:gdLst>
                    <a:gd name="T0" fmla="*/ 590728 w 1335"/>
                    <a:gd name="T1" fmla="*/ 17227 h 1074"/>
                    <a:gd name="T2" fmla="*/ 600130 w 1335"/>
                    <a:gd name="T3" fmla="*/ 37450 h 1074"/>
                    <a:gd name="T4" fmla="*/ 552339 w 1335"/>
                    <a:gd name="T5" fmla="*/ 50931 h 1074"/>
                    <a:gd name="T6" fmla="*/ 532752 w 1335"/>
                    <a:gd name="T7" fmla="*/ 75648 h 1074"/>
                    <a:gd name="T8" fmla="*/ 522567 w 1335"/>
                    <a:gd name="T9" fmla="*/ 113098 h 1074"/>
                    <a:gd name="T10" fmla="*/ 501414 w 1335"/>
                    <a:gd name="T11" fmla="*/ 122086 h 1074"/>
                    <a:gd name="T12" fmla="*/ 467725 w 1335"/>
                    <a:gd name="T13" fmla="*/ 133320 h 1074"/>
                    <a:gd name="T14" fmla="*/ 446572 w 1335"/>
                    <a:gd name="T15" fmla="*/ 89879 h 1074"/>
                    <a:gd name="T16" fmla="*/ 422285 w 1335"/>
                    <a:gd name="T17" fmla="*/ 92875 h 1074"/>
                    <a:gd name="T18" fmla="*/ 399564 w 1335"/>
                    <a:gd name="T19" fmla="*/ 123584 h 1074"/>
                    <a:gd name="T20" fmla="*/ 375277 w 1335"/>
                    <a:gd name="T21" fmla="*/ 142308 h 1074"/>
                    <a:gd name="T22" fmla="*/ 372143 w 1335"/>
                    <a:gd name="T23" fmla="*/ 156539 h 1074"/>
                    <a:gd name="T24" fmla="*/ 352557 w 1335"/>
                    <a:gd name="T25" fmla="*/ 156539 h 1074"/>
                    <a:gd name="T26" fmla="*/ 346289 w 1335"/>
                    <a:gd name="T27" fmla="*/ 202228 h 1074"/>
                    <a:gd name="T28" fmla="*/ 305549 w 1335"/>
                    <a:gd name="T29" fmla="*/ 191742 h 1074"/>
                    <a:gd name="T30" fmla="*/ 238172 w 1335"/>
                    <a:gd name="T31" fmla="*/ 259900 h 1074"/>
                    <a:gd name="T32" fmla="*/ 155125 w 1335"/>
                    <a:gd name="T33" fmla="*/ 277127 h 1074"/>
                    <a:gd name="T34" fmla="*/ 74429 w 1335"/>
                    <a:gd name="T35" fmla="*/ 313827 h 1074"/>
                    <a:gd name="T36" fmla="*/ 48574 w 1335"/>
                    <a:gd name="T37" fmla="*/ 417188 h 1074"/>
                    <a:gd name="T38" fmla="*/ 36039 w 1335"/>
                    <a:gd name="T39" fmla="*/ 420933 h 1074"/>
                    <a:gd name="T40" fmla="*/ 32122 w 1335"/>
                    <a:gd name="T41" fmla="*/ 463626 h 1074"/>
                    <a:gd name="T42" fmla="*/ 39173 w 1335"/>
                    <a:gd name="T43" fmla="*/ 560246 h 1074"/>
                    <a:gd name="T44" fmla="*/ 13319 w 1335"/>
                    <a:gd name="T45" fmla="*/ 650874 h 1074"/>
                    <a:gd name="T46" fmla="*/ 34472 w 1335"/>
                    <a:gd name="T47" fmla="*/ 691319 h 1074"/>
                    <a:gd name="T48" fmla="*/ 119869 w 1335"/>
                    <a:gd name="T49" fmla="*/ 660610 h 1074"/>
                    <a:gd name="T50" fmla="*/ 235038 w 1335"/>
                    <a:gd name="T51" fmla="*/ 635894 h 1074"/>
                    <a:gd name="T52" fmla="*/ 364308 w 1335"/>
                    <a:gd name="T53" fmla="*/ 601440 h 1074"/>
                    <a:gd name="T54" fmla="*/ 481044 w 1335"/>
                    <a:gd name="T55" fmla="*/ 609679 h 1074"/>
                    <a:gd name="T56" fmla="*/ 498280 w 1335"/>
                    <a:gd name="T57" fmla="*/ 656117 h 1074"/>
                    <a:gd name="T58" fmla="*/ 513166 w 1335"/>
                    <a:gd name="T59" fmla="*/ 682331 h 1074"/>
                    <a:gd name="T60" fmla="*/ 576626 w 1335"/>
                    <a:gd name="T61" fmla="*/ 641886 h 1074"/>
                    <a:gd name="T62" fmla="*/ 548421 w 1335"/>
                    <a:gd name="T63" fmla="*/ 695813 h 1074"/>
                    <a:gd name="T64" fmla="*/ 571142 w 1335"/>
                    <a:gd name="T65" fmla="*/ 704052 h 1074"/>
                    <a:gd name="T66" fmla="*/ 572709 w 1335"/>
                    <a:gd name="T67" fmla="*/ 773708 h 1074"/>
                    <a:gd name="T68" fmla="*/ 669858 w 1335"/>
                    <a:gd name="T69" fmla="*/ 784194 h 1074"/>
                    <a:gd name="T70" fmla="*/ 680043 w 1335"/>
                    <a:gd name="T71" fmla="*/ 787190 h 1074"/>
                    <a:gd name="T72" fmla="*/ 707464 w 1335"/>
                    <a:gd name="T73" fmla="*/ 796178 h 1074"/>
                    <a:gd name="T74" fmla="*/ 823416 w 1335"/>
                    <a:gd name="T75" fmla="*/ 746744 h 1074"/>
                    <a:gd name="T76" fmla="*/ 911163 w 1335"/>
                    <a:gd name="T77" fmla="*/ 649376 h 1074"/>
                    <a:gd name="T78" fmla="*/ 994993 w 1335"/>
                    <a:gd name="T79" fmla="*/ 564740 h 1074"/>
                    <a:gd name="T80" fmla="*/ 1032599 w 1335"/>
                    <a:gd name="T81" fmla="*/ 473363 h 1074"/>
                    <a:gd name="T82" fmla="*/ 1034166 w 1335"/>
                    <a:gd name="T83" fmla="*/ 394719 h 1074"/>
                    <a:gd name="T84" fmla="*/ 1009879 w 1335"/>
                    <a:gd name="T85" fmla="*/ 335548 h 1074"/>
                    <a:gd name="T86" fmla="*/ 985592 w 1335"/>
                    <a:gd name="T87" fmla="*/ 304840 h 1074"/>
                    <a:gd name="T88" fmla="*/ 953470 w 1335"/>
                    <a:gd name="T89" fmla="*/ 248665 h 1074"/>
                    <a:gd name="T90" fmla="*/ 918998 w 1335"/>
                    <a:gd name="T91" fmla="*/ 154292 h 1074"/>
                    <a:gd name="T92" fmla="*/ 885309 w 1335"/>
                    <a:gd name="T93" fmla="*/ 101863 h 1074"/>
                    <a:gd name="T94" fmla="*/ 871990 w 1335"/>
                    <a:gd name="T95" fmla="*/ 20223 h 1074"/>
                    <a:gd name="T96" fmla="*/ 846136 w 1335"/>
                    <a:gd name="T97" fmla="*/ 35203 h 1074"/>
                    <a:gd name="T98" fmla="*/ 833601 w 1335"/>
                    <a:gd name="T99" fmla="*/ 66660 h 1074"/>
                    <a:gd name="T100" fmla="*/ 824199 w 1335"/>
                    <a:gd name="T101" fmla="*/ 126580 h 1074"/>
                    <a:gd name="T102" fmla="*/ 749770 w 1335"/>
                    <a:gd name="T103" fmla="*/ 179758 h 1074"/>
                    <a:gd name="T104" fmla="*/ 665157 w 1335"/>
                    <a:gd name="T105" fmla="*/ 111600 h 1074"/>
                    <a:gd name="T106" fmla="*/ 701196 w 1335"/>
                    <a:gd name="T107" fmla="*/ 60668 h 1074"/>
                    <a:gd name="T108" fmla="*/ 687877 w 1335"/>
                    <a:gd name="T109" fmla="*/ 38948 h 1074"/>
                    <a:gd name="T110" fmla="*/ 644003 w 1335"/>
                    <a:gd name="T111" fmla="*/ 37450 h 107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335"/>
                    <a:gd name="T169" fmla="*/ 0 h 1074"/>
                    <a:gd name="T170" fmla="*/ 1335 w 1335"/>
                    <a:gd name="T171" fmla="*/ 1074 h 107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335" h="1074">
                      <a:moveTo>
                        <a:pt x="783" y="23"/>
                      </a:moveTo>
                      <a:lnTo>
                        <a:pt x="768" y="21"/>
                      </a:lnTo>
                      <a:lnTo>
                        <a:pt x="760" y="17"/>
                      </a:lnTo>
                      <a:lnTo>
                        <a:pt x="754" y="23"/>
                      </a:lnTo>
                      <a:lnTo>
                        <a:pt x="746" y="19"/>
                      </a:lnTo>
                      <a:lnTo>
                        <a:pt x="758" y="27"/>
                      </a:lnTo>
                      <a:lnTo>
                        <a:pt x="771" y="35"/>
                      </a:lnTo>
                      <a:lnTo>
                        <a:pt x="766" y="50"/>
                      </a:lnTo>
                      <a:lnTo>
                        <a:pt x="756" y="56"/>
                      </a:lnTo>
                      <a:lnTo>
                        <a:pt x="727" y="50"/>
                      </a:lnTo>
                      <a:lnTo>
                        <a:pt x="715" y="58"/>
                      </a:lnTo>
                      <a:lnTo>
                        <a:pt x="705" y="68"/>
                      </a:lnTo>
                      <a:lnTo>
                        <a:pt x="700" y="64"/>
                      </a:lnTo>
                      <a:lnTo>
                        <a:pt x="696" y="72"/>
                      </a:lnTo>
                      <a:lnTo>
                        <a:pt x="682" y="91"/>
                      </a:lnTo>
                      <a:lnTo>
                        <a:pt x="680" y="101"/>
                      </a:lnTo>
                      <a:lnTo>
                        <a:pt x="667" y="113"/>
                      </a:lnTo>
                      <a:lnTo>
                        <a:pt x="651" y="142"/>
                      </a:lnTo>
                      <a:lnTo>
                        <a:pt x="661" y="145"/>
                      </a:lnTo>
                      <a:lnTo>
                        <a:pt x="667" y="151"/>
                      </a:lnTo>
                      <a:lnTo>
                        <a:pt x="657" y="163"/>
                      </a:lnTo>
                      <a:lnTo>
                        <a:pt x="669" y="176"/>
                      </a:lnTo>
                      <a:lnTo>
                        <a:pt x="643" y="157"/>
                      </a:lnTo>
                      <a:lnTo>
                        <a:pt x="640" y="163"/>
                      </a:lnTo>
                      <a:lnTo>
                        <a:pt x="616" y="153"/>
                      </a:lnTo>
                      <a:lnTo>
                        <a:pt x="609" y="173"/>
                      </a:lnTo>
                      <a:lnTo>
                        <a:pt x="603" y="173"/>
                      </a:lnTo>
                      <a:lnTo>
                        <a:pt x="597" y="178"/>
                      </a:lnTo>
                      <a:lnTo>
                        <a:pt x="599" y="169"/>
                      </a:lnTo>
                      <a:lnTo>
                        <a:pt x="607" y="145"/>
                      </a:lnTo>
                      <a:lnTo>
                        <a:pt x="572" y="113"/>
                      </a:lnTo>
                      <a:lnTo>
                        <a:pt x="570" y="120"/>
                      </a:lnTo>
                      <a:lnTo>
                        <a:pt x="554" y="126"/>
                      </a:lnTo>
                      <a:lnTo>
                        <a:pt x="552" y="120"/>
                      </a:lnTo>
                      <a:lnTo>
                        <a:pt x="547" y="126"/>
                      </a:lnTo>
                      <a:lnTo>
                        <a:pt x="539" y="124"/>
                      </a:lnTo>
                      <a:lnTo>
                        <a:pt x="533" y="145"/>
                      </a:lnTo>
                      <a:lnTo>
                        <a:pt x="527" y="136"/>
                      </a:lnTo>
                      <a:lnTo>
                        <a:pt x="510" y="153"/>
                      </a:lnTo>
                      <a:lnTo>
                        <a:pt x="510" y="165"/>
                      </a:lnTo>
                      <a:lnTo>
                        <a:pt x="498" y="163"/>
                      </a:lnTo>
                      <a:lnTo>
                        <a:pt x="504" y="180"/>
                      </a:lnTo>
                      <a:lnTo>
                        <a:pt x="488" y="175"/>
                      </a:lnTo>
                      <a:lnTo>
                        <a:pt x="479" y="190"/>
                      </a:lnTo>
                      <a:lnTo>
                        <a:pt x="481" y="192"/>
                      </a:lnTo>
                      <a:lnTo>
                        <a:pt x="484" y="190"/>
                      </a:lnTo>
                      <a:lnTo>
                        <a:pt x="477" y="200"/>
                      </a:lnTo>
                      <a:lnTo>
                        <a:pt x="475" y="209"/>
                      </a:lnTo>
                      <a:lnTo>
                        <a:pt x="483" y="211"/>
                      </a:lnTo>
                      <a:lnTo>
                        <a:pt x="465" y="211"/>
                      </a:lnTo>
                      <a:lnTo>
                        <a:pt x="457" y="211"/>
                      </a:lnTo>
                      <a:lnTo>
                        <a:pt x="450" y="209"/>
                      </a:lnTo>
                      <a:lnTo>
                        <a:pt x="446" y="217"/>
                      </a:lnTo>
                      <a:lnTo>
                        <a:pt x="450" y="235"/>
                      </a:lnTo>
                      <a:lnTo>
                        <a:pt x="442" y="239"/>
                      </a:lnTo>
                      <a:lnTo>
                        <a:pt x="442" y="270"/>
                      </a:lnTo>
                      <a:lnTo>
                        <a:pt x="432" y="242"/>
                      </a:lnTo>
                      <a:lnTo>
                        <a:pt x="422" y="213"/>
                      </a:lnTo>
                      <a:lnTo>
                        <a:pt x="411" y="225"/>
                      </a:lnTo>
                      <a:lnTo>
                        <a:pt x="390" y="256"/>
                      </a:lnTo>
                      <a:lnTo>
                        <a:pt x="390" y="281"/>
                      </a:lnTo>
                      <a:lnTo>
                        <a:pt x="357" y="318"/>
                      </a:lnTo>
                      <a:lnTo>
                        <a:pt x="331" y="332"/>
                      </a:lnTo>
                      <a:lnTo>
                        <a:pt x="304" y="347"/>
                      </a:lnTo>
                      <a:lnTo>
                        <a:pt x="267" y="355"/>
                      </a:lnTo>
                      <a:lnTo>
                        <a:pt x="236" y="365"/>
                      </a:lnTo>
                      <a:lnTo>
                        <a:pt x="205" y="376"/>
                      </a:lnTo>
                      <a:lnTo>
                        <a:pt x="198" y="370"/>
                      </a:lnTo>
                      <a:lnTo>
                        <a:pt x="151" y="401"/>
                      </a:lnTo>
                      <a:lnTo>
                        <a:pt x="106" y="430"/>
                      </a:lnTo>
                      <a:lnTo>
                        <a:pt x="93" y="444"/>
                      </a:lnTo>
                      <a:lnTo>
                        <a:pt x="95" y="419"/>
                      </a:lnTo>
                      <a:lnTo>
                        <a:pt x="77" y="456"/>
                      </a:lnTo>
                      <a:lnTo>
                        <a:pt x="62" y="496"/>
                      </a:lnTo>
                      <a:lnTo>
                        <a:pt x="58" y="529"/>
                      </a:lnTo>
                      <a:lnTo>
                        <a:pt x="62" y="557"/>
                      </a:lnTo>
                      <a:lnTo>
                        <a:pt x="64" y="584"/>
                      </a:lnTo>
                      <a:lnTo>
                        <a:pt x="56" y="591"/>
                      </a:lnTo>
                      <a:lnTo>
                        <a:pt x="56" y="582"/>
                      </a:lnTo>
                      <a:lnTo>
                        <a:pt x="46" y="562"/>
                      </a:lnTo>
                      <a:lnTo>
                        <a:pt x="46" y="601"/>
                      </a:lnTo>
                      <a:lnTo>
                        <a:pt x="39" y="586"/>
                      </a:lnTo>
                      <a:lnTo>
                        <a:pt x="35" y="584"/>
                      </a:lnTo>
                      <a:lnTo>
                        <a:pt x="41" y="619"/>
                      </a:lnTo>
                      <a:lnTo>
                        <a:pt x="44" y="655"/>
                      </a:lnTo>
                      <a:lnTo>
                        <a:pt x="48" y="686"/>
                      </a:lnTo>
                      <a:lnTo>
                        <a:pt x="54" y="719"/>
                      </a:lnTo>
                      <a:lnTo>
                        <a:pt x="50" y="748"/>
                      </a:lnTo>
                      <a:lnTo>
                        <a:pt x="48" y="776"/>
                      </a:lnTo>
                      <a:lnTo>
                        <a:pt x="44" y="803"/>
                      </a:lnTo>
                      <a:lnTo>
                        <a:pt x="41" y="832"/>
                      </a:lnTo>
                      <a:lnTo>
                        <a:pt x="17" y="869"/>
                      </a:lnTo>
                      <a:lnTo>
                        <a:pt x="2" y="873"/>
                      </a:lnTo>
                      <a:lnTo>
                        <a:pt x="0" y="896"/>
                      </a:lnTo>
                      <a:lnTo>
                        <a:pt x="23" y="909"/>
                      </a:lnTo>
                      <a:lnTo>
                        <a:pt x="44" y="923"/>
                      </a:lnTo>
                      <a:lnTo>
                        <a:pt x="87" y="919"/>
                      </a:lnTo>
                      <a:lnTo>
                        <a:pt x="126" y="904"/>
                      </a:lnTo>
                      <a:lnTo>
                        <a:pt x="134" y="900"/>
                      </a:lnTo>
                      <a:lnTo>
                        <a:pt x="153" y="882"/>
                      </a:lnTo>
                      <a:lnTo>
                        <a:pt x="190" y="882"/>
                      </a:lnTo>
                      <a:lnTo>
                        <a:pt x="225" y="882"/>
                      </a:lnTo>
                      <a:lnTo>
                        <a:pt x="269" y="880"/>
                      </a:lnTo>
                      <a:lnTo>
                        <a:pt x="300" y="849"/>
                      </a:lnTo>
                      <a:lnTo>
                        <a:pt x="343" y="834"/>
                      </a:lnTo>
                      <a:lnTo>
                        <a:pt x="386" y="818"/>
                      </a:lnTo>
                      <a:lnTo>
                        <a:pt x="424" y="811"/>
                      </a:lnTo>
                      <a:lnTo>
                        <a:pt x="465" y="803"/>
                      </a:lnTo>
                      <a:lnTo>
                        <a:pt x="506" y="797"/>
                      </a:lnTo>
                      <a:lnTo>
                        <a:pt x="547" y="789"/>
                      </a:lnTo>
                      <a:lnTo>
                        <a:pt x="570" y="797"/>
                      </a:lnTo>
                      <a:lnTo>
                        <a:pt x="614" y="814"/>
                      </a:lnTo>
                      <a:lnTo>
                        <a:pt x="624" y="826"/>
                      </a:lnTo>
                      <a:lnTo>
                        <a:pt x="628" y="834"/>
                      </a:lnTo>
                      <a:lnTo>
                        <a:pt x="632" y="851"/>
                      </a:lnTo>
                      <a:lnTo>
                        <a:pt x="636" y="876"/>
                      </a:lnTo>
                      <a:lnTo>
                        <a:pt x="640" y="902"/>
                      </a:lnTo>
                      <a:lnTo>
                        <a:pt x="632" y="902"/>
                      </a:lnTo>
                      <a:lnTo>
                        <a:pt x="647" y="917"/>
                      </a:lnTo>
                      <a:lnTo>
                        <a:pt x="655" y="911"/>
                      </a:lnTo>
                      <a:lnTo>
                        <a:pt x="692" y="876"/>
                      </a:lnTo>
                      <a:lnTo>
                        <a:pt x="731" y="847"/>
                      </a:lnTo>
                      <a:lnTo>
                        <a:pt x="746" y="830"/>
                      </a:lnTo>
                      <a:lnTo>
                        <a:pt x="736" y="857"/>
                      </a:lnTo>
                      <a:lnTo>
                        <a:pt x="715" y="888"/>
                      </a:lnTo>
                      <a:lnTo>
                        <a:pt x="692" y="917"/>
                      </a:lnTo>
                      <a:lnTo>
                        <a:pt x="676" y="929"/>
                      </a:lnTo>
                      <a:lnTo>
                        <a:pt x="700" y="929"/>
                      </a:lnTo>
                      <a:lnTo>
                        <a:pt x="727" y="894"/>
                      </a:lnTo>
                      <a:lnTo>
                        <a:pt x="736" y="911"/>
                      </a:lnTo>
                      <a:lnTo>
                        <a:pt x="709" y="940"/>
                      </a:lnTo>
                      <a:lnTo>
                        <a:pt x="729" y="940"/>
                      </a:lnTo>
                      <a:lnTo>
                        <a:pt x="735" y="942"/>
                      </a:lnTo>
                      <a:lnTo>
                        <a:pt x="742" y="960"/>
                      </a:lnTo>
                      <a:lnTo>
                        <a:pt x="729" y="995"/>
                      </a:lnTo>
                      <a:lnTo>
                        <a:pt x="731" y="1033"/>
                      </a:lnTo>
                      <a:lnTo>
                        <a:pt x="764" y="1047"/>
                      </a:lnTo>
                      <a:lnTo>
                        <a:pt x="787" y="1055"/>
                      </a:lnTo>
                      <a:lnTo>
                        <a:pt x="808" y="1064"/>
                      </a:lnTo>
                      <a:lnTo>
                        <a:pt x="855" y="1047"/>
                      </a:lnTo>
                      <a:lnTo>
                        <a:pt x="855" y="1041"/>
                      </a:lnTo>
                      <a:lnTo>
                        <a:pt x="874" y="1032"/>
                      </a:lnTo>
                      <a:lnTo>
                        <a:pt x="861" y="1049"/>
                      </a:lnTo>
                      <a:lnTo>
                        <a:pt x="868" y="1051"/>
                      </a:lnTo>
                      <a:lnTo>
                        <a:pt x="882" y="1051"/>
                      </a:lnTo>
                      <a:lnTo>
                        <a:pt x="888" y="1068"/>
                      </a:lnTo>
                      <a:lnTo>
                        <a:pt x="894" y="1074"/>
                      </a:lnTo>
                      <a:lnTo>
                        <a:pt x="903" y="1063"/>
                      </a:lnTo>
                      <a:lnTo>
                        <a:pt x="965" y="1032"/>
                      </a:lnTo>
                      <a:lnTo>
                        <a:pt x="994" y="1028"/>
                      </a:lnTo>
                      <a:lnTo>
                        <a:pt x="1035" y="1016"/>
                      </a:lnTo>
                      <a:lnTo>
                        <a:pt x="1051" y="997"/>
                      </a:lnTo>
                      <a:lnTo>
                        <a:pt x="1085" y="958"/>
                      </a:lnTo>
                      <a:lnTo>
                        <a:pt x="1120" y="919"/>
                      </a:lnTo>
                      <a:lnTo>
                        <a:pt x="1151" y="876"/>
                      </a:lnTo>
                      <a:lnTo>
                        <a:pt x="1163" y="867"/>
                      </a:lnTo>
                      <a:lnTo>
                        <a:pt x="1202" y="836"/>
                      </a:lnTo>
                      <a:lnTo>
                        <a:pt x="1217" y="826"/>
                      </a:lnTo>
                      <a:lnTo>
                        <a:pt x="1242" y="791"/>
                      </a:lnTo>
                      <a:lnTo>
                        <a:pt x="1270" y="754"/>
                      </a:lnTo>
                      <a:lnTo>
                        <a:pt x="1293" y="719"/>
                      </a:lnTo>
                      <a:lnTo>
                        <a:pt x="1316" y="684"/>
                      </a:lnTo>
                      <a:lnTo>
                        <a:pt x="1316" y="657"/>
                      </a:lnTo>
                      <a:lnTo>
                        <a:pt x="1318" y="632"/>
                      </a:lnTo>
                      <a:lnTo>
                        <a:pt x="1328" y="601"/>
                      </a:lnTo>
                      <a:lnTo>
                        <a:pt x="1335" y="572"/>
                      </a:lnTo>
                      <a:lnTo>
                        <a:pt x="1332" y="549"/>
                      </a:lnTo>
                      <a:lnTo>
                        <a:pt x="1320" y="527"/>
                      </a:lnTo>
                      <a:lnTo>
                        <a:pt x="1306" y="506"/>
                      </a:lnTo>
                      <a:lnTo>
                        <a:pt x="1287" y="483"/>
                      </a:lnTo>
                      <a:lnTo>
                        <a:pt x="1293" y="438"/>
                      </a:lnTo>
                      <a:lnTo>
                        <a:pt x="1289" y="448"/>
                      </a:lnTo>
                      <a:lnTo>
                        <a:pt x="1273" y="432"/>
                      </a:lnTo>
                      <a:lnTo>
                        <a:pt x="1270" y="448"/>
                      </a:lnTo>
                      <a:lnTo>
                        <a:pt x="1258" y="438"/>
                      </a:lnTo>
                      <a:lnTo>
                        <a:pt x="1258" y="407"/>
                      </a:lnTo>
                      <a:lnTo>
                        <a:pt x="1246" y="378"/>
                      </a:lnTo>
                      <a:lnTo>
                        <a:pt x="1250" y="366"/>
                      </a:lnTo>
                      <a:lnTo>
                        <a:pt x="1240" y="357"/>
                      </a:lnTo>
                      <a:lnTo>
                        <a:pt x="1217" y="332"/>
                      </a:lnTo>
                      <a:lnTo>
                        <a:pt x="1180" y="304"/>
                      </a:lnTo>
                      <a:lnTo>
                        <a:pt x="1180" y="268"/>
                      </a:lnTo>
                      <a:lnTo>
                        <a:pt x="1178" y="233"/>
                      </a:lnTo>
                      <a:lnTo>
                        <a:pt x="1173" y="206"/>
                      </a:lnTo>
                      <a:lnTo>
                        <a:pt x="1177" y="169"/>
                      </a:lnTo>
                      <a:lnTo>
                        <a:pt x="1171" y="153"/>
                      </a:lnTo>
                      <a:lnTo>
                        <a:pt x="1151" y="132"/>
                      </a:lnTo>
                      <a:lnTo>
                        <a:pt x="1130" y="136"/>
                      </a:lnTo>
                      <a:lnTo>
                        <a:pt x="1128" y="109"/>
                      </a:lnTo>
                      <a:lnTo>
                        <a:pt x="1124" y="83"/>
                      </a:lnTo>
                      <a:lnTo>
                        <a:pt x="1122" y="49"/>
                      </a:lnTo>
                      <a:lnTo>
                        <a:pt x="1113" y="27"/>
                      </a:lnTo>
                      <a:lnTo>
                        <a:pt x="1107" y="8"/>
                      </a:lnTo>
                      <a:lnTo>
                        <a:pt x="1103" y="0"/>
                      </a:lnTo>
                      <a:lnTo>
                        <a:pt x="1085" y="31"/>
                      </a:lnTo>
                      <a:lnTo>
                        <a:pt x="1080" y="47"/>
                      </a:lnTo>
                      <a:lnTo>
                        <a:pt x="1070" y="68"/>
                      </a:lnTo>
                      <a:lnTo>
                        <a:pt x="1076" y="70"/>
                      </a:lnTo>
                      <a:lnTo>
                        <a:pt x="1074" y="76"/>
                      </a:lnTo>
                      <a:lnTo>
                        <a:pt x="1064" y="89"/>
                      </a:lnTo>
                      <a:lnTo>
                        <a:pt x="1064" y="105"/>
                      </a:lnTo>
                      <a:lnTo>
                        <a:pt x="1058" y="107"/>
                      </a:lnTo>
                      <a:lnTo>
                        <a:pt x="1056" y="138"/>
                      </a:lnTo>
                      <a:lnTo>
                        <a:pt x="1052" y="169"/>
                      </a:lnTo>
                      <a:lnTo>
                        <a:pt x="1029" y="211"/>
                      </a:lnTo>
                      <a:lnTo>
                        <a:pt x="1006" y="256"/>
                      </a:lnTo>
                      <a:lnTo>
                        <a:pt x="979" y="260"/>
                      </a:lnTo>
                      <a:lnTo>
                        <a:pt x="957" y="240"/>
                      </a:lnTo>
                      <a:lnTo>
                        <a:pt x="923" y="217"/>
                      </a:lnTo>
                      <a:lnTo>
                        <a:pt x="888" y="194"/>
                      </a:lnTo>
                      <a:lnTo>
                        <a:pt x="868" y="173"/>
                      </a:lnTo>
                      <a:lnTo>
                        <a:pt x="849" y="149"/>
                      </a:lnTo>
                      <a:lnTo>
                        <a:pt x="872" y="113"/>
                      </a:lnTo>
                      <a:lnTo>
                        <a:pt x="882" y="91"/>
                      </a:lnTo>
                      <a:lnTo>
                        <a:pt x="888" y="95"/>
                      </a:lnTo>
                      <a:lnTo>
                        <a:pt x="895" y="81"/>
                      </a:lnTo>
                      <a:lnTo>
                        <a:pt x="911" y="58"/>
                      </a:lnTo>
                      <a:lnTo>
                        <a:pt x="895" y="47"/>
                      </a:lnTo>
                      <a:lnTo>
                        <a:pt x="882" y="64"/>
                      </a:lnTo>
                      <a:lnTo>
                        <a:pt x="878" y="52"/>
                      </a:lnTo>
                      <a:lnTo>
                        <a:pt x="870" y="52"/>
                      </a:lnTo>
                      <a:lnTo>
                        <a:pt x="874" y="49"/>
                      </a:lnTo>
                      <a:lnTo>
                        <a:pt x="845" y="52"/>
                      </a:lnTo>
                      <a:lnTo>
                        <a:pt x="822" y="50"/>
                      </a:lnTo>
                      <a:lnTo>
                        <a:pt x="806" y="41"/>
                      </a:lnTo>
                      <a:lnTo>
                        <a:pt x="783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6" name="Freeform 216"/>
                <p:cNvSpPr>
                  <a:spLocks/>
                </p:cNvSpPr>
                <p:nvPr/>
              </p:nvSpPr>
              <p:spPr bwMode="auto">
                <a:xfrm>
                  <a:off x="7838892" y="4548006"/>
                  <a:ext cx="101218" cy="76357"/>
                </a:xfrm>
                <a:custGeom>
                  <a:avLst/>
                  <a:gdLst>
                    <a:gd name="T0" fmla="*/ 39874 w 132"/>
                    <a:gd name="T1" fmla="*/ 58517 h 107"/>
                    <a:gd name="T2" fmla="*/ 12269 w 132"/>
                    <a:gd name="T3" fmla="*/ 76357 h 107"/>
                    <a:gd name="T4" fmla="*/ 0 w 132"/>
                    <a:gd name="T5" fmla="*/ 67794 h 107"/>
                    <a:gd name="T6" fmla="*/ 1534 w 132"/>
                    <a:gd name="T7" fmla="*/ 67794 h 107"/>
                    <a:gd name="T8" fmla="*/ 1534 w 132"/>
                    <a:gd name="T9" fmla="*/ 42817 h 107"/>
                    <a:gd name="T10" fmla="*/ 4601 w 132"/>
                    <a:gd name="T11" fmla="*/ 39963 h 107"/>
                    <a:gd name="T12" fmla="*/ 7668 w 132"/>
                    <a:gd name="T13" fmla="*/ 42817 h 107"/>
                    <a:gd name="T14" fmla="*/ 12269 w 132"/>
                    <a:gd name="T15" fmla="*/ 23549 h 107"/>
                    <a:gd name="T16" fmla="*/ 14569 w 132"/>
                    <a:gd name="T17" fmla="*/ 4282 h 107"/>
                    <a:gd name="T18" fmla="*/ 22237 w 132"/>
                    <a:gd name="T19" fmla="*/ 0 h 107"/>
                    <a:gd name="T20" fmla="*/ 42941 w 132"/>
                    <a:gd name="T21" fmla="*/ 8563 h 107"/>
                    <a:gd name="T22" fmla="*/ 63645 w 132"/>
                    <a:gd name="T23" fmla="*/ 14986 h 107"/>
                    <a:gd name="T24" fmla="*/ 69779 w 132"/>
                    <a:gd name="T25" fmla="*/ 5709 h 107"/>
                    <a:gd name="T26" fmla="*/ 101218 w 132"/>
                    <a:gd name="T27" fmla="*/ 2854 h 107"/>
                    <a:gd name="T28" fmla="*/ 78981 w 132"/>
                    <a:gd name="T29" fmla="*/ 37108 h 107"/>
                    <a:gd name="T30" fmla="*/ 74380 w 132"/>
                    <a:gd name="T31" fmla="*/ 36394 h 107"/>
                    <a:gd name="T32" fmla="*/ 44475 w 132"/>
                    <a:gd name="T33" fmla="*/ 64939 h 107"/>
                    <a:gd name="T34" fmla="*/ 49075 w 132"/>
                    <a:gd name="T35" fmla="*/ 59230 h 107"/>
                    <a:gd name="T36" fmla="*/ 42941 w 132"/>
                    <a:gd name="T37" fmla="*/ 59230 h 107"/>
                    <a:gd name="T38" fmla="*/ 39874 w 132"/>
                    <a:gd name="T39" fmla="*/ 58517 h 10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32"/>
                    <a:gd name="T61" fmla="*/ 0 h 107"/>
                    <a:gd name="T62" fmla="*/ 132 w 132"/>
                    <a:gd name="T63" fmla="*/ 107 h 10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32" h="107">
                      <a:moveTo>
                        <a:pt x="52" y="82"/>
                      </a:moveTo>
                      <a:lnTo>
                        <a:pt x="16" y="107"/>
                      </a:lnTo>
                      <a:lnTo>
                        <a:pt x="0" y="95"/>
                      </a:lnTo>
                      <a:lnTo>
                        <a:pt x="2" y="95"/>
                      </a:lnTo>
                      <a:lnTo>
                        <a:pt x="2" y="60"/>
                      </a:lnTo>
                      <a:lnTo>
                        <a:pt x="6" y="56"/>
                      </a:lnTo>
                      <a:lnTo>
                        <a:pt x="10" y="60"/>
                      </a:lnTo>
                      <a:lnTo>
                        <a:pt x="16" y="33"/>
                      </a:lnTo>
                      <a:lnTo>
                        <a:pt x="19" y="6"/>
                      </a:lnTo>
                      <a:lnTo>
                        <a:pt x="29" y="0"/>
                      </a:lnTo>
                      <a:lnTo>
                        <a:pt x="56" y="12"/>
                      </a:lnTo>
                      <a:lnTo>
                        <a:pt x="83" y="21"/>
                      </a:lnTo>
                      <a:lnTo>
                        <a:pt x="91" y="8"/>
                      </a:lnTo>
                      <a:lnTo>
                        <a:pt x="132" y="4"/>
                      </a:lnTo>
                      <a:lnTo>
                        <a:pt x="103" y="52"/>
                      </a:lnTo>
                      <a:lnTo>
                        <a:pt x="97" y="51"/>
                      </a:lnTo>
                      <a:lnTo>
                        <a:pt x="58" y="91"/>
                      </a:lnTo>
                      <a:lnTo>
                        <a:pt x="64" y="83"/>
                      </a:lnTo>
                      <a:lnTo>
                        <a:pt x="56" y="83"/>
                      </a:lnTo>
                      <a:lnTo>
                        <a:pt x="52" y="8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7" name="Freeform 217"/>
                <p:cNvSpPr>
                  <a:spLocks/>
                </p:cNvSpPr>
                <p:nvPr/>
              </p:nvSpPr>
              <p:spPr bwMode="auto">
                <a:xfrm>
                  <a:off x="8957615" y="3885650"/>
                  <a:ext cx="37291" cy="23085"/>
                </a:xfrm>
                <a:custGeom>
                  <a:avLst/>
                  <a:gdLst>
                    <a:gd name="T0" fmla="*/ 37291 w 41"/>
                    <a:gd name="T1" fmla="*/ 20106 h 31"/>
                    <a:gd name="T2" fmla="*/ 0 w 41"/>
                    <a:gd name="T3" fmla="*/ 23085 h 31"/>
                    <a:gd name="T4" fmla="*/ 0 w 41"/>
                    <a:gd name="T5" fmla="*/ 10425 h 31"/>
                    <a:gd name="T6" fmla="*/ 26377 w 41"/>
                    <a:gd name="T7" fmla="*/ 0 h 31"/>
                    <a:gd name="T8" fmla="*/ 37291 w 41"/>
                    <a:gd name="T9" fmla="*/ 18617 h 31"/>
                    <a:gd name="T10" fmla="*/ 37291 w 41"/>
                    <a:gd name="T11" fmla="*/ 20106 h 3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31"/>
                    <a:gd name="T20" fmla="*/ 41 w 41"/>
                    <a:gd name="T21" fmla="*/ 31 h 3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31">
                      <a:moveTo>
                        <a:pt x="41" y="27"/>
                      </a:moveTo>
                      <a:lnTo>
                        <a:pt x="0" y="31"/>
                      </a:lnTo>
                      <a:lnTo>
                        <a:pt x="0" y="14"/>
                      </a:lnTo>
                      <a:lnTo>
                        <a:pt x="29" y="0"/>
                      </a:lnTo>
                      <a:lnTo>
                        <a:pt x="41" y="25"/>
                      </a:lnTo>
                      <a:lnTo>
                        <a:pt x="41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8" name="Freeform 218"/>
                <p:cNvSpPr>
                  <a:spLocks/>
                </p:cNvSpPr>
                <p:nvPr/>
              </p:nvSpPr>
              <p:spPr bwMode="auto">
                <a:xfrm>
                  <a:off x="9002009" y="3850135"/>
                  <a:ext cx="35515" cy="17758"/>
                </a:xfrm>
                <a:custGeom>
                  <a:avLst/>
                  <a:gdLst>
                    <a:gd name="T0" fmla="*/ 27022 w 46"/>
                    <a:gd name="T1" fmla="*/ 12075 h 25"/>
                    <a:gd name="T2" fmla="*/ 35515 w 46"/>
                    <a:gd name="T3" fmla="*/ 0 h 25"/>
                    <a:gd name="T4" fmla="*/ 1544 w 46"/>
                    <a:gd name="T5" fmla="*/ 10655 h 25"/>
                    <a:gd name="T6" fmla="*/ 0 w 46"/>
                    <a:gd name="T7" fmla="*/ 17758 h 25"/>
                    <a:gd name="T8" fmla="*/ 27022 w 46"/>
                    <a:gd name="T9" fmla="*/ 12075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"/>
                    <a:gd name="T16" fmla="*/ 0 h 25"/>
                    <a:gd name="T17" fmla="*/ 46 w 46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" h="25">
                      <a:moveTo>
                        <a:pt x="35" y="17"/>
                      </a:moveTo>
                      <a:lnTo>
                        <a:pt x="46" y="0"/>
                      </a:lnTo>
                      <a:lnTo>
                        <a:pt x="2" y="15"/>
                      </a:lnTo>
                      <a:lnTo>
                        <a:pt x="0" y="25"/>
                      </a:lnTo>
                      <a:lnTo>
                        <a:pt x="35" y="1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29" name="Freeform 219"/>
                <p:cNvSpPr>
                  <a:spLocks/>
                </p:cNvSpPr>
                <p:nvPr/>
              </p:nvSpPr>
              <p:spPr bwMode="auto">
                <a:xfrm>
                  <a:off x="8604241" y="3967335"/>
                  <a:ext cx="58600" cy="53273"/>
                </a:xfrm>
                <a:custGeom>
                  <a:avLst/>
                  <a:gdLst>
                    <a:gd name="T0" fmla="*/ 58600 w 76"/>
                    <a:gd name="T1" fmla="*/ 53273 h 79"/>
                    <a:gd name="T2" fmla="*/ 43179 w 76"/>
                    <a:gd name="T3" fmla="*/ 51924 h 79"/>
                    <a:gd name="T4" fmla="*/ 23903 w 76"/>
                    <a:gd name="T5" fmla="*/ 33717 h 79"/>
                    <a:gd name="T6" fmla="*/ 3084 w 76"/>
                    <a:gd name="T7" fmla="*/ 15510 h 79"/>
                    <a:gd name="T8" fmla="*/ 0 w 76"/>
                    <a:gd name="T9" fmla="*/ 0 h 79"/>
                    <a:gd name="T10" fmla="*/ 14650 w 76"/>
                    <a:gd name="T11" fmla="*/ 12812 h 79"/>
                    <a:gd name="T12" fmla="*/ 30071 w 76"/>
                    <a:gd name="T13" fmla="*/ 26299 h 79"/>
                    <a:gd name="T14" fmla="*/ 43179 w 76"/>
                    <a:gd name="T15" fmla="*/ 40461 h 79"/>
                    <a:gd name="T16" fmla="*/ 58600 w 76"/>
                    <a:gd name="T17" fmla="*/ 53273 h 7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6"/>
                    <a:gd name="T28" fmla="*/ 0 h 79"/>
                    <a:gd name="T29" fmla="*/ 76 w 76"/>
                    <a:gd name="T30" fmla="*/ 79 h 7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6" h="79">
                      <a:moveTo>
                        <a:pt x="76" y="79"/>
                      </a:moveTo>
                      <a:lnTo>
                        <a:pt x="56" y="77"/>
                      </a:lnTo>
                      <a:lnTo>
                        <a:pt x="31" y="50"/>
                      </a:lnTo>
                      <a:lnTo>
                        <a:pt x="4" y="23"/>
                      </a:lnTo>
                      <a:lnTo>
                        <a:pt x="0" y="0"/>
                      </a:lnTo>
                      <a:lnTo>
                        <a:pt x="19" y="19"/>
                      </a:lnTo>
                      <a:lnTo>
                        <a:pt x="39" y="39"/>
                      </a:lnTo>
                      <a:lnTo>
                        <a:pt x="56" y="60"/>
                      </a:lnTo>
                      <a:lnTo>
                        <a:pt x="76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0" name="Freeform 220"/>
                <p:cNvSpPr>
                  <a:spLocks/>
                </p:cNvSpPr>
                <p:nvPr/>
              </p:nvSpPr>
              <p:spPr bwMode="auto">
                <a:xfrm>
                  <a:off x="8265072" y="4542679"/>
                  <a:ext cx="296551" cy="170472"/>
                </a:xfrm>
                <a:custGeom>
                  <a:avLst/>
                  <a:gdLst>
                    <a:gd name="T0" fmla="*/ 192993 w 378"/>
                    <a:gd name="T1" fmla="*/ 92247 h 231"/>
                    <a:gd name="T2" fmla="*/ 182010 w 378"/>
                    <a:gd name="T3" fmla="*/ 76011 h 231"/>
                    <a:gd name="T4" fmla="*/ 180441 w 378"/>
                    <a:gd name="T5" fmla="*/ 74535 h 231"/>
                    <a:gd name="T6" fmla="*/ 173380 w 378"/>
                    <a:gd name="T7" fmla="*/ 77487 h 231"/>
                    <a:gd name="T8" fmla="*/ 183579 w 378"/>
                    <a:gd name="T9" fmla="*/ 94461 h 231"/>
                    <a:gd name="T10" fmla="*/ 162397 w 378"/>
                    <a:gd name="T11" fmla="*/ 98889 h 231"/>
                    <a:gd name="T12" fmla="*/ 150629 w 378"/>
                    <a:gd name="T13" fmla="*/ 101840 h 231"/>
                    <a:gd name="T14" fmla="*/ 145922 w 378"/>
                    <a:gd name="T15" fmla="*/ 112172 h 231"/>
                    <a:gd name="T16" fmla="*/ 134939 w 378"/>
                    <a:gd name="T17" fmla="*/ 123242 h 231"/>
                    <a:gd name="T18" fmla="*/ 101988 w 378"/>
                    <a:gd name="T19" fmla="*/ 147595 h 231"/>
                    <a:gd name="T20" fmla="*/ 42364 w 378"/>
                    <a:gd name="T21" fmla="*/ 170472 h 231"/>
                    <a:gd name="T22" fmla="*/ 29812 w 378"/>
                    <a:gd name="T23" fmla="*/ 166044 h 231"/>
                    <a:gd name="T24" fmla="*/ 10199 w 378"/>
                    <a:gd name="T25" fmla="*/ 159402 h 231"/>
                    <a:gd name="T26" fmla="*/ 1569 w 378"/>
                    <a:gd name="T27" fmla="*/ 154975 h 231"/>
                    <a:gd name="T28" fmla="*/ 4707 w 378"/>
                    <a:gd name="T29" fmla="*/ 153499 h 231"/>
                    <a:gd name="T30" fmla="*/ 0 w 378"/>
                    <a:gd name="T31" fmla="*/ 152023 h 231"/>
                    <a:gd name="T32" fmla="*/ 13337 w 378"/>
                    <a:gd name="T33" fmla="*/ 143167 h 231"/>
                    <a:gd name="T34" fmla="*/ 19613 w 378"/>
                    <a:gd name="T35" fmla="*/ 138739 h 231"/>
                    <a:gd name="T36" fmla="*/ 27458 w 378"/>
                    <a:gd name="T37" fmla="*/ 133573 h 231"/>
                    <a:gd name="T38" fmla="*/ 29027 w 378"/>
                    <a:gd name="T39" fmla="*/ 136525 h 231"/>
                    <a:gd name="T40" fmla="*/ 39226 w 378"/>
                    <a:gd name="T41" fmla="*/ 124718 h 231"/>
                    <a:gd name="T42" fmla="*/ 50210 w 378"/>
                    <a:gd name="T43" fmla="*/ 120290 h 231"/>
                    <a:gd name="T44" fmla="*/ 65116 w 378"/>
                    <a:gd name="T45" fmla="*/ 113648 h 231"/>
                    <a:gd name="T46" fmla="*/ 97281 w 378"/>
                    <a:gd name="T47" fmla="*/ 95937 h 231"/>
                    <a:gd name="T48" fmla="*/ 110618 w 378"/>
                    <a:gd name="T49" fmla="*/ 94461 h 231"/>
                    <a:gd name="T50" fmla="*/ 156121 w 378"/>
                    <a:gd name="T51" fmla="*/ 73059 h 231"/>
                    <a:gd name="T52" fmla="*/ 178872 w 378"/>
                    <a:gd name="T53" fmla="*/ 64942 h 231"/>
                    <a:gd name="T54" fmla="*/ 206330 w 378"/>
                    <a:gd name="T55" fmla="*/ 48706 h 231"/>
                    <a:gd name="T56" fmla="*/ 199270 w 378"/>
                    <a:gd name="T57" fmla="*/ 48706 h 231"/>
                    <a:gd name="T58" fmla="*/ 220452 w 378"/>
                    <a:gd name="T59" fmla="*/ 34685 h 231"/>
                    <a:gd name="T60" fmla="*/ 269093 w 378"/>
                    <a:gd name="T61" fmla="*/ 2952 h 231"/>
                    <a:gd name="T62" fmla="*/ 279291 w 378"/>
                    <a:gd name="T63" fmla="*/ 0 h 231"/>
                    <a:gd name="T64" fmla="*/ 269093 w 378"/>
                    <a:gd name="T65" fmla="*/ 5904 h 231"/>
                    <a:gd name="T66" fmla="*/ 267524 w 378"/>
                    <a:gd name="T67" fmla="*/ 19187 h 231"/>
                    <a:gd name="T68" fmla="*/ 291844 w 378"/>
                    <a:gd name="T69" fmla="*/ 11808 h 231"/>
                    <a:gd name="T70" fmla="*/ 287137 w 378"/>
                    <a:gd name="T71" fmla="*/ 17711 h 231"/>
                    <a:gd name="T72" fmla="*/ 290275 w 378"/>
                    <a:gd name="T73" fmla="*/ 19187 h 231"/>
                    <a:gd name="T74" fmla="*/ 288706 w 378"/>
                    <a:gd name="T75" fmla="*/ 20663 h 231"/>
                    <a:gd name="T76" fmla="*/ 296551 w 378"/>
                    <a:gd name="T77" fmla="*/ 19187 h 231"/>
                    <a:gd name="T78" fmla="*/ 282430 w 378"/>
                    <a:gd name="T79" fmla="*/ 33209 h 231"/>
                    <a:gd name="T80" fmla="*/ 251048 w 378"/>
                    <a:gd name="T81" fmla="*/ 51658 h 231"/>
                    <a:gd name="T82" fmla="*/ 220452 w 378"/>
                    <a:gd name="T83" fmla="*/ 71583 h 231"/>
                    <a:gd name="T84" fmla="*/ 203192 w 378"/>
                    <a:gd name="T85" fmla="*/ 76011 h 231"/>
                    <a:gd name="T86" fmla="*/ 203192 w 378"/>
                    <a:gd name="T87" fmla="*/ 81915 h 231"/>
                    <a:gd name="T88" fmla="*/ 192993 w 378"/>
                    <a:gd name="T89" fmla="*/ 80439 h 231"/>
                    <a:gd name="T90" fmla="*/ 203192 w 378"/>
                    <a:gd name="T91" fmla="*/ 86343 h 231"/>
                    <a:gd name="T92" fmla="*/ 203192 w 378"/>
                    <a:gd name="T93" fmla="*/ 92985 h 231"/>
                    <a:gd name="T94" fmla="*/ 192993 w 378"/>
                    <a:gd name="T95" fmla="*/ 92247 h 231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78"/>
                    <a:gd name="T145" fmla="*/ 0 h 231"/>
                    <a:gd name="T146" fmla="*/ 378 w 378"/>
                    <a:gd name="T147" fmla="*/ 231 h 231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78" h="231">
                      <a:moveTo>
                        <a:pt x="246" y="125"/>
                      </a:moveTo>
                      <a:lnTo>
                        <a:pt x="232" y="103"/>
                      </a:lnTo>
                      <a:lnTo>
                        <a:pt x="230" y="101"/>
                      </a:lnTo>
                      <a:lnTo>
                        <a:pt x="221" y="105"/>
                      </a:lnTo>
                      <a:lnTo>
                        <a:pt x="234" y="128"/>
                      </a:lnTo>
                      <a:lnTo>
                        <a:pt x="207" y="134"/>
                      </a:lnTo>
                      <a:lnTo>
                        <a:pt x="192" y="138"/>
                      </a:lnTo>
                      <a:lnTo>
                        <a:pt x="186" y="152"/>
                      </a:lnTo>
                      <a:lnTo>
                        <a:pt x="172" y="167"/>
                      </a:lnTo>
                      <a:lnTo>
                        <a:pt x="130" y="200"/>
                      </a:lnTo>
                      <a:lnTo>
                        <a:pt x="54" y="231"/>
                      </a:lnTo>
                      <a:lnTo>
                        <a:pt x="38" y="225"/>
                      </a:lnTo>
                      <a:lnTo>
                        <a:pt x="13" y="216"/>
                      </a:lnTo>
                      <a:lnTo>
                        <a:pt x="2" y="210"/>
                      </a:lnTo>
                      <a:lnTo>
                        <a:pt x="6" y="208"/>
                      </a:lnTo>
                      <a:lnTo>
                        <a:pt x="0" y="206"/>
                      </a:lnTo>
                      <a:lnTo>
                        <a:pt x="17" y="194"/>
                      </a:lnTo>
                      <a:lnTo>
                        <a:pt x="25" y="188"/>
                      </a:lnTo>
                      <a:lnTo>
                        <a:pt x="35" y="181"/>
                      </a:lnTo>
                      <a:lnTo>
                        <a:pt x="37" y="185"/>
                      </a:lnTo>
                      <a:lnTo>
                        <a:pt x="50" y="169"/>
                      </a:lnTo>
                      <a:lnTo>
                        <a:pt x="64" y="163"/>
                      </a:lnTo>
                      <a:lnTo>
                        <a:pt x="83" y="154"/>
                      </a:lnTo>
                      <a:lnTo>
                        <a:pt x="124" y="130"/>
                      </a:lnTo>
                      <a:lnTo>
                        <a:pt x="141" y="128"/>
                      </a:lnTo>
                      <a:lnTo>
                        <a:pt x="199" y="99"/>
                      </a:lnTo>
                      <a:lnTo>
                        <a:pt x="228" y="88"/>
                      </a:lnTo>
                      <a:lnTo>
                        <a:pt x="263" y="66"/>
                      </a:lnTo>
                      <a:lnTo>
                        <a:pt x="254" y="66"/>
                      </a:lnTo>
                      <a:lnTo>
                        <a:pt x="281" y="47"/>
                      </a:lnTo>
                      <a:lnTo>
                        <a:pt x="343" y="4"/>
                      </a:lnTo>
                      <a:lnTo>
                        <a:pt x="356" y="0"/>
                      </a:lnTo>
                      <a:lnTo>
                        <a:pt x="343" y="8"/>
                      </a:lnTo>
                      <a:lnTo>
                        <a:pt x="341" y="26"/>
                      </a:lnTo>
                      <a:lnTo>
                        <a:pt x="372" y="16"/>
                      </a:lnTo>
                      <a:lnTo>
                        <a:pt x="366" y="24"/>
                      </a:lnTo>
                      <a:lnTo>
                        <a:pt x="370" y="26"/>
                      </a:lnTo>
                      <a:lnTo>
                        <a:pt x="368" y="28"/>
                      </a:lnTo>
                      <a:lnTo>
                        <a:pt x="378" y="26"/>
                      </a:lnTo>
                      <a:lnTo>
                        <a:pt x="360" y="45"/>
                      </a:lnTo>
                      <a:lnTo>
                        <a:pt x="320" y="70"/>
                      </a:lnTo>
                      <a:lnTo>
                        <a:pt x="281" y="97"/>
                      </a:lnTo>
                      <a:lnTo>
                        <a:pt x="259" y="103"/>
                      </a:lnTo>
                      <a:lnTo>
                        <a:pt x="259" y="111"/>
                      </a:lnTo>
                      <a:lnTo>
                        <a:pt x="246" y="109"/>
                      </a:lnTo>
                      <a:lnTo>
                        <a:pt x="259" y="117"/>
                      </a:lnTo>
                      <a:lnTo>
                        <a:pt x="259" y="126"/>
                      </a:lnTo>
                      <a:lnTo>
                        <a:pt x="246" y="1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1" name="Freeform 221"/>
                <p:cNvSpPr>
                  <a:spLocks/>
                </p:cNvSpPr>
                <p:nvPr/>
              </p:nvSpPr>
              <p:spPr bwMode="auto">
                <a:xfrm>
                  <a:off x="8568726" y="4370431"/>
                  <a:ext cx="165145" cy="200660"/>
                </a:xfrm>
                <a:custGeom>
                  <a:avLst/>
                  <a:gdLst>
                    <a:gd name="T0" fmla="*/ 21211 w 218"/>
                    <a:gd name="T1" fmla="*/ 136241 h 271"/>
                    <a:gd name="T2" fmla="*/ 29544 w 218"/>
                    <a:gd name="T3" fmla="*/ 148829 h 271"/>
                    <a:gd name="T4" fmla="*/ 37120 w 218"/>
                    <a:gd name="T5" fmla="*/ 162157 h 271"/>
                    <a:gd name="T6" fmla="*/ 0 w 218"/>
                    <a:gd name="T7" fmla="*/ 193256 h 271"/>
                    <a:gd name="T8" fmla="*/ 7575 w 218"/>
                    <a:gd name="T9" fmla="*/ 200660 h 271"/>
                    <a:gd name="T10" fmla="*/ 43180 w 218"/>
                    <a:gd name="T11" fmla="*/ 180668 h 271"/>
                    <a:gd name="T12" fmla="*/ 78027 w 218"/>
                    <a:gd name="T13" fmla="*/ 159195 h 271"/>
                    <a:gd name="T14" fmla="*/ 93936 w 218"/>
                    <a:gd name="T15" fmla="*/ 137722 h 271"/>
                    <a:gd name="T16" fmla="*/ 120450 w 218"/>
                    <a:gd name="T17" fmla="*/ 131799 h 271"/>
                    <a:gd name="T18" fmla="*/ 132571 w 218"/>
                    <a:gd name="T19" fmla="*/ 119211 h 271"/>
                    <a:gd name="T20" fmla="*/ 165145 w 218"/>
                    <a:gd name="T21" fmla="*/ 91815 h 271"/>
                    <a:gd name="T22" fmla="*/ 160600 w 218"/>
                    <a:gd name="T23" fmla="*/ 88853 h 271"/>
                    <a:gd name="T24" fmla="*/ 134086 w 218"/>
                    <a:gd name="T25" fmla="*/ 98479 h 271"/>
                    <a:gd name="T26" fmla="*/ 107572 w 218"/>
                    <a:gd name="T27" fmla="*/ 85891 h 271"/>
                    <a:gd name="T28" fmla="*/ 115147 w 218"/>
                    <a:gd name="T29" fmla="*/ 58495 h 271"/>
                    <a:gd name="T30" fmla="*/ 104541 w 218"/>
                    <a:gd name="T31" fmla="*/ 74785 h 271"/>
                    <a:gd name="T32" fmla="*/ 91663 w 218"/>
                    <a:gd name="T33" fmla="*/ 67380 h 271"/>
                    <a:gd name="T34" fmla="*/ 95451 w 218"/>
                    <a:gd name="T35" fmla="*/ 57014 h 271"/>
                    <a:gd name="T36" fmla="*/ 101511 w 218"/>
                    <a:gd name="T37" fmla="*/ 37022 h 271"/>
                    <a:gd name="T38" fmla="*/ 109087 w 218"/>
                    <a:gd name="T39" fmla="*/ 25915 h 271"/>
                    <a:gd name="T40" fmla="*/ 104541 w 218"/>
                    <a:gd name="T41" fmla="*/ 24435 h 271"/>
                    <a:gd name="T42" fmla="*/ 93178 w 218"/>
                    <a:gd name="T43" fmla="*/ 11107 h 271"/>
                    <a:gd name="T44" fmla="*/ 88633 w 218"/>
                    <a:gd name="T45" fmla="*/ 2962 h 271"/>
                    <a:gd name="T46" fmla="*/ 87118 w 218"/>
                    <a:gd name="T47" fmla="*/ 0 h 271"/>
                    <a:gd name="T48" fmla="*/ 84088 w 218"/>
                    <a:gd name="T49" fmla="*/ 19992 h 271"/>
                    <a:gd name="T50" fmla="*/ 87118 w 218"/>
                    <a:gd name="T51" fmla="*/ 28137 h 271"/>
                    <a:gd name="T52" fmla="*/ 82573 w 218"/>
                    <a:gd name="T53" fmla="*/ 52571 h 271"/>
                    <a:gd name="T54" fmla="*/ 85603 w 218"/>
                    <a:gd name="T55" fmla="*/ 42946 h 271"/>
                    <a:gd name="T56" fmla="*/ 90148 w 218"/>
                    <a:gd name="T57" fmla="*/ 48869 h 271"/>
                    <a:gd name="T58" fmla="*/ 90148 w 218"/>
                    <a:gd name="T59" fmla="*/ 51091 h 271"/>
                    <a:gd name="T60" fmla="*/ 85603 w 218"/>
                    <a:gd name="T61" fmla="*/ 59976 h 271"/>
                    <a:gd name="T62" fmla="*/ 81057 w 218"/>
                    <a:gd name="T63" fmla="*/ 73304 h 271"/>
                    <a:gd name="T64" fmla="*/ 90148 w 218"/>
                    <a:gd name="T65" fmla="*/ 70342 h 271"/>
                    <a:gd name="T66" fmla="*/ 82573 w 218"/>
                    <a:gd name="T67" fmla="*/ 75525 h 271"/>
                    <a:gd name="T68" fmla="*/ 76512 w 218"/>
                    <a:gd name="T69" fmla="*/ 88853 h 271"/>
                    <a:gd name="T70" fmla="*/ 53028 w 218"/>
                    <a:gd name="T71" fmla="*/ 119211 h 271"/>
                    <a:gd name="T72" fmla="*/ 21211 w 218"/>
                    <a:gd name="T73" fmla="*/ 136241 h 27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18"/>
                    <a:gd name="T112" fmla="*/ 0 h 271"/>
                    <a:gd name="T113" fmla="*/ 218 w 218"/>
                    <a:gd name="T114" fmla="*/ 271 h 27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18" h="271">
                      <a:moveTo>
                        <a:pt x="28" y="184"/>
                      </a:moveTo>
                      <a:lnTo>
                        <a:pt x="39" y="201"/>
                      </a:lnTo>
                      <a:lnTo>
                        <a:pt x="49" y="219"/>
                      </a:lnTo>
                      <a:lnTo>
                        <a:pt x="0" y="261"/>
                      </a:lnTo>
                      <a:lnTo>
                        <a:pt x="10" y="271"/>
                      </a:lnTo>
                      <a:lnTo>
                        <a:pt x="57" y="244"/>
                      </a:lnTo>
                      <a:lnTo>
                        <a:pt x="103" y="215"/>
                      </a:lnTo>
                      <a:lnTo>
                        <a:pt x="124" y="186"/>
                      </a:lnTo>
                      <a:lnTo>
                        <a:pt x="159" y="178"/>
                      </a:lnTo>
                      <a:lnTo>
                        <a:pt x="175" y="161"/>
                      </a:lnTo>
                      <a:lnTo>
                        <a:pt x="218" y="124"/>
                      </a:lnTo>
                      <a:lnTo>
                        <a:pt x="212" y="120"/>
                      </a:lnTo>
                      <a:lnTo>
                        <a:pt x="177" y="133"/>
                      </a:lnTo>
                      <a:lnTo>
                        <a:pt x="142" y="116"/>
                      </a:lnTo>
                      <a:lnTo>
                        <a:pt x="152" y="79"/>
                      </a:lnTo>
                      <a:lnTo>
                        <a:pt x="138" y="101"/>
                      </a:lnTo>
                      <a:lnTo>
                        <a:pt x="121" y="91"/>
                      </a:lnTo>
                      <a:lnTo>
                        <a:pt x="126" y="77"/>
                      </a:lnTo>
                      <a:lnTo>
                        <a:pt x="134" y="50"/>
                      </a:lnTo>
                      <a:lnTo>
                        <a:pt x="144" y="35"/>
                      </a:lnTo>
                      <a:lnTo>
                        <a:pt x="138" y="33"/>
                      </a:lnTo>
                      <a:lnTo>
                        <a:pt x="123" y="15"/>
                      </a:lnTo>
                      <a:lnTo>
                        <a:pt x="117" y="4"/>
                      </a:lnTo>
                      <a:lnTo>
                        <a:pt x="115" y="0"/>
                      </a:lnTo>
                      <a:lnTo>
                        <a:pt x="111" y="27"/>
                      </a:lnTo>
                      <a:lnTo>
                        <a:pt x="115" y="38"/>
                      </a:lnTo>
                      <a:lnTo>
                        <a:pt x="109" y="71"/>
                      </a:lnTo>
                      <a:lnTo>
                        <a:pt x="113" y="58"/>
                      </a:lnTo>
                      <a:lnTo>
                        <a:pt x="119" y="66"/>
                      </a:lnTo>
                      <a:lnTo>
                        <a:pt x="119" y="69"/>
                      </a:lnTo>
                      <a:lnTo>
                        <a:pt x="113" y="81"/>
                      </a:lnTo>
                      <a:lnTo>
                        <a:pt x="107" y="99"/>
                      </a:lnTo>
                      <a:lnTo>
                        <a:pt x="119" y="95"/>
                      </a:lnTo>
                      <a:lnTo>
                        <a:pt x="109" y="102"/>
                      </a:lnTo>
                      <a:lnTo>
                        <a:pt x="101" y="120"/>
                      </a:lnTo>
                      <a:lnTo>
                        <a:pt x="70" y="161"/>
                      </a:lnTo>
                      <a:lnTo>
                        <a:pt x="28" y="18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2" name="Freeform 222"/>
                <p:cNvSpPr>
                  <a:spLocks/>
                </p:cNvSpPr>
                <p:nvPr/>
              </p:nvSpPr>
              <p:spPr bwMode="auto">
                <a:xfrm>
                  <a:off x="8257969" y="4720254"/>
                  <a:ext cx="21309" cy="5327"/>
                </a:xfrm>
                <a:custGeom>
                  <a:avLst/>
                  <a:gdLst>
                    <a:gd name="T0" fmla="*/ 21309 w 21"/>
                    <a:gd name="T1" fmla="*/ 2664 h 12"/>
                    <a:gd name="T2" fmla="*/ 21309 w 21"/>
                    <a:gd name="T3" fmla="*/ 888 h 12"/>
                    <a:gd name="T4" fmla="*/ 11162 w 21"/>
                    <a:gd name="T5" fmla="*/ 0 h 12"/>
                    <a:gd name="T6" fmla="*/ 0 w 21"/>
                    <a:gd name="T7" fmla="*/ 5327 h 12"/>
                    <a:gd name="T8" fmla="*/ 21309 w 21"/>
                    <a:gd name="T9" fmla="*/ 2664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1"/>
                    <a:gd name="T16" fmla="*/ 0 h 12"/>
                    <a:gd name="T17" fmla="*/ 21 w 21"/>
                    <a:gd name="T18" fmla="*/ 12 h 1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1" h="12">
                      <a:moveTo>
                        <a:pt x="21" y="6"/>
                      </a:moveTo>
                      <a:lnTo>
                        <a:pt x="21" y="2"/>
                      </a:lnTo>
                      <a:lnTo>
                        <a:pt x="11" y="0"/>
                      </a:lnTo>
                      <a:lnTo>
                        <a:pt x="0" y="12"/>
                      </a:lnTo>
                      <a:lnTo>
                        <a:pt x="21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3" name="Freeform 223"/>
                <p:cNvSpPr>
                  <a:spLocks/>
                </p:cNvSpPr>
                <p:nvPr/>
              </p:nvSpPr>
              <p:spPr bwMode="auto">
                <a:xfrm>
                  <a:off x="5789674" y="3985092"/>
                  <a:ext cx="14206" cy="12430"/>
                </a:xfrm>
                <a:custGeom>
                  <a:avLst/>
                  <a:gdLst>
                    <a:gd name="T0" fmla="*/ 4735 w 18"/>
                    <a:gd name="T1" fmla="*/ 0 h 14"/>
                    <a:gd name="T2" fmla="*/ 0 w 18"/>
                    <a:gd name="T3" fmla="*/ 12430 h 14"/>
                    <a:gd name="T4" fmla="*/ 14206 w 18"/>
                    <a:gd name="T5" fmla="*/ 10654 h 14"/>
                    <a:gd name="T6" fmla="*/ 4735 w 18"/>
                    <a:gd name="T7" fmla="*/ 0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4"/>
                    <a:gd name="T14" fmla="*/ 18 w 18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4">
                      <a:moveTo>
                        <a:pt x="6" y="0"/>
                      </a:moveTo>
                      <a:lnTo>
                        <a:pt x="0" y="14"/>
                      </a:lnTo>
                      <a:lnTo>
                        <a:pt x="18" y="1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4" name="Freeform 224"/>
                <p:cNvSpPr>
                  <a:spLocks/>
                </p:cNvSpPr>
                <p:nvPr/>
              </p:nvSpPr>
              <p:spPr bwMode="auto">
                <a:xfrm>
                  <a:off x="8547417" y="3654802"/>
                  <a:ext cx="28412" cy="17758"/>
                </a:xfrm>
                <a:custGeom>
                  <a:avLst/>
                  <a:gdLst>
                    <a:gd name="T0" fmla="*/ 28412 w 37"/>
                    <a:gd name="T1" fmla="*/ 17758 h 23"/>
                    <a:gd name="T2" fmla="*/ 28412 w 37"/>
                    <a:gd name="T3" fmla="*/ 16214 h 23"/>
                    <a:gd name="T4" fmla="*/ 3072 w 37"/>
                    <a:gd name="T5" fmla="*/ 0 h 23"/>
                    <a:gd name="T6" fmla="*/ 0 w 37"/>
                    <a:gd name="T7" fmla="*/ 9265 h 23"/>
                    <a:gd name="T8" fmla="*/ 28412 w 37"/>
                    <a:gd name="T9" fmla="*/ 17758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7"/>
                    <a:gd name="T16" fmla="*/ 0 h 23"/>
                    <a:gd name="T17" fmla="*/ 37 w 37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7" h="23">
                      <a:moveTo>
                        <a:pt x="37" y="23"/>
                      </a:moveTo>
                      <a:lnTo>
                        <a:pt x="37" y="21"/>
                      </a:lnTo>
                      <a:lnTo>
                        <a:pt x="4" y="0"/>
                      </a:lnTo>
                      <a:lnTo>
                        <a:pt x="0" y="12"/>
                      </a:lnTo>
                      <a:lnTo>
                        <a:pt x="37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5" name="Freeform 225"/>
                <p:cNvSpPr>
                  <a:spLocks/>
                </p:cNvSpPr>
                <p:nvPr/>
              </p:nvSpPr>
              <p:spPr bwMode="auto">
                <a:xfrm>
                  <a:off x="8474611" y="3576669"/>
                  <a:ext cx="14206" cy="24861"/>
                </a:xfrm>
                <a:custGeom>
                  <a:avLst/>
                  <a:gdLst>
                    <a:gd name="T0" fmla="*/ 0 w 29"/>
                    <a:gd name="T1" fmla="*/ 0 h 27"/>
                    <a:gd name="T2" fmla="*/ 14206 w 29"/>
                    <a:gd name="T3" fmla="*/ 24861 h 27"/>
                    <a:gd name="T4" fmla="*/ 3919 w 29"/>
                    <a:gd name="T5" fmla="*/ 17495 h 27"/>
                    <a:gd name="T6" fmla="*/ 0 w 29"/>
                    <a:gd name="T7" fmla="*/ 0 h 2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9"/>
                    <a:gd name="T13" fmla="*/ 0 h 27"/>
                    <a:gd name="T14" fmla="*/ 29 w 29"/>
                    <a:gd name="T15" fmla="*/ 27 h 2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9" h="27">
                      <a:moveTo>
                        <a:pt x="0" y="0"/>
                      </a:moveTo>
                      <a:lnTo>
                        <a:pt x="29" y="27"/>
                      </a:lnTo>
                      <a:lnTo>
                        <a:pt x="8" y="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6" name="Freeform 226"/>
                <p:cNvSpPr>
                  <a:spLocks/>
                </p:cNvSpPr>
                <p:nvPr/>
              </p:nvSpPr>
              <p:spPr bwMode="auto">
                <a:xfrm>
                  <a:off x="8582932" y="3677887"/>
                  <a:ext cx="21309" cy="23085"/>
                </a:xfrm>
                <a:custGeom>
                  <a:avLst/>
                  <a:gdLst>
                    <a:gd name="T0" fmla="*/ 21309 w 29"/>
                    <a:gd name="T1" fmla="*/ 23085 h 25"/>
                    <a:gd name="T2" fmla="*/ 2939 w 29"/>
                    <a:gd name="T3" fmla="*/ 7387 h 25"/>
                    <a:gd name="T4" fmla="*/ 0 w 29"/>
                    <a:gd name="T5" fmla="*/ 0 h 25"/>
                    <a:gd name="T6" fmla="*/ 21309 w 29"/>
                    <a:gd name="T7" fmla="*/ 17545 h 25"/>
                    <a:gd name="T8" fmla="*/ 21309 w 29"/>
                    <a:gd name="T9" fmla="*/ 23085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9"/>
                    <a:gd name="T16" fmla="*/ 0 h 25"/>
                    <a:gd name="T17" fmla="*/ 29 w 29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9" h="25">
                      <a:moveTo>
                        <a:pt x="29" y="25"/>
                      </a:moveTo>
                      <a:lnTo>
                        <a:pt x="4" y="8"/>
                      </a:lnTo>
                      <a:lnTo>
                        <a:pt x="0" y="0"/>
                      </a:lnTo>
                      <a:lnTo>
                        <a:pt x="29" y="19"/>
                      </a:lnTo>
                      <a:lnTo>
                        <a:pt x="29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7" name="Freeform 227"/>
                <p:cNvSpPr>
                  <a:spLocks/>
                </p:cNvSpPr>
                <p:nvPr/>
              </p:nvSpPr>
              <p:spPr bwMode="auto">
                <a:xfrm>
                  <a:off x="8488817" y="3619287"/>
                  <a:ext cx="7103" cy="10655"/>
                </a:xfrm>
                <a:custGeom>
                  <a:avLst/>
                  <a:gdLst>
                    <a:gd name="T0" fmla="*/ 7103 w 17"/>
                    <a:gd name="T1" fmla="*/ 10655 h 22"/>
                    <a:gd name="T2" fmla="*/ 3760 w 17"/>
                    <a:gd name="T3" fmla="*/ 0 h 22"/>
                    <a:gd name="T4" fmla="*/ 0 w 17"/>
                    <a:gd name="T5" fmla="*/ 3875 h 22"/>
                    <a:gd name="T6" fmla="*/ 2089 w 17"/>
                    <a:gd name="T7" fmla="*/ 4843 h 22"/>
                    <a:gd name="T8" fmla="*/ 7103 w 17"/>
                    <a:gd name="T9" fmla="*/ 10655 h 2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"/>
                    <a:gd name="T16" fmla="*/ 0 h 22"/>
                    <a:gd name="T17" fmla="*/ 17 w 17"/>
                    <a:gd name="T18" fmla="*/ 22 h 2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" h="22">
                      <a:moveTo>
                        <a:pt x="17" y="22"/>
                      </a:moveTo>
                      <a:lnTo>
                        <a:pt x="9" y="0"/>
                      </a:lnTo>
                      <a:lnTo>
                        <a:pt x="0" y="8"/>
                      </a:lnTo>
                      <a:lnTo>
                        <a:pt x="5" y="10"/>
                      </a:lnTo>
                      <a:lnTo>
                        <a:pt x="17" y="2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8" name="Freeform 228"/>
                <p:cNvSpPr>
                  <a:spLocks/>
                </p:cNvSpPr>
                <p:nvPr/>
              </p:nvSpPr>
              <p:spPr bwMode="auto">
                <a:xfrm>
                  <a:off x="8575829" y="3624614"/>
                  <a:ext cx="7103" cy="40842"/>
                </a:xfrm>
                <a:custGeom>
                  <a:avLst/>
                  <a:gdLst>
                    <a:gd name="T0" fmla="*/ 0 w 16"/>
                    <a:gd name="T1" fmla="*/ 0 h 49"/>
                    <a:gd name="T2" fmla="*/ 7103 w 16"/>
                    <a:gd name="T3" fmla="*/ 40842 h 49"/>
                    <a:gd name="T4" fmla="*/ 0 w 16"/>
                    <a:gd name="T5" fmla="*/ 8335 h 49"/>
                    <a:gd name="T6" fmla="*/ 0 w 16"/>
                    <a:gd name="T7" fmla="*/ 0 h 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49"/>
                    <a:gd name="T14" fmla="*/ 16 w 16"/>
                    <a:gd name="T15" fmla="*/ 49 h 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49">
                      <a:moveTo>
                        <a:pt x="0" y="0"/>
                      </a:moveTo>
                      <a:lnTo>
                        <a:pt x="16" y="49"/>
                      </a:lnTo>
                      <a:lnTo>
                        <a:pt x="0" y="1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39" name="Freeform 229"/>
                <p:cNvSpPr>
                  <a:spLocks/>
                </p:cNvSpPr>
                <p:nvPr/>
              </p:nvSpPr>
              <p:spPr bwMode="auto">
                <a:xfrm>
                  <a:off x="8517229" y="3606856"/>
                  <a:ext cx="37291" cy="23085"/>
                </a:xfrm>
                <a:custGeom>
                  <a:avLst/>
                  <a:gdLst>
                    <a:gd name="T0" fmla="*/ 33653 w 41"/>
                    <a:gd name="T1" fmla="*/ 23085 h 37"/>
                    <a:gd name="T2" fmla="*/ 37291 w 41"/>
                    <a:gd name="T3" fmla="*/ 23085 h 37"/>
                    <a:gd name="T4" fmla="*/ 18191 w 41"/>
                    <a:gd name="T5" fmla="*/ 11854 h 37"/>
                    <a:gd name="T6" fmla="*/ 0 w 41"/>
                    <a:gd name="T7" fmla="*/ 0 h 37"/>
                    <a:gd name="T8" fmla="*/ 18191 w 41"/>
                    <a:gd name="T9" fmla="*/ 10607 h 37"/>
                    <a:gd name="T10" fmla="*/ 33653 w 41"/>
                    <a:gd name="T11" fmla="*/ 23085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1"/>
                    <a:gd name="T19" fmla="*/ 0 h 37"/>
                    <a:gd name="T20" fmla="*/ 41 w 41"/>
                    <a:gd name="T21" fmla="*/ 37 h 3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1" h="37">
                      <a:moveTo>
                        <a:pt x="37" y="37"/>
                      </a:moveTo>
                      <a:lnTo>
                        <a:pt x="41" y="37"/>
                      </a:lnTo>
                      <a:lnTo>
                        <a:pt x="20" y="19"/>
                      </a:lnTo>
                      <a:lnTo>
                        <a:pt x="0" y="0"/>
                      </a:lnTo>
                      <a:lnTo>
                        <a:pt x="20" y="17"/>
                      </a:lnTo>
                      <a:lnTo>
                        <a:pt x="37" y="3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0" name="Freeform 230"/>
                <p:cNvSpPr>
                  <a:spLocks/>
                </p:cNvSpPr>
                <p:nvPr/>
              </p:nvSpPr>
              <p:spPr bwMode="auto">
                <a:xfrm>
                  <a:off x="8987803" y="3743590"/>
                  <a:ext cx="0" cy="0"/>
                </a:xfrm>
                <a:custGeom>
                  <a:avLst/>
                  <a:gdLst>
                    <a:gd name="T0" fmla="*/ 0 w 4"/>
                    <a:gd name="T1" fmla="*/ 0 h 2"/>
                    <a:gd name="T2" fmla="*/ 0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0 w 4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2"/>
                    <a:gd name="T17" fmla="*/ 4 w 4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2">
                      <a:moveTo>
                        <a:pt x="4" y="0"/>
                      </a:moveTo>
                      <a:lnTo>
                        <a:pt x="4" y="2"/>
                      </a:ln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1" name="Freeform 231"/>
                <p:cNvSpPr>
                  <a:spLocks/>
                </p:cNvSpPr>
                <p:nvPr/>
              </p:nvSpPr>
              <p:spPr bwMode="auto">
                <a:xfrm>
                  <a:off x="8698355" y="3807517"/>
                  <a:ext cx="14206" cy="24861"/>
                </a:xfrm>
                <a:custGeom>
                  <a:avLst/>
                  <a:gdLst>
                    <a:gd name="T0" fmla="*/ 12628 w 18"/>
                    <a:gd name="T1" fmla="*/ 24861 h 29"/>
                    <a:gd name="T2" fmla="*/ 14206 w 18"/>
                    <a:gd name="T3" fmla="*/ 8573 h 29"/>
                    <a:gd name="T4" fmla="*/ 11049 w 18"/>
                    <a:gd name="T5" fmla="*/ 10287 h 29"/>
                    <a:gd name="T6" fmla="*/ 4735 w 18"/>
                    <a:gd name="T7" fmla="*/ 0 h 29"/>
                    <a:gd name="T8" fmla="*/ 0 w 18"/>
                    <a:gd name="T9" fmla="*/ 24861 h 29"/>
                    <a:gd name="T10" fmla="*/ 12628 w 18"/>
                    <a:gd name="T11" fmla="*/ 24861 h 2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"/>
                    <a:gd name="T19" fmla="*/ 0 h 29"/>
                    <a:gd name="T20" fmla="*/ 18 w 18"/>
                    <a:gd name="T21" fmla="*/ 29 h 2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" h="29">
                      <a:moveTo>
                        <a:pt x="16" y="29"/>
                      </a:moveTo>
                      <a:lnTo>
                        <a:pt x="18" y="10"/>
                      </a:lnTo>
                      <a:lnTo>
                        <a:pt x="14" y="12"/>
                      </a:lnTo>
                      <a:lnTo>
                        <a:pt x="6" y="0"/>
                      </a:lnTo>
                      <a:lnTo>
                        <a:pt x="0" y="29"/>
                      </a:lnTo>
                      <a:lnTo>
                        <a:pt x="16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2" name="Freeform 232"/>
                <p:cNvSpPr>
                  <a:spLocks/>
                </p:cNvSpPr>
                <p:nvPr/>
              </p:nvSpPr>
              <p:spPr bwMode="auto">
                <a:xfrm>
                  <a:off x="8712561" y="3843032"/>
                  <a:ext cx="14206" cy="17758"/>
                </a:xfrm>
                <a:custGeom>
                  <a:avLst/>
                  <a:gdLst>
                    <a:gd name="T0" fmla="*/ 14206 w 13"/>
                    <a:gd name="T1" fmla="*/ 17758 h 25"/>
                    <a:gd name="T2" fmla="*/ 0 w 13"/>
                    <a:gd name="T3" fmla="*/ 16337 h 25"/>
                    <a:gd name="T4" fmla="*/ 0 w 13"/>
                    <a:gd name="T5" fmla="*/ 0 h 25"/>
                    <a:gd name="T6" fmla="*/ 14206 w 13"/>
                    <a:gd name="T7" fmla="*/ 17758 h 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"/>
                    <a:gd name="T13" fmla="*/ 0 h 25"/>
                    <a:gd name="T14" fmla="*/ 13 w 13"/>
                    <a:gd name="T15" fmla="*/ 25 h 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" h="25">
                      <a:moveTo>
                        <a:pt x="13" y="25"/>
                      </a:moveTo>
                      <a:lnTo>
                        <a:pt x="0" y="23"/>
                      </a:lnTo>
                      <a:lnTo>
                        <a:pt x="0" y="0"/>
                      </a:lnTo>
                      <a:lnTo>
                        <a:pt x="13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3" name="Freeform 233"/>
                <p:cNvSpPr>
                  <a:spLocks/>
                </p:cNvSpPr>
                <p:nvPr/>
              </p:nvSpPr>
              <p:spPr bwMode="auto">
                <a:xfrm>
                  <a:off x="8726767" y="3850135"/>
                  <a:ext cx="7103" cy="5327"/>
                </a:xfrm>
                <a:custGeom>
                  <a:avLst/>
                  <a:gdLst>
                    <a:gd name="T0" fmla="*/ 7103 w 6"/>
                    <a:gd name="T1" fmla="*/ 0 h 9"/>
                    <a:gd name="T2" fmla="*/ 2368 w 6"/>
                    <a:gd name="T3" fmla="*/ 5327 h 9"/>
                    <a:gd name="T4" fmla="*/ 0 w 6"/>
                    <a:gd name="T5" fmla="*/ 5327 h 9"/>
                    <a:gd name="T6" fmla="*/ 7103 w 6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9"/>
                    <a:gd name="T14" fmla="*/ 6 w 6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9">
                      <a:moveTo>
                        <a:pt x="6" y="0"/>
                      </a:move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4" name="Freeform 234"/>
                <p:cNvSpPr>
                  <a:spLocks/>
                </p:cNvSpPr>
                <p:nvPr/>
              </p:nvSpPr>
              <p:spPr bwMode="auto">
                <a:xfrm>
                  <a:off x="8733870" y="3921165"/>
                  <a:ext cx="7103" cy="5327"/>
                </a:xfrm>
                <a:custGeom>
                  <a:avLst/>
                  <a:gdLst>
                    <a:gd name="T0" fmla="*/ 7103 w 6"/>
                    <a:gd name="T1" fmla="*/ 1776 h 9"/>
                    <a:gd name="T2" fmla="*/ 4735 w 6"/>
                    <a:gd name="T3" fmla="*/ 0 h 9"/>
                    <a:gd name="T4" fmla="*/ 0 w 6"/>
                    <a:gd name="T5" fmla="*/ 5327 h 9"/>
                    <a:gd name="T6" fmla="*/ 7103 w 6"/>
                    <a:gd name="T7" fmla="*/ 1776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9"/>
                    <a:gd name="T14" fmla="*/ 6 w 6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9">
                      <a:moveTo>
                        <a:pt x="6" y="3"/>
                      </a:moveTo>
                      <a:lnTo>
                        <a:pt x="4" y="0"/>
                      </a:lnTo>
                      <a:lnTo>
                        <a:pt x="0" y="9"/>
                      </a:lnTo>
                      <a:lnTo>
                        <a:pt x="6" y="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5" name="Freeform 235"/>
                <p:cNvSpPr>
                  <a:spLocks/>
                </p:cNvSpPr>
                <p:nvPr/>
              </p:nvSpPr>
              <p:spPr bwMode="auto">
                <a:xfrm>
                  <a:off x="1630864" y="5157090"/>
                  <a:ext cx="5897271" cy="527399"/>
                </a:xfrm>
                <a:custGeom>
                  <a:avLst/>
                  <a:gdLst>
                    <a:gd name="T0" fmla="*/ 4272378 w 7549"/>
                    <a:gd name="T1" fmla="*/ 527399 h 704"/>
                    <a:gd name="T2" fmla="*/ 3154481 w 7549"/>
                    <a:gd name="T3" fmla="*/ 527399 h 704"/>
                    <a:gd name="T4" fmla="*/ 2036586 w 7549"/>
                    <a:gd name="T5" fmla="*/ 527399 h 704"/>
                    <a:gd name="T6" fmla="*/ 917909 w 7549"/>
                    <a:gd name="T7" fmla="*/ 527399 h 704"/>
                    <a:gd name="T8" fmla="*/ 106243 w 7549"/>
                    <a:gd name="T9" fmla="*/ 494437 h 704"/>
                    <a:gd name="T10" fmla="*/ 646833 w 7549"/>
                    <a:gd name="T11" fmla="*/ 474210 h 704"/>
                    <a:gd name="T12" fmla="*/ 225767 w 7549"/>
                    <a:gd name="T13" fmla="*/ 406786 h 704"/>
                    <a:gd name="T14" fmla="*/ 132023 w 7549"/>
                    <a:gd name="T15" fmla="*/ 361838 h 704"/>
                    <a:gd name="T16" fmla="*/ 143741 w 7549"/>
                    <a:gd name="T17" fmla="*/ 332621 h 704"/>
                    <a:gd name="T18" fmla="*/ 160927 w 7549"/>
                    <a:gd name="T19" fmla="*/ 307899 h 704"/>
                    <a:gd name="T20" fmla="*/ 356227 w 7549"/>
                    <a:gd name="T21" fmla="*/ 276435 h 704"/>
                    <a:gd name="T22" fmla="*/ 708547 w 7549"/>
                    <a:gd name="T23" fmla="*/ 261452 h 704"/>
                    <a:gd name="T24" fmla="*/ 814791 w 7549"/>
                    <a:gd name="T25" fmla="*/ 276435 h 704"/>
                    <a:gd name="T26" fmla="*/ 949938 w 7549"/>
                    <a:gd name="T27" fmla="*/ 270442 h 704"/>
                    <a:gd name="T28" fmla="*/ 853851 w 7549"/>
                    <a:gd name="T29" fmla="*/ 231486 h 704"/>
                    <a:gd name="T30" fmla="*/ 1131176 w 7549"/>
                    <a:gd name="T31" fmla="*/ 232985 h 704"/>
                    <a:gd name="T32" fmla="*/ 1287416 w 7549"/>
                    <a:gd name="T33" fmla="*/ 244222 h 704"/>
                    <a:gd name="T34" fmla="*/ 1513182 w 7549"/>
                    <a:gd name="T35" fmla="*/ 222496 h 704"/>
                    <a:gd name="T36" fmla="*/ 1447562 w 7549"/>
                    <a:gd name="T37" fmla="*/ 125107 h 704"/>
                    <a:gd name="T38" fmla="*/ 1442093 w 7549"/>
                    <a:gd name="T39" fmla="*/ 72667 h 704"/>
                    <a:gd name="T40" fmla="*/ 1510058 w 7549"/>
                    <a:gd name="T41" fmla="*/ 23224 h 704"/>
                    <a:gd name="T42" fmla="*/ 1538962 w 7549"/>
                    <a:gd name="T43" fmla="*/ 33712 h 704"/>
                    <a:gd name="T44" fmla="*/ 1497558 w 7549"/>
                    <a:gd name="T45" fmla="*/ 77162 h 704"/>
                    <a:gd name="T46" fmla="*/ 1463186 w 7549"/>
                    <a:gd name="T47" fmla="*/ 109375 h 704"/>
                    <a:gd name="T48" fmla="*/ 1524900 w 7549"/>
                    <a:gd name="T49" fmla="*/ 141589 h 704"/>
                    <a:gd name="T50" fmla="*/ 1592865 w 7549"/>
                    <a:gd name="T51" fmla="*/ 190283 h 704"/>
                    <a:gd name="T52" fmla="*/ 1637393 w 7549"/>
                    <a:gd name="T53" fmla="*/ 235981 h 704"/>
                    <a:gd name="T54" fmla="*/ 1634269 w 7549"/>
                    <a:gd name="T55" fmla="*/ 257706 h 704"/>
                    <a:gd name="T56" fmla="*/ 1621769 w 7549"/>
                    <a:gd name="T57" fmla="*/ 286174 h 704"/>
                    <a:gd name="T58" fmla="*/ 1274917 w 7549"/>
                    <a:gd name="T59" fmla="*/ 324380 h 704"/>
                    <a:gd name="T60" fmla="*/ 1408502 w 7549"/>
                    <a:gd name="T61" fmla="*/ 373824 h 704"/>
                    <a:gd name="T62" fmla="*/ 1815507 w 7549"/>
                    <a:gd name="T63" fmla="*/ 433007 h 704"/>
                    <a:gd name="T64" fmla="*/ 2245947 w 7549"/>
                    <a:gd name="T65" fmla="*/ 388058 h 704"/>
                    <a:gd name="T66" fmla="*/ 2195950 w 7549"/>
                    <a:gd name="T67" fmla="*/ 330373 h 704"/>
                    <a:gd name="T68" fmla="*/ 2442809 w 7549"/>
                    <a:gd name="T69" fmla="*/ 268944 h 704"/>
                    <a:gd name="T70" fmla="*/ 2510774 w 7549"/>
                    <a:gd name="T71" fmla="*/ 226991 h 704"/>
                    <a:gd name="T72" fmla="*/ 2580300 w 7549"/>
                    <a:gd name="T73" fmla="*/ 209761 h 704"/>
                    <a:gd name="T74" fmla="*/ 2720135 w 7549"/>
                    <a:gd name="T75" fmla="*/ 199273 h 704"/>
                    <a:gd name="T76" fmla="*/ 2896686 w 7549"/>
                    <a:gd name="T77" fmla="*/ 170056 h 704"/>
                    <a:gd name="T78" fmla="*/ 3216197 w 7549"/>
                    <a:gd name="T79" fmla="*/ 174551 h 704"/>
                    <a:gd name="T80" fmla="*/ 3438838 w 7549"/>
                    <a:gd name="T81" fmla="*/ 163314 h 704"/>
                    <a:gd name="T82" fmla="*/ 3648200 w 7549"/>
                    <a:gd name="T83" fmla="*/ 101884 h 704"/>
                    <a:gd name="T84" fmla="*/ 3731788 w 7549"/>
                    <a:gd name="T85" fmla="*/ 77162 h 704"/>
                    <a:gd name="T86" fmla="*/ 4017707 w 7549"/>
                    <a:gd name="T87" fmla="*/ 110874 h 704"/>
                    <a:gd name="T88" fmla="*/ 4041924 w 7549"/>
                    <a:gd name="T89" fmla="*/ 152826 h 704"/>
                    <a:gd name="T90" fmla="*/ 4090358 w 7549"/>
                    <a:gd name="T91" fmla="*/ 182043 h 704"/>
                    <a:gd name="T92" fmla="*/ 4322374 w 7549"/>
                    <a:gd name="T93" fmla="*/ 104880 h 704"/>
                    <a:gd name="T94" fmla="*/ 4527830 w 7549"/>
                    <a:gd name="T95" fmla="*/ 86152 h 704"/>
                    <a:gd name="T96" fmla="*/ 4720004 w 7549"/>
                    <a:gd name="T97" fmla="*/ 62928 h 704"/>
                    <a:gd name="T98" fmla="*/ 4980925 w 7549"/>
                    <a:gd name="T99" fmla="*/ 62928 h 704"/>
                    <a:gd name="T100" fmla="*/ 5194192 w 7549"/>
                    <a:gd name="T101" fmla="*/ 84654 h 704"/>
                    <a:gd name="T102" fmla="*/ 5442613 w 7549"/>
                    <a:gd name="T103" fmla="*/ 78660 h 704"/>
                    <a:gd name="T104" fmla="*/ 5578542 w 7549"/>
                    <a:gd name="T105" fmla="*/ 128104 h 704"/>
                    <a:gd name="T106" fmla="*/ 5765248 w 7549"/>
                    <a:gd name="T107" fmla="*/ 157321 h 704"/>
                    <a:gd name="T108" fmla="*/ 5883209 w 7549"/>
                    <a:gd name="T109" fmla="*/ 205266 h 704"/>
                    <a:gd name="T110" fmla="*/ 5712127 w 7549"/>
                    <a:gd name="T111" fmla="*/ 261452 h 704"/>
                    <a:gd name="T112" fmla="*/ 5559012 w 7549"/>
                    <a:gd name="T113" fmla="*/ 307150 h 704"/>
                    <a:gd name="T114" fmla="*/ 5504328 w 7549"/>
                    <a:gd name="T115" fmla="*/ 352099 h 704"/>
                    <a:gd name="T116" fmla="*/ 5357463 w 7549"/>
                    <a:gd name="T117" fmla="*/ 386560 h 704"/>
                    <a:gd name="T118" fmla="*/ 5318403 w 7549"/>
                    <a:gd name="T119" fmla="*/ 423268 h 704"/>
                    <a:gd name="T120" fmla="*/ 5401991 w 7549"/>
                    <a:gd name="T121" fmla="*/ 483949 h 70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7549"/>
                    <a:gd name="T184" fmla="*/ 0 h 704"/>
                    <a:gd name="T185" fmla="*/ 7549 w 7549"/>
                    <a:gd name="T186" fmla="*/ 704 h 70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7549" h="704">
                      <a:moveTo>
                        <a:pt x="6721" y="704"/>
                      </a:moveTo>
                      <a:lnTo>
                        <a:pt x="6542" y="704"/>
                      </a:lnTo>
                      <a:lnTo>
                        <a:pt x="6364" y="704"/>
                      </a:lnTo>
                      <a:lnTo>
                        <a:pt x="6184" y="704"/>
                      </a:lnTo>
                      <a:lnTo>
                        <a:pt x="6005" y="704"/>
                      </a:lnTo>
                      <a:lnTo>
                        <a:pt x="5827" y="704"/>
                      </a:lnTo>
                      <a:lnTo>
                        <a:pt x="5647" y="704"/>
                      </a:lnTo>
                      <a:lnTo>
                        <a:pt x="5469" y="704"/>
                      </a:lnTo>
                      <a:lnTo>
                        <a:pt x="5290" y="704"/>
                      </a:lnTo>
                      <a:lnTo>
                        <a:pt x="5112" y="704"/>
                      </a:lnTo>
                      <a:lnTo>
                        <a:pt x="4932" y="704"/>
                      </a:lnTo>
                      <a:lnTo>
                        <a:pt x="4753" y="704"/>
                      </a:lnTo>
                      <a:lnTo>
                        <a:pt x="4575" y="704"/>
                      </a:lnTo>
                      <a:lnTo>
                        <a:pt x="4395" y="704"/>
                      </a:lnTo>
                      <a:lnTo>
                        <a:pt x="4216" y="704"/>
                      </a:lnTo>
                      <a:lnTo>
                        <a:pt x="4038" y="704"/>
                      </a:lnTo>
                      <a:lnTo>
                        <a:pt x="3860" y="704"/>
                      </a:lnTo>
                      <a:lnTo>
                        <a:pt x="3679" y="704"/>
                      </a:lnTo>
                      <a:lnTo>
                        <a:pt x="3501" y="704"/>
                      </a:lnTo>
                      <a:lnTo>
                        <a:pt x="3323" y="704"/>
                      </a:lnTo>
                      <a:lnTo>
                        <a:pt x="3142" y="704"/>
                      </a:lnTo>
                      <a:lnTo>
                        <a:pt x="2964" y="704"/>
                      </a:lnTo>
                      <a:lnTo>
                        <a:pt x="2786" y="704"/>
                      </a:lnTo>
                      <a:lnTo>
                        <a:pt x="2607" y="704"/>
                      </a:lnTo>
                      <a:lnTo>
                        <a:pt x="2427" y="704"/>
                      </a:lnTo>
                      <a:lnTo>
                        <a:pt x="2249" y="704"/>
                      </a:lnTo>
                      <a:lnTo>
                        <a:pt x="2070" y="704"/>
                      </a:lnTo>
                      <a:lnTo>
                        <a:pt x="1890" y="704"/>
                      </a:lnTo>
                      <a:lnTo>
                        <a:pt x="1712" y="704"/>
                      </a:lnTo>
                      <a:lnTo>
                        <a:pt x="1533" y="704"/>
                      </a:lnTo>
                      <a:lnTo>
                        <a:pt x="1355" y="704"/>
                      </a:lnTo>
                      <a:lnTo>
                        <a:pt x="1175" y="704"/>
                      </a:lnTo>
                      <a:lnTo>
                        <a:pt x="997" y="704"/>
                      </a:lnTo>
                      <a:lnTo>
                        <a:pt x="818" y="704"/>
                      </a:lnTo>
                      <a:lnTo>
                        <a:pt x="638" y="704"/>
                      </a:lnTo>
                      <a:lnTo>
                        <a:pt x="460" y="704"/>
                      </a:lnTo>
                      <a:lnTo>
                        <a:pt x="281" y="704"/>
                      </a:lnTo>
                      <a:lnTo>
                        <a:pt x="233" y="689"/>
                      </a:lnTo>
                      <a:lnTo>
                        <a:pt x="184" y="675"/>
                      </a:lnTo>
                      <a:lnTo>
                        <a:pt x="136" y="660"/>
                      </a:lnTo>
                      <a:lnTo>
                        <a:pt x="87" y="646"/>
                      </a:lnTo>
                      <a:lnTo>
                        <a:pt x="39" y="631"/>
                      </a:lnTo>
                      <a:lnTo>
                        <a:pt x="0" y="617"/>
                      </a:lnTo>
                      <a:lnTo>
                        <a:pt x="113" y="619"/>
                      </a:lnTo>
                      <a:lnTo>
                        <a:pt x="266" y="629"/>
                      </a:lnTo>
                      <a:lnTo>
                        <a:pt x="413" y="636"/>
                      </a:lnTo>
                      <a:lnTo>
                        <a:pt x="632" y="634"/>
                      </a:lnTo>
                      <a:lnTo>
                        <a:pt x="828" y="633"/>
                      </a:lnTo>
                      <a:lnTo>
                        <a:pt x="617" y="621"/>
                      </a:lnTo>
                      <a:lnTo>
                        <a:pt x="510" y="609"/>
                      </a:lnTo>
                      <a:lnTo>
                        <a:pt x="463" y="590"/>
                      </a:lnTo>
                      <a:lnTo>
                        <a:pt x="463" y="580"/>
                      </a:lnTo>
                      <a:lnTo>
                        <a:pt x="376" y="563"/>
                      </a:lnTo>
                      <a:lnTo>
                        <a:pt x="368" y="555"/>
                      </a:lnTo>
                      <a:lnTo>
                        <a:pt x="291" y="547"/>
                      </a:lnTo>
                      <a:lnTo>
                        <a:pt x="289" y="543"/>
                      </a:lnTo>
                      <a:lnTo>
                        <a:pt x="409" y="547"/>
                      </a:lnTo>
                      <a:lnTo>
                        <a:pt x="533" y="545"/>
                      </a:lnTo>
                      <a:lnTo>
                        <a:pt x="529" y="534"/>
                      </a:lnTo>
                      <a:lnTo>
                        <a:pt x="485" y="528"/>
                      </a:lnTo>
                      <a:lnTo>
                        <a:pt x="419" y="514"/>
                      </a:lnTo>
                      <a:lnTo>
                        <a:pt x="316" y="505"/>
                      </a:lnTo>
                      <a:lnTo>
                        <a:pt x="211" y="495"/>
                      </a:lnTo>
                      <a:lnTo>
                        <a:pt x="169" y="483"/>
                      </a:lnTo>
                      <a:lnTo>
                        <a:pt x="192" y="468"/>
                      </a:lnTo>
                      <a:lnTo>
                        <a:pt x="142" y="466"/>
                      </a:lnTo>
                      <a:lnTo>
                        <a:pt x="99" y="462"/>
                      </a:lnTo>
                      <a:lnTo>
                        <a:pt x="54" y="441"/>
                      </a:lnTo>
                      <a:lnTo>
                        <a:pt x="82" y="443"/>
                      </a:lnTo>
                      <a:lnTo>
                        <a:pt x="85" y="439"/>
                      </a:lnTo>
                      <a:lnTo>
                        <a:pt x="159" y="443"/>
                      </a:lnTo>
                      <a:lnTo>
                        <a:pt x="184" y="444"/>
                      </a:lnTo>
                      <a:lnTo>
                        <a:pt x="268" y="452"/>
                      </a:lnTo>
                      <a:lnTo>
                        <a:pt x="303" y="443"/>
                      </a:lnTo>
                      <a:lnTo>
                        <a:pt x="318" y="443"/>
                      </a:lnTo>
                      <a:lnTo>
                        <a:pt x="308" y="437"/>
                      </a:lnTo>
                      <a:lnTo>
                        <a:pt x="301" y="431"/>
                      </a:lnTo>
                      <a:lnTo>
                        <a:pt x="297" y="427"/>
                      </a:lnTo>
                      <a:lnTo>
                        <a:pt x="194" y="417"/>
                      </a:lnTo>
                      <a:lnTo>
                        <a:pt x="206" y="411"/>
                      </a:lnTo>
                      <a:lnTo>
                        <a:pt x="277" y="419"/>
                      </a:lnTo>
                      <a:lnTo>
                        <a:pt x="242" y="408"/>
                      </a:lnTo>
                      <a:lnTo>
                        <a:pt x="295" y="398"/>
                      </a:lnTo>
                      <a:lnTo>
                        <a:pt x="347" y="386"/>
                      </a:lnTo>
                      <a:lnTo>
                        <a:pt x="382" y="386"/>
                      </a:lnTo>
                      <a:lnTo>
                        <a:pt x="396" y="375"/>
                      </a:lnTo>
                      <a:lnTo>
                        <a:pt x="407" y="365"/>
                      </a:lnTo>
                      <a:lnTo>
                        <a:pt x="456" y="369"/>
                      </a:lnTo>
                      <a:lnTo>
                        <a:pt x="520" y="371"/>
                      </a:lnTo>
                      <a:lnTo>
                        <a:pt x="593" y="369"/>
                      </a:lnTo>
                      <a:lnTo>
                        <a:pt x="667" y="365"/>
                      </a:lnTo>
                      <a:lnTo>
                        <a:pt x="743" y="361"/>
                      </a:lnTo>
                      <a:lnTo>
                        <a:pt x="816" y="357"/>
                      </a:lnTo>
                      <a:lnTo>
                        <a:pt x="880" y="361"/>
                      </a:lnTo>
                      <a:lnTo>
                        <a:pt x="871" y="344"/>
                      </a:lnTo>
                      <a:lnTo>
                        <a:pt x="907" y="349"/>
                      </a:lnTo>
                      <a:lnTo>
                        <a:pt x="917" y="359"/>
                      </a:lnTo>
                      <a:lnTo>
                        <a:pt x="933" y="367"/>
                      </a:lnTo>
                      <a:lnTo>
                        <a:pt x="969" y="371"/>
                      </a:lnTo>
                      <a:lnTo>
                        <a:pt x="956" y="359"/>
                      </a:lnTo>
                      <a:lnTo>
                        <a:pt x="962" y="353"/>
                      </a:lnTo>
                      <a:lnTo>
                        <a:pt x="998" y="363"/>
                      </a:lnTo>
                      <a:lnTo>
                        <a:pt x="1037" y="369"/>
                      </a:lnTo>
                      <a:lnTo>
                        <a:pt x="1043" y="369"/>
                      </a:lnTo>
                      <a:lnTo>
                        <a:pt x="1076" y="365"/>
                      </a:lnTo>
                      <a:lnTo>
                        <a:pt x="1097" y="377"/>
                      </a:lnTo>
                      <a:lnTo>
                        <a:pt x="1121" y="373"/>
                      </a:lnTo>
                      <a:lnTo>
                        <a:pt x="1235" y="386"/>
                      </a:lnTo>
                      <a:lnTo>
                        <a:pt x="1196" y="375"/>
                      </a:lnTo>
                      <a:lnTo>
                        <a:pt x="1200" y="369"/>
                      </a:lnTo>
                      <a:lnTo>
                        <a:pt x="1221" y="369"/>
                      </a:lnTo>
                      <a:lnTo>
                        <a:pt x="1216" y="361"/>
                      </a:lnTo>
                      <a:lnTo>
                        <a:pt x="1185" y="359"/>
                      </a:lnTo>
                      <a:lnTo>
                        <a:pt x="1169" y="346"/>
                      </a:lnTo>
                      <a:lnTo>
                        <a:pt x="1132" y="344"/>
                      </a:lnTo>
                      <a:lnTo>
                        <a:pt x="1124" y="334"/>
                      </a:lnTo>
                      <a:lnTo>
                        <a:pt x="1202" y="340"/>
                      </a:lnTo>
                      <a:lnTo>
                        <a:pt x="1208" y="334"/>
                      </a:lnTo>
                      <a:lnTo>
                        <a:pt x="1103" y="320"/>
                      </a:lnTo>
                      <a:lnTo>
                        <a:pt x="1093" y="309"/>
                      </a:lnTo>
                      <a:lnTo>
                        <a:pt x="1121" y="315"/>
                      </a:lnTo>
                      <a:lnTo>
                        <a:pt x="1225" y="320"/>
                      </a:lnTo>
                      <a:lnTo>
                        <a:pt x="1301" y="324"/>
                      </a:lnTo>
                      <a:lnTo>
                        <a:pt x="1307" y="316"/>
                      </a:lnTo>
                      <a:lnTo>
                        <a:pt x="1398" y="326"/>
                      </a:lnTo>
                      <a:lnTo>
                        <a:pt x="1425" y="313"/>
                      </a:lnTo>
                      <a:lnTo>
                        <a:pt x="1411" y="305"/>
                      </a:lnTo>
                      <a:lnTo>
                        <a:pt x="1448" y="311"/>
                      </a:lnTo>
                      <a:lnTo>
                        <a:pt x="1444" y="318"/>
                      </a:lnTo>
                      <a:lnTo>
                        <a:pt x="1508" y="322"/>
                      </a:lnTo>
                      <a:lnTo>
                        <a:pt x="1512" y="320"/>
                      </a:lnTo>
                      <a:lnTo>
                        <a:pt x="1547" y="332"/>
                      </a:lnTo>
                      <a:lnTo>
                        <a:pt x="1582" y="334"/>
                      </a:lnTo>
                      <a:lnTo>
                        <a:pt x="1636" y="342"/>
                      </a:lnTo>
                      <a:lnTo>
                        <a:pt x="1627" y="326"/>
                      </a:lnTo>
                      <a:lnTo>
                        <a:pt x="1648" y="326"/>
                      </a:lnTo>
                      <a:lnTo>
                        <a:pt x="1638" y="316"/>
                      </a:lnTo>
                      <a:lnTo>
                        <a:pt x="1687" y="330"/>
                      </a:lnTo>
                      <a:lnTo>
                        <a:pt x="1696" y="336"/>
                      </a:lnTo>
                      <a:lnTo>
                        <a:pt x="1735" y="334"/>
                      </a:lnTo>
                      <a:lnTo>
                        <a:pt x="1731" y="344"/>
                      </a:lnTo>
                      <a:lnTo>
                        <a:pt x="1818" y="330"/>
                      </a:lnTo>
                      <a:lnTo>
                        <a:pt x="1908" y="318"/>
                      </a:lnTo>
                      <a:lnTo>
                        <a:pt x="1937" y="297"/>
                      </a:lnTo>
                      <a:lnTo>
                        <a:pt x="1896" y="262"/>
                      </a:lnTo>
                      <a:lnTo>
                        <a:pt x="1853" y="229"/>
                      </a:lnTo>
                      <a:lnTo>
                        <a:pt x="1828" y="204"/>
                      </a:lnTo>
                      <a:lnTo>
                        <a:pt x="1867" y="200"/>
                      </a:lnTo>
                      <a:lnTo>
                        <a:pt x="1863" y="190"/>
                      </a:lnTo>
                      <a:lnTo>
                        <a:pt x="1859" y="185"/>
                      </a:lnTo>
                      <a:lnTo>
                        <a:pt x="1847" y="169"/>
                      </a:lnTo>
                      <a:lnTo>
                        <a:pt x="1853" y="167"/>
                      </a:lnTo>
                      <a:lnTo>
                        <a:pt x="1847" y="152"/>
                      </a:lnTo>
                      <a:lnTo>
                        <a:pt x="1840" y="142"/>
                      </a:lnTo>
                      <a:lnTo>
                        <a:pt x="1818" y="142"/>
                      </a:lnTo>
                      <a:lnTo>
                        <a:pt x="1824" y="125"/>
                      </a:lnTo>
                      <a:lnTo>
                        <a:pt x="1847" y="136"/>
                      </a:lnTo>
                      <a:lnTo>
                        <a:pt x="1840" y="111"/>
                      </a:lnTo>
                      <a:lnTo>
                        <a:pt x="1851" y="111"/>
                      </a:lnTo>
                      <a:lnTo>
                        <a:pt x="1846" y="97"/>
                      </a:lnTo>
                      <a:lnTo>
                        <a:pt x="1851" y="95"/>
                      </a:lnTo>
                      <a:lnTo>
                        <a:pt x="1873" y="92"/>
                      </a:lnTo>
                      <a:lnTo>
                        <a:pt x="1863" y="84"/>
                      </a:lnTo>
                      <a:lnTo>
                        <a:pt x="1877" y="76"/>
                      </a:lnTo>
                      <a:lnTo>
                        <a:pt x="1871" y="62"/>
                      </a:lnTo>
                      <a:lnTo>
                        <a:pt x="1888" y="61"/>
                      </a:lnTo>
                      <a:lnTo>
                        <a:pt x="1902" y="51"/>
                      </a:lnTo>
                      <a:lnTo>
                        <a:pt x="1933" y="31"/>
                      </a:lnTo>
                      <a:lnTo>
                        <a:pt x="1962" y="22"/>
                      </a:lnTo>
                      <a:lnTo>
                        <a:pt x="2014" y="0"/>
                      </a:lnTo>
                      <a:lnTo>
                        <a:pt x="2026" y="14"/>
                      </a:lnTo>
                      <a:lnTo>
                        <a:pt x="2008" y="12"/>
                      </a:lnTo>
                      <a:lnTo>
                        <a:pt x="1985" y="35"/>
                      </a:lnTo>
                      <a:lnTo>
                        <a:pt x="1985" y="41"/>
                      </a:lnTo>
                      <a:lnTo>
                        <a:pt x="1970" y="39"/>
                      </a:lnTo>
                      <a:lnTo>
                        <a:pt x="1970" y="45"/>
                      </a:lnTo>
                      <a:lnTo>
                        <a:pt x="1923" y="72"/>
                      </a:lnTo>
                      <a:lnTo>
                        <a:pt x="1933" y="80"/>
                      </a:lnTo>
                      <a:lnTo>
                        <a:pt x="1925" y="94"/>
                      </a:lnTo>
                      <a:lnTo>
                        <a:pt x="1952" y="95"/>
                      </a:lnTo>
                      <a:lnTo>
                        <a:pt x="1972" y="92"/>
                      </a:lnTo>
                      <a:lnTo>
                        <a:pt x="1958" y="99"/>
                      </a:lnTo>
                      <a:lnTo>
                        <a:pt x="1944" y="103"/>
                      </a:lnTo>
                      <a:lnTo>
                        <a:pt x="1917" y="103"/>
                      </a:lnTo>
                      <a:lnTo>
                        <a:pt x="1927" y="111"/>
                      </a:lnTo>
                      <a:lnTo>
                        <a:pt x="1929" y="115"/>
                      </a:lnTo>
                      <a:lnTo>
                        <a:pt x="1900" y="99"/>
                      </a:lnTo>
                      <a:lnTo>
                        <a:pt x="1894" y="119"/>
                      </a:lnTo>
                      <a:lnTo>
                        <a:pt x="1902" y="125"/>
                      </a:lnTo>
                      <a:lnTo>
                        <a:pt x="1882" y="128"/>
                      </a:lnTo>
                      <a:lnTo>
                        <a:pt x="1882" y="138"/>
                      </a:lnTo>
                      <a:lnTo>
                        <a:pt x="1873" y="146"/>
                      </a:lnTo>
                      <a:lnTo>
                        <a:pt x="1882" y="163"/>
                      </a:lnTo>
                      <a:lnTo>
                        <a:pt x="1904" y="163"/>
                      </a:lnTo>
                      <a:lnTo>
                        <a:pt x="1900" y="171"/>
                      </a:lnTo>
                      <a:lnTo>
                        <a:pt x="1906" y="179"/>
                      </a:lnTo>
                      <a:lnTo>
                        <a:pt x="1927" y="181"/>
                      </a:lnTo>
                      <a:lnTo>
                        <a:pt x="1948" y="175"/>
                      </a:lnTo>
                      <a:lnTo>
                        <a:pt x="1937" y="183"/>
                      </a:lnTo>
                      <a:lnTo>
                        <a:pt x="1952" y="189"/>
                      </a:lnTo>
                      <a:lnTo>
                        <a:pt x="1956" y="198"/>
                      </a:lnTo>
                      <a:lnTo>
                        <a:pt x="1985" y="208"/>
                      </a:lnTo>
                      <a:lnTo>
                        <a:pt x="1995" y="223"/>
                      </a:lnTo>
                      <a:lnTo>
                        <a:pt x="2008" y="233"/>
                      </a:lnTo>
                      <a:lnTo>
                        <a:pt x="2001" y="235"/>
                      </a:lnTo>
                      <a:lnTo>
                        <a:pt x="2026" y="243"/>
                      </a:lnTo>
                      <a:lnTo>
                        <a:pt x="2026" y="253"/>
                      </a:lnTo>
                      <a:lnTo>
                        <a:pt x="2039" y="254"/>
                      </a:lnTo>
                      <a:lnTo>
                        <a:pt x="2049" y="268"/>
                      </a:lnTo>
                      <a:lnTo>
                        <a:pt x="2055" y="282"/>
                      </a:lnTo>
                      <a:lnTo>
                        <a:pt x="2043" y="285"/>
                      </a:lnTo>
                      <a:lnTo>
                        <a:pt x="2074" y="289"/>
                      </a:lnTo>
                      <a:lnTo>
                        <a:pt x="2074" y="299"/>
                      </a:lnTo>
                      <a:lnTo>
                        <a:pt x="2065" y="307"/>
                      </a:lnTo>
                      <a:lnTo>
                        <a:pt x="2092" y="311"/>
                      </a:lnTo>
                      <a:lnTo>
                        <a:pt x="2096" y="315"/>
                      </a:lnTo>
                      <a:lnTo>
                        <a:pt x="2111" y="316"/>
                      </a:lnTo>
                      <a:lnTo>
                        <a:pt x="2107" y="324"/>
                      </a:lnTo>
                      <a:lnTo>
                        <a:pt x="2098" y="320"/>
                      </a:lnTo>
                      <a:lnTo>
                        <a:pt x="2096" y="324"/>
                      </a:lnTo>
                      <a:lnTo>
                        <a:pt x="2068" y="322"/>
                      </a:lnTo>
                      <a:lnTo>
                        <a:pt x="2082" y="330"/>
                      </a:lnTo>
                      <a:lnTo>
                        <a:pt x="2105" y="338"/>
                      </a:lnTo>
                      <a:lnTo>
                        <a:pt x="2092" y="344"/>
                      </a:lnTo>
                      <a:lnTo>
                        <a:pt x="2101" y="353"/>
                      </a:lnTo>
                      <a:lnTo>
                        <a:pt x="2115" y="359"/>
                      </a:lnTo>
                      <a:lnTo>
                        <a:pt x="2080" y="361"/>
                      </a:lnTo>
                      <a:lnTo>
                        <a:pt x="2094" y="377"/>
                      </a:lnTo>
                      <a:lnTo>
                        <a:pt x="2065" y="369"/>
                      </a:lnTo>
                      <a:lnTo>
                        <a:pt x="2068" y="375"/>
                      </a:lnTo>
                      <a:lnTo>
                        <a:pt x="2053" y="379"/>
                      </a:lnTo>
                      <a:lnTo>
                        <a:pt x="2076" y="382"/>
                      </a:lnTo>
                      <a:lnTo>
                        <a:pt x="2063" y="386"/>
                      </a:lnTo>
                      <a:lnTo>
                        <a:pt x="2080" y="388"/>
                      </a:lnTo>
                      <a:lnTo>
                        <a:pt x="2020" y="400"/>
                      </a:lnTo>
                      <a:lnTo>
                        <a:pt x="1960" y="411"/>
                      </a:lnTo>
                      <a:lnTo>
                        <a:pt x="1861" y="406"/>
                      </a:lnTo>
                      <a:lnTo>
                        <a:pt x="1760" y="400"/>
                      </a:lnTo>
                      <a:lnTo>
                        <a:pt x="1696" y="417"/>
                      </a:lnTo>
                      <a:lnTo>
                        <a:pt x="1632" y="433"/>
                      </a:lnTo>
                      <a:lnTo>
                        <a:pt x="1644" y="443"/>
                      </a:lnTo>
                      <a:lnTo>
                        <a:pt x="1747" y="460"/>
                      </a:lnTo>
                      <a:lnTo>
                        <a:pt x="1847" y="475"/>
                      </a:lnTo>
                      <a:lnTo>
                        <a:pt x="1807" y="485"/>
                      </a:lnTo>
                      <a:lnTo>
                        <a:pt x="1770" y="485"/>
                      </a:lnTo>
                      <a:lnTo>
                        <a:pt x="1778" y="493"/>
                      </a:lnTo>
                      <a:lnTo>
                        <a:pt x="1815" y="512"/>
                      </a:lnTo>
                      <a:lnTo>
                        <a:pt x="1803" y="499"/>
                      </a:lnTo>
                      <a:lnTo>
                        <a:pt x="1910" y="505"/>
                      </a:lnTo>
                      <a:lnTo>
                        <a:pt x="1913" y="514"/>
                      </a:lnTo>
                      <a:lnTo>
                        <a:pt x="1840" y="518"/>
                      </a:lnTo>
                      <a:lnTo>
                        <a:pt x="1911" y="526"/>
                      </a:lnTo>
                      <a:lnTo>
                        <a:pt x="1970" y="538"/>
                      </a:lnTo>
                      <a:lnTo>
                        <a:pt x="2113" y="549"/>
                      </a:lnTo>
                      <a:lnTo>
                        <a:pt x="2220" y="563"/>
                      </a:lnTo>
                      <a:lnTo>
                        <a:pt x="2324" y="578"/>
                      </a:lnTo>
                      <a:lnTo>
                        <a:pt x="2334" y="586"/>
                      </a:lnTo>
                      <a:lnTo>
                        <a:pt x="2419" y="567"/>
                      </a:lnTo>
                      <a:lnTo>
                        <a:pt x="2530" y="561"/>
                      </a:lnTo>
                      <a:lnTo>
                        <a:pt x="2640" y="557"/>
                      </a:lnTo>
                      <a:lnTo>
                        <a:pt x="2700" y="541"/>
                      </a:lnTo>
                      <a:lnTo>
                        <a:pt x="2761" y="528"/>
                      </a:lnTo>
                      <a:lnTo>
                        <a:pt x="2867" y="526"/>
                      </a:lnTo>
                      <a:lnTo>
                        <a:pt x="2875" y="518"/>
                      </a:lnTo>
                      <a:lnTo>
                        <a:pt x="2855" y="506"/>
                      </a:lnTo>
                      <a:lnTo>
                        <a:pt x="2871" y="495"/>
                      </a:lnTo>
                      <a:lnTo>
                        <a:pt x="2737" y="483"/>
                      </a:lnTo>
                      <a:lnTo>
                        <a:pt x="2729" y="475"/>
                      </a:lnTo>
                      <a:lnTo>
                        <a:pt x="2728" y="470"/>
                      </a:lnTo>
                      <a:lnTo>
                        <a:pt x="2741" y="464"/>
                      </a:lnTo>
                      <a:lnTo>
                        <a:pt x="2739" y="458"/>
                      </a:lnTo>
                      <a:lnTo>
                        <a:pt x="2811" y="441"/>
                      </a:lnTo>
                      <a:lnTo>
                        <a:pt x="2881" y="421"/>
                      </a:lnTo>
                      <a:lnTo>
                        <a:pt x="2881" y="411"/>
                      </a:lnTo>
                      <a:lnTo>
                        <a:pt x="2906" y="410"/>
                      </a:lnTo>
                      <a:lnTo>
                        <a:pt x="2896" y="408"/>
                      </a:lnTo>
                      <a:lnTo>
                        <a:pt x="2983" y="396"/>
                      </a:lnTo>
                      <a:lnTo>
                        <a:pt x="3071" y="382"/>
                      </a:lnTo>
                      <a:lnTo>
                        <a:pt x="3061" y="380"/>
                      </a:lnTo>
                      <a:lnTo>
                        <a:pt x="3127" y="359"/>
                      </a:lnTo>
                      <a:lnTo>
                        <a:pt x="3177" y="344"/>
                      </a:lnTo>
                      <a:lnTo>
                        <a:pt x="3164" y="342"/>
                      </a:lnTo>
                      <a:lnTo>
                        <a:pt x="3119" y="346"/>
                      </a:lnTo>
                      <a:lnTo>
                        <a:pt x="3119" y="340"/>
                      </a:lnTo>
                      <a:lnTo>
                        <a:pt x="3135" y="326"/>
                      </a:lnTo>
                      <a:lnTo>
                        <a:pt x="3175" y="316"/>
                      </a:lnTo>
                      <a:lnTo>
                        <a:pt x="3166" y="309"/>
                      </a:lnTo>
                      <a:lnTo>
                        <a:pt x="3214" y="303"/>
                      </a:lnTo>
                      <a:lnTo>
                        <a:pt x="3235" y="289"/>
                      </a:lnTo>
                      <a:lnTo>
                        <a:pt x="3210" y="266"/>
                      </a:lnTo>
                      <a:lnTo>
                        <a:pt x="3226" y="266"/>
                      </a:lnTo>
                      <a:lnTo>
                        <a:pt x="3243" y="274"/>
                      </a:lnTo>
                      <a:lnTo>
                        <a:pt x="3255" y="256"/>
                      </a:lnTo>
                      <a:lnTo>
                        <a:pt x="3270" y="256"/>
                      </a:lnTo>
                      <a:lnTo>
                        <a:pt x="3290" y="262"/>
                      </a:lnTo>
                      <a:lnTo>
                        <a:pt x="3303" y="280"/>
                      </a:lnTo>
                      <a:lnTo>
                        <a:pt x="3328" y="274"/>
                      </a:lnTo>
                      <a:lnTo>
                        <a:pt x="3319" y="266"/>
                      </a:lnTo>
                      <a:lnTo>
                        <a:pt x="3363" y="245"/>
                      </a:lnTo>
                      <a:lnTo>
                        <a:pt x="3371" y="251"/>
                      </a:lnTo>
                      <a:lnTo>
                        <a:pt x="3356" y="266"/>
                      </a:lnTo>
                      <a:lnTo>
                        <a:pt x="3445" y="264"/>
                      </a:lnTo>
                      <a:lnTo>
                        <a:pt x="3464" y="268"/>
                      </a:lnTo>
                      <a:lnTo>
                        <a:pt x="3482" y="266"/>
                      </a:lnTo>
                      <a:lnTo>
                        <a:pt x="3480" y="272"/>
                      </a:lnTo>
                      <a:lnTo>
                        <a:pt x="3501" y="270"/>
                      </a:lnTo>
                      <a:lnTo>
                        <a:pt x="3548" y="258"/>
                      </a:lnTo>
                      <a:lnTo>
                        <a:pt x="3596" y="247"/>
                      </a:lnTo>
                      <a:lnTo>
                        <a:pt x="3672" y="239"/>
                      </a:lnTo>
                      <a:lnTo>
                        <a:pt x="3693" y="229"/>
                      </a:lnTo>
                      <a:lnTo>
                        <a:pt x="3708" y="239"/>
                      </a:lnTo>
                      <a:lnTo>
                        <a:pt x="3708" y="227"/>
                      </a:lnTo>
                      <a:lnTo>
                        <a:pt x="3770" y="247"/>
                      </a:lnTo>
                      <a:lnTo>
                        <a:pt x="3790" y="247"/>
                      </a:lnTo>
                      <a:lnTo>
                        <a:pt x="3805" y="233"/>
                      </a:lnTo>
                      <a:lnTo>
                        <a:pt x="3875" y="229"/>
                      </a:lnTo>
                      <a:lnTo>
                        <a:pt x="3945" y="225"/>
                      </a:lnTo>
                      <a:lnTo>
                        <a:pt x="4003" y="233"/>
                      </a:lnTo>
                      <a:lnTo>
                        <a:pt x="4063" y="241"/>
                      </a:lnTo>
                      <a:lnTo>
                        <a:pt x="4117" y="233"/>
                      </a:lnTo>
                      <a:lnTo>
                        <a:pt x="4172" y="225"/>
                      </a:lnTo>
                      <a:lnTo>
                        <a:pt x="4226" y="216"/>
                      </a:lnTo>
                      <a:lnTo>
                        <a:pt x="4280" y="208"/>
                      </a:lnTo>
                      <a:lnTo>
                        <a:pt x="4317" y="187"/>
                      </a:lnTo>
                      <a:lnTo>
                        <a:pt x="4340" y="175"/>
                      </a:lnTo>
                      <a:lnTo>
                        <a:pt x="4354" y="183"/>
                      </a:lnTo>
                      <a:lnTo>
                        <a:pt x="4387" y="212"/>
                      </a:lnTo>
                      <a:lnTo>
                        <a:pt x="4402" y="218"/>
                      </a:lnTo>
                      <a:lnTo>
                        <a:pt x="4426" y="216"/>
                      </a:lnTo>
                      <a:lnTo>
                        <a:pt x="4437" y="223"/>
                      </a:lnTo>
                      <a:lnTo>
                        <a:pt x="4462" y="208"/>
                      </a:lnTo>
                      <a:lnTo>
                        <a:pt x="4480" y="187"/>
                      </a:lnTo>
                      <a:lnTo>
                        <a:pt x="4534" y="171"/>
                      </a:lnTo>
                      <a:lnTo>
                        <a:pt x="4590" y="157"/>
                      </a:lnTo>
                      <a:lnTo>
                        <a:pt x="4651" y="142"/>
                      </a:lnTo>
                      <a:lnTo>
                        <a:pt x="4670" y="136"/>
                      </a:lnTo>
                      <a:lnTo>
                        <a:pt x="4703" y="146"/>
                      </a:lnTo>
                      <a:lnTo>
                        <a:pt x="4728" y="136"/>
                      </a:lnTo>
                      <a:lnTo>
                        <a:pt x="4709" y="126"/>
                      </a:lnTo>
                      <a:lnTo>
                        <a:pt x="4736" y="125"/>
                      </a:lnTo>
                      <a:lnTo>
                        <a:pt x="4769" y="128"/>
                      </a:lnTo>
                      <a:lnTo>
                        <a:pt x="4773" y="119"/>
                      </a:lnTo>
                      <a:lnTo>
                        <a:pt x="4759" y="117"/>
                      </a:lnTo>
                      <a:lnTo>
                        <a:pt x="4777" y="103"/>
                      </a:lnTo>
                      <a:lnTo>
                        <a:pt x="4866" y="90"/>
                      </a:lnTo>
                      <a:lnTo>
                        <a:pt x="4906" y="94"/>
                      </a:lnTo>
                      <a:lnTo>
                        <a:pt x="4937" y="117"/>
                      </a:lnTo>
                      <a:lnTo>
                        <a:pt x="4918" y="125"/>
                      </a:lnTo>
                      <a:lnTo>
                        <a:pt x="4966" y="136"/>
                      </a:lnTo>
                      <a:lnTo>
                        <a:pt x="5017" y="140"/>
                      </a:lnTo>
                      <a:lnTo>
                        <a:pt x="5069" y="144"/>
                      </a:lnTo>
                      <a:lnTo>
                        <a:pt x="5143" y="148"/>
                      </a:lnTo>
                      <a:lnTo>
                        <a:pt x="5217" y="152"/>
                      </a:lnTo>
                      <a:lnTo>
                        <a:pt x="5226" y="152"/>
                      </a:lnTo>
                      <a:lnTo>
                        <a:pt x="5203" y="187"/>
                      </a:lnTo>
                      <a:lnTo>
                        <a:pt x="5187" y="190"/>
                      </a:lnTo>
                      <a:lnTo>
                        <a:pt x="5209" y="189"/>
                      </a:lnTo>
                      <a:lnTo>
                        <a:pt x="5180" y="196"/>
                      </a:lnTo>
                      <a:lnTo>
                        <a:pt x="5199" y="200"/>
                      </a:lnTo>
                      <a:lnTo>
                        <a:pt x="5174" y="204"/>
                      </a:lnTo>
                      <a:lnTo>
                        <a:pt x="5158" y="212"/>
                      </a:lnTo>
                      <a:lnTo>
                        <a:pt x="5174" y="220"/>
                      </a:lnTo>
                      <a:lnTo>
                        <a:pt x="5143" y="225"/>
                      </a:lnTo>
                      <a:lnTo>
                        <a:pt x="5156" y="233"/>
                      </a:lnTo>
                      <a:lnTo>
                        <a:pt x="5155" y="249"/>
                      </a:lnTo>
                      <a:lnTo>
                        <a:pt x="5199" y="254"/>
                      </a:lnTo>
                      <a:lnTo>
                        <a:pt x="5197" y="264"/>
                      </a:lnTo>
                      <a:lnTo>
                        <a:pt x="5236" y="243"/>
                      </a:lnTo>
                      <a:lnTo>
                        <a:pt x="5232" y="231"/>
                      </a:lnTo>
                      <a:lnTo>
                        <a:pt x="5312" y="216"/>
                      </a:lnTo>
                      <a:lnTo>
                        <a:pt x="5350" y="206"/>
                      </a:lnTo>
                      <a:lnTo>
                        <a:pt x="5407" y="187"/>
                      </a:lnTo>
                      <a:lnTo>
                        <a:pt x="5426" y="173"/>
                      </a:lnTo>
                      <a:lnTo>
                        <a:pt x="5476" y="161"/>
                      </a:lnTo>
                      <a:lnTo>
                        <a:pt x="5529" y="148"/>
                      </a:lnTo>
                      <a:lnTo>
                        <a:pt x="5533" y="140"/>
                      </a:lnTo>
                      <a:lnTo>
                        <a:pt x="5554" y="134"/>
                      </a:lnTo>
                      <a:lnTo>
                        <a:pt x="5567" y="134"/>
                      </a:lnTo>
                      <a:lnTo>
                        <a:pt x="5627" y="128"/>
                      </a:lnTo>
                      <a:lnTo>
                        <a:pt x="5690" y="123"/>
                      </a:lnTo>
                      <a:lnTo>
                        <a:pt x="5711" y="115"/>
                      </a:lnTo>
                      <a:lnTo>
                        <a:pt x="5734" y="95"/>
                      </a:lnTo>
                      <a:lnTo>
                        <a:pt x="5728" y="119"/>
                      </a:lnTo>
                      <a:lnTo>
                        <a:pt x="5796" y="115"/>
                      </a:lnTo>
                      <a:lnTo>
                        <a:pt x="5866" y="111"/>
                      </a:lnTo>
                      <a:lnTo>
                        <a:pt x="5895" y="107"/>
                      </a:lnTo>
                      <a:lnTo>
                        <a:pt x="5903" y="101"/>
                      </a:lnTo>
                      <a:lnTo>
                        <a:pt x="5905" y="113"/>
                      </a:lnTo>
                      <a:lnTo>
                        <a:pt x="5992" y="105"/>
                      </a:lnTo>
                      <a:lnTo>
                        <a:pt x="6007" y="88"/>
                      </a:lnTo>
                      <a:lnTo>
                        <a:pt x="6023" y="88"/>
                      </a:lnTo>
                      <a:lnTo>
                        <a:pt x="6042" y="84"/>
                      </a:lnTo>
                      <a:lnTo>
                        <a:pt x="6033" y="99"/>
                      </a:lnTo>
                      <a:lnTo>
                        <a:pt x="6062" y="95"/>
                      </a:lnTo>
                      <a:lnTo>
                        <a:pt x="6128" y="92"/>
                      </a:lnTo>
                      <a:lnTo>
                        <a:pt x="6182" y="105"/>
                      </a:lnTo>
                      <a:lnTo>
                        <a:pt x="6234" y="121"/>
                      </a:lnTo>
                      <a:lnTo>
                        <a:pt x="6283" y="105"/>
                      </a:lnTo>
                      <a:lnTo>
                        <a:pt x="6316" y="92"/>
                      </a:lnTo>
                      <a:lnTo>
                        <a:pt x="6376" y="84"/>
                      </a:lnTo>
                      <a:lnTo>
                        <a:pt x="6385" y="103"/>
                      </a:lnTo>
                      <a:lnTo>
                        <a:pt x="6397" y="107"/>
                      </a:lnTo>
                      <a:lnTo>
                        <a:pt x="6432" y="111"/>
                      </a:lnTo>
                      <a:lnTo>
                        <a:pt x="6444" y="125"/>
                      </a:lnTo>
                      <a:lnTo>
                        <a:pt x="6511" y="119"/>
                      </a:lnTo>
                      <a:lnTo>
                        <a:pt x="6579" y="113"/>
                      </a:lnTo>
                      <a:lnTo>
                        <a:pt x="6610" y="113"/>
                      </a:lnTo>
                      <a:lnTo>
                        <a:pt x="6649" y="113"/>
                      </a:lnTo>
                      <a:lnTo>
                        <a:pt x="6684" y="103"/>
                      </a:lnTo>
                      <a:lnTo>
                        <a:pt x="6703" y="111"/>
                      </a:lnTo>
                      <a:lnTo>
                        <a:pt x="6705" y="126"/>
                      </a:lnTo>
                      <a:lnTo>
                        <a:pt x="6740" y="125"/>
                      </a:lnTo>
                      <a:lnTo>
                        <a:pt x="6783" y="101"/>
                      </a:lnTo>
                      <a:lnTo>
                        <a:pt x="6856" y="99"/>
                      </a:lnTo>
                      <a:lnTo>
                        <a:pt x="6930" y="99"/>
                      </a:lnTo>
                      <a:lnTo>
                        <a:pt x="6967" y="105"/>
                      </a:lnTo>
                      <a:lnTo>
                        <a:pt x="7002" y="113"/>
                      </a:lnTo>
                      <a:lnTo>
                        <a:pt x="7074" y="125"/>
                      </a:lnTo>
                      <a:lnTo>
                        <a:pt x="7091" y="128"/>
                      </a:lnTo>
                      <a:lnTo>
                        <a:pt x="7107" y="132"/>
                      </a:lnTo>
                      <a:lnTo>
                        <a:pt x="7136" y="132"/>
                      </a:lnTo>
                      <a:lnTo>
                        <a:pt x="7105" y="146"/>
                      </a:lnTo>
                      <a:lnTo>
                        <a:pt x="7161" y="161"/>
                      </a:lnTo>
                      <a:lnTo>
                        <a:pt x="7141" y="171"/>
                      </a:lnTo>
                      <a:lnTo>
                        <a:pt x="7217" y="173"/>
                      </a:lnTo>
                      <a:lnTo>
                        <a:pt x="7203" y="181"/>
                      </a:lnTo>
                      <a:lnTo>
                        <a:pt x="7264" y="185"/>
                      </a:lnTo>
                      <a:lnTo>
                        <a:pt x="7289" y="169"/>
                      </a:lnTo>
                      <a:lnTo>
                        <a:pt x="7293" y="181"/>
                      </a:lnTo>
                      <a:lnTo>
                        <a:pt x="7277" y="196"/>
                      </a:lnTo>
                      <a:lnTo>
                        <a:pt x="7312" y="192"/>
                      </a:lnTo>
                      <a:lnTo>
                        <a:pt x="7380" y="210"/>
                      </a:lnTo>
                      <a:lnTo>
                        <a:pt x="7378" y="231"/>
                      </a:lnTo>
                      <a:lnTo>
                        <a:pt x="7405" y="231"/>
                      </a:lnTo>
                      <a:lnTo>
                        <a:pt x="7393" y="237"/>
                      </a:lnTo>
                      <a:lnTo>
                        <a:pt x="7417" y="237"/>
                      </a:lnTo>
                      <a:lnTo>
                        <a:pt x="7426" y="239"/>
                      </a:lnTo>
                      <a:lnTo>
                        <a:pt x="7469" y="245"/>
                      </a:lnTo>
                      <a:lnTo>
                        <a:pt x="7514" y="251"/>
                      </a:lnTo>
                      <a:lnTo>
                        <a:pt x="7531" y="274"/>
                      </a:lnTo>
                      <a:lnTo>
                        <a:pt x="7549" y="266"/>
                      </a:lnTo>
                      <a:lnTo>
                        <a:pt x="7519" y="284"/>
                      </a:lnTo>
                      <a:lnTo>
                        <a:pt x="7494" y="291"/>
                      </a:lnTo>
                      <a:lnTo>
                        <a:pt x="7486" y="297"/>
                      </a:lnTo>
                      <a:lnTo>
                        <a:pt x="7457" y="313"/>
                      </a:lnTo>
                      <a:lnTo>
                        <a:pt x="7411" y="328"/>
                      </a:lnTo>
                      <a:lnTo>
                        <a:pt x="7314" y="342"/>
                      </a:lnTo>
                      <a:lnTo>
                        <a:pt x="7312" y="349"/>
                      </a:lnTo>
                      <a:lnTo>
                        <a:pt x="7271" y="353"/>
                      </a:lnTo>
                      <a:lnTo>
                        <a:pt x="7264" y="363"/>
                      </a:lnTo>
                      <a:lnTo>
                        <a:pt x="7221" y="371"/>
                      </a:lnTo>
                      <a:lnTo>
                        <a:pt x="7180" y="373"/>
                      </a:lnTo>
                      <a:lnTo>
                        <a:pt x="7172" y="382"/>
                      </a:lnTo>
                      <a:lnTo>
                        <a:pt x="7207" y="390"/>
                      </a:lnTo>
                      <a:lnTo>
                        <a:pt x="7159" y="394"/>
                      </a:lnTo>
                      <a:lnTo>
                        <a:pt x="7116" y="410"/>
                      </a:lnTo>
                      <a:lnTo>
                        <a:pt x="7089" y="423"/>
                      </a:lnTo>
                      <a:lnTo>
                        <a:pt x="7072" y="431"/>
                      </a:lnTo>
                      <a:lnTo>
                        <a:pt x="7066" y="448"/>
                      </a:lnTo>
                      <a:lnTo>
                        <a:pt x="7048" y="454"/>
                      </a:lnTo>
                      <a:lnTo>
                        <a:pt x="7062" y="456"/>
                      </a:lnTo>
                      <a:lnTo>
                        <a:pt x="7037" y="466"/>
                      </a:lnTo>
                      <a:lnTo>
                        <a:pt x="7048" y="464"/>
                      </a:lnTo>
                      <a:lnTo>
                        <a:pt x="7046" y="470"/>
                      </a:lnTo>
                      <a:lnTo>
                        <a:pt x="7074" y="462"/>
                      </a:lnTo>
                      <a:lnTo>
                        <a:pt x="7062" y="468"/>
                      </a:lnTo>
                      <a:lnTo>
                        <a:pt x="7064" y="481"/>
                      </a:lnTo>
                      <a:lnTo>
                        <a:pt x="6982" y="483"/>
                      </a:lnTo>
                      <a:lnTo>
                        <a:pt x="6903" y="489"/>
                      </a:lnTo>
                      <a:lnTo>
                        <a:pt x="6891" y="499"/>
                      </a:lnTo>
                      <a:lnTo>
                        <a:pt x="6849" y="512"/>
                      </a:lnTo>
                      <a:lnTo>
                        <a:pt x="6858" y="516"/>
                      </a:lnTo>
                      <a:lnTo>
                        <a:pt x="6814" y="524"/>
                      </a:lnTo>
                      <a:lnTo>
                        <a:pt x="6843" y="526"/>
                      </a:lnTo>
                      <a:lnTo>
                        <a:pt x="6818" y="532"/>
                      </a:lnTo>
                      <a:lnTo>
                        <a:pt x="6818" y="536"/>
                      </a:lnTo>
                      <a:lnTo>
                        <a:pt x="6802" y="541"/>
                      </a:lnTo>
                      <a:lnTo>
                        <a:pt x="6822" y="545"/>
                      </a:lnTo>
                      <a:lnTo>
                        <a:pt x="6796" y="551"/>
                      </a:lnTo>
                      <a:lnTo>
                        <a:pt x="6808" y="565"/>
                      </a:lnTo>
                      <a:lnTo>
                        <a:pt x="6794" y="569"/>
                      </a:lnTo>
                      <a:lnTo>
                        <a:pt x="6814" y="570"/>
                      </a:lnTo>
                      <a:lnTo>
                        <a:pt x="6829" y="582"/>
                      </a:lnTo>
                      <a:lnTo>
                        <a:pt x="6849" y="590"/>
                      </a:lnTo>
                      <a:lnTo>
                        <a:pt x="6928" y="603"/>
                      </a:lnTo>
                      <a:lnTo>
                        <a:pt x="7004" y="615"/>
                      </a:lnTo>
                      <a:lnTo>
                        <a:pt x="6963" y="631"/>
                      </a:lnTo>
                      <a:lnTo>
                        <a:pt x="6915" y="646"/>
                      </a:lnTo>
                      <a:lnTo>
                        <a:pt x="6866" y="660"/>
                      </a:lnTo>
                      <a:lnTo>
                        <a:pt x="6818" y="675"/>
                      </a:lnTo>
                      <a:lnTo>
                        <a:pt x="6769" y="689"/>
                      </a:lnTo>
                      <a:lnTo>
                        <a:pt x="6721" y="70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6" name="Freeform 236"/>
                <p:cNvSpPr>
                  <a:spLocks/>
                </p:cNvSpPr>
                <p:nvPr/>
              </p:nvSpPr>
              <p:spPr bwMode="auto">
                <a:xfrm>
                  <a:off x="1637967" y="5519344"/>
                  <a:ext cx="115424" cy="17758"/>
                </a:xfrm>
                <a:custGeom>
                  <a:avLst/>
                  <a:gdLst>
                    <a:gd name="T0" fmla="*/ 115424 w 143"/>
                    <a:gd name="T1" fmla="*/ 17758 h 27"/>
                    <a:gd name="T2" fmla="*/ 21793 w 143"/>
                    <a:gd name="T3" fmla="*/ 0 h 27"/>
                    <a:gd name="T4" fmla="*/ 0 w 143"/>
                    <a:gd name="T5" fmla="*/ 6577 h 27"/>
                    <a:gd name="T6" fmla="*/ 33901 w 143"/>
                    <a:gd name="T7" fmla="*/ 14469 h 27"/>
                    <a:gd name="T8" fmla="*/ 115424 w 143"/>
                    <a:gd name="T9" fmla="*/ 17758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43"/>
                    <a:gd name="T16" fmla="*/ 0 h 27"/>
                    <a:gd name="T17" fmla="*/ 143 w 143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43" h="27">
                      <a:moveTo>
                        <a:pt x="143" y="27"/>
                      </a:moveTo>
                      <a:lnTo>
                        <a:pt x="27" y="0"/>
                      </a:lnTo>
                      <a:lnTo>
                        <a:pt x="0" y="10"/>
                      </a:lnTo>
                      <a:lnTo>
                        <a:pt x="42" y="22"/>
                      </a:lnTo>
                      <a:lnTo>
                        <a:pt x="143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7" name="Freeform 237"/>
                <p:cNvSpPr>
                  <a:spLocks/>
                </p:cNvSpPr>
                <p:nvPr/>
              </p:nvSpPr>
              <p:spPr bwMode="auto">
                <a:xfrm>
                  <a:off x="3024829" y="4837454"/>
                  <a:ext cx="35515" cy="30188"/>
                </a:xfrm>
                <a:custGeom>
                  <a:avLst/>
                  <a:gdLst>
                    <a:gd name="T0" fmla="*/ 35515 w 49"/>
                    <a:gd name="T1" fmla="*/ 12238 h 37"/>
                    <a:gd name="T2" fmla="*/ 28267 w 49"/>
                    <a:gd name="T3" fmla="*/ 6527 h 37"/>
                    <a:gd name="T4" fmla="*/ 21019 w 49"/>
                    <a:gd name="T5" fmla="*/ 6527 h 37"/>
                    <a:gd name="T6" fmla="*/ 17395 w 49"/>
                    <a:gd name="T7" fmla="*/ 4895 h 37"/>
                    <a:gd name="T8" fmla="*/ 7248 w 49"/>
                    <a:gd name="T9" fmla="*/ 0 h 37"/>
                    <a:gd name="T10" fmla="*/ 7248 w 49"/>
                    <a:gd name="T11" fmla="*/ 8975 h 37"/>
                    <a:gd name="T12" fmla="*/ 0 w 49"/>
                    <a:gd name="T13" fmla="*/ 20397 h 37"/>
                    <a:gd name="T14" fmla="*/ 7248 w 49"/>
                    <a:gd name="T15" fmla="*/ 30188 h 37"/>
                    <a:gd name="T16" fmla="*/ 11597 w 49"/>
                    <a:gd name="T17" fmla="*/ 23661 h 37"/>
                    <a:gd name="T18" fmla="*/ 15946 w 49"/>
                    <a:gd name="T19" fmla="*/ 22029 h 37"/>
                    <a:gd name="T20" fmla="*/ 15946 w 49"/>
                    <a:gd name="T21" fmla="*/ 18766 h 37"/>
                    <a:gd name="T22" fmla="*/ 35515 w 49"/>
                    <a:gd name="T23" fmla="*/ 12238 h 3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9"/>
                    <a:gd name="T37" fmla="*/ 0 h 37"/>
                    <a:gd name="T38" fmla="*/ 49 w 49"/>
                    <a:gd name="T39" fmla="*/ 37 h 3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9" h="37">
                      <a:moveTo>
                        <a:pt x="49" y="15"/>
                      </a:moveTo>
                      <a:lnTo>
                        <a:pt x="39" y="8"/>
                      </a:lnTo>
                      <a:lnTo>
                        <a:pt x="29" y="8"/>
                      </a:lnTo>
                      <a:lnTo>
                        <a:pt x="24" y="6"/>
                      </a:lnTo>
                      <a:lnTo>
                        <a:pt x="10" y="0"/>
                      </a:lnTo>
                      <a:lnTo>
                        <a:pt x="10" y="11"/>
                      </a:lnTo>
                      <a:lnTo>
                        <a:pt x="0" y="25"/>
                      </a:lnTo>
                      <a:lnTo>
                        <a:pt x="10" y="37"/>
                      </a:lnTo>
                      <a:lnTo>
                        <a:pt x="16" y="29"/>
                      </a:lnTo>
                      <a:lnTo>
                        <a:pt x="22" y="27"/>
                      </a:lnTo>
                      <a:lnTo>
                        <a:pt x="22" y="23"/>
                      </a:lnTo>
                      <a:lnTo>
                        <a:pt x="49" y="1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8" name="Freeform 238"/>
                <p:cNvSpPr>
                  <a:spLocks/>
                </p:cNvSpPr>
                <p:nvPr/>
              </p:nvSpPr>
              <p:spPr bwMode="auto">
                <a:xfrm>
                  <a:off x="2994641" y="4844557"/>
                  <a:ext cx="30188" cy="17758"/>
                </a:xfrm>
                <a:custGeom>
                  <a:avLst/>
                  <a:gdLst>
                    <a:gd name="T0" fmla="*/ 8159 w 37"/>
                    <a:gd name="T1" fmla="*/ 6393 h 25"/>
                    <a:gd name="T2" fmla="*/ 1632 w 37"/>
                    <a:gd name="T3" fmla="*/ 1421 h 25"/>
                    <a:gd name="T4" fmla="*/ 30188 w 37"/>
                    <a:gd name="T5" fmla="*/ 0 h 25"/>
                    <a:gd name="T6" fmla="*/ 16318 w 37"/>
                    <a:gd name="T7" fmla="*/ 13496 h 25"/>
                    <a:gd name="T8" fmla="*/ 0 w 37"/>
                    <a:gd name="T9" fmla="*/ 17758 h 25"/>
                    <a:gd name="T10" fmla="*/ 9791 w 37"/>
                    <a:gd name="T11" fmla="*/ 10655 h 25"/>
                    <a:gd name="T12" fmla="*/ 4895 w 37"/>
                    <a:gd name="T13" fmla="*/ 9234 h 25"/>
                    <a:gd name="T14" fmla="*/ 8159 w 37"/>
                    <a:gd name="T15" fmla="*/ 6393 h 2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7"/>
                    <a:gd name="T25" fmla="*/ 0 h 25"/>
                    <a:gd name="T26" fmla="*/ 37 w 37"/>
                    <a:gd name="T27" fmla="*/ 25 h 2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7" h="25">
                      <a:moveTo>
                        <a:pt x="10" y="9"/>
                      </a:moveTo>
                      <a:lnTo>
                        <a:pt x="2" y="2"/>
                      </a:lnTo>
                      <a:lnTo>
                        <a:pt x="37" y="0"/>
                      </a:lnTo>
                      <a:lnTo>
                        <a:pt x="20" y="19"/>
                      </a:lnTo>
                      <a:lnTo>
                        <a:pt x="0" y="25"/>
                      </a:lnTo>
                      <a:lnTo>
                        <a:pt x="12" y="15"/>
                      </a:lnTo>
                      <a:lnTo>
                        <a:pt x="6" y="13"/>
                      </a:lnTo>
                      <a:lnTo>
                        <a:pt x="10" y="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49" name="Freeform 239"/>
                <p:cNvSpPr>
                  <a:spLocks/>
                </p:cNvSpPr>
                <p:nvPr/>
              </p:nvSpPr>
              <p:spPr bwMode="auto">
                <a:xfrm>
                  <a:off x="4670951" y="3873220"/>
                  <a:ext cx="346272" cy="337393"/>
                </a:xfrm>
                <a:custGeom>
                  <a:avLst/>
                  <a:gdLst>
                    <a:gd name="T0" fmla="*/ 205284 w 447"/>
                    <a:gd name="T1" fmla="*/ 220460 h 453"/>
                    <a:gd name="T2" fmla="*/ 205284 w 447"/>
                    <a:gd name="T3" fmla="*/ 181730 h 453"/>
                    <a:gd name="T4" fmla="*/ 206834 w 447"/>
                    <a:gd name="T5" fmla="*/ 143001 h 453"/>
                    <a:gd name="T6" fmla="*/ 232397 w 447"/>
                    <a:gd name="T7" fmla="*/ 143001 h 453"/>
                    <a:gd name="T8" fmla="*/ 233947 w 447"/>
                    <a:gd name="T9" fmla="*/ 116933 h 453"/>
                    <a:gd name="T10" fmla="*/ 235496 w 447"/>
                    <a:gd name="T11" fmla="*/ 90865 h 453"/>
                    <a:gd name="T12" fmla="*/ 235496 w 447"/>
                    <a:gd name="T13" fmla="*/ 64797 h 453"/>
                    <a:gd name="T14" fmla="*/ 237045 w 447"/>
                    <a:gd name="T15" fmla="*/ 38729 h 453"/>
                    <a:gd name="T16" fmla="*/ 267257 w 447"/>
                    <a:gd name="T17" fmla="*/ 34261 h 453"/>
                    <a:gd name="T18" fmla="*/ 296694 w 447"/>
                    <a:gd name="T19" fmla="*/ 31281 h 453"/>
                    <a:gd name="T20" fmla="*/ 305990 w 447"/>
                    <a:gd name="T21" fmla="*/ 41709 h 453"/>
                    <a:gd name="T22" fmla="*/ 326906 w 447"/>
                    <a:gd name="T23" fmla="*/ 29792 h 453"/>
                    <a:gd name="T24" fmla="*/ 346272 w 447"/>
                    <a:gd name="T25" fmla="*/ 23089 h 453"/>
                    <a:gd name="T26" fmla="*/ 318384 w 447"/>
                    <a:gd name="T27" fmla="*/ 15641 h 453"/>
                    <a:gd name="T28" fmla="*/ 299793 w 447"/>
                    <a:gd name="T29" fmla="*/ 18620 h 453"/>
                    <a:gd name="T30" fmla="*/ 262609 w 447"/>
                    <a:gd name="T31" fmla="*/ 23089 h 453"/>
                    <a:gd name="T32" fmla="*/ 223101 w 447"/>
                    <a:gd name="T33" fmla="*/ 26813 h 453"/>
                    <a:gd name="T34" fmla="*/ 199087 w 447"/>
                    <a:gd name="T35" fmla="*/ 23089 h 453"/>
                    <a:gd name="T36" fmla="*/ 173523 w 447"/>
                    <a:gd name="T37" fmla="*/ 17130 h 453"/>
                    <a:gd name="T38" fmla="*/ 171199 w 447"/>
                    <a:gd name="T39" fmla="*/ 11172 h 453"/>
                    <a:gd name="T40" fmla="*/ 140988 w 447"/>
                    <a:gd name="T41" fmla="*/ 11172 h 453"/>
                    <a:gd name="T42" fmla="*/ 110776 w 447"/>
                    <a:gd name="T43" fmla="*/ 9682 h 453"/>
                    <a:gd name="T44" fmla="*/ 80564 w 447"/>
                    <a:gd name="T45" fmla="*/ 9682 h 453"/>
                    <a:gd name="T46" fmla="*/ 51127 w 447"/>
                    <a:gd name="T47" fmla="*/ 8193 h 453"/>
                    <a:gd name="T48" fmla="*/ 30986 w 447"/>
                    <a:gd name="T49" fmla="*/ 0 h 453"/>
                    <a:gd name="T50" fmla="*/ 0 w 447"/>
                    <a:gd name="T51" fmla="*/ 8193 h 453"/>
                    <a:gd name="T52" fmla="*/ 0 w 447"/>
                    <a:gd name="T53" fmla="*/ 24578 h 453"/>
                    <a:gd name="T54" fmla="*/ 16268 w 447"/>
                    <a:gd name="T55" fmla="*/ 58839 h 453"/>
                    <a:gd name="T56" fmla="*/ 34085 w 447"/>
                    <a:gd name="T57" fmla="*/ 92355 h 453"/>
                    <a:gd name="T58" fmla="*/ 51127 w 447"/>
                    <a:gd name="T59" fmla="*/ 126615 h 453"/>
                    <a:gd name="T60" fmla="*/ 67395 w 447"/>
                    <a:gd name="T61" fmla="*/ 161621 h 453"/>
                    <a:gd name="T62" fmla="*/ 70494 w 447"/>
                    <a:gd name="T63" fmla="*/ 175772 h 453"/>
                    <a:gd name="T64" fmla="*/ 65846 w 447"/>
                    <a:gd name="T65" fmla="*/ 174282 h 453"/>
                    <a:gd name="T66" fmla="*/ 70494 w 447"/>
                    <a:gd name="T67" fmla="*/ 203330 h 453"/>
                    <a:gd name="T68" fmla="*/ 75142 w 447"/>
                    <a:gd name="T69" fmla="*/ 232377 h 453"/>
                    <a:gd name="T70" fmla="*/ 77466 w 447"/>
                    <a:gd name="T71" fmla="*/ 261424 h 453"/>
                    <a:gd name="T72" fmla="*/ 82114 w 447"/>
                    <a:gd name="T73" fmla="*/ 289726 h 453"/>
                    <a:gd name="T74" fmla="*/ 97607 w 447"/>
                    <a:gd name="T75" fmla="*/ 310580 h 453"/>
                    <a:gd name="T76" fmla="*/ 110776 w 447"/>
                    <a:gd name="T77" fmla="*/ 329200 h 453"/>
                    <a:gd name="T78" fmla="*/ 125495 w 447"/>
                    <a:gd name="T79" fmla="*/ 312815 h 453"/>
                    <a:gd name="T80" fmla="*/ 134790 w 447"/>
                    <a:gd name="T81" fmla="*/ 332179 h 453"/>
                    <a:gd name="T82" fmla="*/ 172749 w 447"/>
                    <a:gd name="T83" fmla="*/ 337393 h 453"/>
                    <a:gd name="T84" fmla="*/ 195214 w 447"/>
                    <a:gd name="T85" fmla="*/ 326221 h 453"/>
                    <a:gd name="T86" fmla="*/ 198312 w 447"/>
                    <a:gd name="T87" fmla="*/ 300153 h 453"/>
                    <a:gd name="T88" fmla="*/ 199087 w 447"/>
                    <a:gd name="T89" fmla="*/ 274085 h 453"/>
                    <a:gd name="T90" fmla="*/ 202186 w 447"/>
                    <a:gd name="T91" fmla="*/ 246528 h 453"/>
                    <a:gd name="T92" fmla="*/ 205284 w 447"/>
                    <a:gd name="T93" fmla="*/ 220460 h 453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447"/>
                    <a:gd name="T142" fmla="*/ 0 h 453"/>
                    <a:gd name="T143" fmla="*/ 447 w 447"/>
                    <a:gd name="T144" fmla="*/ 453 h 453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447" h="453">
                      <a:moveTo>
                        <a:pt x="265" y="296"/>
                      </a:moveTo>
                      <a:lnTo>
                        <a:pt x="265" y="244"/>
                      </a:lnTo>
                      <a:lnTo>
                        <a:pt x="267" y="192"/>
                      </a:lnTo>
                      <a:lnTo>
                        <a:pt x="300" y="192"/>
                      </a:lnTo>
                      <a:lnTo>
                        <a:pt x="302" y="157"/>
                      </a:lnTo>
                      <a:lnTo>
                        <a:pt x="304" y="122"/>
                      </a:lnTo>
                      <a:lnTo>
                        <a:pt x="304" y="87"/>
                      </a:lnTo>
                      <a:lnTo>
                        <a:pt x="306" y="52"/>
                      </a:lnTo>
                      <a:lnTo>
                        <a:pt x="345" y="46"/>
                      </a:lnTo>
                      <a:lnTo>
                        <a:pt x="383" y="42"/>
                      </a:lnTo>
                      <a:lnTo>
                        <a:pt x="395" y="56"/>
                      </a:lnTo>
                      <a:lnTo>
                        <a:pt x="422" y="40"/>
                      </a:lnTo>
                      <a:lnTo>
                        <a:pt x="447" y="31"/>
                      </a:lnTo>
                      <a:lnTo>
                        <a:pt x="411" y="21"/>
                      </a:lnTo>
                      <a:lnTo>
                        <a:pt x="387" y="25"/>
                      </a:lnTo>
                      <a:lnTo>
                        <a:pt x="339" y="31"/>
                      </a:lnTo>
                      <a:lnTo>
                        <a:pt x="288" y="36"/>
                      </a:lnTo>
                      <a:lnTo>
                        <a:pt x="257" y="31"/>
                      </a:lnTo>
                      <a:lnTo>
                        <a:pt x="224" y="23"/>
                      </a:lnTo>
                      <a:lnTo>
                        <a:pt x="221" y="15"/>
                      </a:lnTo>
                      <a:lnTo>
                        <a:pt x="182" y="15"/>
                      </a:lnTo>
                      <a:lnTo>
                        <a:pt x="143" y="13"/>
                      </a:lnTo>
                      <a:lnTo>
                        <a:pt x="104" y="13"/>
                      </a:lnTo>
                      <a:lnTo>
                        <a:pt x="66" y="11"/>
                      </a:lnTo>
                      <a:lnTo>
                        <a:pt x="40" y="0"/>
                      </a:lnTo>
                      <a:lnTo>
                        <a:pt x="0" y="11"/>
                      </a:lnTo>
                      <a:lnTo>
                        <a:pt x="0" y="33"/>
                      </a:lnTo>
                      <a:lnTo>
                        <a:pt x="21" y="79"/>
                      </a:lnTo>
                      <a:lnTo>
                        <a:pt x="44" y="124"/>
                      </a:lnTo>
                      <a:lnTo>
                        <a:pt x="66" y="170"/>
                      </a:lnTo>
                      <a:lnTo>
                        <a:pt x="87" y="217"/>
                      </a:lnTo>
                      <a:lnTo>
                        <a:pt x="91" y="236"/>
                      </a:lnTo>
                      <a:lnTo>
                        <a:pt x="85" y="234"/>
                      </a:lnTo>
                      <a:lnTo>
                        <a:pt x="91" y="273"/>
                      </a:lnTo>
                      <a:lnTo>
                        <a:pt x="97" y="312"/>
                      </a:lnTo>
                      <a:lnTo>
                        <a:pt x="100" y="351"/>
                      </a:lnTo>
                      <a:lnTo>
                        <a:pt x="106" y="389"/>
                      </a:lnTo>
                      <a:lnTo>
                        <a:pt x="126" y="417"/>
                      </a:lnTo>
                      <a:lnTo>
                        <a:pt x="143" y="442"/>
                      </a:lnTo>
                      <a:lnTo>
                        <a:pt x="162" y="420"/>
                      </a:lnTo>
                      <a:lnTo>
                        <a:pt x="174" y="446"/>
                      </a:lnTo>
                      <a:lnTo>
                        <a:pt x="223" y="453"/>
                      </a:lnTo>
                      <a:lnTo>
                        <a:pt x="252" y="438"/>
                      </a:lnTo>
                      <a:lnTo>
                        <a:pt x="256" y="403"/>
                      </a:lnTo>
                      <a:lnTo>
                        <a:pt x="257" y="368"/>
                      </a:lnTo>
                      <a:lnTo>
                        <a:pt x="261" y="331"/>
                      </a:lnTo>
                      <a:lnTo>
                        <a:pt x="265" y="29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0" name="Freeform 240"/>
                <p:cNvSpPr>
                  <a:spLocks/>
                </p:cNvSpPr>
                <p:nvPr/>
              </p:nvSpPr>
              <p:spPr bwMode="auto">
                <a:xfrm>
                  <a:off x="2540049" y="3665456"/>
                  <a:ext cx="332066" cy="372908"/>
                </a:xfrm>
                <a:custGeom>
                  <a:avLst/>
                  <a:gdLst>
                    <a:gd name="T0" fmla="*/ 223749 w 420"/>
                    <a:gd name="T1" fmla="*/ 294125 h 497"/>
                    <a:gd name="T2" fmla="*/ 217424 w 420"/>
                    <a:gd name="T3" fmla="*/ 324888 h 497"/>
                    <a:gd name="T4" fmla="*/ 211099 w 420"/>
                    <a:gd name="T5" fmla="*/ 354900 h 497"/>
                    <a:gd name="T6" fmla="*/ 205565 w 420"/>
                    <a:gd name="T7" fmla="*/ 349648 h 497"/>
                    <a:gd name="T8" fmla="*/ 174730 w 420"/>
                    <a:gd name="T9" fmla="*/ 353400 h 497"/>
                    <a:gd name="T10" fmla="*/ 166824 w 420"/>
                    <a:gd name="T11" fmla="*/ 369907 h 497"/>
                    <a:gd name="T12" fmla="*/ 153383 w 420"/>
                    <a:gd name="T13" fmla="*/ 351899 h 497"/>
                    <a:gd name="T14" fmla="*/ 120967 w 420"/>
                    <a:gd name="T15" fmla="*/ 346647 h 497"/>
                    <a:gd name="T16" fmla="*/ 116223 w 420"/>
                    <a:gd name="T17" fmla="*/ 343646 h 497"/>
                    <a:gd name="T18" fmla="*/ 94876 w 420"/>
                    <a:gd name="T19" fmla="*/ 372908 h 497"/>
                    <a:gd name="T20" fmla="*/ 76691 w 420"/>
                    <a:gd name="T21" fmla="*/ 369907 h 497"/>
                    <a:gd name="T22" fmla="*/ 64041 w 420"/>
                    <a:gd name="T23" fmla="*/ 343646 h 497"/>
                    <a:gd name="T24" fmla="*/ 53763 w 420"/>
                    <a:gd name="T25" fmla="*/ 318885 h 497"/>
                    <a:gd name="T26" fmla="*/ 47438 w 420"/>
                    <a:gd name="T27" fmla="*/ 294125 h 497"/>
                    <a:gd name="T28" fmla="*/ 47438 w 420"/>
                    <a:gd name="T29" fmla="*/ 272365 h 497"/>
                    <a:gd name="T30" fmla="*/ 33207 w 420"/>
                    <a:gd name="T31" fmla="*/ 253607 h 497"/>
                    <a:gd name="T32" fmla="*/ 24510 w 420"/>
                    <a:gd name="T33" fmla="*/ 234099 h 497"/>
                    <a:gd name="T34" fmla="*/ 18185 w 420"/>
                    <a:gd name="T35" fmla="*/ 221344 h 497"/>
                    <a:gd name="T36" fmla="*/ 18185 w 420"/>
                    <a:gd name="T37" fmla="*/ 209339 h 497"/>
                    <a:gd name="T38" fmla="*/ 29253 w 420"/>
                    <a:gd name="T39" fmla="*/ 185329 h 497"/>
                    <a:gd name="T40" fmla="*/ 21347 w 420"/>
                    <a:gd name="T41" fmla="*/ 182327 h 497"/>
                    <a:gd name="T42" fmla="*/ 16603 w 420"/>
                    <a:gd name="T43" fmla="*/ 159067 h 497"/>
                    <a:gd name="T44" fmla="*/ 18185 w 420"/>
                    <a:gd name="T45" fmla="*/ 135808 h 497"/>
                    <a:gd name="T46" fmla="*/ 22928 w 420"/>
                    <a:gd name="T47" fmla="*/ 119301 h 497"/>
                    <a:gd name="T48" fmla="*/ 22928 w 420"/>
                    <a:gd name="T49" fmla="*/ 84786 h 497"/>
                    <a:gd name="T50" fmla="*/ 27672 w 420"/>
                    <a:gd name="T51" fmla="*/ 77283 h 497"/>
                    <a:gd name="T52" fmla="*/ 13441 w 420"/>
                    <a:gd name="T53" fmla="*/ 55524 h 497"/>
                    <a:gd name="T54" fmla="*/ 0 w 420"/>
                    <a:gd name="T55" fmla="*/ 33764 h 497"/>
                    <a:gd name="T56" fmla="*/ 34788 w 420"/>
                    <a:gd name="T57" fmla="*/ 35265 h 497"/>
                    <a:gd name="T58" fmla="*/ 47438 w 420"/>
                    <a:gd name="T59" fmla="*/ 26261 h 497"/>
                    <a:gd name="T60" fmla="*/ 68785 w 420"/>
                    <a:gd name="T61" fmla="*/ 13506 h 497"/>
                    <a:gd name="T62" fmla="*/ 90132 w 420"/>
                    <a:gd name="T63" fmla="*/ 0 h 497"/>
                    <a:gd name="T64" fmla="*/ 111479 w 420"/>
                    <a:gd name="T65" fmla="*/ 1501 h 497"/>
                    <a:gd name="T66" fmla="*/ 113061 w 420"/>
                    <a:gd name="T67" fmla="*/ 26261 h 497"/>
                    <a:gd name="T68" fmla="*/ 116223 w 420"/>
                    <a:gd name="T69" fmla="*/ 49521 h 497"/>
                    <a:gd name="T70" fmla="*/ 135989 w 420"/>
                    <a:gd name="T71" fmla="*/ 69780 h 497"/>
                    <a:gd name="T72" fmla="*/ 156545 w 420"/>
                    <a:gd name="T73" fmla="*/ 77283 h 497"/>
                    <a:gd name="T74" fmla="*/ 179474 w 420"/>
                    <a:gd name="T75" fmla="*/ 87787 h 497"/>
                    <a:gd name="T76" fmla="*/ 207937 w 420"/>
                    <a:gd name="T77" fmla="*/ 106545 h 497"/>
                    <a:gd name="T78" fmla="*/ 238771 w 420"/>
                    <a:gd name="T79" fmla="*/ 112548 h 497"/>
                    <a:gd name="T80" fmla="*/ 246678 w 420"/>
                    <a:gd name="T81" fmla="*/ 123802 h 497"/>
                    <a:gd name="T82" fmla="*/ 249840 w 420"/>
                    <a:gd name="T83" fmla="*/ 151564 h 497"/>
                    <a:gd name="T84" fmla="*/ 245096 w 420"/>
                    <a:gd name="T85" fmla="*/ 151564 h 497"/>
                    <a:gd name="T86" fmla="*/ 256165 w 420"/>
                    <a:gd name="T87" fmla="*/ 162819 h 497"/>
                    <a:gd name="T88" fmla="*/ 258537 w 420"/>
                    <a:gd name="T89" fmla="*/ 185329 h 497"/>
                    <a:gd name="T90" fmla="*/ 283047 w 420"/>
                    <a:gd name="T91" fmla="*/ 187579 h 497"/>
                    <a:gd name="T92" fmla="*/ 307556 w 420"/>
                    <a:gd name="T93" fmla="*/ 190581 h 497"/>
                    <a:gd name="T94" fmla="*/ 310719 w 420"/>
                    <a:gd name="T95" fmla="*/ 215341 h 497"/>
                    <a:gd name="T96" fmla="*/ 328113 w 420"/>
                    <a:gd name="T97" fmla="*/ 230348 h 497"/>
                    <a:gd name="T98" fmla="*/ 332066 w 420"/>
                    <a:gd name="T99" fmla="*/ 241602 h 497"/>
                    <a:gd name="T100" fmla="*/ 326532 w 420"/>
                    <a:gd name="T101" fmla="*/ 263362 h 497"/>
                    <a:gd name="T102" fmla="*/ 321788 w 420"/>
                    <a:gd name="T103" fmla="*/ 283620 h 497"/>
                    <a:gd name="T104" fmla="*/ 324950 w 420"/>
                    <a:gd name="T105" fmla="*/ 294125 h 497"/>
                    <a:gd name="T106" fmla="*/ 321788 w 420"/>
                    <a:gd name="T107" fmla="*/ 297126 h 497"/>
                    <a:gd name="T108" fmla="*/ 321788 w 420"/>
                    <a:gd name="T109" fmla="*/ 292624 h 497"/>
                    <a:gd name="T110" fmla="*/ 294116 w 420"/>
                    <a:gd name="T111" fmla="*/ 273866 h 497"/>
                    <a:gd name="T112" fmla="*/ 260118 w 420"/>
                    <a:gd name="T113" fmla="*/ 278368 h 497"/>
                    <a:gd name="T114" fmla="*/ 226912 w 420"/>
                    <a:gd name="T115" fmla="*/ 282120 h 497"/>
                    <a:gd name="T116" fmla="*/ 223749 w 420"/>
                    <a:gd name="T117" fmla="*/ 294125 h 497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420"/>
                    <a:gd name="T178" fmla="*/ 0 h 497"/>
                    <a:gd name="T179" fmla="*/ 420 w 420"/>
                    <a:gd name="T180" fmla="*/ 497 h 497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420" h="497">
                      <a:moveTo>
                        <a:pt x="283" y="392"/>
                      </a:moveTo>
                      <a:lnTo>
                        <a:pt x="275" y="433"/>
                      </a:lnTo>
                      <a:lnTo>
                        <a:pt x="267" y="473"/>
                      </a:lnTo>
                      <a:lnTo>
                        <a:pt x="260" y="466"/>
                      </a:lnTo>
                      <a:lnTo>
                        <a:pt x="221" y="471"/>
                      </a:lnTo>
                      <a:lnTo>
                        <a:pt x="211" y="493"/>
                      </a:lnTo>
                      <a:lnTo>
                        <a:pt x="194" y="469"/>
                      </a:lnTo>
                      <a:lnTo>
                        <a:pt x="153" y="462"/>
                      </a:lnTo>
                      <a:lnTo>
                        <a:pt x="147" y="458"/>
                      </a:lnTo>
                      <a:lnTo>
                        <a:pt x="120" y="497"/>
                      </a:lnTo>
                      <a:lnTo>
                        <a:pt x="97" y="493"/>
                      </a:lnTo>
                      <a:lnTo>
                        <a:pt x="81" y="458"/>
                      </a:lnTo>
                      <a:lnTo>
                        <a:pt x="68" y="425"/>
                      </a:lnTo>
                      <a:lnTo>
                        <a:pt x="60" y="392"/>
                      </a:lnTo>
                      <a:lnTo>
                        <a:pt x="60" y="363"/>
                      </a:lnTo>
                      <a:lnTo>
                        <a:pt x="42" y="338"/>
                      </a:lnTo>
                      <a:lnTo>
                        <a:pt x="31" y="312"/>
                      </a:lnTo>
                      <a:lnTo>
                        <a:pt x="23" y="295"/>
                      </a:lnTo>
                      <a:lnTo>
                        <a:pt x="23" y="279"/>
                      </a:lnTo>
                      <a:lnTo>
                        <a:pt x="37" y="247"/>
                      </a:lnTo>
                      <a:lnTo>
                        <a:pt x="27" y="243"/>
                      </a:lnTo>
                      <a:lnTo>
                        <a:pt x="21" y="212"/>
                      </a:lnTo>
                      <a:lnTo>
                        <a:pt x="23" y="181"/>
                      </a:lnTo>
                      <a:lnTo>
                        <a:pt x="29" y="159"/>
                      </a:lnTo>
                      <a:lnTo>
                        <a:pt x="29" y="113"/>
                      </a:lnTo>
                      <a:lnTo>
                        <a:pt x="35" y="103"/>
                      </a:lnTo>
                      <a:lnTo>
                        <a:pt x="17" y="74"/>
                      </a:lnTo>
                      <a:lnTo>
                        <a:pt x="0" y="45"/>
                      </a:lnTo>
                      <a:lnTo>
                        <a:pt x="44" y="47"/>
                      </a:lnTo>
                      <a:lnTo>
                        <a:pt x="60" y="35"/>
                      </a:lnTo>
                      <a:lnTo>
                        <a:pt x="87" y="18"/>
                      </a:lnTo>
                      <a:lnTo>
                        <a:pt x="114" y="0"/>
                      </a:lnTo>
                      <a:lnTo>
                        <a:pt x="141" y="2"/>
                      </a:lnTo>
                      <a:lnTo>
                        <a:pt x="143" y="35"/>
                      </a:lnTo>
                      <a:lnTo>
                        <a:pt x="147" y="66"/>
                      </a:lnTo>
                      <a:lnTo>
                        <a:pt x="172" y="93"/>
                      </a:lnTo>
                      <a:lnTo>
                        <a:pt x="198" y="103"/>
                      </a:lnTo>
                      <a:lnTo>
                        <a:pt x="227" y="117"/>
                      </a:lnTo>
                      <a:lnTo>
                        <a:pt x="263" y="142"/>
                      </a:lnTo>
                      <a:lnTo>
                        <a:pt x="302" y="150"/>
                      </a:lnTo>
                      <a:lnTo>
                        <a:pt x="312" y="165"/>
                      </a:lnTo>
                      <a:lnTo>
                        <a:pt x="316" y="202"/>
                      </a:lnTo>
                      <a:lnTo>
                        <a:pt x="310" y="202"/>
                      </a:lnTo>
                      <a:lnTo>
                        <a:pt x="324" y="217"/>
                      </a:lnTo>
                      <a:lnTo>
                        <a:pt x="327" y="247"/>
                      </a:lnTo>
                      <a:lnTo>
                        <a:pt x="358" y="250"/>
                      </a:lnTo>
                      <a:lnTo>
                        <a:pt x="389" y="254"/>
                      </a:lnTo>
                      <a:lnTo>
                        <a:pt x="393" y="287"/>
                      </a:lnTo>
                      <a:lnTo>
                        <a:pt x="415" y="307"/>
                      </a:lnTo>
                      <a:lnTo>
                        <a:pt x="420" y="322"/>
                      </a:lnTo>
                      <a:lnTo>
                        <a:pt x="413" y="351"/>
                      </a:lnTo>
                      <a:lnTo>
                        <a:pt x="407" y="378"/>
                      </a:lnTo>
                      <a:lnTo>
                        <a:pt x="411" y="392"/>
                      </a:lnTo>
                      <a:lnTo>
                        <a:pt x="407" y="396"/>
                      </a:lnTo>
                      <a:lnTo>
                        <a:pt x="407" y="390"/>
                      </a:lnTo>
                      <a:lnTo>
                        <a:pt x="372" y="365"/>
                      </a:lnTo>
                      <a:lnTo>
                        <a:pt x="329" y="371"/>
                      </a:lnTo>
                      <a:lnTo>
                        <a:pt x="287" y="376"/>
                      </a:lnTo>
                      <a:lnTo>
                        <a:pt x="283" y="39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1" name="Freeform 241"/>
                <p:cNvSpPr>
                  <a:spLocks/>
                </p:cNvSpPr>
                <p:nvPr/>
              </p:nvSpPr>
              <p:spPr bwMode="auto">
                <a:xfrm>
                  <a:off x="4878714" y="3896304"/>
                  <a:ext cx="239726" cy="255709"/>
                </a:xfrm>
                <a:custGeom>
                  <a:avLst/>
                  <a:gdLst>
                    <a:gd name="T0" fmla="*/ 0 w 308"/>
                    <a:gd name="T1" fmla="*/ 197559 h 343"/>
                    <a:gd name="T2" fmla="*/ 0 w 308"/>
                    <a:gd name="T3" fmla="*/ 158793 h 343"/>
                    <a:gd name="T4" fmla="*/ 1557 w 308"/>
                    <a:gd name="T5" fmla="*/ 120027 h 343"/>
                    <a:gd name="T6" fmla="*/ 27242 w 308"/>
                    <a:gd name="T7" fmla="*/ 120027 h 343"/>
                    <a:gd name="T8" fmla="*/ 28798 w 308"/>
                    <a:gd name="T9" fmla="*/ 93934 h 343"/>
                    <a:gd name="T10" fmla="*/ 30355 w 308"/>
                    <a:gd name="T11" fmla="*/ 67841 h 343"/>
                    <a:gd name="T12" fmla="*/ 30355 w 308"/>
                    <a:gd name="T13" fmla="*/ 41748 h 343"/>
                    <a:gd name="T14" fmla="*/ 31912 w 308"/>
                    <a:gd name="T15" fmla="*/ 15656 h 343"/>
                    <a:gd name="T16" fmla="*/ 62266 w 308"/>
                    <a:gd name="T17" fmla="*/ 11183 h 343"/>
                    <a:gd name="T18" fmla="*/ 91843 w 308"/>
                    <a:gd name="T19" fmla="*/ 8201 h 343"/>
                    <a:gd name="T20" fmla="*/ 101183 w 308"/>
                    <a:gd name="T21" fmla="*/ 18638 h 343"/>
                    <a:gd name="T22" fmla="*/ 122198 w 308"/>
                    <a:gd name="T23" fmla="*/ 6710 h 343"/>
                    <a:gd name="T24" fmla="*/ 141656 w 308"/>
                    <a:gd name="T25" fmla="*/ 0 h 343"/>
                    <a:gd name="T26" fmla="*/ 157223 w 308"/>
                    <a:gd name="T27" fmla="*/ 28329 h 343"/>
                    <a:gd name="T28" fmla="*/ 172011 w 308"/>
                    <a:gd name="T29" fmla="*/ 55913 h 343"/>
                    <a:gd name="T30" fmla="*/ 189913 w 308"/>
                    <a:gd name="T31" fmla="*/ 69332 h 343"/>
                    <a:gd name="T32" fmla="*/ 194583 w 308"/>
                    <a:gd name="T33" fmla="*/ 76042 h 343"/>
                    <a:gd name="T34" fmla="*/ 202366 w 308"/>
                    <a:gd name="T35" fmla="*/ 83497 h 343"/>
                    <a:gd name="T36" fmla="*/ 211706 w 308"/>
                    <a:gd name="T37" fmla="*/ 108099 h 343"/>
                    <a:gd name="T38" fmla="*/ 234278 w 308"/>
                    <a:gd name="T39" fmla="*/ 118536 h 343"/>
                    <a:gd name="T40" fmla="*/ 239726 w 308"/>
                    <a:gd name="T41" fmla="*/ 122263 h 343"/>
                    <a:gd name="T42" fmla="*/ 238169 w 308"/>
                    <a:gd name="T43" fmla="*/ 123754 h 343"/>
                    <a:gd name="T44" fmla="*/ 203923 w 308"/>
                    <a:gd name="T45" fmla="*/ 146119 h 343"/>
                    <a:gd name="T46" fmla="*/ 178238 w 308"/>
                    <a:gd name="T47" fmla="*/ 167739 h 343"/>
                    <a:gd name="T48" fmla="*/ 164228 w 308"/>
                    <a:gd name="T49" fmla="*/ 193086 h 343"/>
                    <a:gd name="T50" fmla="*/ 149440 w 308"/>
                    <a:gd name="T51" fmla="*/ 202032 h 343"/>
                    <a:gd name="T52" fmla="*/ 134651 w 308"/>
                    <a:gd name="T53" fmla="*/ 225143 h 343"/>
                    <a:gd name="T54" fmla="*/ 96513 w 308"/>
                    <a:gd name="T55" fmla="*/ 220670 h 343"/>
                    <a:gd name="T56" fmla="*/ 75498 w 308"/>
                    <a:gd name="T57" fmla="*/ 213961 h 343"/>
                    <a:gd name="T58" fmla="*/ 62266 w 308"/>
                    <a:gd name="T59" fmla="*/ 232598 h 343"/>
                    <a:gd name="T60" fmla="*/ 48257 w 308"/>
                    <a:gd name="T61" fmla="*/ 251236 h 343"/>
                    <a:gd name="T62" fmla="*/ 21015 w 308"/>
                    <a:gd name="T63" fmla="*/ 255709 h 343"/>
                    <a:gd name="T64" fmla="*/ 12453 w 308"/>
                    <a:gd name="T65" fmla="*/ 252727 h 343"/>
                    <a:gd name="T66" fmla="*/ 17123 w 308"/>
                    <a:gd name="T67" fmla="*/ 225143 h 343"/>
                    <a:gd name="T68" fmla="*/ 0 w 308"/>
                    <a:gd name="T69" fmla="*/ 197559 h 343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308"/>
                    <a:gd name="T106" fmla="*/ 0 h 343"/>
                    <a:gd name="T107" fmla="*/ 308 w 308"/>
                    <a:gd name="T108" fmla="*/ 343 h 343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308" h="343">
                      <a:moveTo>
                        <a:pt x="0" y="265"/>
                      </a:moveTo>
                      <a:lnTo>
                        <a:pt x="0" y="213"/>
                      </a:lnTo>
                      <a:lnTo>
                        <a:pt x="2" y="161"/>
                      </a:lnTo>
                      <a:lnTo>
                        <a:pt x="35" y="161"/>
                      </a:lnTo>
                      <a:lnTo>
                        <a:pt x="37" y="126"/>
                      </a:lnTo>
                      <a:lnTo>
                        <a:pt x="39" y="91"/>
                      </a:lnTo>
                      <a:lnTo>
                        <a:pt x="39" y="56"/>
                      </a:lnTo>
                      <a:lnTo>
                        <a:pt x="41" y="21"/>
                      </a:lnTo>
                      <a:lnTo>
                        <a:pt x="80" y="15"/>
                      </a:lnTo>
                      <a:lnTo>
                        <a:pt x="118" y="11"/>
                      </a:lnTo>
                      <a:lnTo>
                        <a:pt x="130" y="25"/>
                      </a:lnTo>
                      <a:lnTo>
                        <a:pt x="157" y="9"/>
                      </a:lnTo>
                      <a:lnTo>
                        <a:pt x="182" y="0"/>
                      </a:lnTo>
                      <a:lnTo>
                        <a:pt x="202" y="38"/>
                      </a:lnTo>
                      <a:lnTo>
                        <a:pt x="221" y="75"/>
                      </a:lnTo>
                      <a:lnTo>
                        <a:pt x="244" y="93"/>
                      </a:lnTo>
                      <a:lnTo>
                        <a:pt x="250" y="102"/>
                      </a:lnTo>
                      <a:lnTo>
                        <a:pt x="260" y="112"/>
                      </a:lnTo>
                      <a:lnTo>
                        <a:pt x="272" y="145"/>
                      </a:lnTo>
                      <a:lnTo>
                        <a:pt x="301" y="159"/>
                      </a:lnTo>
                      <a:lnTo>
                        <a:pt x="308" y="164"/>
                      </a:lnTo>
                      <a:lnTo>
                        <a:pt x="306" y="166"/>
                      </a:lnTo>
                      <a:lnTo>
                        <a:pt x="262" y="196"/>
                      </a:lnTo>
                      <a:lnTo>
                        <a:pt x="229" y="225"/>
                      </a:lnTo>
                      <a:lnTo>
                        <a:pt x="211" y="259"/>
                      </a:lnTo>
                      <a:lnTo>
                        <a:pt x="192" y="271"/>
                      </a:lnTo>
                      <a:lnTo>
                        <a:pt x="173" y="302"/>
                      </a:lnTo>
                      <a:lnTo>
                        <a:pt x="124" y="296"/>
                      </a:lnTo>
                      <a:lnTo>
                        <a:pt x="97" y="287"/>
                      </a:lnTo>
                      <a:lnTo>
                        <a:pt x="80" y="312"/>
                      </a:lnTo>
                      <a:lnTo>
                        <a:pt x="62" y="337"/>
                      </a:lnTo>
                      <a:lnTo>
                        <a:pt x="27" y="343"/>
                      </a:lnTo>
                      <a:lnTo>
                        <a:pt x="16" y="339"/>
                      </a:lnTo>
                      <a:lnTo>
                        <a:pt x="22" y="302"/>
                      </a:lnTo>
                      <a:lnTo>
                        <a:pt x="0" y="26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2" name="Freeform 242"/>
                <p:cNvSpPr>
                  <a:spLocks/>
                </p:cNvSpPr>
                <p:nvPr/>
              </p:nvSpPr>
              <p:spPr bwMode="auto">
                <a:xfrm>
                  <a:off x="5493124" y="3713402"/>
                  <a:ext cx="7103" cy="17758"/>
                </a:xfrm>
                <a:custGeom>
                  <a:avLst/>
                  <a:gdLst>
                    <a:gd name="T0" fmla="*/ 7103 w 8"/>
                    <a:gd name="T1" fmla="*/ 17758 h 20"/>
                    <a:gd name="T2" fmla="*/ 7103 w 8"/>
                    <a:gd name="T3" fmla="*/ 14206 h 20"/>
                    <a:gd name="T4" fmla="*/ 0 w 8"/>
                    <a:gd name="T5" fmla="*/ 0 h 20"/>
                    <a:gd name="T6" fmla="*/ 7103 w 8"/>
                    <a:gd name="T7" fmla="*/ 17758 h 2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20"/>
                    <a:gd name="T14" fmla="*/ 8 w 8"/>
                    <a:gd name="T15" fmla="*/ 20 h 2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20">
                      <a:moveTo>
                        <a:pt x="8" y="20"/>
                      </a:moveTo>
                      <a:lnTo>
                        <a:pt x="8" y="16"/>
                      </a:lnTo>
                      <a:lnTo>
                        <a:pt x="0" y="0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3" name="Freeform 243"/>
                <p:cNvSpPr>
                  <a:spLocks/>
                </p:cNvSpPr>
                <p:nvPr/>
              </p:nvSpPr>
              <p:spPr bwMode="auto">
                <a:xfrm>
                  <a:off x="5045634" y="4198183"/>
                  <a:ext cx="56824" cy="60376"/>
                </a:xfrm>
                <a:custGeom>
                  <a:avLst/>
                  <a:gdLst>
                    <a:gd name="T0" fmla="*/ 24674 w 76"/>
                    <a:gd name="T1" fmla="*/ 7245 h 75"/>
                    <a:gd name="T2" fmla="*/ 0 w 76"/>
                    <a:gd name="T3" fmla="*/ 33811 h 75"/>
                    <a:gd name="T4" fmla="*/ 17944 w 76"/>
                    <a:gd name="T5" fmla="*/ 60376 h 75"/>
                    <a:gd name="T6" fmla="*/ 27664 w 76"/>
                    <a:gd name="T7" fmla="*/ 51521 h 75"/>
                    <a:gd name="T8" fmla="*/ 50843 w 76"/>
                    <a:gd name="T9" fmla="*/ 32201 h 75"/>
                    <a:gd name="T10" fmla="*/ 56824 w 76"/>
                    <a:gd name="T11" fmla="*/ 13685 h 75"/>
                    <a:gd name="T12" fmla="*/ 35141 w 76"/>
                    <a:gd name="T13" fmla="*/ 0 h 75"/>
                    <a:gd name="T14" fmla="*/ 24674 w 76"/>
                    <a:gd name="T15" fmla="*/ 7245 h 7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6"/>
                    <a:gd name="T25" fmla="*/ 0 h 75"/>
                    <a:gd name="T26" fmla="*/ 76 w 76"/>
                    <a:gd name="T27" fmla="*/ 75 h 7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6" h="75">
                      <a:moveTo>
                        <a:pt x="33" y="9"/>
                      </a:moveTo>
                      <a:lnTo>
                        <a:pt x="0" y="42"/>
                      </a:lnTo>
                      <a:lnTo>
                        <a:pt x="24" y="75"/>
                      </a:lnTo>
                      <a:lnTo>
                        <a:pt x="37" y="64"/>
                      </a:lnTo>
                      <a:lnTo>
                        <a:pt x="68" y="40"/>
                      </a:lnTo>
                      <a:lnTo>
                        <a:pt x="76" y="17"/>
                      </a:lnTo>
                      <a:lnTo>
                        <a:pt x="47" y="0"/>
                      </a:lnTo>
                      <a:lnTo>
                        <a:pt x="33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4" name="Freeform 244"/>
                <p:cNvSpPr>
                  <a:spLocks/>
                </p:cNvSpPr>
                <p:nvPr/>
              </p:nvSpPr>
              <p:spPr bwMode="auto">
                <a:xfrm>
                  <a:off x="5478918" y="3731159"/>
                  <a:ext cx="202436" cy="385339"/>
                </a:xfrm>
                <a:custGeom>
                  <a:avLst/>
                  <a:gdLst>
                    <a:gd name="T0" fmla="*/ 73541 w 256"/>
                    <a:gd name="T1" fmla="*/ 108377 h 512"/>
                    <a:gd name="T2" fmla="*/ 62470 w 256"/>
                    <a:gd name="T3" fmla="*/ 109882 h 512"/>
                    <a:gd name="T4" fmla="*/ 39538 w 256"/>
                    <a:gd name="T5" fmla="*/ 121171 h 512"/>
                    <a:gd name="T6" fmla="*/ 33212 w 256"/>
                    <a:gd name="T7" fmla="*/ 144502 h 512"/>
                    <a:gd name="T8" fmla="*/ 26095 w 256"/>
                    <a:gd name="T9" fmla="*/ 166328 h 512"/>
                    <a:gd name="T10" fmla="*/ 30840 w 256"/>
                    <a:gd name="T11" fmla="*/ 195680 h 512"/>
                    <a:gd name="T12" fmla="*/ 34794 w 256"/>
                    <a:gd name="T13" fmla="*/ 225032 h 512"/>
                    <a:gd name="T14" fmla="*/ 21351 w 256"/>
                    <a:gd name="T15" fmla="*/ 245353 h 512"/>
                    <a:gd name="T16" fmla="*/ 6326 w 256"/>
                    <a:gd name="T17" fmla="*/ 264168 h 512"/>
                    <a:gd name="T18" fmla="*/ 0 w 256"/>
                    <a:gd name="T19" fmla="*/ 302551 h 512"/>
                    <a:gd name="T20" fmla="*/ 6326 w 256"/>
                    <a:gd name="T21" fmla="*/ 334161 h 512"/>
                    <a:gd name="T22" fmla="*/ 15025 w 256"/>
                    <a:gd name="T23" fmla="*/ 371039 h 512"/>
                    <a:gd name="T24" fmla="*/ 49027 w 256"/>
                    <a:gd name="T25" fmla="*/ 385339 h 512"/>
                    <a:gd name="T26" fmla="*/ 71960 w 256"/>
                    <a:gd name="T27" fmla="*/ 374050 h 512"/>
                    <a:gd name="T28" fmla="*/ 94892 w 256"/>
                    <a:gd name="T29" fmla="*/ 362008 h 512"/>
                    <a:gd name="T30" fmla="*/ 104381 w 256"/>
                    <a:gd name="T31" fmla="*/ 335666 h 512"/>
                    <a:gd name="T32" fmla="*/ 113079 w 256"/>
                    <a:gd name="T33" fmla="*/ 310077 h 512"/>
                    <a:gd name="T34" fmla="*/ 124150 w 256"/>
                    <a:gd name="T35" fmla="*/ 285241 h 512"/>
                    <a:gd name="T36" fmla="*/ 132849 w 256"/>
                    <a:gd name="T37" fmla="*/ 258900 h 512"/>
                    <a:gd name="T38" fmla="*/ 142338 w 256"/>
                    <a:gd name="T39" fmla="*/ 232558 h 512"/>
                    <a:gd name="T40" fmla="*/ 151827 w 256"/>
                    <a:gd name="T41" fmla="*/ 206217 h 512"/>
                    <a:gd name="T42" fmla="*/ 160525 w 256"/>
                    <a:gd name="T43" fmla="*/ 179875 h 512"/>
                    <a:gd name="T44" fmla="*/ 170015 w 256"/>
                    <a:gd name="T45" fmla="*/ 153533 h 512"/>
                    <a:gd name="T46" fmla="*/ 181085 w 256"/>
                    <a:gd name="T47" fmla="*/ 136223 h 512"/>
                    <a:gd name="T48" fmla="*/ 181085 w 256"/>
                    <a:gd name="T49" fmla="*/ 94829 h 512"/>
                    <a:gd name="T50" fmla="*/ 194528 w 256"/>
                    <a:gd name="T51" fmla="*/ 106871 h 512"/>
                    <a:gd name="T52" fmla="*/ 202436 w 256"/>
                    <a:gd name="T53" fmla="*/ 92572 h 512"/>
                    <a:gd name="T54" fmla="*/ 192947 w 256"/>
                    <a:gd name="T55" fmla="*/ 55694 h 512"/>
                    <a:gd name="T56" fmla="*/ 183458 w 256"/>
                    <a:gd name="T57" fmla="*/ 19568 h 512"/>
                    <a:gd name="T58" fmla="*/ 176341 w 256"/>
                    <a:gd name="T59" fmla="*/ 0 h 512"/>
                    <a:gd name="T60" fmla="*/ 170015 w 256"/>
                    <a:gd name="T61" fmla="*/ 0 h 512"/>
                    <a:gd name="T62" fmla="*/ 162107 w 256"/>
                    <a:gd name="T63" fmla="*/ 9031 h 512"/>
                    <a:gd name="T64" fmla="*/ 157362 w 256"/>
                    <a:gd name="T65" fmla="*/ 36878 h 512"/>
                    <a:gd name="T66" fmla="*/ 147082 w 256"/>
                    <a:gd name="T67" fmla="*/ 42899 h 512"/>
                    <a:gd name="T68" fmla="*/ 143919 w 256"/>
                    <a:gd name="T69" fmla="*/ 47415 h 512"/>
                    <a:gd name="T70" fmla="*/ 136012 w 256"/>
                    <a:gd name="T71" fmla="*/ 42899 h 512"/>
                    <a:gd name="T72" fmla="*/ 137593 w 256"/>
                    <a:gd name="T73" fmla="*/ 58704 h 512"/>
                    <a:gd name="T74" fmla="*/ 131267 w 256"/>
                    <a:gd name="T75" fmla="*/ 70746 h 512"/>
                    <a:gd name="T76" fmla="*/ 134430 w 256"/>
                    <a:gd name="T77" fmla="*/ 73004 h 512"/>
                    <a:gd name="T78" fmla="*/ 120987 w 256"/>
                    <a:gd name="T79" fmla="*/ 82035 h 512"/>
                    <a:gd name="T80" fmla="*/ 122569 w 256"/>
                    <a:gd name="T81" fmla="*/ 73004 h 512"/>
                    <a:gd name="T82" fmla="*/ 113079 w 256"/>
                    <a:gd name="T83" fmla="*/ 92572 h 512"/>
                    <a:gd name="T84" fmla="*/ 108335 w 256"/>
                    <a:gd name="T85" fmla="*/ 94077 h 512"/>
                    <a:gd name="T86" fmla="*/ 102800 w 256"/>
                    <a:gd name="T87" fmla="*/ 92572 h 512"/>
                    <a:gd name="T88" fmla="*/ 93310 w 256"/>
                    <a:gd name="T89" fmla="*/ 106871 h 512"/>
                    <a:gd name="T90" fmla="*/ 73541 w 256"/>
                    <a:gd name="T91" fmla="*/ 108377 h 51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256"/>
                    <a:gd name="T139" fmla="*/ 0 h 512"/>
                    <a:gd name="T140" fmla="*/ 256 w 256"/>
                    <a:gd name="T141" fmla="*/ 512 h 51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256" h="512">
                      <a:moveTo>
                        <a:pt x="93" y="144"/>
                      </a:moveTo>
                      <a:lnTo>
                        <a:pt x="79" y="146"/>
                      </a:lnTo>
                      <a:lnTo>
                        <a:pt x="50" y="161"/>
                      </a:lnTo>
                      <a:lnTo>
                        <a:pt x="42" y="192"/>
                      </a:lnTo>
                      <a:lnTo>
                        <a:pt x="33" y="221"/>
                      </a:lnTo>
                      <a:lnTo>
                        <a:pt x="39" y="260"/>
                      </a:lnTo>
                      <a:lnTo>
                        <a:pt x="44" y="299"/>
                      </a:lnTo>
                      <a:lnTo>
                        <a:pt x="27" y="326"/>
                      </a:lnTo>
                      <a:lnTo>
                        <a:pt x="8" y="351"/>
                      </a:lnTo>
                      <a:lnTo>
                        <a:pt x="0" y="402"/>
                      </a:lnTo>
                      <a:lnTo>
                        <a:pt x="8" y="444"/>
                      </a:lnTo>
                      <a:lnTo>
                        <a:pt x="19" y="493"/>
                      </a:lnTo>
                      <a:lnTo>
                        <a:pt x="62" y="512"/>
                      </a:lnTo>
                      <a:lnTo>
                        <a:pt x="91" y="497"/>
                      </a:lnTo>
                      <a:lnTo>
                        <a:pt x="120" y="481"/>
                      </a:lnTo>
                      <a:lnTo>
                        <a:pt x="132" y="446"/>
                      </a:lnTo>
                      <a:lnTo>
                        <a:pt x="143" y="412"/>
                      </a:lnTo>
                      <a:lnTo>
                        <a:pt x="157" y="379"/>
                      </a:lnTo>
                      <a:lnTo>
                        <a:pt x="168" y="344"/>
                      </a:lnTo>
                      <a:lnTo>
                        <a:pt x="180" y="309"/>
                      </a:lnTo>
                      <a:lnTo>
                        <a:pt x="192" y="274"/>
                      </a:lnTo>
                      <a:lnTo>
                        <a:pt x="203" y="239"/>
                      </a:lnTo>
                      <a:lnTo>
                        <a:pt x="215" y="204"/>
                      </a:lnTo>
                      <a:lnTo>
                        <a:pt x="229" y="181"/>
                      </a:lnTo>
                      <a:lnTo>
                        <a:pt x="229" y="126"/>
                      </a:lnTo>
                      <a:lnTo>
                        <a:pt x="246" y="142"/>
                      </a:lnTo>
                      <a:lnTo>
                        <a:pt x="256" y="123"/>
                      </a:lnTo>
                      <a:lnTo>
                        <a:pt x="244" y="74"/>
                      </a:lnTo>
                      <a:lnTo>
                        <a:pt x="232" y="26"/>
                      </a:lnTo>
                      <a:lnTo>
                        <a:pt x="223" y="0"/>
                      </a:lnTo>
                      <a:lnTo>
                        <a:pt x="215" y="0"/>
                      </a:lnTo>
                      <a:lnTo>
                        <a:pt x="205" y="12"/>
                      </a:lnTo>
                      <a:lnTo>
                        <a:pt x="199" y="49"/>
                      </a:lnTo>
                      <a:lnTo>
                        <a:pt x="186" y="57"/>
                      </a:lnTo>
                      <a:lnTo>
                        <a:pt x="182" y="63"/>
                      </a:lnTo>
                      <a:lnTo>
                        <a:pt x="172" y="57"/>
                      </a:lnTo>
                      <a:lnTo>
                        <a:pt x="174" y="78"/>
                      </a:lnTo>
                      <a:lnTo>
                        <a:pt x="166" y="94"/>
                      </a:lnTo>
                      <a:lnTo>
                        <a:pt x="170" y="97"/>
                      </a:lnTo>
                      <a:lnTo>
                        <a:pt x="153" y="109"/>
                      </a:lnTo>
                      <a:lnTo>
                        <a:pt x="155" y="97"/>
                      </a:lnTo>
                      <a:lnTo>
                        <a:pt x="143" y="123"/>
                      </a:lnTo>
                      <a:lnTo>
                        <a:pt x="137" y="125"/>
                      </a:lnTo>
                      <a:lnTo>
                        <a:pt x="130" y="123"/>
                      </a:lnTo>
                      <a:lnTo>
                        <a:pt x="118" y="142"/>
                      </a:lnTo>
                      <a:lnTo>
                        <a:pt x="93" y="14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5" name="Freeform 245"/>
                <p:cNvSpPr>
                  <a:spLocks/>
                </p:cNvSpPr>
                <p:nvPr/>
              </p:nvSpPr>
              <p:spPr bwMode="auto">
                <a:xfrm>
                  <a:off x="5217882" y="3660129"/>
                  <a:ext cx="79909" cy="213091"/>
                </a:xfrm>
                <a:custGeom>
                  <a:avLst/>
                  <a:gdLst>
                    <a:gd name="T0" fmla="*/ 46549 w 103"/>
                    <a:gd name="T1" fmla="*/ 149602 h 292"/>
                    <a:gd name="T2" fmla="*/ 38015 w 103"/>
                    <a:gd name="T3" fmla="*/ 178062 h 292"/>
                    <a:gd name="T4" fmla="*/ 49652 w 103"/>
                    <a:gd name="T5" fmla="*/ 196306 h 292"/>
                    <a:gd name="T6" fmla="*/ 62065 w 103"/>
                    <a:gd name="T7" fmla="*/ 213091 h 292"/>
                    <a:gd name="T8" fmla="*/ 58962 w 103"/>
                    <a:gd name="T9" fmla="*/ 197766 h 292"/>
                    <a:gd name="T10" fmla="*/ 72151 w 103"/>
                    <a:gd name="T11" fmla="*/ 185360 h 292"/>
                    <a:gd name="T12" fmla="*/ 76806 w 103"/>
                    <a:gd name="T13" fmla="*/ 165656 h 292"/>
                    <a:gd name="T14" fmla="*/ 79909 w 103"/>
                    <a:gd name="T15" fmla="*/ 145223 h 292"/>
                    <a:gd name="T16" fmla="*/ 65169 w 103"/>
                    <a:gd name="T17" fmla="*/ 128438 h 292"/>
                    <a:gd name="T18" fmla="*/ 49652 w 103"/>
                    <a:gd name="T19" fmla="*/ 113113 h 292"/>
                    <a:gd name="T20" fmla="*/ 45773 w 103"/>
                    <a:gd name="T21" fmla="*/ 84653 h 292"/>
                    <a:gd name="T22" fmla="*/ 49652 w 103"/>
                    <a:gd name="T23" fmla="*/ 64949 h 292"/>
                    <a:gd name="T24" fmla="*/ 58962 w 103"/>
                    <a:gd name="T25" fmla="*/ 59111 h 292"/>
                    <a:gd name="T26" fmla="*/ 60514 w 103"/>
                    <a:gd name="T27" fmla="*/ 59111 h 292"/>
                    <a:gd name="T28" fmla="*/ 52755 w 103"/>
                    <a:gd name="T29" fmla="*/ 37948 h 292"/>
                    <a:gd name="T30" fmla="*/ 45773 w 103"/>
                    <a:gd name="T31" fmla="*/ 8027 h 292"/>
                    <a:gd name="T32" fmla="*/ 34912 w 103"/>
                    <a:gd name="T33" fmla="*/ 2919 h 292"/>
                    <a:gd name="T34" fmla="*/ 9310 w 103"/>
                    <a:gd name="T35" fmla="*/ 0 h 292"/>
                    <a:gd name="T36" fmla="*/ 10861 w 103"/>
                    <a:gd name="T37" fmla="*/ 5108 h 292"/>
                    <a:gd name="T38" fmla="*/ 25602 w 103"/>
                    <a:gd name="T39" fmla="*/ 27731 h 292"/>
                    <a:gd name="T40" fmla="*/ 20171 w 103"/>
                    <a:gd name="T41" fmla="*/ 37948 h 292"/>
                    <a:gd name="T42" fmla="*/ 20171 w 103"/>
                    <a:gd name="T43" fmla="*/ 59111 h 292"/>
                    <a:gd name="T44" fmla="*/ 18620 w 103"/>
                    <a:gd name="T45" fmla="*/ 80274 h 292"/>
                    <a:gd name="T46" fmla="*/ 13965 w 103"/>
                    <a:gd name="T47" fmla="*/ 87572 h 292"/>
                    <a:gd name="T48" fmla="*/ 0 w 103"/>
                    <a:gd name="T49" fmla="*/ 114573 h 292"/>
                    <a:gd name="T50" fmla="*/ 12413 w 103"/>
                    <a:gd name="T51" fmla="*/ 126979 h 292"/>
                    <a:gd name="T52" fmla="*/ 20171 w 103"/>
                    <a:gd name="T53" fmla="*/ 138655 h 292"/>
                    <a:gd name="T54" fmla="*/ 36463 w 103"/>
                    <a:gd name="T55" fmla="*/ 140115 h 292"/>
                    <a:gd name="T56" fmla="*/ 46549 w 103"/>
                    <a:gd name="T57" fmla="*/ 149602 h 29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03"/>
                    <a:gd name="T88" fmla="*/ 0 h 292"/>
                    <a:gd name="T89" fmla="*/ 103 w 103"/>
                    <a:gd name="T90" fmla="*/ 292 h 29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03" h="292">
                      <a:moveTo>
                        <a:pt x="60" y="205"/>
                      </a:moveTo>
                      <a:lnTo>
                        <a:pt x="49" y="244"/>
                      </a:lnTo>
                      <a:lnTo>
                        <a:pt x="64" y="269"/>
                      </a:lnTo>
                      <a:lnTo>
                        <a:pt x="80" y="292"/>
                      </a:lnTo>
                      <a:lnTo>
                        <a:pt x="76" y="271"/>
                      </a:lnTo>
                      <a:lnTo>
                        <a:pt x="93" y="254"/>
                      </a:lnTo>
                      <a:lnTo>
                        <a:pt x="99" y="227"/>
                      </a:lnTo>
                      <a:lnTo>
                        <a:pt x="103" y="199"/>
                      </a:lnTo>
                      <a:lnTo>
                        <a:pt x="84" y="176"/>
                      </a:lnTo>
                      <a:lnTo>
                        <a:pt x="64" y="155"/>
                      </a:lnTo>
                      <a:lnTo>
                        <a:pt x="59" y="116"/>
                      </a:lnTo>
                      <a:lnTo>
                        <a:pt x="64" y="89"/>
                      </a:lnTo>
                      <a:lnTo>
                        <a:pt x="76" y="81"/>
                      </a:lnTo>
                      <a:lnTo>
                        <a:pt x="78" y="81"/>
                      </a:lnTo>
                      <a:lnTo>
                        <a:pt x="68" y="52"/>
                      </a:lnTo>
                      <a:lnTo>
                        <a:pt x="59" y="11"/>
                      </a:lnTo>
                      <a:lnTo>
                        <a:pt x="45" y="4"/>
                      </a:lnTo>
                      <a:lnTo>
                        <a:pt x="12" y="0"/>
                      </a:lnTo>
                      <a:lnTo>
                        <a:pt x="14" y="7"/>
                      </a:lnTo>
                      <a:lnTo>
                        <a:pt x="33" y="38"/>
                      </a:lnTo>
                      <a:lnTo>
                        <a:pt x="26" y="52"/>
                      </a:lnTo>
                      <a:lnTo>
                        <a:pt x="26" y="81"/>
                      </a:lnTo>
                      <a:lnTo>
                        <a:pt x="24" y="110"/>
                      </a:lnTo>
                      <a:lnTo>
                        <a:pt x="18" y="120"/>
                      </a:lnTo>
                      <a:lnTo>
                        <a:pt x="0" y="157"/>
                      </a:lnTo>
                      <a:lnTo>
                        <a:pt x="16" y="174"/>
                      </a:lnTo>
                      <a:lnTo>
                        <a:pt x="26" y="190"/>
                      </a:lnTo>
                      <a:lnTo>
                        <a:pt x="47" y="192"/>
                      </a:lnTo>
                      <a:lnTo>
                        <a:pt x="60" y="20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6" name="Freeform 246"/>
                <p:cNvSpPr>
                  <a:spLocks/>
                </p:cNvSpPr>
                <p:nvPr/>
              </p:nvSpPr>
              <p:spPr bwMode="auto">
                <a:xfrm>
                  <a:off x="5146852" y="3690317"/>
                  <a:ext cx="280569" cy="461696"/>
                </a:xfrm>
                <a:custGeom>
                  <a:avLst/>
                  <a:gdLst>
                    <a:gd name="T0" fmla="*/ 113507 w 351"/>
                    <a:gd name="T1" fmla="*/ 269014 h 623"/>
                    <a:gd name="T2" fmla="*/ 122299 w 351"/>
                    <a:gd name="T3" fmla="*/ 260121 h 623"/>
                    <a:gd name="T4" fmla="*/ 171858 w 351"/>
                    <a:gd name="T5" fmla="*/ 212691 h 623"/>
                    <a:gd name="T6" fmla="*/ 218220 w 351"/>
                    <a:gd name="T7" fmla="*/ 186753 h 623"/>
                    <a:gd name="T8" fmla="*/ 274174 w 351"/>
                    <a:gd name="T9" fmla="*/ 132654 h 623"/>
                    <a:gd name="T10" fmla="*/ 277372 w 351"/>
                    <a:gd name="T11" fmla="*/ 112645 h 623"/>
                    <a:gd name="T12" fmla="*/ 277372 w 351"/>
                    <a:gd name="T13" fmla="*/ 57805 h 623"/>
                    <a:gd name="T14" fmla="*/ 278970 w 351"/>
                    <a:gd name="T15" fmla="*/ 0 h 623"/>
                    <a:gd name="T16" fmla="*/ 249395 w 351"/>
                    <a:gd name="T17" fmla="*/ 13340 h 623"/>
                    <a:gd name="T18" fmla="*/ 206230 w 351"/>
                    <a:gd name="T19" fmla="*/ 25938 h 623"/>
                    <a:gd name="T20" fmla="*/ 156671 w 351"/>
                    <a:gd name="T21" fmla="*/ 28902 h 623"/>
                    <a:gd name="T22" fmla="*/ 128694 w 351"/>
                    <a:gd name="T23" fmla="*/ 30384 h 623"/>
                    <a:gd name="T24" fmla="*/ 115105 w 351"/>
                    <a:gd name="T25" fmla="*/ 56322 h 623"/>
                    <a:gd name="T26" fmla="*/ 135089 w 351"/>
                    <a:gd name="T27" fmla="*/ 100788 h 623"/>
                    <a:gd name="T28" fmla="*/ 147079 w 351"/>
                    <a:gd name="T29" fmla="*/ 138583 h 623"/>
                    <a:gd name="T30" fmla="*/ 128694 w 351"/>
                    <a:gd name="T31" fmla="*/ 171191 h 623"/>
                    <a:gd name="T32" fmla="*/ 119102 w 351"/>
                    <a:gd name="T33" fmla="*/ 169708 h 623"/>
                    <a:gd name="T34" fmla="*/ 115905 w 351"/>
                    <a:gd name="T35" fmla="*/ 122279 h 623"/>
                    <a:gd name="T36" fmla="*/ 88727 w 351"/>
                    <a:gd name="T37" fmla="*/ 111163 h 623"/>
                    <a:gd name="T38" fmla="*/ 60750 w 351"/>
                    <a:gd name="T39" fmla="*/ 106716 h 623"/>
                    <a:gd name="T40" fmla="*/ 19984 w 351"/>
                    <a:gd name="T41" fmla="*/ 122279 h 623"/>
                    <a:gd name="T42" fmla="*/ 4796 w 351"/>
                    <a:gd name="T43" fmla="*/ 145253 h 623"/>
                    <a:gd name="T44" fmla="*/ 16786 w 351"/>
                    <a:gd name="T45" fmla="*/ 155628 h 623"/>
                    <a:gd name="T46" fmla="*/ 67944 w 351"/>
                    <a:gd name="T47" fmla="*/ 175637 h 623"/>
                    <a:gd name="T48" fmla="*/ 63947 w 351"/>
                    <a:gd name="T49" fmla="*/ 234183 h 623"/>
                    <a:gd name="T50" fmla="*/ 57553 w 351"/>
                    <a:gd name="T51" fmla="*/ 283094 h 623"/>
                    <a:gd name="T52" fmla="*/ 34372 w 351"/>
                    <a:gd name="T53" fmla="*/ 322372 h 623"/>
                    <a:gd name="T54" fmla="*/ 23181 w 351"/>
                    <a:gd name="T55" fmla="*/ 356462 h 623"/>
                    <a:gd name="T56" fmla="*/ 29576 w 351"/>
                    <a:gd name="T57" fmla="*/ 406856 h 623"/>
                    <a:gd name="T58" fmla="*/ 32773 w 351"/>
                    <a:gd name="T59" fmla="*/ 461696 h 623"/>
                    <a:gd name="T60" fmla="*/ 52757 w 351"/>
                    <a:gd name="T61" fmla="*/ 443169 h 623"/>
                    <a:gd name="T62" fmla="*/ 77536 w 351"/>
                    <a:gd name="T63" fmla="*/ 412784 h 623"/>
                    <a:gd name="T64" fmla="*/ 122299 w 351"/>
                    <a:gd name="T65" fmla="*/ 388329 h 623"/>
                    <a:gd name="T66" fmla="*/ 125497 w 351"/>
                    <a:gd name="T67" fmla="*/ 352015 h 623"/>
                    <a:gd name="T68" fmla="*/ 123898 w 351"/>
                    <a:gd name="T69" fmla="*/ 336453 h 623"/>
                    <a:gd name="T70" fmla="*/ 115105 w 351"/>
                    <a:gd name="T71" fmla="*/ 287541 h 62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351"/>
                    <a:gd name="T109" fmla="*/ 0 h 623"/>
                    <a:gd name="T110" fmla="*/ 351 w 351"/>
                    <a:gd name="T111" fmla="*/ 623 h 62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351" h="623">
                      <a:moveTo>
                        <a:pt x="144" y="388"/>
                      </a:moveTo>
                      <a:lnTo>
                        <a:pt x="142" y="363"/>
                      </a:lnTo>
                      <a:lnTo>
                        <a:pt x="140" y="351"/>
                      </a:lnTo>
                      <a:lnTo>
                        <a:pt x="153" y="351"/>
                      </a:lnTo>
                      <a:lnTo>
                        <a:pt x="192" y="320"/>
                      </a:lnTo>
                      <a:lnTo>
                        <a:pt x="215" y="287"/>
                      </a:lnTo>
                      <a:lnTo>
                        <a:pt x="244" y="270"/>
                      </a:lnTo>
                      <a:lnTo>
                        <a:pt x="273" y="252"/>
                      </a:lnTo>
                      <a:lnTo>
                        <a:pt x="316" y="225"/>
                      </a:lnTo>
                      <a:lnTo>
                        <a:pt x="343" y="179"/>
                      </a:lnTo>
                      <a:lnTo>
                        <a:pt x="351" y="150"/>
                      </a:lnTo>
                      <a:lnTo>
                        <a:pt x="347" y="152"/>
                      </a:lnTo>
                      <a:lnTo>
                        <a:pt x="343" y="97"/>
                      </a:lnTo>
                      <a:lnTo>
                        <a:pt x="347" y="78"/>
                      </a:lnTo>
                      <a:lnTo>
                        <a:pt x="347" y="26"/>
                      </a:lnTo>
                      <a:lnTo>
                        <a:pt x="349" y="0"/>
                      </a:lnTo>
                      <a:lnTo>
                        <a:pt x="347" y="0"/>
                      </a:lnTo>
                      <a:lnTo>
                        <a:pt x="312" y="18"/>
                      </a:lnTo>
                      <a:lnTo>
                        <a:pt x="277" y="33"/>
                      </a:lnTo>
                      <a:lnTo>
                        <a:pt x="258" y="35"/>
                      </a:lnTo>
                      <a:lnTo>
                        <a:pt x="235" y="45"/>
                      </a:lnTo>
                      <a:lnTo>
                        <a:pt x="196" y="39"/>
                      </a:lnTo>
                      <a:lnTo>
                        <a:pt x="176" y="41"/>
                      </a:lnTo>
                      <a:lnTo>
                        <a:pt x="161" y="41"/>
                      </a:lnTo>
                      <a:lnTo>
                        <a:pt x="149" y="49"/>
                      </a:lnTo>
                      <a:lnTo>
                        <a:pt x="144" y="76"/>
                      </a:lnTo>
                      <a:lnTo>
                        <a:pt x="149" y="115"/>
                      </a:lnTo>
                      <a:lnTo>
                        <a:pt x="169" y="136"/>
                      </a:lnTo>
                      <a:lnTo>
                        <a:pt x="188" y="159"/>
                      </a:lnTo>
                      <a:lnTo>
                        <a:pt x="184" y="187"/>
                      </a:lnTo>
                      <a:lnTo>
                        <a:pt x="178" y="214"/>
                      </a:lnTo>
                      <a:lnTo>
                        <a:pt x="161" y="231"/>
                      </a:lnTo>
                      <a:lnTo>
                        <a:pt x="165" y="252"/>
                      </a:lnTo>
                      <a:lnTo>
                        <a:pt x="149" y="229"/>
                      </a:lnTo>
                      <a:lnTo>
                        <a:pt x="134" y="204"/>
                      </a:lnTo>
                      <a:lnTo>
                        <a:pt x="145" y="165"/>
                      </a:lnTo>
                      <a:lnTo>
                        <a:pt x="132" y="152"/>
                      </a:lnTo>
                      <a:lnTo>
                        <a:pt x="111" y="150"/>
                      </a:lnTo>
                      <a:lnTo>
                        <a:pt x="101" y="134"/>
                      </a:lnTo>
                      <a:lnTo>
                        <a:pt x="76" y="144"/>
                      </a:lnTo>
                      <a:lnTo>
                        <a:pt x="50" y="156"/>
                      </a:lnTo>
                      <a:lnTo>
                        <a:pt x="25" y="165"/>
                      </a:lnTo>
                      <a:lnTo>
                        <a:pt x="0" y="175"/>
                      </a:lnTo>
                      <a:lnTo>
                        <a:pt x="6" y="196"/>
                      </a:lnTo>
                      <a:lnTo>
                        <a:pt x="4" y="210"/>
                      </a:lnTo>
                      <a:lnTo>
                        <a:pt x="21" y="210"/>
                      </a:lnTo>
                      <a:lnTo>
                        <a:pt x="54" y="223"/>
                      </a:lnTo>
                      <a:lnTo>
                        <a:pt x="85" y="237"/>
                      </a:lnTo>
                      <a:lnTo>
                        <a:pt x="85" y="283"/>
                      </a:lnTo>
                      <a:lnTo>
                        <a:pt x="80" y="316"/>
                      </a:lnTo>
                      <a:lnTo>
                        <a:pt x="83" y="349"/>
                      </a:lnTo>
                      <a:lnTo>
                        <a:pt x="72" y="382"/>
                      </a:lnTo>
                      <a:lnTo>
                        <a:pt x="64" y="413"/>
                      </a:lnTo>
                      <a:lnTo>
                        <a:pt x="43" y="435"/>
                      </a:lnTo>
                      <a:lnTo>
                        <a:pt x="23" y="454"/>
                      </a:lnTo>
                      <a:lnTo>
                        <a:pt x="29" y="481"/>
                      </a:lnTo>
                      <a:lnTo>
                        <a:pt x="35" y="508"/>
                      </a:lnTo>
                      <a:lnTo>
                        <a:pt x="37" y="549"/>
                      </a:lnTo>
                      <a:lnTo>
                        <a:pt x="37" y="588"/>
                      </a:lnTo>
                      <a:lnTo>
                        <a:pt x="41" y="623"/>
                      </a:lnTo>
                      <a:lnTo>
                        <a:pt x="64" y="623"/>
                      </a:lnTo>
                      <a:lnTo>
                        <a:pt x="66" y="598"/>
                      </a:lnTo>
                      <a:lnTo>
                        <a:pt x="58" y="590"/>
                      </a:lnTo>
                      <a:lnTo>
                        <a:pt x="97" y="557"/>
                      </a:lnTo>
                      <a:lnTo>
                        <a:pt x="124" y="541"/>
                      </a:lnTo>
                      <a:lnTo>
                        <a:pt x="153" y="524"/>
                      </a:lnTo>
                      <a:lnTo>
                        <a:pt x="153" y="508"/>
                      </a:lnTo>
                      <a:lnTo>
                        <a:pt x="157" y="475"/>
                      </a:lnTo>
                      <a:lnTo>
                        <a:pt x="161" y="442"/>
                      </a:lnTo>
                      <a:lnTo>
                        <a:pt x="155" y="454"/>
                      </a:lnTo>
                      <a:lnTo>
                        <a:pt x="149" y="421"/>
                      </a:lnTo>
                      <a:lnTo>
                        <a:pt x="144" y="38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7" name="Freeform 247"/>
                <p:cNvSpPr>
                  <a:spLocks/>
                </p:cNvSpPr>
                <p:nvPr/>
              </p:nvSpPr>
              <p:spPr bwMode="auto">
                <a:xfrm>
                  <a:off x="4779272" y="4020607"/>
                  <a:ext cx="424405" cy="355151"/>
                </a:xfrm>
                <a:custGeom>
                  <a:avLst/>
                  <a:gdLst>
                    <a:gd name="T0" fmla="*/ 93258 w 537"/>
                    <a:gd name="T1" fmla="*/ 99353 h 479"/>
                    <a:gd name="T2" fmla="*/ 89307 w 537"/>
                    <a:gd name="T3" fmla="*/ 152737 h 479"/>
                    <a:gd name="T4" fmla="*/ 63226 w 537"/>
                    <a:gd name="T5" fmla="*/ 189809 h 479"/>
                    <a:gd name="T6" fmla="*/ 15016 w 537"/>
                    <a:gd name="T7" fmla="*/ 165342 h 479"/>
                    <a:gd name="T8" fmla="*/ 12645 w 537"/>
                    <a:gd name="T9" fmla="*/ 207604 h 479"/>
                    <a:gd name="T10" fmla="*/ 32403 w 537"/>
                    <a:gd name="T11" fmla="*/ 260246 h 479"/>
                    <a:gd name="T12" fmla="*/ 32403 w 537"/>
                    <a:gd name="T13" fmla="*/ 299543 h 479"/>
                    <a:gd name="T14" fmla="*/ 42678 w 537"/>
                    <a:gd name="T15" fmla="*/ 341064 h 479"/>
                    <a:gd name="T16" fmla="*/ 64016 w 537"/>
                    <a:gd name="T17" fmla="*/ 348478 h 479"/>
                    <a:gd name="T18" fmla="*/ 107484 w 537"/>
                    <a:gd name="T19" fmla="*/ 346995 h 479"/>
                    <a:gd name="T20" fmla="*/ 161226 w 537"/>
                    <a:gd name="T21" fmla="*/ 338098 h 479"/>
                    <a:gd name="T22" fmla="*/ 222082 w 537"/>
                    <a:gd name="T23" fmla="*/ 332166 h 479"/>
                    <a:gd name="T24" fmla="*/ 267920 w 537"/>
                    <a:gd name="T25" fmla="*/ 312147 h 479"/>
                    <a:gd name="T26" fmla="*/ 311388 w 537"/>
                    <a:gd name="T27" fmla="*/ 281007 h 479"/>
                    <a:gd name="T28" fmla="*/ 344582 w 537"/>
                    <a:gd name="T29" fmla="*/ 247642 h 479"/>
                    <a:gd name="T30" fmla="*/ 381727 w 537"/>
                    <a:gd name="T31" fmla="*/ 209087 h 479"/>
                    <a:gd name="T32" fmla="*/ 412550 w 537"/>
                    <a:gd name="T33" fmla="*/ 160152 h 479"/>
                    <a:gd name="T34" fmla="*/ 406228 w 537"/>
                    <a:gd name="T35" fmla="*/ 132718 h 479"/>
                    <a:gd name="T36" fmla="*/ 375405 w 537"/>
                    <a:gd name="T37" fmla="*/ 135684 h 479"/>
                    <a:gd name="T38" fmla="*/ 388840 w 537"/>
                    <a:gd name="T39" fmla="*/ 100836 h 479"/>
                    <a:gd name="T40" fmla="*/ 403066 w 537"/>
                    <a:gd name="T41" fmla="*/ 77851 h 479"/>
                    <a:gd name="T42" fmla="*/ 396744 w 537"/>
                    <a:gd name="T43" fmla="*/ 27433 h 479"/>
                    <a:gd name="T44" fmla="*/ 365921 w 537"/>
                    <a:gd name="T45" fmla="*/ 4449 h 479"/>
                    <a:gd name="T46" fmla="*/ 338259 w 537"/>
                    <a:gd name="T47" fmla="*/ 0 h 479"/>
                    <a:gd name="T48" fmla="*/ 277404 w 537"/>
                    <a:gd name="T49" fmla="*/ 43745 h 479"/>
                    <a:gd name="T50" fmla="*/ 248162 w 537"/>
                    <a:gd name="T51" fmla="*/ 77851 h 479"/>
                    <a:gd name="T52" fmla="*/ 194420 w 537"/>
                    <a:gd name="T53" fmla="*/ 96388 h 479"/>
                    <a:gd name="T54" fmla="*/ 159646 w 537"/>
                    <a:gd name="T55" fmla="*/ 108251 h 479"/>
                    <a:gd name="T56" fmla="*/ 117759 w 537"/>
                    <a:gd name="T57" fmla="*/ 131235 h 479"/>
                    <a:gd name="T58" fmla="*/ 113807 w 537"/>
                    <a:gd name="T59" fmla="*/ 100836 h 479"/>
                    <a:gd name="T60" fmla="*/ 295582 w 537"/>
                    <a:gd name="T61" fmla="*/ 189809 h 479"/>
                    <a:gd name="T62" fmla="*/ 288469 w 537"/>
                    <a:gd name="T63" fmla="*/ 238745 h 479"/>
                    <a:gd name="T64" fmla="*/ 323243 w 537"/>
                    <a:gd name="T65" fmla="*/ 212794 h 479"/>
                    <a:gd name="T66" fmla="*/ 306646 w 537"/>
                    <a:gd name="T67" fmla="*/ 183136 h 479"/>
                    <a:gd name="T68" fmla="*/ 96420 w 537"/>
                    <a:gd name="T69" fmla="*/ 73403 h 479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537"/>
                    <a:gd name="T106" fmla="*/ 0 h 479"/>
                    <a:gd name="T107" fmla="*/ 537 w 537"/>
                    <a:gd name="T108" fmla="*/ 479 h 479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537" h="479">
                      <a:moveTo>
                        <a:pt x="122" y="99"/>
                      </a:moveTo>
                      <a:lnTo>
                        <a:pt x="118" y="134"/>
                      </a:lnTo>
                      <a:lnTo>
                        <a:pt x="114" y="171"/>
                      </a:lnTo>
                      <a:lnTo>
                        <a:pt x="113" y="206"/>
                      </a:lnTo>
                      <a:lnTo>
                        <a:pt x="109" y="241"/>
                      </a:lnTo>
                      <a:lnTo>
                        <a:pt x="80" y="256"/>
                      </a:lnTo>
                      <a:lnTo>
                        <a:pt x="31" y="249"/>
                      </a:lnTo>
                      <a:lnTo>
                        <a:pt x="19" y="223"/>
                      </a:lnTo>
                      <a:lnTo>
                        <a:pt x="0" y="245"/>
                      </a:lnTo>
                      <a:lnTo>
                        <a:pt x="16" y="280"/>
                      </a:lnTo>
                      <a:lnTo>
                        <a:pt x="27" y="315"/>
                      </a:lnTo>
                      <a:lnTo>
                        <a:pt x="41" y="351"/>
                      </a:lnTo>
                      <a:lnTo>
                        <a:pt x="54" y="386"/>
                      </a:lnTo>
                      <a:lnTo>
                        <a:pt x="41" y="404"/>
                      </a:lnTo>
                      <a:lnTo>
                        <a:pt x="45" y="421"/>
                      </a:lnTo>
                      <a:lnTo>
                        <a:pt x="54" y="460"/>
                      </a:lnTo>
                      <a:lnTo>
                        <a:pt x="66" y="458"/>
                      </a:lnTo>
                      <a:lnTo>
                        <a:pt x="81" y="470"/>
                      </a:lnTo>
                      <a:lnTo>
                        <a:pt x="103" y="479"/>
                      </a:lnTo>
                      <a:lnTo>
                        <a:pt x="136" y="468"/>
                      </a:lnTo>
                      <a:lnTo>
                        <a:pt x="171" y="456"/>
                      </a:lnTo>
                      <a:lnTo>
                        <a:pt x="204" y="456"/>
                      </a:lnTo>
                      <a:lnTo>
                        <a:pt x="239" y="454"/>
                      </a:lnTo>
                      <a:lnTo>
                        <a:pt x="281" y="448"/>
                      </a:lnTo>
                      <a:lnTo>
                        <a:pt x="304" y="442"/>
                      </a:lnTo>
                      <a:lnTo>
                        <a:pt x="339" y="421"/>
                      </a:lnTo>
                      <a:lnTo>
                        <a:pt x="374" y="402"/>
                      </a:lnTo>
                      <a:lnTo>
                        <a:pt x="394" y="379"/>
                      </a:lnTo>
                      <a:lnTo>
                        <a:pt x="415" y="357"/>
                      </a:lnTo>
                      <a:lnTo>
                        <a:pt x="436" y="334"/>
                      </a:lnTo>
                      <a:lnTo>
                        <a:pt x="458" y="311"/>
                      </a:lnTo>
                      <a:lnTo>
                        <a:pt x="483" y="282"/>
                      </a:lnTo>
                      <a:lnTo>
                        <a:pt x="506" y="252"/>
                      </a:lnTo>
                      <a:lnTo>
                        <a:pt x="522" y="216"/>
                      </a:lnTo>
                      <a:lnTo>
                        <a:pt x="537" y="179"/>
                      </a:lnTo>
                      <a:lnTo>
                        <a:pt x="514" y="179"/>
                      </a:lnTo>
                      <a:lnTo>
                        <a:pt x="506" y="196"/>
                      </a:lnTo>
                      <a:lnTo>
                        <a:pt x="475" y="183"/>
                      </a:lnTo>
                      <a:lnTo>
                        <a:pt x="477" y="156"/>
                      </a:lnTo>
                      <a:lnTo>
                        <a:pt x="492" y="136"/>
                      </a:lnTo>
                      <a:lnTo>
                        <a:pt x="510" y="144"/>
                      </a:lnTo>
                      <a:lnTo>
                        <a:pt x="510" y="105"/>
                      </a:lnTo>
                      <a:lnTo>
                        <a:pt x="508" y="64"/>
                      </a:lnTo>
                      <a:lnTo>
                        <a:pt x="502" y="37"/>
                      </a:lnTo>
                      <a:lnTo>
                        <a:pt x="496" y="10"/>
                      </a:lnTo>
                      <a:lnTo>
                        <a:pt x="463" y="6"/>
                      </a:lnTo>
                      <a:lnTo>
                        <a:pt x="432" y="0"/>
                      </a:lnTo>
                      <a:lnTo>
                        <a:pt x="428" y="0"/>
                      </a:lnTo>
                      <a:lnTo>
                        <a:pt x="384" y="30"/>
                      </a:lnTo>
                      <a:lnTo>
                        <a:pt x="351" y="59"/>
                      </a:lnTo>
                      <a:lnTo>
                        <a:pt x="333" y="93"/>
                      </a:lnTo>
                      <a:lnTo>
                        <a:pt x="314" y="105"/>
                      </a:lnTo>
                      <a:lnTo>
                        <a:pt x="295" y="136"/>
                      </a:lnTo>
                      <a:lnTo>
                        <a:pt x="246" y="130"/>
                      </a:lnTo>
                      <a:lnTo>
                        <a:pt x="219" y="121"/>
                      </a:lnTo>
                      <a:lnTo>
                        <a:pt x="202" y="146"/>
                      </a:lnTo>
                      <a:lnTo>
                        <a:pt x="184" y="171"/>
                      </a:lnTo>
                      <a:lnTo>
                        <a:pt x="149" y="177"/>
                      </a:lnTo>
                      <a:lnTo>
                        <a:pt x="138" y="173"/>
                      </a:lnTo>
                      <a:lnTo>
                        <a:pt x="144" y="136"/>
                      </a:lnTo>
                      <a:lnTo>
                        <a:pt x="122" y="99"/>
                      </a:lnTo>
                      <a:lnTo>
                        <a:pt x="374" y="256"/>
                      </a:lnTo>
                      <a:lnTo>
                        <a:pt x="341" y="289"/>
                      </a:lnTo>
                      <a:lnTo>
                        <a:pt x="365" y="322"/>
                      </a:lnTo>
                      <a:lnTo>
                        <a:pt x="378" y="311"/>
                      </a:lnTo>
                      <a:lnTo>
                        <a:pt x="409" y="287"/>
                      </a:lnTo>
                      <a:lnTo>
                        <a:pt x="417" y="264"/>
                      </a:lnTo>
                      <a:lnTo>
                        <a:pt x="388" y="247"/>
                      </a:lnTo>
                      <a:lnTo>
                        <a:pt x="374" y="256"/>
                      </a:lnTo>
                      <a:lnTo>
                        <a:pt x="122" y="9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8" name="Freeform 248"/>
                <p:cNvSpPr>
                  <a:spLocks/>
                </p:cNvSpPr>
                <p:nvPr/>
              </p:nvSpPr>
              <p:spPr bwMode="auto">
                <a:xfrm>
                  <a:off x="4779272" y="4020607"/>
                  <a:ext cx="424405" cy="355151"/>
                </a:xfrm>
                <a:custGeom>
                  <a:avLst/>
                  <a:gdLst>
                    <a:gd name="T0" fmla="*/ 96420 w 537"/>
                    <a:gd name="T1" fmla="*/ 73403 h 479"/>
                    <a:gd name="T2" fmla="*/ 93258 w 537"/>
                    <a:gd name="T3" fmla="*/ 99353 h 479"/>
                    <a:gd name="T4" fmla="*/ 90097 w 537"/>
                    <a:gd name="T5" fmla="*/ 126787 h 479"/>
                    <a:gd name="T6" fmla="*/ 89307 w 537"/>
                    <a:gd name="T7" fmla="*/ 152737 h 479"/>
                    <a:gd name="T8" fmla="*/ 86146 w 537"/>
                    <a:gd name="T9" fmla="*/ 178688 h 479"/>
                    <a:gd name="T10" fmla="*/ 63226 w 537"/>
                    <a:gd name="T11" fmla="*/ 189809 h 479"/>
                    <a:gd name="T12" fmla="*/ 24500 w 537"/>
                    <a:gd name="T13" fmla="*/ 184619 h 479"/>
                    <a:gd name="T14" fmla="*/ 15016 w 537"/>
                    <a:gd name="T15" fmla="*/ 165342 h 479"/>
                    <a:gd name="T16" fmla="*/ 0 w 537"/>
                    <a:gd name="T17" fmla="*/ 181653 h 479"/>
                    <a:gd name="T18" fmla="*/ 12645 w 537"/>
                    <a:gd name="T19" fmla="*/ 207604 h 479"/>
                    <a:gd name="T20" fmla="*/ 21339 w 537"/>
                    <a:gd name="T21" fmla="*/ 233554 h 479"/>
                    <a:gd name="T22" fmla="*/ 32403 w 537"/>
                    <a:gd name="T23" fmla="*/ 260246 h 479"/>
                    <a:gd name="T24" fmla="*/ 42678 w 537"/>
                    <a:gd name="T25" fmla="*/ 286197 h 479"/>
                    <a:gd name="T26" fmla="*/ 32403 w 537"/>
                    <a:gd name="T27" fmla="*/ 299543 h 479"/>
                    <a:gd name="T28" fmla="*/ 35565 w 537"/>
                    <a:gd name="T29" fmla="*/ 312147 h 479"/>
                    <a:gd name="T30" fmla="*/ 42678 w 537"/>
                    <a:gd name="T31" fmla="*/ 341064 h 479"/>
                    <a:gd name="T32" fmla="*/ 52162 w 537"/>
                    <a:gd name="T33" fmla="*/ 339581 h 479"/>
                    <a:gd name="T34" fmla="*/ 64016 w 537"/>
                    <a:gd name="T35" fmla="*/ 348478 h 479"/>
                    <a:gd name="T36" fmla="*/ 81404 w 537"/>
                    <a:gd name="T37" fmla="*/ 355151 h 479"/>
                    <a:gd name="T38" fmla="*/ 107484 w 537"/>
                    <a:gd name="T39" fmla="*/ 346995 h 479"/>
                    <a:gd name="T40" fmla="*/ 135146 w 537"/>
                    <a:gd name="T41" fmla="*/ 338098 h 479"/>
                    <a:gd name="T42" fmla="*/ 161226 w 537"/>
                    <a:gd name="T43" fmla="*/ 338098 h 479"/>
                    <a:gd name="T44" fmla="*/ 188888 w 537"/>
                    <a:gd name="T45" fmla="*/ 336615 h 479"/>
                    <a:gd name="T46" fmla="*/ 222082 w 537"/>
                    <a:gd name="T47" fmla="*/ 332166 h 479"/>
                    <a:gd name="T48" fmla="*/ 240259 w 537"/>
                    <a:gd name="T49" fmla="*/ 327718 h 479"/>
                    <a:gd name="T50" fmla="*/ 267920 w 537"/>
                    <a:gd name="T51" fmla="*/ 312147 h 479"/>
                    <a:gd name="T52" fmla="*/ 295582 w 537"/>
                    <a:gd name="T53" fmla="*/ 298060 h 479"/>
                    <a:gd name="T54" fmla="*/ 311388 w 537"/>
                    <a:gd name="T55" fmla="*/ 281007 h 479"/>
                    <a:gd name="T56" fmla="*/ 327985 w 537"/>
                    <a:gd name="T57" fmla="*/ 264695 h 479"/>
                    <a:gd name="T58" fmla="*/ 344582 w 537"/>
                    <a:gd name="T59" fmla="*/ 247642 h 479"/>
                    <a:gd name="T60" fmla="*/ 361969 w 537"/>
                    <a:gd name="T61" fmla="*/ 230589 h 479"/>
                    <a:gd name="T62" fmla="*/ 381727 w 537"/>
                    <a:gd name="T63" fmla="*/ 209087 h 479"/>
                    <a:gd name="T64" fmla="*/ 399905 w 537"/>
                    <a:gd name="T65" fmla="*/ 186844 h 479"/>
                    <a:gd name="T66" fmla="*/ 412550 w 537"/>
                    <a:gd name="T67" fmla="*/ 160152 h 479"/>
                    <a:gd name="T68" fmla="*/ 424405 w 537"/>
                    <a:gd name="T69" fmla="*/ 132718 h 479"/>
                    <a:gd name="T70" fmla="*/ 406228 w 537"/>
                    <a:gd name="T71" fmla="*/ 132718 h 479"/>
                    <a:gd name="T72" fmla="*/ 399905 w 537"/>
                    <a:gd name="T73" fmla="*/ 145323 h 479"/>
                    <a:gd name="T74" fmla="*/ 375405 w 537"/>
                    <a:gd name="T75" fmla="*/ 135684 h 479"/>
                    <a:gd name="T76" fmla="*/ 376985 w 537"/>
                    <a:gd name="T77" fmla="*/ 115665 h 479"/>
                    <a:gd name="T78" fmla="*/ 388840 w 537"/>
                    <a:gd name="T79" fmla="*/ 100836 h 479"/>
                    <a:gd name="T80" fmla="*/ 403066 w 537"/>
                    <a:gd name="T81" fmla="*/ 106768 h 479"/>
                    <a:gd name="T82" fmla="*/ 403066 w 537"/>
                    <a:gd name="T83" fmla="*/ 77851 h 479"/>
                    <a:gd name="T84" fmla="*/ 401485 w 537"/>
                    <a:gd name="T85" fmla="*/ 47452 h 479"/>
                    <a:gd name="T86" fmla="*/ 396744 w 537"/>
                    <a:gd name="T87" fmla="*/ 27433 h 479"/>
                    <a:gd name="T88" fmla="*/ 392002 w 537"/>
                    <a:gd name="T89" fmla="*/ 7414 h 479"/>
                    <a:gd name="T90" fmla="*/ 365921 w 537"/>
                    <a:gd name="T91" fmla="*/ 4449 h 479"/>
                    <a:gd name="T92" fmla="*/ 341421 w 537"/>
                    <a:gd name="T93" fmla="*/ 0 h 479"/>
                    <a:gd name="T94" fmla="*/ 338259 w 537"/>
                    <a:gd name="T95" fmla="*/ 0 h 479"/>
                    <a:gd name="T96" fmla="*/ 303485 w 537"/>
                    <a:gd name="T97" fmla="*/ 22243 h 479"/>
                    <a:gd name="T98" fmla="*/ 277404 w 537"/>
                    <a:gd name="T99" fmla="*/ 43745 h 479"/>
                    <a:gd name="T100" fmla="*/ 263178 w 537"/>
                    <a:gd name="T101" fmla="*/ 68954 h 479"/>
                    <a:gd name="T102" fmla="*/ 248162 w 537"/>
                    <a:gd name="T103" fmla="*/ 77851 h 479"/>
                    <a:gd name="T104" fmla="*/ 233146 w 537"/>
                    <a:gd name="T105" fmla="*/ 100836 h 479"/>
                    <a:gd name="T106" fmla="*/ 194420 w 537"/>
                    <a:gd name="T107" fmla="*/ 96388 h 479"/>
                    <a:gd name="T108" fmla="*/ 173081 w 537"/>
                    <a:gd name="T109" fmla="*/ 89715 h 479"/>
                    <a:gd name="T110" fmla="*/ 159646 w 537"/>
                    <a:gd name="T111" fmla="*/ 108251 h 479"/>
                    <a:gd name="T112" fmla="*/ 145420 w 537"/>
                    <a:gd name="T113" fmla="*/ 126787 h 479"/>
                    <a:gd name="T114" fmla="*/ 117759 w 537"/>
                    <a:gd name="T115" fmla="*/ 131235 h 479"/>
                    <a:gd name="T116" fmla="*/ 109065 w 537"/>
                    <a:gd name="T117" fmla="*/ 128270 h 479"/>
                    <a:gd name="T118" fmla="*/ 113807 w 537"/>
                    <a:gd name="T119" fmla="*/ 100836 h 479"/>
                    <a:gd name="T120" fmla="*/ 96420 w 537"/>
                    <a:gd name="T121" fmla="*/ 73403 h 479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537"/>
                    <a:gd name="T184" fmla="*/ 0 h 479"/>
                    <a:gd name="T185" fmla="*/ 537 w 537"/>
                    <a:gd name="T186" fmla="*/ 479 h 479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537" h="479">
                      <a:moveTo>
                        <a:pt x="122" y="99"/>
                      </a:moveTo>
                      <a:lnTo>
                        <a:pt x="118" y="134"/>
                      </a:lnTo>
                      <a:lnTo>
                        <a:pt x="114" y="171"/>
                      </a:lnTo>
                      <a:lnTo>
                        <a:pt x="113" y="206"/>
                      </a:lnTo>
                      <a:lnTo>
                        <a:pt x="109" y="241"/>
                      </a:lnTo>
                      <a:lnTo>
                        <a:pt x="80" y="256"/>
                      </a:lnTo>
                      <a:lnTo>
                        <a:pt x="31" y="249"/>
                      </a:lnTo>
                      <a:lnTo>
                        <a:pt x="19" y="223"/>
                      </a:lnTo>
                      <a:lnTo>
                        <a:pt x="0" y="245"/>
                      </a:lnTo>
                      <a:lnTo>
                        <a:pt x="16" y="280"/>
                      </a:lnTo>
                      <a:lnTo>
                        <a:pt x="27" y="315"/>
                      </a:lnTo>
                      <a:lnTo>
                        <a:pt x="41" y="351"/>
                      </a:lnTo>
                      <a:lnTo>
                        <a:pt x="54" y="386"/>
                      </a:lnTo>
                      <a:lnTo>
                        <a:pt x="41" y="404"/>
                      </a:lnTo>
                      <a:lnTo>
                        <a:pt x="45" y="421"/>
                      </a:lnTo>
                      <a:lnTo>
                        <a:pt x="54" y="460"/>
                      </a:lnTo>
                      <a:lnTo>
                        <a:pt x="66" y="458"/>
                      </a:lnTo>
                      <a:lnTo>
                        <a:pt x="81" y="470"/>
                      </a:lnTo>
                      <a:lnTo>
                        <a:pt x="103" y="479"/>
                      </a:lnTo>
                      <a:lnTo>
                        <a:pt x="136" y="468"/>
                      </a:lnTo>
                      <a:lnTo>
                        <a:pt x="171" y="456"/>
                      </a:lnTo>
                      <a:lnTo>
                        <a:pt x="204" y="456"/>
                      </a:lnTo>
                      <a:lnTo>
                        <a:pt x="239" y="454"/>
                      </a:lnTo>
                      <a:lnTo>
                        <a:pt x="281" y="448"/>
                      </a:lnTo>
                      <a:lnTo>
                        <a:pt x="304" y="442"/>
                      </a:lnTo>
                      <a:lnTo>
                        <a:pt x="339" y="421"/>
                      </a:lnTo>
                      <a:lnTo>
                        <a:pt x="374" y="402"/>
                      </a:lnTo>
                      <a:lnTo>
                        <a:pt x="394" y="379"/>
                      </a:lnTo>
                      <a:lnTo>
                        <a:pt x="415" y="357"/>
                      </a:lnTo>
                      <a:lnTo>
                        <a:pt x="436" y="334"/>
                      </a:lnTo>
                      <a:lnTo>
                        <a:pt x="458" y="311"/>
                      </a:lnTo>
                      <a:lnTo>
                        <a:pt x="483" y="282"/>
                      </a:lnTo>
                      <a:lnTo>
                        <a:pt x="506" y="252"/>
                      </a:lnTo>
                      <a:lnTo>
                        <a:pt x="522" y="216"/>
                      </a:lnTo>
                      <a:lnTo>
                        <a:pt x="537" y="179"/>
                      </a:lnTo>
                      <a:lnTo>
                        <a:pt x="514" y="179"/>
                      </a:lnTo>
                      <a:lnTo>
                        <a:pt x="506" y="196"/>
                      </a:lnTo>
                      <a:lnTo>
                        <a:pt x="475" y="183"/>
                      </a:lnTo>
                      <a:lnTo>
                        <a:pt x="477" y="156"/>
                      </a:lnTo>
                      <a:lnTo>
                        <a:pt x="492" y="136"/>
                      </a:lnTo>
                      <a:lnTo>
                        <a:pt x="510" y="144"/>
                      </a:lnTo>
                      <a:lnTo>
                        <a:pt x="510" y="105"/>
                      </a:lnTo>
                      <a:lnTo>
                        <a:pt x="508" y="64"/>
                      </a:lnTo>
                      <a:lnTo>
                        <a:pt x="502" y="37"/>
                      </a:lnTo>
                      <a:lnTo>
                        <a:pt x="496" y="10"/>
                      </a:lnTo>
                      <a:lnTo>
                        <a:pt x="463" y="6"/>
                      </a:lnTo>
                      <a:lnTo>
                        <a:pt x="432" y="0"/>
                      </a:lnTo>
                      <a:lnTo>
                        <a:pt x="428" y="0"/>
                      </a:lnTo>
                      <a:lnTo>
                        <a:pt x="384" y="30"/>
                      </a:lnTo>
                      <a:lnTo>
                        <a:pt x="351" y="59"/>
                      </a:lnTo>
                      <a:lnTo>
                        <a:pt x="333" y="93"/>
                      </a:lnTo>
                      <a:lnTo>
                        <a:pt x="314" y="105"/>
                      </a:lnTo>
                      <a:lnTo>
                        <a:pt x="295" y="136"/>
                      </a:lnTo>
                      <a:lnTo>
                        <a:pt x="246" y="130"/>
                      </a:lnTo>
                      <a:lnTo>
                        <a:pt x="219" y="121"/>
                      </a:lnTo>
                      <a:lnTo>
                        <a:pt x="202" y="146"/>
                      </a:lnTo>
                      <a:lnTo>
                        <a:pt x="184" y="171"/>
                      </a:lnTo>
                      <a:lnTo>
                        <a:pt x="149" y="177"/>
                      </a:lnTo>
                      <a:lnTo>
                        <a:pt x="138" y="173"/>
                      </a:lnTo>
                      <a:lnTo>
                        <a:pt x="144" y="136"/>
                      </a:lnTo>
                      <a:lnTo>
                        <a:pt x="122" y="9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59" name="Freeform 249"/>
                <p:cNvSpPr>
                  <a:spLocks/>
                </p:cNvSpPr>
                <p:nvPr/>
              </p:nvSpPr>
              <p:spPr bwMode="auto">
                <a:xfrm>
                  <a:off x="5045634" y="4198183"/>
                  <a:ext cx="56824" cy="60376"/>
                </a:xfrm>
                <a:custGeom>
                  <a:avLst/>
                  <a:gdLst>
                    <a:gd name="T0" fmla="*/ 24674 w 76"/>
                    <a:gd name="T1" fmla="*/ 7245 h 75"/>
                    <a:gd name="T2" fmla="*/ 0 w 76"/>
                    <a:gd name="T3" fmla="*/ 33811 h 75"/>
                    <a:gd name="T4" fmla="*/ 17944 w 76"/>
                    <a:gd name="T5" fmla="*/ 60376 h 75"/>
                    <a:gd name="T6" fmla="*/ 27664 w 76"/>
                    <a:gd name="T7" fmla="*/ 51521 h 75"/>
                    <a:gd name="T8" fmla="*/ 50843 w 76"/>
                    <a:gd name="T9" fmla="*/ 32201 h 75"/>
                    <a:gd name="T10" fmla="*/ 56824 w 76"/>
                    <a:gd name="T11" fmla="*/ 13685 h 75"/>
                    <a:gd name="T12" fmla="*/ 35141 w 76"/>
                    <a:gd name="T13" fmla="*/ 0 h 75"/>
                    <a:gd name="T14" fmla="*/ 24674 w 76"/>
                    <a:gd name="T15" fmla="*/ 7245 h 7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6"/>
                    <a:gd name="T25" fmla="*/ 0 h 75"/>
                    <a:gd name="T26" fmla="*/ 76 w 76"/>
                    <a:gd name="T27" fmla="*/ 75 h 7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6" h="75">
                      <a:moveTo>
                        <a:pt x="33" y="9"/>
                      </a:moveTo>
                      <a:lnTo>
                        <a:pt x="0" y="42"/>
                      </a:lnTo>
                      <a:lnTo>
                        <a:pt x="24" y="75"/>
                      </a:lnTo>
                      <a:lnTo>
                        <a:pt x="37" y="64"/>
                      </a:lnTo>
                      <a:lnTo>
                        <a:pt x="68" y="40"/>
                      </a:lnTo>
                      <a:lnTo>
                        <a:pt x="76" y="17"/>
                      </a:lnTo>
                      <a:lnTo>
                        <a:pt x="47" y="0"/>
                      </a:lnTo>
                      <a:lnTo>
                        <a:pt x="33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0" name="Freeform 250"/>
                <p:cNvSpPr>
                  <a:spLocks/>
                </p:cNvSpPr>
                <p:nvPr/>
              </p:nvSpPr>
              <p:spPr bwMode="auto">
                <a:xfrm>
                  <a:off x="4734878" y="4033037"/>
                  <a:ext cx="7103" cy="17758"/>
                </a:xfrm>
                <a:custGeom>
                  <a:avLst/>
                  <a:gdLst>
                    <a:gd name="T0" fmla="*/ 7103 w 6"/>
                    <a:gd name="T1" fmla="*/ 17758 h 19"/>
                    <a:gd name="T2" fmla="*/ 0 w 6"/>
                    <a:gd name="T3" fmla="*/ 15889 h 19"/>
                    <a:gd name="T4" fmla="*/ 2368 w 6"/>
                    <a:gd name="T5" fmla="*/ 0 h 19"/>
                    <a:gd name="T6" fmla="*/ 7103 w 6"/>
                    <a:gd name="T7" fmla="*/ 17758 h 1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"/>
                    <a:gd name="T13" fmla="*/ 0 h 19"/>
                    <a:gd name="T14" fmla="*/ 6 w 6"/>
                    <a:gd name="T15" fmla="*/ 19 h 1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" h="19">
                      <a:moveTo>
                        <a:pt x="6" y="19"/>
                      </a:moveTo>
                      <a:lnTo>
                        <a:pt x="0" y="17"/>
                      </a:lnTo>
                      <a:lnTo>
                        <a:pt x="2" y="0"/>
                      </a:lnTo>
                      <a:lnTo>
                        <a:pt x="6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1" name="Freeform 251"/>
                <p:cNvSpPr>
                  <a:spLocks/>
                </p:cNvSpPr>
                <p:nvPr/>
              </p:nvSpPr>
              <p:spPr bwMode="auto">
                <a:xfrm>
                  <a:off x="5153955" y="4121825"/>
                  <a:ext cx="28412" cy="40842"/>
                </a:xfrm>
                <a:custGeom>
                  <a:avLst/>
                  <a:gdLst>
                    <a:gd name="T0" fmla="*/ 12385 w 39"/>
                    <a:gd name="T1" fmla="*/ 0 h 60"/>
                    <a:gd name="T2" fmla="*/ 1457 w 39"/>
                    <a:gd name="T3" fmla="*/ 13614 h 60"/>
                    <a:gd name="T4" fmla="*/ 0 w 39"/>
                    <a:gd name="T5" fmla="*/ 31993 h 60"/>
                    <a:gd name="T6" fmla="*/ 22584 w 39"/>
                    <a:gd name="T7" fmla="*/ 40842 h 60"/>
                    <a:gd name="T8" fmla="*/ 28412 w 39"/>
                    <a:gd name="T9" fmla="*/ 29270 h 60"/>
                    <a:gd name="T10" fmla="*/ 25498 w 39"/>
                    <a:gd name="T11" fmla="*/ 5446 h 60"/>
                    <a:gd name="T12" fmla="*/ 12385 w 39"/>
                    <a:gd name="T13" fmla="*/ 0 h 6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9"/>
                    <a:gd name="T22" fmla="*/ 0 h 60"/>
                    <a:gd name="T23" fmla="*/ 39 w 39"/>
                    <a:gd name="T24" fmla="*/ 60 h 6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9" h="60">
                      <a:moveTo>
                        <a:pt x="17" y="0"/>
                      </a:moveTo>
                      <a:lnTo>
                        <a:pt x="2" y="20"/>
                      </a:lnTo>
                      <a:lnTo>
                        <a:pt x="0" y="47"/>
                      </a:lnTo>
                      <a:lnTo>
                        <a:pt x="31" y="60"/>
                      </a:lnTo>
                      <a:lnTo>
                        <a:pt x="39" y="43"/>
                      </a:lnTo>
                      <a:lnTo>
                        <a:pt x="35" y="8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2" name="Freeform 252"/>
                <p:cNvSpPr>
                  <a:spLocks/>
                </p:cNvSpPr>
                <p:nvPr/>
              </p:nvSpPr>
              <p:spPr bwMode="auto">
                <a:xfrm>
                  <a:off x="4670951" y="3553584"/>
                  <a:ext cx="316084" cy="349824"/>
                </a:xfrm>
                <a:custGeom>
                  <a:avLst/>
                  <a:gdLst>
                    <a:gd name="T0" fmla="*/ 314553 w 413"/>
                    <a:gd name="T1" fmla="*/ 205017 h 459"/>
                    <a:gd name="T2" fmla="*/ 289297 w 413"/>
                    <a:gd name="T3" fmla="*/ 206541 h 459"/>
                    <a:gd name="T4" fmla="*/ 262510 w 413"/>
                    <a:gd name="T5" fmla="*/ 206541 h 459"/>
                    <a:gd name="T6" fmla="*/ 262510 w 413"/>
                    <a:gd name="T7" fmla="*/ 230167 h 459"/>
                    <a:gd name="T8" fmla="*/ 262510 w 413"/>
                    <a:gd name="T9" fmla="*/ 253032 h 459"/>
                    <a:gd name="T10" fmla="*/ 260980 w 413"/>
                    <a:gd name="T11" fmla="*/ 276658 h 459"/>
                    <a:gd name="T12" fmla="*/ 260980 w 413"/>
                    <a:gd name="T13" fmla="*/ 298760 h 459"/>
                    <a:gd name="T14" fmla="*/ 278583 w 413"/>
                    <a:gd name="T15" fmla="*/ 320863 h 459"/>
                    <a:gd name="T16" fmla="*/ 296185 w 413"/>
                    <a:gd name="T17" fmla="*/ 341440 h 459"/>
                    <a:gd name="T18" fmla="*/ 259449 w 413"/>
                    <a:gd name="T19" fmla="*/ 346013 h 459"/>
                    <a:gd name="T20" fmla="*/ 220417 w 413"/>
                    <a:gd name="T21" fmla="*/ 349824 h 459"/>
                    <a:gd name="T22" fmla="*/ 196692 w 413"/>
                    <a:gd name="T23" fmla="*/ 346013 h 459"/>
                    <a:gd name="T24" fmla="*/ 171435 w 413"/>
                    <a:gd name="T25" fmla="*/ 339916 h 459"/>
                    <a:gd name="T26" fmla="*/ 169139 w 413"/>
                    <a:gd name="T27" fmla="*/ 333819 h 459"/>
                    <a:gd name="T28" fmla="*/ 139291 w 413"/>
                    <a:gd name="T29" fmla="*/ 333819 h 459"/>
                    <a:gd name="T30" fmla="*/ 109443 w 413"/>
                    <a:gd name="T31" fmla="*/ 332295 h 459"/>
                    <a:gd name="T32" fmla="*/ 79595 w 413"/>
                    <a:gd name="T33" fmla="*/ 332295 h 459"/>
                    <a:gd name="T34" fmla="*/ 50512 w 413"/>
                    <a:gd name="T35" fmla="*/ 330770 h 459"/>
                    <a:gd name="T36" fmla="*/ 30613 w 413"/>
                    <a:gd name="T37" fmla="*/ 322387 h 459"/>
                    <a:gd name="T38" fmla="*/ 0 w 413"/>
                    <a:gd name="T39" fmla="*/ 330770 h 459"/>
                    <a:gd name="T40" fmla="*/ 3061 w 413"/>
                    <a:gd name="T41" fmla="*/ 307144 h 459"/>
                    <a:gd name="T42" fmla="*/ 3827 w 413"/>
                    <a:gd name="T43" fmla="*/ 283518 h 459"/>
                    <a:gd name="T44" fmla="*/ 16072 w 413"/>
                    <a:gd name="T45" fmla="*/ 248459 h 459"/>
                    <a:gd name="T46" fmla="*/ 27552 w 413"/>
                    <a:gd name="T47" fmla="*/ 211114 h 459"/>
                    <a:gd name="T48" fmla="*/ 41328 w 413"/>
                    <a:gd name="T49" fmla="*/ 192060 h 459"/>
                    <a:gd name="T50" fmla="*/ 54339 w 413"/>
                    <a:gd name="T51" fmla="*/ 173007 h 459"/>
                    <a:gd name="T52" fmla="*/ 50512 w 413"/>
                    <a:gd name="T53" fmla="*/ 134137 h 459"/>
                    <a:gd name="T54" fmla="*/ 42859 w 413"/>
                    <a:gd name="T55" fmla="*/ 112035 h 459"/>
                    <a:gd name="T56" fmla="*/ 35205 w 413"/>
                    <a:gd name="T57" fmla="*/ 89933 h 459"/>
                    <a:gd name="T58" fmla="*/ 44390 w 413"/>
                    <a:gd name="T59" fmla="*/ 75452 h 459"/>
                    <a:gd name="T60" fmla="*/ 30613 w 413"/>
                    <a:gd name="T61" fmla="*/ 41156 h 459"/>
                    <a:gd name="T62" fmla="*/ 19133 w 413"/>
                    <a:gd name="T63" fmla="*/ 6097 h 459"/>
                    <a:gd name="T64" fmla="*/ 39798 w 413"/>
                    <a:gd name="T65" fmla="*/ 0 h 459"/>
                    <a:gd name="T66" fmla="*/ 61992 w 413"/>
                    <a:gd name="T67" fmla="*/ 1524 h 459"/>
                    <a:gd name="T68" fmla="*/ 84187 w 413"/>
                    <a:gd name="T69" fmla="*/ 1524 h 459"/>
                    <a:gd name="T70" fmla="*/ 104851 w 413"/>
                    <a:gd name="T71" fmla="*/ 3049 h 459"/>
                    <a:gd name="T72" fmla="*/ 127046 w 413"/>
                    <a:gd name="T73" fmla="*/ 3049 h 459"/>
                    <a:gd name="T74" fmla="*/ 137761 w 413"/>
                    <a:gd name="T75" fmla="*/ 31248 h 459"/>
                    <a:gd name="T76" fmla="*/ 147710 w 413"/>
                    <a:gd name="T77" fmla="*/ 57923 h 459"/>
                    <a:gd name="T78" fmla="*/ 166078 w 413"/>
                    <a:gd name="T79" fmla="*/ 64782 h 459"/>
                    <a:gd name="T80" fmla="*/ 196692 w 413"/>
                    <a:gd name="T81" fmla="*/ 59447 h 459"/>
                    <a:gd name="T82" fmla="*/ 202814 w 413"/>
                    <a:gd name="T83" fmla="*/ 32772 h 459"/>
                    <a:gd name="T84" fmla="*/ 229601 w 413"/>
                    <a:gd name="T85" fmla="*/ 35821 h 459"/>
                    <a:gd name="T86" fmla="*/ 228070 w 413"/>
                    <a:gd name="T87" fmla="*/ 41156 h 459"/>
                    <a:gd name="T88" fmla="*/ 262510 w 413"/>
                    <a:gd name="T89" fmla="*/ 45729 h 459"/>
                    <a:gd name="T90" fmla="*/ 262510 w 413"/>
                    <a:gd name="T91" fmla="*/ 80025 h 459"/>
                    <a:gd name="T92" fmla="*/ 264041 w 413"/>
                    <a:gd name="T93" fmla="*/ 112035 h 459"/>
                    <a:gd name="T94" fmla="*/ 272460 w 413"/>
                    <a:gd name="T95" fmla="*/ 143283 h 459"/>
                    <a:gd name="T96" fmla="*/ 272460 w 413"/>
                    <a:gd name="T97" fmla="*/ 155477 h 459"/>
                    <a:gd name="T98" fmla="*/ 293124 w 413"/>
                    <a:gd name="T99" fmla="*/ 149380 h 459"/>
                    <a:gd name="T100" fmla="*/ 316084 w 413"/>
                    <a:gd name="T101" fmla="*/ 144807 h 459"/>
                    <a:gd name="T102" fmla="*/ 314553 w 413"/>
                    <a:gd name="T103" fmla="*/ 176055 h 459"/>
                    <a:gd name="T104" fmla="*/ 314553 w 413"/>
                    <a:gd name="T105" fmla="*/ 205017 h 4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413"/>
                    <a:gd name="T160" fmla="*/ 0 h 459"/>
                    <a:gd name="T161" fmla="*/ 413 w 413"/>
                    <a:gd name="T162" fmla="*/ 459 h 459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413" h="459">
                      <a:moveTo>
                        <a:pt x="411" y="269"/>
                      </a:moveTo>
                      <a:lnTo>
                        <a:pt x="378" y="271"/>
                      </a:lnTo>
                      <a:lnTo>
                        <a:pt x="343" y="271"/>
                      </a:lnTo>
                      <a:lnTo>
                        <a:pt x="343" y="302"/>
                      </a:lnTo>
                      <a:lnTo>
                        <a:pt x="343" y="332"/>
                      </a:lnTo>
                      <a:lnTo>
                        <a:pt x="341" y="363"/>
                      </a:lnTo>
                      <a:lnTo>
                        <a:pt x="341" y="392"/>
                      </a:lnTo>
                      <a:lnTo>
                        <a:pt x="364" y="421"/>
                      </a:lnTo>
                      <a:lnTo>
                        <a:pt x="387" y="448"/>
                      </a:lnTo>
                      <a:lnTo>
                        <a:pt x="339" y="454"/>
                      </a:lnTo>
                      <a:lnTo>
                        <a:pt x="288" y="459"/>
                      </a:lnTo>
                      <a:lnTo>
                        <a:pt x="257" y="454"/>
                      </a:lnTo>
                      <a:lnTo>
                        <a:pt x="224" y="446"/>
                      </a:lnTo>
                      <a:lnTo>
                        <a:pt x="221" y="438"/>
                      </a:lnTo>
                      <a:lnTo>
                        <a:pt x="182" y="438"/>
                      </a:lnTo>
                      <a:lnTo>
                        <a:pt x="143" y="436"/>
                      </a:lnTo>
                      <a:lnTo>
                        <a:pt x="104" y="436"/>
                      </a:lnTo>
                      <a:lnTo>
                        <a:pt x="66" y="434"/>
                      </a:lnTo>
                      <a:lnTo>
                        <a:pt x="40" y="423"/>
                      </a:lnTo>
                      <a:lnTo>
                        <a:pt x="0" y="434"/>
                      </a:lnTo>
                      <a:lnTo>
                        <a:pt x="4" y="403"/>
                      </a:lnTo>
                      <a:lnTo>
                        <a:pt x="5" y="372"/>
                      </a:lnTo>
                      <a:lnTo>
                        <a:pt x="21" y="326"/>
                      </a:lnTo>
                      <a:lnTo>
                        <a:pt x="36" y="277"/>
                      </a:lnTo>
                      <a:lnTo>
                        <a:pt x="54" y="252"/>
                      </a:lnTo>
                      <a:lnTo>
                        <a:pt x="71" y="227"/>
                      </a:lnTo>
                      <a:lnTo>
                        <a:pt x="66" y="176"/>
                      </a:lnTo>
                      <a:lnTo>
                        <a:pt x="56" y="147"/>
                      </a:lnTo>
                      <a:lnTo>
                        <a:pt x="46" y="118"/>
                      </a:lnTo>
                      <a:lnTo>
                        <a:pt x="58" y="99"/>
                      </a:lnTo>
                      <a:lnTo>
                        <a:pt x="40" y="54"/>
                      </a:lnTo>
                      <a:lnTo>
                        <a:pt x="25" y="8"/>
                      </a:lnTo>
                      <a:lnTo>
                        <a:pt x="52" y="0"/>
                      </a:lnTo>
                      <a:lnTo>
                        <a:pt x="81" y="2"/>
                      </a:lnTo>
                      <a:lnTo>
                        <a:pt x="110" y="2"/>
                      </a:lnTo>
                      <a:lnTo>
                        <a:pt x="137" y="4"/>
                      </a:lnTo>
                      <a:lnTo>
                        <a:pt x="166" y="4"/>
                      </a:lnTo>
                      <a:lnTo>
                        <a:pt x="180" y="41"/>
                      </a:lnTo>
                      <a:lnTo>
                        <a:pt x="193" y="76"/>
                      </a:lnTo>
                      <a:lnTo>
                        <a:pt x="217" y="85"/>
                      </a:lnTo>
                      <a:lnTo>
                        <a:pt x="257" y="78"/>
                      </a:lnTo>
                      <a:lnTo>
                        <a:pt x="265" y="43"/>
                      </a:lnTo>
                      <a:lnTo>
                        <a:pt x="300" y="47"/>
                      </a:lnTo>
                      <a:lnTo>
                        <a:pt x="298" y="54"/>
                      </a:lnTo>
                      <a:lnTo>
                        <a:pt x="343" y="60"/>
                      </a:lnTo>
                      <a:lnTo>
                        <a:pt x="343" y="105"/>
                      </a:lnTo>
                      <a:lnTo>
                        <a:pt x="345" y="147"/>
                      </a:lnTo>
                      <a:lnTo>
                        <a:pt x="356" y="188"/>
                      </a:lnTo>
                      <a:lnTo>
                        <a:pt x="356" y="204"/>
                      </a:lnTo>
                      <a:lnTo>
                        <a:pt x="383" y="196"/>
                      </a:lnTo>
                      <a:lnTo>
                        <a:pt x="413" y="190"/>
                      </a:lnTo>
                      <a:lnTo>
                        <a:pt x="411" y="231"/>
                      </a:lnTo>
                      <a:lnTo>
                        <a:pt x="411" y="26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3" name="Freeform 253"/>
                <p:cNvSpPr>
                  <a:spLocks/>
                </p:cNvSpPr>
                <p:nvPr/>
              </p:nvSpPr>
              <p:spPr bwMode="auto">
                <a:xfrm>
                  <a:off x="4685157" y="3518069"/>
                  <a:ext cx="21309" cy="35515"/>
                </a:xfrm>
                <a:custGeom>
                  <a:avLst/>
                  <a:gdLst>
                    <a:gd name="T0" fmla="*/ 3456 w 37"/>
                    <a:gd name="T1" fmla="*/ 35515 h 50"/>
                    <a:gd name="T2" fmla="*/ 0 w 37"/>
                    <a:gd name="T3" fmla="*/ 13496 h 50"/>
                    <a:gd name="T4" fmla="*/ 13246 w 37"/>
                    <a:gd name="T5" fmla="*/ 0 h 50"/>
                    <a:gd name="T6" fmla="*/ 21309 w 37"/>
                    <a:gd name="T7" fmla="*/ 3552 h 50"/>
                    <a:gd name="T8" fmla="*/ 11518 w 37"/>
                    <a:gd name="T9" fmla="*/ 12075 h 50"/>
                    <a:gd name="T10" fmla="*/ 10367 w 37"/>
                    <a:gd name="T11" fmla="*/ 32674 h 50"/>
                    <a:gd name="T12" fmla="*/ 3456 w 37"/>
                    <a:gd name="T13" fmla="*/ 35515 h 5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7"/>
                    <a:gd name="T22" fmla="*/ 0 h 50"/>
                    <a:gd name="T23" fmla="*/ 37 w 37"/>
                    <a:gd name="T24" fmla="*/ 50 h 5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7" h="50">
                      <a:moveTo>
                        <a:pt x="6" y="50"/>
                      </a:moveTo>
                      <a:lnTo>
                        <a:pt x="0" y="19"/>
                      </a:lnTo>
                      <a:lnTo>
                        <a:pt x="23" y="0"/>
                      </a:lnTo>
                      <a:lnTo>
                        <a:pt x="37" y="5"/>
                      </a:lnTo>
                      <a:lnTo>
                        <a:pt x="20" y="17"/>
                      </a:lnTo>
                      <a:lnTo>
                        <a:pt x="18" y="46"/>
                      </a:lnTo>
                      <a:lnTo>
                        <a:pt x="6" y="5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4" name="Freeform 254"/>
                <p:cNvSpPr>
                  <a:spLocks/>
                </p:cNvSpPr>
                <p:nvPr/>
              </p:nvSpPr>
              <p:spPr bwMode="auto">
                <a:xfrm>
                  <a:off x="2424625" y="3239275"/>
                  <a:ext cx="1024609" cy="1108071"/>
                </a:xfrm>
                <a:custGeom>
                  <a:avLst/>
                  <a:gdLst>
                    <a:gd name="T0" fmla="*/ 769630 w 1310"/>
                    <a:gd name="T1" fmla="*/ 217283 h 1484"/>
                    <a:gd name="T2" fmla="*/ 756333 w 1310"/>
                    <a:gd name="T3" fmla="*/ 192643 h 1484"/>
                    <a:gd name="T4" fmla="*/ 722701 w 1310"/>
                    <a:gd name="T5" fmla="*/ 179950 h 1484"/>
                    <a:gd name="T6" fmla="*/ 689851 w 1310"/>
                    <a:gd name="T7" fmla="*/ 169496 h 1484"/>
                    <a:gd name="T8" fmla="*/ 651526 w 1310"/>
                    <a:gd name="T9" fmla="*/ 198617 h 1484"/>
                    <a:gd name="T10" fmla="*/ 618676 w 1310"/>
                    <a:gd name="T11" fmla="*/ 204590 h 1484"/>
                    <a:gd name="T12" fmla="*/ 565490 w 1310"/>
                    <a:gd name="T13" fmla="*/ 195630 h 1484"/>
                    <a:gd name="T14" fmla="*/ 607726 w 1310"/>
                    <a:gd name="T15" fmla="*/ 132162 h 1484"/>
                    <a:gd name="T16" fmla="*/ 599905 w 1310"/>
                    <a:gd name="T17" fmla="*/ 64214 h 1484"/>
                    <a:gd name="T18" fmla="*/ 585044 w 1310"/>
                    <a:gd name="T19" fmla="*/ 33601 h 1484"/>
                    <a:gd name="T20" fmla="*/ 545155 w 1310"/>
                    <a:gd name="T21" fmla="*/ 87361 h 1484"/>
                    <a:gd name="T22" fmla="*/ 463812 w 1310"/>
                    <a:gd name="T23" fmla="*/ 82881 h 1484"/>
                    <a:gd name="T24" fmla="*/ 399676 w 1310"/>
                    <a:gd name="T25" fmla="*/ 112002 h 1484"/>
                    <a:gd name="T26" fmla="*/ 371518 w 1310"/>
                    <a:gd name="T27" fmla="*/ 32107 h 1484"/>
                    <a:gd name="T28" fmla="*/ 345708 w 1310"/>
                    <a:gd name="T29" fmla="*/ 1493 h 1484"/>
                    <a:gd name="T30" fmla="*/ 289393 w 1310"/>
                    <a:gd name="T31" fmla="*/ 44801 h 1484"/>
                    <a:gd name="T32" fmla="*/ 255761 w 1310"/>
                    <a:gd name="T33" fmla="*/ 75415 h 1484"/>
                    <a:gd name="T34" fmla="*/ 218218 w 1310"/>
                    <a:gd name="T35" fmla="*/ 127682 h 1484"/>
                    <a:gd name="T36" fmla="*/ 174418 w 1310"/>
                    <a:gd name="T37" fmla="*/ 113495 h 1484"/>
                    <a:gd name="T38" fmla="*/ 147043 w 1310"/>
                    <a:gd name="T39" fmla="*/ 100055 h 1484"/>
                    <a:gd name="T40" fmla="*/ 119668 w 1310"/>
                    <a:gd name="T41" fmla="*/ 124695 h 1484"/>
                    <a:gd name="T42" fmla="*/ 111847 w 1310"/>
                    <a:gd name="T43" fmla="*/ 189656 h 1484"/>
                    <a:gd name="T44" fmla="*/ 69611 w 1310"/>
                    <a:gd name="T45" fmla="*/ 274031 h 1484"/>
                    <a:gd name="T46" fmla="*/ 13296 w 1310"/>
                    <a:gd name="T47" fmla="*/ 336005 h 1484"/>
                    <a:gd name="T48" fmla="*/ 22682 w 1310"/>
                    <a:gd name="T49" fmla="*/ 414407 h 1484"/>
                    <a:gd name="T50" fmla="*/ 87600 w 1310"/>
                    <a:gd name="T51" fmla="*/ 420380 h 1484"/>
                    <a:gd name="T52" fmla="*/ 152518 w 1310"/>
                    <a:gd name="T53" fmla="*/ 462194 h 1484"/>
                    <a:gd name="T54" fmla="*/ 228386 w 1310"/>
                    <a:gd name="T55" fmla="*/ 428594 h 1484"/>
                    <a:gd name="T56" fmla="*/ 272968 w 1310"/>
                    <a:gd name="T57" fmla="*/ 504008 h 1484"/>
                    <a:gd name="T58" fmla="*/ 362133 w 1310"/>
                    <a:gd name="T59" fmla="*/ 550302 h 1484"/>
                    <a:gd name="T60" fmla="*/ 373865 w 1310"/>
                    <a:gd name="T61" fmla="*/ 611530 h 1484"/>
                    <a:gd name="T62" fmla="*/ 442694 w 1310"/>
                    <a:gd name="T63" fmla="*/ 656330 h 1484"/>
                    <a:gd name="T64" fmla="*/ 439565 w 1310"/>
                    <a:gd name="T65" fmla="*/ 719798 h 1484"/>
                    <a:gd name="T66" fmla="*/ 481801 w 1310"/>
                    <a:gd name="T67" fmla="*/ 780279 h 1484"/>
                    <a:gd name="T68" fmla="*/ 530294 w 1310"/>
                    <a:gd name="T69" fmla="*/ 828067 h 1484"/>
                    <a:gd name="T70" fmla="*/ 559233 w 1310"/>
                    <a:gd name="T71" fmla="*/ 877347 h 1484"/>
                    <a:gd name="T72" fmla="*/ 524037 w 1310"/>
                    <a:gd name="T73" fmla="*/ 957242 h 1484"/>
                    <a:gd name="T74" fmla="*/ 483365 w 1310"/>
                    <a:gd name="T75" fmla="*/ 1008016 h 1484"/>
                    <a:gd name="T76" fmla="*/ 551412 w 1310"/>
                    <a:gd name="T77" fmla="*/ 1037883 h 1484"/>
                    <a:gd name="T78" fmla="*/ 609290 w 1310"/>
                    <a:gd name="T79" fmla="*/ 1108071 h 1484"/>
                    <a:gd name="T80" fmla="*/ 636665 w 1310"/>
                    <a:gd name="T81" fmla="*/ 1037883 h 1484"/>
                    <a:gd name="T82" fmla="*/ 657783 w 1310"/>
                    <a:gd name="T83" fmla="*/ 1011003 h 1484"/>
                    <a:gd name="T84" fmla="*/ 633537 w 1310"/>
                    <a:gd name="T85" fmla="*/ 1058790 h 1484"/>
                    <a:gd name="T86" fmla="*/ 680465 w 1310"/>
                    <a:gd name="T87" fmla="*/ 991589 h 1484"/>
                    <a:gd name="T88" fmla="*/ 700019 w 1310"/>
                    <a:gd name="T89" fmla="*/ 932602 h 1484"/>
                    <a:gd name="T90" fmla="*/ 698455 w 1310"/>
                    <a:gd name="T91" fmla="*/ 874361 h 1484"/>
                    <a:gd name="T92" fmla="*/ 750076 w 1310"/>
                    <a:gd name="T93" fmla="*/ 828067 h 1484"/>
                    <a:gd name="T94" fmla="*/ 818123 w 1310"/>
                    <a:gd name="T95" fmla="*/ 803426 h 1484"/>
                    <a:gd name="T96" fmla="*/ 861141 w 1310"/>
                    <a:gd name="T97" fmla="*/ 798199 h 1484"/>
                    <a:gd name="T98" fmla="*/ 898684 w 1310"/>
                    <a:gd name="T99" fmla="*/ 719798 h 1484"/>
                    <a:gd name="T100" fmla="*/ 922930 w 1310"/>
                    <a:gd name="T101" fmla="*/ 618250 h 1484"/>
                    <a:gd name="T102" fmla="*/ 918237 w 1310"/>
                    <a:gd name="T103" fmla="*/ 540595 h 1484"/>
                    <a:gd name="T104" fmla="*/ 947177 w 1310"/>
                    <a:gd name="T105" fmla="*/ 496541 h 1484"/>
                    <a:gd name="T106" fmla="*/ 982373 w 1310"/>
                    <a:gd name="T107" fmla="*/ 445020 h 1484"/>
                    <a:gd name="T108" fmla="*/ 1013659 w 1310"/>
                    <a:gd name="T109" fmla="*/ 324805 h 1484"/>
                    <a:gd name="T110" fmla="*/ 932316 w 1310"/>
                    <a:gd name="T111" fmla="*/ 263578 h 1484"/>
                    <a:gd name="T112" fmla="*/ 818123 w 1310"/>
                    <a:gd name="T113" fmla="*/ 226244 h 148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310"/>
                    <a:gd name="T172" fmla="*/ 0 h 1484"/>
                    <a:gd name="T173" fmla="*/ 1310 w 1310"/>
                    <a:gd name="T174" fmla="*/ 1484 h 148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310" h="1484">
                      <a:moveTo>
                        <a:pt x="994" y="291"/>
                      </a:moveTo>
                      <a:lnTo>
                        <a:pt x="988" y="297"/>
                      </a:lnTo>
                      <a:lnTo>
                        <a:pt x="975" y="320"/>
                      </a:lnTo>
                      <a:lnTo>
                        <a:pt x="984" y="291"/>
                      </a:lnTo>
                      <a:lnTo>
                        <a:pt x="981" y="285"/>
                      </a:lnTo>
                      <a:lnTo>
                        <a:pt x="975" y="287"/>
                      </a:lnTo>
                      <a:lnTo>
                        <a:pt x="979" y="270"/>
                      </a:lnTo>
                      <a:lnTo>
                        <a:pt x="967" y="258"/>
                      </a:lnTo>
                      <a:lnTo>
                        <a:pt x="953" y="260"/>
                      </a:lnTo>
                      <a:lnTo>
                        <a:pt x="949" y="254"/>
                      </a:lnTo>
                      <a:lnTo>
                        <a:pt x="938" y="248"/>
                      </a:lnTo>
                      <a:lnTo>
                        <a:pt x="924" y="241"/>
                      </a:lnTo>
                      <a:lnTo>
                        <a:pt x="911" y="235"/>
                      </a:lnTo>
                      <a:lnTo>
                        <a:pt x="899" y="233"/>
                      </a:lnTo>
                      <a:lnTo>
                        <a:pt x="882" y="223"/>
                      </a:lnTo>
                      <a:lnTo>
                        <a:pt x="882" y="227"/>
                      </a:lnTo>
                      <a:lnTo>
                        <a:pt x="858" y="233"/>
                      </a:lnTo>
                      <a:lnTo>
                        <a:pt x="847" y="256"/>
                      </a:lnTo>
                      <a:lnTo>
                        <a:pt x="847" y="260"/>
                      </a:lnTo>
                      <a:lnTo>
                        <a:pt x="833" y="266"/>
                      </a:lnTo>
                      <a:lnTo>
                        <a:pt x="810" y="299"/>
                      </a:lnTo>
                      <a:lnTo>
                        <a:pt x="812" y="272"/>
                      </a:lnTo>
                      <a:lnTo>
                        <a:pt x="802" y="279"/>
                      </a:lnTo>
                      <a:lnTo>
                        <a:pt x="791" y="274"/>
                      </a:lnTo>
                      <a:lnTo>
                        <a:pt x="779" y="274"/>
                      </a:lnTo>
                      <a:lnTo>
                        <a:pt x="769" y="237"/>
                      </a:lnTo>
                      <a:lnTo>
                        <a:pt x="746" y="248"/>
                      </a:lnTo>
                      <a:lnTo>
                        <a:pt x="723" y="262"/>
                      </a:lnTo>
                      <a:lnTo>
                        <a:pt x="711" y="258"/>
                      </a:lnTo>
                      <a:lnTo>
                        <a:pt x="734" y="243"/>
                      </a:lnTo>
                      <a:lnTo>
                        <a:pt x="756" y="202"/>
                      </a:lnTo>
                      <a:lnTo>
                        <a:pt x="777" y="177"/>
                      </a:lnTo>
                      <a:lnTo>
                        <a:pt x="800" y="152"/>
                      </a:lnTo>
                      <a:lnTo>
                        <a:pt x="791" y="132"/>
                      </a:lnTo>
                      <a:lnTo>
                        <a:pt x="775" y="119"/>
                      </a:lnTo>
                      <a:lnTo>
                        <a:pt x="767" y="86"/>
                      </a:lnTo>
                      <a:lnTo>
                        <a:pt x="760" y="53"/>
                      </a:lnTo>
                      <a:lnTo>
                        <a:pt x="760" y="57"/>
                      </a:lnTo>
                      <a:lnTo>
                        <a:pt x="746" y="37"/>
                      </a:lnTo>
                      <a:lnTo>
                        <a:pt x="748" y="45"/>
                      </a:lnTo>
                      <a:lnTo>
                        <a:pt x="744" y="45"/>
                      </a:lnTo>
                      <a:lnTo>
                        <a:pt x="742" y="47"/>
                      </a:lnTo>
                      <a:lnTo>
                        <a:pt x="719" y="82"/>
                      </a:lnTo>
                      <a:lnTo>
                        <a:pt x="697" y="117"/>
                      </a:lnTo>
                      <a:lnTo>
                        <a:pt x="665" y="115"/>
                      </a:lnTo>
                      <a:lnTo>
                        <a:pt x="643" y="111"/>
                      </a:lnTo>
                      <a:lnTo>
                        <a:pt x="622" y="105"/>
                      </a:lnTo>
                      <a:lnTo>
                        <a:pt x="593" y="111"/>
                      </a:lnTo>
                      <a:lnTo>
                        <a:pt x="595" y="130"/>
                      </a:lnTo>
                      <a:lnTo>
                        <a:pt x="579" y="126"/>
                      </a:lnTo>
                      <a:lnTo>
                        <a:pt x="546" y="132"/>
                      </a:lnTo>
                      <a:lnTo>
                        <a:pt x="511" y="150"/>
                      </a:lnTo>
                      <a:lnTo>
                        <a:pt x="492" y="150"/>
                      </a:lnTo>
                      <a:lnTo>
                        <a:pt x="469" y="121"/>
                      </a:lnTo>
                      <a:lnTo>
                        <a:pt x="465" y="76"/>
                      </a:lnTo>
                      <a:lnTo>
                        <a:pt x="475" y="43"/>
                      </a:lnTo>
                      <a:lnTo>
                        <a:pt x="461" y="22"/>
                      </a:lnTo>
                      <a:lnTo>
                        <a:pt x="457" y="0"/>
                      </a:lnTo>
                      <a:lnTo>
                        <a:pt x="438" y="2"/>
                      </a:lnTo>
                      <a:lnTo>
                        <a:pt x="442" y="2"/>
                      </a:lnTo>
                      <a:lnTo>
                        <a:pt x="432" y="24"/>
                      </a:lnTo>
                      <a:lnTo>
                        <a:pt x="405" y="35"/>
                      </a:lnTo>
                      <a:lnTo>
                        <a:pt x="376" y="47"/>
                      </a:lnTo>
                      <a:lnTo>
                        <a:pt x="370" y="60"/>
                      </a:lnTo>
                      <a:lnTo>
                        <a:pt x="339" y="49"/>
                      </a:lnTo>
                      <a:lnTo>
                        <a:pt x="306" y="39"/>
                      </a:lnTo>
                      <a:lnTo>
                        <a:pt x="318" y="58"/>
                      </a:lnTo>
                      <a:lnTo>
                        <a:pt x="327" y="101"/>
                      </a:lnTo>
                      <a:lnTo>
                        <a:pt x="349" y="109"/>
                      </a:lnTo>
                      <a:lnTo>
                        <a:pt x="343" y="119"/>
                      </a:lnTo>
                      <a:lnTo>
                        <a:pt x="314" y="146"/>
                      </a:lnTo>
                      <a:lnTo>
                        <a:pt x="279" y="171"/>
                      </a:lnTo>
                      <a:lnTo>
                        <a:pt x="275" y="169"/>
                      </a:lnTo>
                      <a:lnTo>
                        <a:pt x="257" y="171"/>
                      </a:lnTo>
                      <a:lnTo>
                        <a:pt x="230" y="153"/>
                      </a:lnTo>
                      <a:lnTo>
                        <a:pt x="223" y="152"/>
                      </a:lnTo>
                      <a:lnTo>
                        <a:pt x="211" y="119"/>
                      </a:lnTo>
                      <a:lnTo>
                        <a:pt x="192" y="132"/>
                      </a:lnTo>
                      <a:lnTo>
                        <a:pt x="184" y="128"/>
                      </a:lnTo>
                      <a:lnTo>
                        <a:pt x="188" y="134"/>
                      </a:lnTo>
                      <a:lnTo>
                        <a:pt x="159" y="134"/>
                      </a:lnTo>
                      <a:lnTo>
                        <a:pt x="130" y="134"/>
                      </a:lnTo>
                      <a:lnTo>
                        <a:pt x="133" y="159"/>
                      </a:lnTo>
                      <a:lnTo>
                        <a:pt x="153" y="167"/>
                      </a:lnTo>
                      <a:lnTo>
                        <a:pt x="147" y="177"/>
                      </a:lnTo>
                      <a:lnTo>
                        <a:pt x="122" y="179"/>
                      </a:lnTo>
                      <a:lnTo>
                        <a:pt x="130" y="214"/>
                      </a:lnTo>
                      <a:lnTo>
                        <a:pt x="143" y="254"/>
                      </a:lnTo>
                      <a:lnTo>
                        <a:pt x="135" y="307"/>
                      </a:lnTo>
                      <a:lnTo>
                        <a:pt x="128" y="361"/>
                      </a:lnTo>
                      <a:lnTo>
                        <a:pt x="116" y="359"/>
                      </a:lnTo>
                      <a:lnTo>
                        <a:pt x="89" y="367"/>
                      </a:lnTo>
                      <a:lnTo>
                        <a:pt x="62" y="380"/>
                      </a:lnTo>
                      <a:lnTo>
                        <a:pt x="35" y="392"/>
                      </a:lnTo>
                      <a:lnTo>
                        <a:pt x="27" y="421"/>
                      </a:lnTo>
                      <a:lnTo>
                        <a:pt x="17" y="450"/>
                      </a:lnTo>
                      <a:lnTo>
                        <a:pt x="0" y="481"/>
                      </a:lnTo>
                      <a:lnTo>
                        <a:pt x="15" y="510"/>
                      </a:lnTo>
                      <a:lnTo>
                        <a:pt x="31" y="539"/>
                      </a:lnTo>
                      <a:lnTo>
                        <a:pt x="29" y="555"/>
                      </a:lnTo>
                      <a:lnTo>
                        <a:pt x="42" y="559"/>
                      </a:lnTo>
                      <a:lnTo>
                        <a:pt x="62" y="574"/>
                      </a:lnTo>
                      <a:lnTo>
                        <a:pt x="89" y="580"/>
                      </a:lnTo>
                      <a:lnTo>
                        <a:pt x="112" y="563"/>
                      </a:lnTo>
                      <a:lnTo>
                        <a:pt x="114" y="592"/>
                      </a:lnTo>
                      <a:lnTo>
                        <a:pt x="116" y="619"/>
                      </a:lnTo>
                      <a:lnTo>
                        <a:pt x="151" y="617"/>
                      </a:lnTo>
                      <a:lnTo>
                        <a:pt x="195" y="619"/>
                      </a:lnTo>
                      <a:lnTo>
                        <a:pt x="211" y="607"/>
                      </a:lnTo>
                      <a:lnTo>
                        <a:pt x="238" y="590"/>
                      </a:lnTo>
                      <a:lnTo>
                        <a:pt x="265" y="572"/>
                      </a:lnTo>
                      <a:lnTo>
                        <a:pt x="292" y="574"/>
                      </a:lnTo>
                      <a:lnTo>
                        <a:pt x="294" y="607"/>
                      </a:lnTo>
                      <a:lnTo>
                        <a:pt x="298" y="638"/>
                      </a:lnTo>
                      <a:lnTo>
                        <a:pt x="323" y="665"/>
                      </a:lnTo>
                      <a:lnTo>
                        <a:pt x="349" y="675"/>
                      </a:lnTo>
                      <a:lnTo>
                        <a:pt x="378" y="689"/>
                      </a:lnTo>
                      <a:lnTo>
                        <a:pt x="414" y="714"/>
                      </a:lnTo>
                      <a:lnTo>
                        <a:pt x="453" y="722"/>
                      </a:lnTo>
                      <a:lnTo>
                        <a:pt x="463" y="737"/>
                      </a:lnTo>
                      <a:lnTo>
                        <a:pt x="467" y="774"/>
                      </a:lnTo>
                      <a:lnTo>
                        <a:pt x="461" y="774"/>
                      </a:lnTo>
                      <a:lnTo>
                        <a:pt x="475" y="789"/>
                      </a:lnTo>
                      <a:lnTo>
                        <a:pt x="478" y="819"/>
                      </a:lnTo>
                      <a:lnTo>
                        <a:pt x="509" y="822"/>
                      </a:lnTo>
                      <a:lnTo>
                        <a:pt x="540" y="826"/>
                      </a:lnTo>
                      <a:lnTo>
                        <a:pt x="544" y="859"/>
                      </a:lnTo>
                      <a:lnTo>
                        <a:pt x="566" y="879"/>
                      </a:lnTo>
                      <a:lnTo>
                        <a:pt x="571" y="894"/>
                      </a:lnTo>
                      <a:lnTo>
                        <a:pt x="564" y="923"/>
                      </a:lnTo>
                      <a:lnTo>
                        <a:pt x="558" y="950"/>
                      </a:lnTo>
                      <a:lnTo>
                        <a:pt x="562" y="964"/>
                      </a:lnTo>
                      <a:lnTo>
                        <a:pt x="558" y="968"/>
                      </a:lnTo>
                      <a:lnTo>
                        <a:pt x="564" y="985"/>
                      </a:lnTo>
                      <a:lnTo>
                        <a:pt x="570" y="1038"/>
                      </a:lnTo>
                      <a:lnTo>
                        <a:pt x="616" y="1045"/>
                      </a:lnTo>
                      <a:lnTo>
                        <a:pt x="641" y="1047"/>
                      </a:lnTo>
                      <a:lnTo>
                        <a:pt x="651" y="1080"/>
                      </a:lnTo>
                      <a:lnTo>
                        <a:pt x="661" y="1111"/>
                      </a:lnTo>
                      <a:lnTo>
                        <a:pt x="678" y="1109"/>
                      </a:lnTo>
                      <a:lnTo>
                        <a:pt x="696" y="1113"/>
                      </a:lnTo>
                      <a:lnTo>
                        <a:pt x="694" y="1142"/>
                      </a:lnTo>
                      <a:lnTo>
                        <a:pt x="694" y="1173"/>
                      </a:lnTo>
                      <a:lnTo>
                        <a:pt x="715" y="1175"/>
                      </a:lnTo>
                      <a:lnTo>
                        <a:pt x="729" y="1224"/>
                      </a:lnTo>
                      <a:lnTo>
                        <a:pt x="709" y="1241"/>
                      </a:lnTo>
                      <a:lnTo>
                        <a:pt x="688" y="1261"/>
                      </a:lnTo>
                      <a:lnTo>
                        <a:pt x="670" y="1282"/>
                      </a:lnTo>
                      <a:lnTo>
                        <a:pt x="653" y="1305"/>
                      </a:lnTo>
                      <a:lnTo>
                        <a:pt x="635" y="1326"/>
                      </a:lnTo>
                      <a:lnTo>
                        <a:pt x="618" y="1348"/>
                      </a:lnTo>
                      <a:lnTo>
                        <a:pt x="618" y="1350"/>
                      </a:lnTo>
                      <a:lnTo>
                        <a:pt x="635" y="1346"/>
                      </a:lnTo>
                      <a:lnTo>
                        <a:pt x="676" y="1377"/>
                      </a:lnTo>
                      <a:lnTo>
                        <a:pt x="686" y="1379"/>
                      </a:lnTo>
                      <a:lnTo>
                        <a:pt x="705" y="1390"/>
                      </a:lnTo>
                      <a:lnTo>
                        <a:pt x="740" y="1416"/>
                      </a:lnTo>
                      <a:lnTo>
                        <a:pt x="775" y="1441"/>
                      </a:lnTo>
                      <a:lnTo>
                        <a:pt x="771" y="1458"/>
                      </a:lnTo>
                      <a:lnTo>
                        <a:pt x="779" y="1484"/>
                      </a:lnTo>
                      <a:lnTo>
                        <a:pt x="791" y="1460"/>
                      </a:lnTo>
                      <a:lnTo>
                        <a:pt x="802" y="1437"/>
                      </a:lnTo>
                      <a:lnTo>
                        <a:pt x="804" y="1414"/>
                      </a:lnTo>
                      <a:lnTo>
                        <a:pt x="814" y="1390"/>
                      </a:lnTo>
                      <a:lnTo>
                        <a:pt x="827" y="1373"/>
                      </a:lnTo>
                      <a:lnTo>
                        <a:pt x="823" y="1350"/>
                      </a:lnTo>
                      <a:lnTo>
                        <a:pt x="825" y="1348"/>
                      </a:lnTo>
                      <a:lnTo>
                        <a:pt x="841" y="1354"/>
                      </a:lnTo>
                      <a:lnTo>
                        <a:pt x="849" y="1356"/>
                      </a:lnTo>
                      <a:lnTo>
                        <a:pt x="833" y="1383"/>
                      </a:lnTo>
                      <a:lnTo>
                        <a:pt x="820" y="1410"/>
                      </a:lnTo>
                      <a:lnTo>
                        <a:pt x="810" y="1418"/>
                      </a:lnTo>
                      <a:lnTo>
                        <a:pt x="812" y="1422"/>
                      </a:lnTo>
                      <a:lnTo>
                        <a:pt x="833" y="1390"/>
                      </a:lnTo>
                      <a:lnTo>
                        <a:pt x="856" y="1359"/>
                      </a:lnTo>
                      <a:lnTo>
                        <a:pt x="870" y="1328"/>
                      </a:lnTo>
                      <a:lnTo>
                        <a:pt x="884" y="1297"/>
                      </a:lnTo>
                      <a:lnTo>
                        <a:pt x="893" y="1280"/>
                      </a:lnTo>
                      <a:lnTo>
                        <a:pt x="895" y="1280"/>
                      </a:lnTo>
                      <a:lnTo>
                        <a:pt x="895" y="1249"/>
                      </a:lnTo>
                      <a:lnTo>
                        <a:pt x="895" y="1218"/>
                      </a:lnTo>
                      <a:lnTo>
                        <a:pt x="887" y="1199"/>
                      </a:lnTo>
                      <a:lnTo>
                        <a:pt x="887" y="1185"/>
                      </a:lnTo>
                      <a:lnTo>
                        <a:pt x="893" y="1171"/>
                      </a:lnTo>
                      <a:lnTo>
                        <a:pt x="887" y="1169"/>
                      </a:lnTo>
                      <a:lnTo>
                        <a:pt x="901" y="1166"/>
                      </a:lnTo>
                      <a:lnTo>
                        <a:pt x="930" y="1138"/>
                      </a:lnTo>
                      <a:lnTo>
                        <a:pt x="959" y="1109"/>
                      </a:lnTo>
                      <a:lnTo>
                        <a:pt x="986" y="1102"/>
                      </a:lnTo>
                      <a:lnTo>
                        <a:pt x="1012" y="1084"/>
                      </a:lnTo>
                      <a:lnTo>
                        <a:pt x="1023" y="1074"/>
                      </a:lnTo>
                      <a:lnTo>
                        <a:pt x="1046" y="1076"/>
                      </a:lnTo>
                      <a:lnTo>
                        <a:pt x="1035" y="1078"/>
                      </a:lnTo>
                      <a:lnTo>
                        <a:pt x="1058" y="1071"/>
                      </a:lnTo>
                      <a:lnTo>
                        <a:pt x="1062" y="1069"/>
                      </a:lnTo>
                      <a:lnTo>
                        <a:pt x="1101" y="1069"/>
                      </a:lnTo>
                      <a:lnTo>
                        <a:pt x="1108" y="1047"/>
                      </a:lnTo>
                      <a:lnTo>
                        <a:pt x="1130" y="1036"/>
                      </a:lnTo>
                      <a:lnTo>
                        <a:pt x="1134" y="993"/>
                      </a:lnTo>
                      <a:lnTo>
                        <a:pt x="1149" y="964"/>
                      </a:lnTo>
                      <a:lnTo>
                        <a:pt x="1165" y="935"/>
                      </a:lnTo>
                      <a:lnTo>
                        <a:pt x="1170" y="882"/>
                      </a:lnTo>
                      <a:lnTo>
                        <a:pt x="1178" y="865"/>
                      </a:lnTo>
                      <a:lnTo>
                        <a:pt x="1180" y="828"/>
                      </a:lnTo>
                      <a:lnTo>
                        <a:pt x="1182" y="791"/>
                      </a:lnTo>
                      <a:lnTo>
                        <a:pt x="1180" y="762"/>
                      </a:lnTo>
                      <a:lnTo>
                        <a:pt x="1180" y="735"/>
                      </a:lnTo>
                      <a:lnTo>
                        <a:pt x="1174" y="724"/>
                      </a:lnTo>
                      <a:lnTo>
                        <a:pt x="1180" y="687"/>
                      </a:lnTo>
                      <a:lnTo>
                        <a:pt x="1190" y="685"/>
                      </a:lnTo>
                      <a:lnTo>
                        <a:pt x="1194" y="696"/>
                      </a:lnTo>
                      <a:lnTo>
                        <a:pt x="1211" y="665"/>
                      </a:lnTo>
                      <a:lnTo>
                        <a:pt x="1229" y="636"/>
                      </a:lnTo>
                      <a:lnTo>
                        <a:pt x="1229" y="632"/>
                      </a:lnTo>
                      <a:lnTo>
                        <a:pt x="1236" y="623"/>
                      </a:lnTo>
                      <a:lnTo>
                        <a:pt x="1256" y="596"/>
                      </a:lnTo>
                      <a:lnTo>
                        <a:pt x="1275" y="568"/>
                      </a:lnTo>
                      <a:lnTo>
                        <a:pt x="1304" y="526"/>
                      </a:lnTo>
                      <a:lnTo>
                        <a:pt x="1310" y="473"/>
                      </a:lnTo>
                      <a:lnTo>
                        <a:pt x="1296" y="435"/>
                      </a:lnTo>
                      <a:lnTo>
                        <a:pt x="1283" y="394"/>
                      </a:lnTo>
                      <a:lnTo>
                        <a:pt x="1254" y="390"/>
                      </a:lnTo>
                      <a:lnTo>
                        <a:pt x="1227" y="386"/>
                      </a:lnTo>
                      <a:lnTo>
                        <a:pt x="1192" y="353"/>
                      </a:lnTo>
                      <a:lnTo>
                        <a:pt x="1155" y="320"/>
                      </a:lnTo>
                      <a:lnTo>
                        <a:pt x="1108" y="309"/>
                      </a:lnTo>
                      <a:lnTo>
                        <a:pt x="1077" y="309"/>
                      </a:lnTo>
                      <a:lnTo>
                        <a:pt x="1046" y="303"/>
                      </a:lnTo>
                      <a:lnTo>
                        <a:pt x="1017" y="295"/>
                      </a:lnTo>
                      <a:lnTo>
                        <a:pt x="992" y="303"/>
                      </a:lnTo>
                      <a:lnTo>
                        <a:pt x="994" y="29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5" name="Freeform 255"/>
                <p:cNvSpPr>
                  <a:spLocks/>
                </p:cNvSpPr>
                <p:nvPr/>
              </p:nvSpPr>
              <p:spPr bwMode="auto">
                <a:xfrm>
                  <a:off x="3031932" y="3393766"/>
                  <a:ext cx="56824" cy="47945"/>
                </a:xfrm>
                <a:custGeom>
                  <a:avLst/>
                  <a:gdLst>
                    <a:gd name="T0" fmla="*/ 29122 w 80"/>
                    <a:gd name="T1" fmla="*/ 43586 h 66"/>
                    <a:gd name="T2" fmla="*/ 24861 w 80"/>
                    <a:gd name="T3" fmla="*/ 46492 h 66"/>
                    <a:gd name="T4" fmla="*/ 12785 w 80"/>
                    <a:gd name="T5" fmla="*/ 40681 h 66"/>
                    <a:gd name="T6" fmla="*/ 8524 w 80"/>
                    <a:gd name="T7" fmla="*/ 47945 h 66"/>
                    <a:gd name="T8" fmla="*/ 0 w 80"/>
                    <a:gd name="T9" fmla="*/ 26878 h 66"/>
                    <a:gd name="T10" fmla="*/ 2841 w 80"/>
                    <a:gd name="T11" fmla="*/ 26878 h 66"/>
                    <a:gd name="T12" fmla="*/ 1421 w 80"/>
                    <a:gd name="T13" fmla="*/ 15255 h 66"/>
                    <a:gd name="T14" fmla="*/ 9944 w 80"/>
                    <a:gd name="T15" fmla="*/ 0 h 66"/>
                    <a:gd name="T16" fmla="*/ 33384 w 80"/>
                    <a:gd name="T17" fmla="*/ 4359 h 66"/>
                    <a:gd name="T18" fmla="*/ 56824 w 80"/>
                    <a:gd name="T19" fmla="*/ 7264 h 66"/>
                    <a:gd name="T20" fmla="*/ 45459 w 80"/>
                    <a:gd name="T21" fmla="*/ 31237 h 66"/>
                    <a:gd name="T22" fmla="*/ 44039 w 80"/>
                    <a:gd name="T23" fmla="*/ 33416 h 66"/>
                    <a:gd name="T24" fmla="*/ 41197 w 80"/>
                    <a:gd name="T25" fmla="*/ 39228 h 66"/>
                    <a:gd name="T26" fmla="*/ 36936 w 80"/>
                    <a:gd name="T27" fmla="*/ 39228 h 66"/>
                    <a:gd name="T28" fmla="*/ 29122 w 80"/>
                    <a:gd name="T29" fmla="*/ 43586 h 6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0"/>
                    <a:gd name="T46" fmla="*/ 0 h 66"/>
                    <a:gd name="T47" fmla="*/ 80 w 80"/>
                    <a:gd name="T48" fmla="*/ 66 h 6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0" h="66">
                      <a:moveTo>
                        <a:pt x="41" y="60"/>
                      </a:moveTo>
                      <a:lnTo>
                        <a:pt x="35" y="64"/>
                      </a:lnTo>
                      <a:lnTo>
                        <a:pt x="18" y="56"/>
                      </a:lnTo>
                      <a:lnTo>
                        <a:pt x="12" y="66"/>
                      </a:lnTo>
                      <a:lnTo>
                        <a:pt x="0" y="37"/>
                      </a:lnTo>
                      <a:lnTo>
                        <a:pt x="4" y="37"/>
                      </a:lnTo>
                      <a:lnTo>
                        <a:pt x="2" y="21"/>
                      </a:lnTo>
                      <a:lnTo>
                        <a:pt x="14" y="0"/>
                      </a:lnTo>
                      <a:lnTo>
                        <a:pt x="47" y="6"/>
                      </a:lnTo>
                      <a:lnTo>
                        <a:pt x="80" y="10"/>
                      </a:lnTo>
                      <a:lnTo>
                        <a:pt x="64" y="43"/>
                      </a:lnTo>
                      <a:lnTo>
                        <a:pt x="62" y="46"/>
                      </a:lnTo>
                      <a:lnTo>
                        <a:pt x="58" y="54"/>
                      </a:lnTo>
                      <a:lnTo>
                        <a:pt x="52" y="54"/>
                      </a:lnTo>
                      <a:lnTo>
                        <a:pt x="41" y="6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6" name="Freeform 256"/>
                <p:cNvSpPr>
                  <a:spLocks/>
                </p:cNvSpPr>
                <p:nvPr/>
              </p:nvSpPr>
              <p:spPr bwMode="auto">
                <a:xfrm>
                  <a:off x="4612351" y="3322736"/>
                  <a:ext cx="49721" cy="40842"/>
                </a:xfrm>
                <a:custGeom>
                  <a:avLst/>
                  <a:gdLst>
                    <a:gd name="T0" fmla="*/ 9323 w 64"/>
                    <a:gd name="T1" fmla="*/ 40842 h 50"/>
                    <a:gd name="T2" fmla="*/ 0 w 64"/>
                    <a:gd name="T3" fmla="*/ 37575 h 50"/>
                    <a:gd name="T4" fmla="*/ 3108 w 64"/>
                    <a:gd name="T5" fmla="*/ 26956 h 50"/>
                    <a:gd name="T6" fmla="*/ 9323 w 64"/>
                    <a:gd name="T7" fmla="*/ 0 h 50"/>
                    <a:gd name="T8" fmla="*/ 28745 w 64"/>
                    <a:gd name="T9" fmla="*/ 3267 h 50"/>
                    <a:gd name="T10" fmla="*/ 48167 w 64"/>
                    <a:gd name="T11" fmla="*/ 4901 h 50"/>
                    <a:gd name="T12" fmla="*/ 49721 w 64"/>
                    <a:gd name="T13" fmla="*/ 40842 h 50"/>
                    <a:gd name="T14" fmla="*/ 28745 w 64"/>
                    <a:gd name="T15" fmla="*/ 40842 h 50"/>
                    <a:gd name="T16" fmla="*/ 9323 w 64"/>
                    <a:gd name="T17" fmla="*/ 40842 h 5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4"/>
                    <a:gd name="T28" fmla="*/ 0 h 50"/>
                    <a:gd name="T29" fmla="*/ 64 w 64"/>
                    <a:gd name="T30" fmla="*/ 50 h 5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4" h="50">
                      <a:moveTo>
                        <a:pt x="12" y="50"/>
                      </a:moveTo>
                      <a:lnTo>
                        <a:pt x="0" y="46"/>
                      </a:lnTo>
                      <a:lnTo>
                        <a:pt x="4" y="33"/>
                      </a:lnTo>
                      <a:lnTo>
                        <a:pt x="12" y="0"/>
                      </a:lnTo>
                      <a:lnTo>
                        <a:pt x="37" y="4"/>
                      </a:lnTo>
                      <a:lnTo>
                        <a:pt x="62" y="6"/>
                      </a:lnTo>
                      <a:lnTo>
                        <a:pt x="64" y="50"/>
                      </a:lnTo>
                      <a:lnTo>
                        <a:pt x="37" y="50"/>
                      </a:lnTo>
                      <a:lnTo>
                        <a:pt x="12" y="5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7" name="Freeform 257"/>
                <p:cNvSpPr>
                  <a:spLocks/>
                </p:cNvSpPr>
                <p:nvPr/>
              </p:nvSpPr>
              <p:spPr bwMode="auto">
                <a:xfrm>
                  <a:off x="4583939" y="3281893"/>
                  <a:ext cx="14206" cy="17758"/>
                </a:xfrm>
                <a:custGeom>
                  <a:avLst/>
                  <a:gdLst>
                    <a:gd name="T0" fmla="*/ 14206 w 15"/>
                    <a:gd name="T1" fmla="*/ 935 h 19"/>
                    <a:gd name="T2" fmla="*/ 11365 w 15"/>
                    <a:gd name="T3" fmla="*/ 0 h 19"/>
                    <a:gd name="T4" fmla="*/ 0 w 15"/>
                    <a:gd name="T5" fmla="*/ 17758 h 19"/>
                    <a:gd name="T6" fmla="*/ 14206 w 15"/>
                    <a:gd name="T7" fmla="*/ 935 h 1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"/>
                    <a:gd name="T13" fmla="*/ 0 h 19"/>
                    <a:gd name="T14" fmla="*/ 15 w 15"/>
                    <a:gd name="T15" fmla="*/ 19 h 1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" h="19">
                      <a:moveTo>
                        <a:pt x="15" y="1"/>
                      </a:moveTo>
                      <a:lnTo>
                        <a:pt x="12" y="0"/>
                      </a:lnTo>
                      <a:lnTo>
                        <a:pt x="0" y="19"/>
                      </a:lnTo>
                      <a:lnTo>
                        <a:pt x="15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8" name="Freeform 258"/>
                <p:cNvSpPr>
                  <a:spLocks/>
                </p:cNvSpPr>
                <p:nvPr/>
              </p:nvSpPr>
              <p:spPr bwMode="auto">
                <a:xfrm>
                  <a:off x="4591042" y="3328063"/>
                  <a:ext cx="150939" cy="177575"/>
                </a:xfrm>
                <a:custGeom>
                  <a:avLst/>
                  <a:gdLst>
                    <a:gd name="T0" fmla="*/ 24627 w 190"/>
                    <a:gd name="T1" fmla="*/ 33390 h 234"/>
                    <a:gd name="T2" fmla="*/ 21449 w 190"/>
                    <a:gd name="T3" fmla="*/ 45532 h 234"/>
                    <a:gd name="T4" fmla="*/ 13505 w 190"/>
                    <a:gd name="T5" fmla="*/ 45532 h 234"/>
                    <a:gd name="T6" fmla="*/ 30188 w 190"/>
                    <a:gd name="T7" fmla="*/ 58433 h 234"/>
                    <a:gd name="T8" fmla="*/ 15094 w 190"/>
                    <a:gd name="T9" fmla="*/ 56915 h 234"/>
                    <a:gd name="T10" fmla="*/ 5561 w 190"/>
                    <a:gd name="T11" fmla="*/ 83475 h 234"/>
                    <a:gd name="T12" fmla="*/ 0 w 190"/>
                    <a:gd name="T13" fmla="*/ 83475 h 234"/>
                    <a:gd name="T14" fmla="*/ 8739 w 190"/>
                    <a:gd name="T15" fmla="*/ 102447 h 234"/>
                    <a:gd name="T16" fmla="*/ 15094 w 190"/>
                    <a:gd name="T17" fmla="*/ 108518 h 234"/>
                    <a:gd name="T18" fmla="*/ 5561 w 190"/>
                    <a:gd name="T19" fmla="*/ 102447 h 234"/>
                    <a:gd name="T20" fmla="*/ 18272 w 190"/>
                    <a:gd name="T21" fmla="*/ 119142 h 234"/>
                    <a:gd name="T22" fmla="*/ 15094 w 190"/>
                    <a:gd name="T23" fmla="*/ 119142 h 234"/>
                    <a:gd name="T24" fmla="*/ 30188 w 190"/>
                    <a:gd name="T25" fmla="*/ 136596 h 234"/>
                    <a:gd name="T26" fmla="*/ 27010 w 190"/>
                    <a:gd name="T27" fmla="*/ 135078 h 234"/>
                    <a:gd name="T28" fmla="*/ 44487 w 190"/>
                    <a:gd name="T29" fmla="*/ 155568 h 234"/>
                    <a:gd name="T30" fmla="*/ 61170 w 190"/>
                    <a:gd name="T31" fmla="*/ 177575 h 234"/>
                    <a:gd name="T32" fmla="*/ 70703 w 190"/>
                    <a:gd name="T33" fmla="*/ 164674 h 234"/>
                    <a:gd name="T34" fmla="*/ 77853 w 190"/>
                    <a:gd name="T35" fmla="*/ 169227 h 234"/>
                    <a:gd name="T36" fmla="*/ 82619 w 190"/>
                    <a:gd name="T37" fmla="*/ 163157 h 234"/>
                    <a:gd name="T38" fmla="*/ 77853 w 190"/>
                    <a:gd name="T39" fmla="*/ 151015 h 234"/>
                    <a:gd name="T40" fmla="*/ 75470 w 190"/>
                    <a:gd name="T41" fmla="*/ 144185 h 234"/>
                    <a:gd name="T42" fmla="*/ 73881 w 190"/>
                    <a:gd name="T43" fmla="*/ 135078 h 234"/>
                    <a:gd name="T44" fmla="*/ 98508 w 190"/>
                    <a:gd name="T45" fmla="*/ 133561 h 234"/>
                    <a:gd name="T46" fmla="*/ 100096 w 190"/>
                    <a:gd name="T47" fmla="*/ 116107 h 234"/>
                    <a:gd name="T48" fmla="*/ 115190 w 190"/>
                    <a:gd name="T49" fmla="*/ 132043 h 234"/>
                    <a:gd name="T50" fmla="*/ 130284 w 190"/>
                    <a:gd name="T51" fmla="*/ 125972 h 234"/>
                    <a:gd name="T52" fmla="*/ 135051 w 190"/>
                    <a:gd name="T53" fmla="*/ 133561 h 234"/>
                    <a:gd name="T54" fmla="*/ 144584 w 190"/>
                    <a:gd name="T55" fmla="*/ 125972 h 234"/>
                    <a:gd name="T56" fmla="*/ 150939 w 190"/>
                    <a:gd name="T57" fmla="*/ 86511 h 234"/>
                    <a:gd name="T58" fmla="*/ 135051 w 190"/>
                    <a:gd name="T59" fmla="*/ 61468 h 234"/>
                    <a:gd name="T60" fmla="*/ 147761 w 190"/>
                    <a:gd name="T61" fmla="*/ 45532 h 234"/>
                    <a:gd name="T62" fmla="*/ 146173 w 190"/>
                    <a:gd name="T63" fmla="*/ 25043 h 234"/>
                    <a:gd name="T64" fmla="*/ 116779 w 190"/>
                    <a:gd name="T65" fmla="*/ 27319 h 234"/>
                    <a:gd name="T66" fmla="*/ 118368 w 190"/>
                    <a:gd name="T67" fmla="*/ 0 h 234"/>
                    <a:gd name="T68" fmla="*/ 92152 w 190"/>
                    <a:gd name="T69" fmla="*/ 0 h 234"/>
                    <a:gd name="T70" fmla="*/ 65937 w 190"/>
                    <a:gd name="T71" fmla="*/ 0 h 234"/>
                    <a:gd name="T72" fmla="*/ 67525 w 190"/>
                    <a:gd name="T73" fmla="*/ 33390 h 234"/>
                    <a:gd name="T74" fmla="*/ 46076 w 190"/>
                    <a:gd name="T75" fmla="*/ 33390 h 234"/>
                    <a:gd name="T76" fmla="*/ 26216 w 190"/>
                    <a:gd name="T77" fmla="*/ 33390 h 234"/>
                    <a:gd name="T78" fmla="*/ 24627 w 190"/>
                    <a:gd name="T79" fmla="*/ 33390 h 234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190"/>
                    <a:gd name="T121" fmla="*/ 0 h 234"/>
                    <a:gd name="T122" fmla="*/ 190 w 190"/>
                    <a:gd name="T123" fmla="*/ 234 h 234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190" h="234">
                      <a:moveTo>
                        <a:pt x="31" y="44"/>
                      </a:moveTo>
                      <a:lnTo>
                        <a:pt x="27" y="60"/>
                      </a:lnTo>
                      <a:lnTo>
                        <a:pt x="17" y="60"/>
                      </a:lnTo>
                      <a:lnTo>
                        <a:pt x="38" y="77"/>
                      </a:lnTo>
                      <a:lnTo>
                        <a:pt x="19" y="75"/>
                      </a:lnTo>
                      <a:lnTo>
                        <a:pt x="7" y="110"/>
                      </a:lnTo>
                      <a:lnTo>
                        <a:pt x="0" y="110"/>
                      </a:lnTo>
                      <a:lnTo>
                        <a:pt x="11" y="135"/>
                      </a:lnTo>
                      <a:lnTo>
                        <a:pt x="19" y="143"/>
                      </a:lnTo>
                      <a:lnTo>
                        <a:pt x="7" y="135"/>
                      </a:lnTo>
                      <a:lnTo>
                        <a:pt x="23" y="157"/>
                      </a:lnTo>
                      <a:lnTo>
                        <a:pt x="19" y="157"/>
                      </a:lnTo>
                      <a:lnTo>
                        <a:pt x="38" y="180"/>
                      </a:lnTo>
                      <a:lnTo>
                        <a:pt x="34" y="178"/>
                      </a:lnTo>
                      <a:lnTo>
                        <a:pt x="56" y="205"/>
                      </a:lnTo>
                      <a:lnTo>
                        <a:pt x="77" y="234"/>
                      </a:lnTo>
                      <a:lnTo>
                        <a:pt x="89" y="217"/>
                      </a:lnTo>
                      <a:lnTo>
                        <a:pt x="98" y="223"/>
                      </a:lnTo>
                      <a:lnTo>
                        <a:pt x="104" y="215"/>
                      </a:lnTo>
                      <a:lnTo>
                        <a:pt x="98" y="199"/>
                      </a:lnTo>
                      <a:lnTo>
                        <a:pt x="95" y="190"/>
                      </a:lnTo>
                      <a:lnTo>
                        <a:pt x="93" y="178"/>
                      </a:lnTo>
                      <a:lnTo>
                        <a:pt x="124" y="176"/>
                      </a:lnTo>
                      <a:lnTo>
                        <a:pt x="126" y="153"/>
                      </a:lnTo>
                      <a:lnTo>
                        <a:pt x="145" y="174"/>
                      </a:lnTo>
                      <a:lnTo>
                        <a:pt x="164" y="166"/>
                      </a:lnTo>
                      <a:lnTo>
                        <a:pt x="170" y="176"/>
                      </a:lnTo>
                      <a:lnTo>
                        <a:pt x="182" y="166"/>
                      </a:lnTo>
                      <a:lnTo>
                        <a:pt x="190" y="114"/>
                      </a:lnTo>
                      <a:lnTo>
                        <a:pt x="170" y="81"/>
                      </a:lnTo>
                      <a:lnTo>
                        <a:pt x="186" y="60"/>
                      </a:lnTo>
                      <a:lnTo>
                        <a:pt x="184" y="33"/>
                      </a:lnTo>
                      <a:lnTo>
                        <a:pt x="147" y="36"/>
                      </a:lnTo>
                      <a:lnTo>
                        <a:pt x="149" y="0"/>
                      </a:lnTo>
                      <a:lnTo>
                        <a:pt x="116" y="0"/>
                      </a:lnTo>
                      <a:lnTo>
                        <a:pt x="83" y="0"/>
                      </a:lnTo>
                      <a:lnTo>
                        <a:pt x="85" y="44"/>
                      </a:lnTo>
                      <a:lnTo>
                        <a:pt x="58" y="44"/>
                      </a:lnTo>
                      <a:lnTo>
                        <a:pt x="33" y="44"/>
                      </a:lnTo>
                      <a:lnTo>
                        <a:pt x="31" y="4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69" name="Freeform 259"/>
                <p:cNvSpPr>
                  <a:spLocks/>
                </p:cNvSpPr>
                <p:nvPr/>
              </p:nvSpPr>
              <p:spPr bwMode="auto">
                <a:xfrm>
                  <a:off x="2749587" y="3938922"/>
                  <a:ext cx="216642" cy="230848"/>
                </a:xfrm>
                <a:custGeom>
                  <a:avLst/>
                  <a:gdLst>
                    <a:gd name="T0" fmla="*/ 12469 w 278"/>
                    <a:gd name="T1" fmla="*/ 20237 h 308"/>
                    <a:gd name="T2" fmla="*/ 6234 w 278"/>
                    <a:gd name="T3" fmla="*/ 50966 h 308"/>
                    <a:gd name="T4" fmla="*/ 0 w 278"/>
                    <a:gd name="T5" fmla="*/ 80947 h 308"/>
                    <a:gd name="T6" fmla="*/ 24158 w 278"/>
                    <a:gd name="T7" fmla="*/ 104181 h 308"/>
                    <a:gd name="T8" fmla="*/ 49874 w 278"/>
                    <a:gd name="T9" fmla="*/ 127416 h 308"/>
                    <a:gd name="T10" fmla="*/ 70915 w 278"/>
                    <a:gd name="T11" fmla="*/ 137909 h 308"/>
                    <a:gd name="T12" fmla="*/ 92735 w 278"/>
                    <a:gd name="T13" fmla="*/ 146903 h 308"/>
                    <a:gd name="T14" fmla="*/ 116893 w 278"/>
                    <a:gd name="T15" fmla="*/ 159645 h 308"/>
                    <a:gd name="T16" fmla="*/ 139492 w 278"/>
                    <a:gd name="T17" fmla="*/ 173136 h 308"/>
                    <a:gd name="T18" fmla="*/ 130141 w 278"/>
                    <a:gd name="T19" fmla="*/ 200118 h 308"/>
                    <a:gd name="T20" fmla="*/ 119231 w 278"/>
                    <a:gd name="T21" fmla="*/ 226351 h 308"/>
                    <a:gd name="T22" fmla="*/ 149623 w 278"/>
                    <a:gd name="T23" fmla="*/ 229349 h 308"/>
                    <a:gd name="T24" fmla="*/ 180015 w 278"/>
                    <a:gd name="T25" fmla="*/ 230848 h 308"/>
                    <a:gd name="T26" fmla="*/ 196380 w 278"/>
                    <a:gd name="T27" fmla="*/ 224852 h 308"/>
                    <a:gd name="T28" fmla="*/ 216642 w 278"/>
                    <a:gd name="T29" fmla="*/ 194872 h 308"/>
                    <a:gd name="T30" fmla="*/ 215083 w 278"/>
                    <a:gd name="T31" fmla="*/ 176884 h 308"/>
                    <a:gd name="T32" fmla="*/ 215083 w 278"/>
                    <a:gd name="T33" fmla="*/ 153649 h 308"/>
                    <a:gd name="T34" fmla="*/ 216642 w 278"/>
                    <a:gd name="T35" fmla="*/ 131913 h 308"/>
                    <a:gd name="T36" fmla="*/ 202615 w 278"/>
                    <a:gd name="T37" fmla="*/ 128915 h 308"/>
                    <a:gd name="T38" fmla="*/ 189367 w 278"/>
                    <a:gd name="T39" fmla="*/ 130414 h 308"/>
                    <a:gd name="T40" fmla="*/ 181574 w 278"/>
                    <a:gd name="T41" fmla="*/ 107179 h 308"/>
                    <a:gd name="T42" fmla="*/ 173781 w 278"/>
                    <a:gd name="T43" fmla="*/ 82446 h 308"/>
                    <a:gd name="T44" fmla="*/ 154299 w 278"/>
                    <a:gd name="T45" fmla="*/ 80947 h 308"/>
                    <a:gd name="T46" fmla="*/ 118452 w 278"/>
                    <a:gd name="T47" fmla="*/ 75700 h 308"/>
                    <a:gd name="T48" fmla="*/ 113776 w 278"/>
                    <a:gd name="T49" fmla="*/ 35976 h 308"/>
                    <a:gd name="T50" fmla="*/ 109100 w 278"/>
                    <a:gd name="T51" fmla="*/ 23235 h 308"/>
                    <a:gd name="T52" fmla="*/ 109100 w 278"/>
                    <a:gd name="T53" fmla="*/ 18738 h 308"/>
                    <a:gd name="T54" fmla="*/ 81825 w 278"/>
                    <a:gd name="T55" fmla="*/ 0 h 308"/>
                    <a:gd name="T56" fmla="*/ 48316 w 278"/>
                    <a:gd name="T57" fmla="*/ 4497 h 308"/>
                    <a:gd name="T58" fmla="*/ 15586 w 278"/>
                    <a:gd name="T59" fmla="*/ 8245 h 308"/>
                    <a:gd name="T60" fmla="*/ 12469 w 278"/>
                    <a:gd name="T61" fmla="*/ 20237 h 30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278"/>
                    <a:gd name="T94" fmla="*/ 0 h 308"/>
                    <a:gd name="T95" fmla="*/ 278 w 278"/>
                    <a:gd name="T96" fmla="*/ 308 h 30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278" h="308">
                      <a:moveTo>
                        <a:pt x="16" y="27"/>
                      </a:moveTo>
                      <a:lnTo>
                        <a:pt x="8" y="68"/>
                      </a:lnTo>
                      <a:lnTo>
                        <a:pt x="0" y="108"/>
                      </a:lnTo>
                      <a:lnTo>
                        <a:pt x="31" y="139"/>
                      </a:lnTo>
                      <a:lnTo>
                        <a:pt x="64" y="170"/>
                      </a:lnTo>
                      <a:lnTo>
                        <a:pt x="91" y="184"/>
                      </a:lnTo>
                      <a:lnTo>
                        <a:pt x="119" y="196"/>
                      </a:lnTo>
                      <a:lnTo>
                        <a:pt x="150" y="213"/>
                      </a:lnTo>
                      <a:lnTo>
                        <a:pt x="179" y="231"/>
                      </a:lnTo>
                      <a:lnTo>
                        <a:pt x="167" y="267"/>
                      </a:lnTo>
                      <a:lnTo>
                        <a:pt x="153" y="302"/>
                      </a:lnTo>
                      <a:lnTo>
                        <a:pt x="192" y="306"/>
                      </a:lnTo>
                      <a:lnTo>
                        <a:pt x="231" y="308"/>
                      </a:lnTo>
                      <a:lnTo>
                        <a:pt x="252" y="300"/>
                      </a:lnTo>
                      <a:lnTo>
                        <a:pt x="278" y="260"/>
                      </a:lnTo>
                      <a:lnTo>
                        <a:pt x="276" y="236"/>
                      </a:lnTo>
                      <a:lnTo>
                        <a:pt x="276" y="205"/>
                      </a:lnTo>
                      <a:lnTo>
                        <a:pt x="278" y="176"/>
                      </a:lnTo>
                      <a:lnTo>
                        <a:pt x="260" y="172"/>
                      </a:lnTo>
                      <a:lnTo>
                        <a:pt x="243" y="174"/>
                      </a:lnTo>
                      <a:lnTo>
                        <a:pt x="233" y="143"/>
                      </a:lnTo>
                      <a:lnTo>
                        <a:pt x="223" y="110"/>
                      </a:lnTo>
                      <a:lnTo>
                        <a:pt x="198" y="108"/>
                      </a:lnTo>
                      <a:lnTo>
                        <a:pt x="152" y="101"/>
                      </a:lnTo>
                      <a:lnTo>
                        <a:pt x="146" y="48"/>
                      </a:lnTo>
                      <a:lnTo>
                        <a:pt x="140" y="31"/>
                      </a:lnTo>
                      <a:lnTo>
                        <a:pt x="140" y="25"/>
                      </a:lnTo>
                      <a:lnTo>
                        <a:pt x="105" y="0"/>
                      </a:lnTo>
                      <a:lnTo>
                        <a:pt x="62" y="6"/>
                      </a:lnTo>
                      <a:lnTo>
                        <a:pt x="20" y="11"/>
                      </a:lnTo>
                      <a:lnTo>
                        <a:pt x="16" y="2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0" name="Freeform 260"/>
                <p:cNvSpPr>
                  <a:spLocks/>
                </p:cNvSpPr>
                <p:nvPr/>
              </p:nvSpPr>
              <p:spPr bwMode="auto">
                <a:xfrm>
                  <a:off x="4532442" y="3381336"/>
                  <a:ext cx="7103" cy="7103"/>
                </a:xfrm>
                <a:custGeom>
                  <a:avLst/>
                  <a:gdLst>
                    <a:gd name="T0" fmla="*/ 7103 w 10"/>
                    <a:gd name="T1" fmla="*/ 2029 h 14"/>
                    <a:gd name="T2" fmla="*/ 2841 w 10"/>
                    <a:gd name="T3" fmla="*/ 7103 h 14"/>
                    <a:gd name="T4" fmla="*/ 0 w 10"/>
                    <a:gd name="T5" fmla="*/ 4059 h 14"/>
                    <a:gd name="T6" fmla="*/ 4262 w 10"/>
                    <a:gd name="T7" fmla="*/ 0 h 14"/>
                    <a:gd name="T8" fmla="*/ 7103 w 10"/>
                    <a:gd name="T9" fmla="*/ 2029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"/>
                    <a:gd name="T16" fmla="*/ 0 h 14"/>
                    <a:gd name="T17" fmla="*/ 10 w 10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" h="14">
                      <a:moveTo>
                        <a:pt x="10" y="4"/>
                      </a:moveTo>
                      <a:lnTo>
                        <a:pt x="4" y="14"/>
                      </a:lnTo>
                      <a:lnTo>
                        <a:pt x="0" y="8"/>
                      </a:lnTo>
                      <a:lnTo>
                        <a:pt x="6" y="0"/>
                      </a:lnTo>
                      <a:lnTo>
                        <a:pt x="1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1" name="Freeform 261"/>
                <p:cNvSpPr>
                  <a:spLocks/>
                </p:cNvSpPr>
                <p:nvPr/>
              </p:nvSpPr>
              <p:spPr bwMode="auto">
                <a:xfrm>
                  <a:off x="4562630" y="3340493"/>
                  <a:ext cx="0" cy="5327"/>
                </a:xfrm>
                <a:custGeom>
                  <a:avLst/>
                  <a:gdLst>
                    <a:gd name="T0" fmla="*/ 0 w 2"/>
                    <a:gd name="T1" fmla="*/ 5327 h 6"/>
                    <a:gd name="T2" fmla="*/ 0 w 2"/>
                    <a:gd name="T3" fmla="*/ 1776 h 6"/>
                    <a:gd name="T4" fmla="*/ 0 w 2"/>
                    <a:gd name="T5" fmla="*/ 0 h 6"/>
                    <a:gd name="T6" fmla="*/ 0 w 2"/>
                    <a:gd name="T7" fmla="*/ 5327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6"/>
                    <a:gd name="T14" fmla="*/ 0 w 2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6">
                      <a:moveTo>
                        <a:pt x="0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2" name="Freeform 262"/>
                <p:cNvSpPr>
                  <a:spLocks/>
                </p:cNvSpPr>
                <p:nvPr/>
              </p:nvSpPr>
              <p:spPr bwMode="auto">
                <a:xfrm>
                  <a:off x="5139749" y="3416851"/>
                  <a:ext cx="280569" cy="301878"/>
                </a:xfrm>
                <a:custGeom>
                  <a:avLst/>
                  <a:gdLst>
                    <a:gd name="T0" fmla="*/ 213510 w 364"/>
                    <a:gd name="T1" fmla="*/ 66339 h 405"/>
                    <a:gd name="T2" fmla="*/ 210427 w 364"/>
                    <a:gd name="T3" fmla="*/ 55903 h 405"/>
                    <a:gd name="T4" fmla="*/ 188074 w 364"/>
                    <a:gd name="T5" fmla="*/ 41741 h 405"/>
                    <a:gd name="T6" fmla="*/ 164179 w 364"/>
                    <a:gd name="T7" fmla="*/ 27579 h 405"/>
                    <a:gd name="T8" fmla="*/ 140285 w 364"/>
                    <a:gd name="T9" fmla="*/ 12671 h 405"/>
                    <a:gd name="T10" fmla="*/ 116390 w 364"/>
                    <a:gd name="T11" fmla="*/ 0 h 405"/>
                    <a:gd name="T12" fmla="*/ 94037 w 364"/>
                    <a:gd name="T13" fmla="*/ 0 h 405"/>
                    <a:gd name="T14" fmla="*/ 71684 w 364"/>
                    <a:gd name="T15" fmla="*/ 0 h 405"/>
                    <a:gd name="T16" fmla="*/ 49331 w 364"/>
                    <a:gd name="T17" fmla="*/ 1491 h 405"/>
                    <a:gd name="T18" fmla="*/ 26978 w 364"/>
                    <a:gd name="T19" fmla="*/ 1491 h 405"/>
                    <a:gd name="T20" fmla="*/ 36998 w 364"/>
                    <a:gd name="T21" fmla="*/ 35778 h 405"/>
                    <a:gd name="T22" fmla="*/ 29290 w 364"/>
                    <a:gd name="T23" fmla="*/ 38760 h 405"/>
                    <a:gd name="T24" fmla="*/ 29290 w 364"/>
                    <a:gd name="T25" fmla="*/ 53667 h 405"/>
                    <a:gd name="T26" fmla="*/ 35457 w 364"/>
                    <a:gd name="T27" fmla="*/ 61866 h 405"/>
                    <a:gd name="T28" fmla="*/ 20811 w 364"/>
                    <a:gd name="T29" fmla="*/ 79010 h 405"/>
                    <a:gd name="T30" fmla="*/ 5396 w 364"/>
                    <a:gd name="T31" fmla="*/ 96899 h 405"/>
                    <a:gd name="T32" fmla="*/ 0 w 364"/>
                    <a:gd name="T33" fmla="*/ 96899 h 405"/>
                    <a:gd name="T34" fmla="*/ 0 w 364"/>
                    <a:gd name="T35" fmla="*/ 118515 h 405"/>
                    <a:gd name="T36" fmla="*/ 1542 w 364"/>
                    <a:gd name="T37" fmla="*/ 138640 h 405"/>
                    <a:gd name="T38" fmla="*/ 10020 w 364"/>
                    <a:gd name="T39" fmla="*/ 161747 h 405"/>
                    <a:gd name="T40" fmla="*/ 20811 w 364"/>
                    <a:gd name="T41" fmla="*/ 183363 h 405"/>
                    <a:gd name="T42" fmla="*/ 32373 w 364"/>
                    <a:gd name="T43" fmla="*/ 203488 h 405"/>
                    <a:gd name="T44" fmla="*/ 33915 w 364"/>
                    <a:gd name="T45" fmla="*/ 207960 h 405"/>
                    <a:gd name="T46" fmla="*/ 60893 w 364"/>
                    <a:gd name="T47" fmla="*/ 222123 h 405"/>
                    <a:gd name="T48" fmla="*/ 87871 w 364"/>
                    <a:gd name="T49" fmla="*/ 238521 h 405"/>
                    <a:gd name="T50" fmla="*/ 113307 w 364"/>
                    <a:gd name="T51" fmla="*/ 241502 h 405"/>
                    <a:gd name="T52" fmla="*/ 124098 w 364"/>
                    <a:gd name="T53" fmla="*/ 246720 h 405"/>
                    <a:gd name="T54" fmla="*/ 131035 w 364"/>
                    <a:gd name="T55" fmla="*/ 277281 h 405"/>
                    <a:gd name="T56" fmla="*/ 138743 w 364"/>
                    <a:gd name="T57" fmla="*/ 298896 h 405"/>
                    <a:gd name="T58" fmla="*/ 148763 w 364"/>
                    <a:gd name="T59" fmla="*/ 298896 h 405"/>
                    <a:gd name="T60" fmla="*/ 164179 w 364"/>
                    <a:gd name="T61" fmla="*/ 297406 h 405"/>
                    <a:gd name="T62" fmla="*/ 194240 w 364"/>
                    <a:gd name="T63" fmla="*/ 301878 h 405"/>
                    <a:gd name="T64" fmla="*/ 211968 w 364"/>
                    <a:gd name="T65" fmla="*/ 294424 h 405"/>
                    <a:gd name="T66" fmla="*/ 226613 w 364"/>
                    <a:gd name="T67" fmla="*/ 292933 h 405"/>
                    <a:gd name="T68" fmla="*/ 253591 w 364"/>
                    <a:gd name="T69" fmla="*/ 281753 h 405"/>
                    <a:gd name="T70" fmla="*/ 280569 w 364"/>
                    <a:gd name="T71" fmla="*/ 268336 h 405"/>
                    <a:gd name="T72" fmla="*/ 262841 w 364"/>
                    <a:gd name="T73" fmla="*/ 251192 h 405"/>
                    <a:gd name="T74" fmla="*/ 258216 w 364"/>
                    <a:gd name="T75" fmla="*/ 223613 h 405"/>
                    <a:gd name="T76" fmla="*/ 255133 w 364"/>
                    <a:gd name="T77" fmla="*/ 201997 h 405"/>
                    <a:gd name="T78" fmla="*/ 252050 w 364"/>
                    <a:gd name="T79" fmla="*/ 192307 h 405"/>
                    <a:gd name="T80" fmla="*/ 258216 w 364"/>
                    <a:gd name="T81" fmla="*/ 166219 h 405"/>
                    <a:gd name="T82" fmla="*/ 240488 w 364"/>
                    <a:gd name="T83" fmla="*/ 141622 h 405"/>
                    <a:gd name="T84" fmla="*/ 252050 w 364"/>
                    <a:gd name="T85" fmla="*/ 103608 h 405"/>
                    <a:gd name="T86" fmla="*/ 232780 w 364"/>
                    <a:gd name="T87" fmla="*/ 84973 h 405"/>
                    <a:gd name="T88" fmla="*/ 213510 w 364"/>
                    <a:gd name="T89" fmla="*/ 66339 h 405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364"/>
                    <a:gd name="T136" fmla="*/ 0 h 405"/>
                    <a:gd name="T137" fmla="*/ 364 w 364"/>
                    <a:gd name="T138" fmla="*/ 405 h 405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364" h="405">
                      <a:moveTo>
                        <a:pt x="277" y="89"/>
                      </a:moveTo>
                      <a:lnTo>
                        <a:pt x="273" y="75"/>
                      </a:lnTo>
                      <a:lnTo>
                        <a:pt x="244" y="56"/>
                      </a:lnTo>
                      <a:lnTo>
                        <a:pt x="213" y="37"/>
                      </a:lnTo>
                      <a:lnTo>
                        <a:pt x="182" y="17"/>
                      </a:lnTo>
                      <a:lnTo>
                        <a:pt x="151" y="0"/>
                      </a:lnTo>
                      <a:lnTo>
                        <a:pt x="122" y="0"/>
                      </a:lnTo>
                      <a:lnTo>
                        <a:pt x="93" y="0"/>
                      </a:lnTo>
                      <a:lnTo>
                        <a:pt x="64" y="2"/>
                      </a:lnTo>
                      <a:lnTo>
                        <a:pt x="35" y="2"/>
                      </a:lnTo>
                      <a:lnTo>
                        <a:pt x="48" y="48"/>
                      </a:lnTo>
                      <a:lnTo>
                        <a:pt x="38" y="52"/>
                      </a:lnTo>
                      <a:lnTo>
                        <a:pt x="38" y="72"/>
                      </a:lnTo>
                      <a:lnTo>
                        <a:pt x="46" y="83"/>
                      </a:lnTo>
                      <a:lnTo>
                        <a:pt x="27" y="106"/>
                      </a:lnTo>
                      <a:lnTo>
                        <a:pt x="7" y="130"/>
                      </a:lnTo>
                      <a:lnTo>
                        <a:pt x="0" y="130"/>
                      </a:lnTo>
                      <a:lnTo>
                        <a:pt x="0" y="159"/>
                      </a:lnTo>
                      <a:lnTo>
                        <a:pt x="2" y="186"/>
                      </a:lnTo>
                      <a:lnTo>
                        <a:pt x="13" y="217"/>
                      </a:lnTo>
                      <a:lnTo>
                        <a:pt x="27" y="246"/>
                      </a:lnTo>
                      <a:lnTo>
                        <a:pt x="42" y="273"/>
                      </a:lnTo>
                      <a:lnTo>
                        <a:pt x="44" y="279"/>
                      </a:lnTo>
                      <a:lnTo>
                        <a:pt x="79" y="298"/>
                      </a:lnTo>
                      <a:lnTo>
                        <a:pt x="114" y="320"/>
                      </a:lnTo>
                      <a:lnTo>
                        <a:pt x="147" y="324"/>
                      </a:lnTo>
                      <a:lnTo>
                        <a:pt x="161" y="331"/>
                      </a:lnTo>
                      <a:lnTo>
                        <a:pt x="170" y="372"/>
                      </a:lnTo>
                      <a:lnTo>
                        <a:pt x="180" y="401"/>
                      </a:lnTo>
                      <a:lnTo>
                        <a:pt x="193" y="401"/>
                      </a:lnTo>
                      <a:lnTo>
                        <a:pt x="213" y="399"/>
                      </a:lnTo>
                      <a:lnTo>
                        <a:pt x="252" y="405"/>
                      </a:lnTo>
                      <a:lnTo>
                        <a:pt x="275" y="395"/>
                      </a:lnTo>
                      <a:lnTo>
                        <a:pt x="294" y="393"/>
                      </a:lnTo>
                      <a:lnTo>
                        <a:pt x="329" y="378"/>
                      </a:lnTo>
                      <a:lnTo>
                        <a:pt x="364" y="360"/>
                      </a:lnTo>
                      <a:lnTo>
                        <a:pt x="341" y="337"/>
                      </a:lnTo>
                      <a:lnTo>
                        <a:pt x="335" y="300"/>
                      </a:lnTo>
                      <a:lnTo>
                        <a:pt x="331" y="271"/>
                      </a:lnTo>
                      <a:lnTo>
                        <a:pt x="327" y="258"/>
                      </a:lnTo>
                      <a:lnTo>
                        <a:pt x="335" y="223"/>
                      </a:lnTo>
                      <a:lnTo>
                        <a:pt x="312" y="190"/>
                      </a:lnTo>
                      <a:lnTo>
                        <a:pt x="327" y="139"/>
                      </a:lnTo>
                      <a:lnTo>
                        <a:pt x="302" y="114"/>
                      </a:lnTo>
                      <a:lnTo>
                        <a:pt x="277" y="8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3" name="Freeform 263"/>
                <p:cNvSpPr>
                  <a:spLocks/>
                </p:cNvSpPr>
                <p:nvPr/>
              </p:nvSpPr>
              <p:spPr bwMode="auto">
                <a:xfrm>
                  <a:off x="5391906" y="3553584"/>
                  <a:ext cx="7103" cy="17758"/>
                </a:xfrm>
                <a:custGeom>
                  <a:avLst/>
                  <a:gdLst>
                    <a:gd name="T0" fmla="*/ 7103 w 14"/>
                    <a:gd name="T1" fmla="*/ 17758 h 25"/>
                    <a:gd name="T2" fmla="*/ 3044 w 14"/>
                    <a:gd name="T3" fmla="*/ 0 h 25"/>
                    <a:gd name="T4" fmla="*/ 0 w 14"/>
                    <a:gd name="T5" fmla="*/ 5683 h 25"/>
                    <a:gd name="T6" fmla="*/ 7103 w 14"/>
                    <a:gd name="T7" fmla="*/ 17758 h 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25"/>
                    <a:gd name="T14" fmla="*/ 14 w 14"/>
                    <a:gd name="T15" fmla="*/ 25 h 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25">
                      <a:moveTo>
                        <a:pt x="14" y="25"/>
                      </a:moveTo>
                      <a:lnTo>
                        <a:pt x="6" y="0"/>
                      </a:lnTo>
                      <a:lnTo>
                        <a:pt x="0" y="8"/>
                      </a:lnTo>
                      <a:lnTo>
                        <a:pt x="14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4" name="Freeform 264"/>
                <p:cNvSpPr>
                  <a:spLocks/>
                </p:cNvSpPr>
                <p:nvPr/>
              </p:nvSpPr>
              <p:spPr bwMode="auto">
                <a:xfrm>
                  <a:off x="5139749" y="3269463"/>
                  <a:ext cx="143836" cy="159818"/>
                </a:xfrm>
                <a:custGeom>
                  <a:avLst/>
                  <a:gdLst>
                    <a:gd name="T0" fmla="*/ 126544 w 183"/>
                    <a:gd name="T1" fmla="*/ 23260 h 213"/>
                    <a:gd name="T2" fmla="*/ 116326 w 183"/>
                    <a:gd name="T3" fmla="*/ 0 h 213"/>
                    <a:gd name="T4" fmla="*/ 103751 w 183"/>
                    <a:gd name="T5" fmla="*/ 13506 h 213"/>
                    <a:gd name="T6" fmla="*/ 73097 w 183"/>
                    <a:gd name="T7" fmla="*/ 13506 h 213"/>
                    <a:gd name="T8" fmla="*/ 61307 w 183"/>
                    <a:gd name="T9" fmla="*/ 17257 h 213"/>
                    <a:gd name="T10" fmla="*/ 55019 w 183"/>
                    <a:gd name="T11" fmla="*/ 14256 h 213"/>
                    <a:gd name="T12" fmla="*/ 35370 w 183"/>
                    <a:gd name="T13" fmla="*/ 15757 h 213"/>
                    <a:gd name="T14" fmla="*/ 33798 w 183"/>
                    <a:gd name="T15" fmla="*/ 21759 h 213"/>
                    <a:gd name="T16" fmla="*/ 30654 w 183"/>
                    <a:gd name="T17" fmla="*/ 46520 h 213"/>
                    <a:gd name="T18" fmla="*/ 44801 w 183"/>
                    <a:gd name="T19" fmla="*/ 58525 h 213"/>
                    <a:gd name="T20" fmla="*/ 27510 w 183"/>
                    <a:gd name="T21" fmla="*/ 77283 h 213"/>
                    <a:gd name="T22" fmla="*/ 11004 w 183"/>
                    <a:gd name="T23" fmla="*/ 96041 h 213"/>
                    <a:gd name="T24" fmla="*/ 6288 w 183"/>
                    <a:gd name="T25" fmla="*/ 128305 h 213"/>
                    <a:gd name="T26" fmla="*/ 0 w 183"/>
                    <a:gd name="T27" fmla="*/ 159818 h 213"/>
                    <a:gd name="T28" fmla="*/ 7860 w 183"/>
                    <a:gd name="T29" fmla="*/ 159818 h 213"/>
                    <a:gd name="T30" fmla="*/ 23580 w 183"/>
                    <a:gd name="T31" fmla="*/ 151564 h 213"/>
                    <a:gd name="T32" fmla="*/ 46373 w 183"/>
                    <a:gd name="T33" fmla="*/ 151564 h 213"/>
                    <a:gd name="T34" fmla="*/ 69167 w 183"/>
                    <a:gd name="T35" fmla="*/ 150064 h 213"/>
                    <a:gd name="T36" fmla="*/ 91961 w 183"/>
                    <a:gd name="T37" fmla="*/ 150064 h 213"/>
                    <a:gd name="T38" fmla="*/ 114754 w 183"/>
                    <a:gd name="T39" fmla="*/ 150064 h 213"/>
                    <a:gd name="T40" fmla="*/ 114754 w 183"/>
                    <a:gd name="T41" fmla="*/ 117800 h 213"/>
                    <a:gd name="T42" fmla="*/ 132832 w 183"/>
                    <a:gd name="T43" fmla="*/ 88538 h 213"/>
                    <a:gd name="T44" fmla="*/ 143836 w 183"/>
                    <a:gd name="T45" fmla="*/ 66778 h 213"/>
                    <a:gd name="T46" fmla="*/ 134404 w 183"/>
                    <a:gd name="T47" fmla="*/ 45019 h 213"/>
                    <a:gd name="T48" fmla="*/ 126544 w 183"/>
                    <a:gd name="T49" fmla="*/ 23260 h 213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83"/>
                    <a:gd name="T76" fmla="*/ 0 h 213"/>
                    <a:gd name="T77" fmla="*/ 183 w 183"/>
                    <a:gd name="T78" fmla="*/ 213 h 213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83" h="213">
                      <a:moveTo>
                        <a:pt x="161" y="31"/>
                      </a:moveTo>
                      <a:lnTo>
                        <a:pt x="148" y="0"/>
                      </a:lnTo>
                      <a:lnTo>
                        <a:pt x="132" y="18"/>
                      </a:lnTo>
                      <a:lnTo>
                        <a:pt x="93" y="18"/>
                      </a:lnTo>
                      <a:lnTo>
                        <a:pt x="78" y="23"/>
                      </a:lnTo>
                      <a:lnTo>
                        <a:pt x="70" y="19"/>
                      </a:lnTo>
                      <a:lnTo>
                        <a:pt x="45" y="21"/>
                      </a:lnTo>
                      <a:lnTo>
                        <a:pt x="43" y="29"/>
                      </a:lnTo>
                      <a:lnTo>
                        <a:pt x="39" y="62"/>
                      </a:lnTo>
                      <a:lnTo>
                        <a:pt x="57" y="78"/>
                      </a:lnTo>
                      <a:lnTo>
                        <a:pt x="35" y="103"/>
                      </a:lnTo>
                      <a:lnTo>
                        <a:pt x="14" y="128"/>
                      </a:lnTo>
                      <a:lnTo>
                        <a:pt x="8" y="171"/>
                      </a:lnTo>
                      <a:lnTo>
                        <a:pt x="0" y="213"/>
                      </a:lnTo>
                      <a:lnTo>
                        <a:pt x="10" y="213"/>
                      </a:lnTo>
                      <a:lnTo>
                        <a:pt x="30" y="202"/>
                      </a:lnTo>
                      <a:lnTo>
                        <a:pt x="59" y="202"/>
                      </a:lnTo>
                      <a:lnTo>
                        <a:pt x="88" y="200"/>
                      </a:lnTo>
                      <a:lnTo>
                        <a:pt x="117" y="200"/>
                      </a:lnTo>
                      <a:lnTo>
                        <a:pt x="146" y="200"/>
                      </a:lnTo>
                      <a:lnTo>
                        <a:pt x="146" y="157"/>
                      </a:lnTo>
                      <a:lnTo>
                        <a:pt x="169" y="118"/>
                      </a:lnTo>
                      <a:lnTo>
                        <a:pt x="183" y="89"/>
                      </a:lnTo>
                      <a:lnTo>
                        <a:pt x="171" y="60"/>
                      </a:lnTo>
                      <a:lnTo>
                        <a:pt x="161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5" name="Freeform 265"/>
                <p:cNvSpPr>
                  <a:spLocks/>
                </p:cNvSpPr>
                <p:nvPr/>
              </p:nvSpPr>
              <p:spPr bwMode="auto">
                <a:xfrm>
                  <a:off x="4685157" y="3239275"/>
                  <a:ext cx="497210" cy="532726"/>
                </a:xfrm>
                <a:custGeom>
                  <a:avLst/>
                  <a:gdLst>
                    <a:gd name="T0" fmla="*/ 441448 w 642"/>
                    <a:gd name="T1" fmla="*/ 210247 h 712"/>
                    <a:gd name="T2" fmla="*/ 436801 w 642"/>
                    <a:gd name="T3" fmla="*/ 228204 h 712"/>
                    <a:gd name="T4" fmla="*/ 438350 w 642"/>
                    <a:gd name="T5" fmla="*/ 231197 h 712"/>
                    <a:gd name="T6" fmla="*/ 447644 w 642"/>
                    <a:gd name="T7" fmla="*/ 277586 h 712"/>
                    <a:gd name="T8" fmla="*/ 449193 w 642"/>
                    <a:gd name="T9" fmla="*/ 299284 h 712"/>
                    <a:gd name="T10" fmla="*/ 459261 w 642"/>
                    <a:gd name="T11" fmla="*/ 342680 h 712"/>
                    <a:gd name="T12" fmla="*/ 481721 w 642"/>
                    <a:gd name="T13" fmla="*/ 384580 h 712"/>
                    <a:gd name="T14" fmla="*/ 433703 w 642"/>
                    <a:gd name="T15" fmla="*/ 395055 h 712"/>
                    <a:gd name="T16" fmla="*/ 425184 w 642"/>
                    <a:gd name="T17" fmla="*/ 439948 h 712"/>
                    <a:gd name="T18" fmla="*/ 420537 w 642"/>
                    <a:gd name="T19" fmla="*/ 489330 h 712"/>
                    <a:gd name="T20" fmla="*/ 453065 w 642"/>
                    <a:gd name="T21" fmla="*/ 496064 h 712"/>
                    <a:gd name="T22" fmla="*/ 441448 w 642"/>
                    <a:gd name="T23" fmla="*/ 531230 h 712"/>
                    <a:gd name="T24" fmla="*/ 409695 w 642"/>
                    <a:gd name="T25" fmla="*/ 503546 h 712"/>
                    <a:gd name="T26" fmla="*/ 382588 w 642"/>
                    <a:gd name="T27" fmla="*/ 481848 h 712"/>
                    <a:gd name="T28" fmla="*/ 337669 w 642"/>
                    <a:gd name="T29" fmla="*/ 480351 h 712"/>
                    <a:gd name="T30" fmla="*/ 313660 w 642"/>
                    <a:gd name="T31" fmla="*/ 474366 h 712"/>
                    <a:gd name="T32" fmla="*/ 281907 w 642"/>
                    <a:gd name="T33" fmla="*/ 464639 h 712"/>
                    <a:gd name="T34" fmla="*/ 260997 w 642"/>
                    <a:gd name="T35" fmla="*/ 458653 h 712"/>
                    <a:gd name="T36" fmla="*/ 250928 w 642"/>
                    <a:gd name="T37" fmla="*/ 396552 h 712"/>
                    <a:gd name="T38" fmla="*/ 216077 w 642"/>
                    <a:gd name="T39" fmla="*/ 358393 h 712"/>
                    <a:gd name="T40" fmla="*/ 190520 w 642"/>
                    <a:gd name="T41" fmla="*/ 350163 h 712"/>
                    <a:gd name="T42" fmla="*/ 153345 w 642"/>
                    <a:gd name="T43" fmla="*/ 381587 h 712"/>
                    <a:gd name="T44" fmla="*/ 124690 w 642"/>
                    <a:gd name="T45" fmla="*/ 348666 h 712"/>
                    <a:gd name="T46" fmla="*/ 91387 w 642"/>
                    <a:gd name="T47" fmla="*/ 320982 h 712"/>
                    <a:gd name="T48" fmla="*/ 48017 w 642"/>
                    <a:gd name="T49" fmla="*/ 319486 h 712"/>
                    <a:gd name="T50" fmla="*/ 4647 w 642"/>
                    <a:gd name="T51" fmla="*/ 320982 h 712"/>
                    <a:gd name="T52" fmla="*/ 9294 w 642"/>
                    <a:gd name="T53" fmla="*/ 313500 h 712"/>
                    <a:gd name="T54" fmla="*/ 24009 w 642"/>
                    <a:gd name="T55" fmla="*/ 282824 h 712"/>
                    <a:gd name="T56" fmla="*/ 43370 w 642"/>
                    <a:gd name="T57" fmla="*/ 279083 h 712"/>
                    <a:gd name="T58" fmla="*/ 62732 w 642"/>
                    <a:gd name="T59" fmla="*/ 290306 h 712"/>
                    <a:gd name="T60" fmla="*/ 102230 w 642"/>
                    <a:gd name="T61" fmla="*/ 252895 h 712"/>
                    <a:gd name="T62" fmla="*/ 109975 w 642"/>
                    <a:gd name="T63" fmla="*/ 209499 h 712"/>
                    <a:gd name="T64" fmla="*/ 145600 w 642"/>
                    <a:gd name="T65" fmla="*/ 163110 h 712"/>
                    <a:gd name="T66" fmla="*/ 153345 w 642"/>
                    <a:gd name="T67" fmla="*/ 118966 h 712"/>
                    <a:gd name="T68" fmla="*/ 160315 w 642"/>
                    <a:gd name="T69" fmla="*/ 77066 h 712"/>
                    <a:gd name="T70" fmla="*/ 166511 w 642"/>
                    <a:gd name="T71" fmla="*/ 30677 h 712"/>
                    <a:gd name="T72" fmla="*/ 214528 w 642"/>
                    <a:gd name="T73" fmla="*/ 19453 h 712"/>
                    <a:gd name="T74" fmla="*/ 264094 w 642"/>
                    <a:gd name="T75" fmla="*/ 33669 h 712"/>
                    <a:gd name="T76" fmla="*/ 286554 w 642"/>
                    <a:gd name="T77" fmla="*/ 17957 h 712"/>
                    <a:gd name="T78" fmla="*/ 333022 w 642"/>
                    <a:gd name="T79" fmla="*/ 8979 h 712"/>
                    <a:gd name="T80" fmla="*/ 363227 w 642"/>
                    <a:gd name="T81" fmla="*/ 2993 h 712"/>
                    <a:gd name="T82" fmla="*/ 396529 w 642"/>
                    <a:gd name="T83" fmla="*/ 8979 h 712"/>
                    <a:gd name="T84" fmla="*/ 425184 w 642"/>
                    <a:gd name="T85" fmla="*/ 26187 h 712"/>
                    <a:gd name="T86" fmla="*/ 449193 w 642"/>
                    <a:gd name="T87" fmla="*/ 17957 h 712"/>
                    <a:gd name="T88" fmla="*/ 486367 w 642"/>
                    <a:gd name="T89" fmla="*/ 52375 h 712"/>
                    <a:gd name="T90" fmla="*/ 497210 w 642"/>
                    <a:gd name="T91" fmla="*/ 89037 h 712"/>
                    <a:gd name="T92" fmla="*/ 463908 w 642"/>
                    <a:gd name="T93" fmla="*/ 126448 h 712"/>
                    <a:gd name="T94" fmla="*/ 453065 w 642"/>
                    <a:gd name="T95" fmla="*/ 190045 h 712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42"/>
                    <a:gd name="T145" fmla="*/ 0 h 712"/>
                    <a:gd name="T146" fmla="*/ 642 w 642"/>
                    <a:gd name="T147" fmla="*/ 712 h 712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42" h="712">
                      <a:moveTo>
                        <a:pt x="585" y="254"/>
                      </a:moveTo>
                      <a:lnTo>
                        <a:pt x="570" y="281"/>
                      </a:lnTo>
                      <a:lnTo>
                        <a:pt x="562" y="305"/>
                      </a:lnTo>
                      <a:lnTo>
                        <a:pt x="564" y="305"/>
                      </a:lnTo>
                      <a:lnTo>
                        <a:pt x="566" y="307"/>
                      </a:lnTo>
                      <a:lnTo>
                        <a:pt x="566" y="309"/>
                      </a:lnTo>
                      <a:lnTo>
                        <a:pt x="572" y="340"/>
                      </a:lnTo>
                      <a:lnTo>
                        <a:pt x="578" y="371"/>
                      </a:lnTo>
                      <a:lnTo>
                        <a:pt x="580" y="371"/>
                      </a:lnTo>
                      <a:lnTo>
                        <a:pt x="580" y="400"/>
                      </a:lnTo>
                      <a:lnTo>
                        <a:pt x="582" y="427"/>
                      </a:lnTo>
                      <a:lnTo>
                        <a:pt x="593" y="458"/>
                      </a:lnTo>
                      <a:lnTo>
                        <a:pt x="607" y="487"/>
                      </a:lnTo>
                      <a:lnTo>
                        <a:pt x="622" y="514"/>
                      </a:lnTo>
                      <a:lnTo>
                        <a:pt x="591" y="520"/>
                      </a:lnTo>
                      <a:lnTo>
                        <a:pt x="560" y="528"/>
                      </a:lnTo>
                      <a:lnTo>
                        <a:pt x="541" y="557"/>
                      </a:lnTo>
                      <a:lnTo>
                        <a:pt x="549" y="588"/>
                      </a:lnTo>
                      <a:lnTo>
                        <a:pt x="545" y="621"/>
                      </a:lnTo>
                      <a:lnTo>
                        <a:pt x="543" y="654"/>
                      </a:lnTo>
                      <a:lnTo>
                        <a:pt x="576" y="677"/>
                      </a:lnTo>
                      <a:lnTo>
                        <a:pt x="585" y="663"/>
                      </a:lnTo>
                      <a:lnTo>
                        <a:pt x="580" y="712"/>
                      </a:lnTo>
                      <a:lnTo>
                        <a:pt x="570" y="710"/>
                      </a:lnTo>
                      <a:lnTo>
                        <a:pt x="556" y="710"/>
                      </a:lnTo>
                      <a:lnTo>
                        <a:pt x="529" y="673"/>
                      </a:lnTo>
                      <a:lnTo>
                        <a:pt x="508" y="658"/>
                      </a:lnTo>
                      <a:lnTo>
                        <a:pt x="494" y="644"/>
                      </a:lnTo>
                      <a:lnTo>
                        <a:pt x="481" y="658"/>
                      </a:lnTo>
                      <a:lnTo>
                        <a:pt x="436" y="642"/>
                      </a:lnTo>
                      <a:lnTo>
                        <a:pt x="432" y="630"/>
                      </a:lnTo>
                      <a:lnTo>
                        <a:pt x="405" y="634"/>
                      </a:lnTo>
                      <a:lnTo>
                        <a:pt x="394" y="615"/>
                      </a:lnTo>
                      <a:lnTo>
                        <a:pt x="364" y="621"/>
                      </a:lnTo>
                      <a:lnTo>
                        <a:pt x="337" y="629"/>
                      </a:lnTo>
                      <a:lnTo>
                        <a:pt x="337" y="613"/>
                      </a:lnTo>
                      <a:lnTo>
                        <a:pt x="326" y="572"/>
                      </a:lnTo>
                      <a:lnTo>
                        <a:pt x="324" y="530"/>
                      </a:lnTo>
                      <a:lnTo>
                        <a:pt x="324" y="485"/>
                      </a:lnTo>
                      <a:lnTo>
                        <a:pt x="279" y="479"/>
                      </a:lnTo>
                      <a:lnTo>
                        <a:pt x="281" y="472"/>
                      </a:lnTo>
                      <a:lnTo>
                        <a:pt x="246" y="468"/>
                      </a:lnTo>
                      <a:lnTo>
                        <a:pt x="238" y="503"/>
                      </a:lnTo>
                      <a:lnTo>
                        <a:pt x="198" y="510"/>
                      </a:lnTo>
                      <a:lnTo>
                        <a:pt x="174" y="501"/>
                      </a:lnTo>
                      <a:lnTo>
                        <a:pt x="161" y="466"/>
                      </a:lnTo>
                      <a:lnTo>
                        <a:pt x="147" y="429"/>
                      </a:lnTo>
                      <a:lnTo>
                        <a:pt x="118" y="429"/>
                      </a:lnTo>
                      <a:lnTo>
                        <a:pt x="91" y="427"/>
                      </a:lnTo>
                      <a:lnTo>
                        <a:pt x="62" y="427"/>
                      </a:lnTo>
                      <a:lnTo>
                        <a:pt x="33" y="425"/>
                      </a:lnTo>
                      <a:lnTo>
                        <a:pt x="6" y="429"/>
                      </a:lnTo>
                      <a:lnTo>
                        <a:pt x="0" y="423"/>
                      </a:lnTo>
                      <a:lnTo>
                        <a:pt x="12" y="419"/>
                      </a:lnTo>
                      <a:lnTo>
                        <a:pt x="14" y="390"/>
                      </a:lnTo>
                      <a:lnTo>
                        <a:pt x="31" y="378"/>
                      </a:lnTo>
                      <a:lnTo>
                        <a:pt x="48" y="384"/>
                      </a:lnTo>
                      <a:lnTo>
                        <a:pt x="56" y="373"/>
                      </a:lnTo>
                      <a:lnTo>
                        <a:pt x="78" y="371"/>
                      </a:lnTo>
                      <a:lnTo>
                        <a:pt x="81" y="388"/>
                      </a:lnTo>
                      <a:lnTo>
                        <a:pt x="107" y="363"/>
                      </a:lnTo>
                      <a:lnTo>
                        <a:pt x="132" y="338"/>
                      </a:lnTo>
                      <a:lnTo>
                        <a:pt x="136" y="309"/>
                      </a:lnTo>
                      <a:lnTo>
                        <a:pt x="142" y="280"/>
                      </a:lnTo>
                      <a:lnTo>
                        <a:pt x="165" y="249"/>
                      </a:lnTo>
                      <a:lnTo>
                        <a:pt x="188" y="218"/>
                      </a:lnTo>
                      <a:lnTo>
                        <a:pt x="192" y="188"/>
                      </a:lnTo>
                      <a:lnTo>
                        <a:pt x="198" y="159"/>
                      </a:lnTo>
                      <a:lnTo>
                        <a:pt x="202" y="130"/>
                      </a:lnTo>
                      <a:lnTo>
                        <a:pt x="207" y="103"/>
                      </a:lnTo>
                      <a:lnTo>
                        <a:pt x="217" y="70"/>
                      </a:lnTo>
                      <a:lnTo>
                        <a:pt x="215" y="41"/>
                      </a:lnTo>
                      <a:lnTo>
                        <a:pt x="242" y="6"/>
                      </a:lnTo>
                      <a:lnTo>
                        <a:pt x="277" y="26"/>
                      </a:lnTo>
                      <a:lnTo>
                        <a:pt x="308" y="35"/>
                      </a:lnTo>
                      <a:lnTo>
                        <a:pt x="341" y="45"/>
                      </a:lnTo>
                      <a:lnTo>
                        <a:pt x="357" y="22"/>
                      </a:lnTo>
                      <a:lnTo>
                        <a:pt x="370" y="24"/>
                      </a:lnTo>
                      <a:lnTo>
                        <a:pt x="405" y="12"/>
                      </a:lnTo>
                      <a:lnTo>
                        <a:pt x="430" y="12"/>
                      </a:lnTo>
                      <a:lnTo>
                        <a:pt x="442" y="0"/>
                      </a:lnTo>
                      <a:lnTo>
                        <a:pt x="469" y="4"/>
                      </a:lnTo>
                      <a:lnTo>
                        <a:pt x="494" y="6"/>
                      </a:lnTo>
                      <a:lnTo>
                        <a:pt x="512" y="12"/>
                      </a:lnTo>
                      <a:lnTo>
                        <a:pt x="521" y="20"/>
                      </a:lnTo>
                      <a:lnTo>
                        <a:pt x="549" y="35"/>
                      </a:lnTo>
                      <a:lnTo>
                        <a:pt x="566" y="33"/>
                      </a:lnTo>
                      <a:lnTo>
                        <a:pt x="580" y="24"/>
                      </a:lnTo>
                      <a:lnTo>
                        <a:pt x="605" y="47"/>
                      </a:lnTo>
                      <a:lnTo>
                        <a:pt x="628" y="70"/>
                      </a:lnTo>
                      <a:lnTo>
                        <a:pt x="624" y="103"/>
                      </a:lnTo>
                      <a:lnTo>
                        <a:pt x="642" y="119"/>
                      </a:lnTo>
                      <a:lnTo>
                        <a:pt x="620" y="144"/>
                      </a:lnTo>
                      <a:lnTo>
                        <a:pt x="599" y="169"/>
                      </a:lnTo>
                      <a:lnTo>
                        <a:pt x="593" y="212"/>
                      </a:lnTo>
                      <a:lnTo>
                        <a:pt x="585" y="2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6" name="Freeform 266"/>
                <p:cNvSpPr>
                  <a:spLocks/>
                </p:cNvSpPr>
                <p:nvPr/>
              </p:nvSpPr>
              <p:spPr bwMode="auto">
                <a:xfrm>
                  <a:off x="4937313" y="3624614"/>
                  <a:ext cx="303654" cy="278793"/>
                </a:xfrm>
                <a:custGeom>
                  <a:avLst/>
                  <a:gdLst>
                    <a:gd name="T0" fmla="*/ 54086 w 393"/>
                    <a:gd name="T1" fmla="*/ 133465 h 376"/>
                    <a:gd name="T2" fmla="*/ 28588 w 393"/>
                    <a:gd name="T3" fmla="*/ 134948 h 376"/>
                    <a:gd name="T4" fmla="*/ 1545 w 393"/>
                    <a:gd name="T5" fmla="*/ 134948 h 376"/>
                    <a:gd name="T6" fmla="*/ 1545 w 393"/>
                    <a:gd name="T7" fmla="*/ 157933 h 376"/>
                    <a:gd name="T8" fmla="*/ 1545 w 393"/>
                    <a:gd name="T9" fmla="*/ 180177 h 376"/>
                    <a:gd name="T10" fmla="*/ 0 w 393"/>
                    <a:gd name="T11" fmla="*/ 203163 h 376"/>
                    <a:gd name="T12" fmla="*/ 0 w 393"/>
                    <a:gd name="T13" fmla="*/ 224666 h 376"/>
                    <a:gd name="T14" fmla="*/ 17771 w 393"/>
                    <a:gd name="T15" fmla="*/ 246168 h 376"/>
                    <a:gd name="T16" fmla="*/ 35542 w 393"/>
                    <a:gd name="T17" fmla="*/ 266188 h 376"/>
                    <a:gd name="T18" fmla="*/ 54086 w 393"/>
                    <a:gd name="T19" fmla="*/ 263222 h 376"/>
                    <a:gd name="T20" fmla="*/ 81902 w 393"/>
                    <a:gd name="T21" fmla="*/ 270637 h 376"/>
                    <a:gd name="T22" fmla="*/ 118216 w 393"/>
                    <a:gd name="T23" fmla="*/ 278793 h 376"/>
                    <a:gd name="T24" fmla="*/ 142169 w 393"/>
                    <a:gd name="T25" fmla="*/ 257290 h 376"/>
                    <a:gd name="T26" fmla="*/ 170757 w 393"/>
                    <a:gd name="T27" fmla="*/ 235788 h 376"/>
                    <a:gd name="T28" fmla="*/ 177711 w 393"/>
                    <a:gd name="T29" fmla="*/ 218734 h 376"/>
                    <a:gd name="T30" fmla="*/ 197800 w 393"/>
                    <a:gd name="T31" fmla="*/ 214285 h 376"/>
                    <a:gd name="T32" fmla="*/ 217117 w 393"/>
                    <a:gd name="T33" fmla="*/ 209836 h 376"/>
                    <a:gd name="T34" fmla="*/ 212481 w 393"/>
                    <a:gd name="T35" fmla="*/ 194265 h 376"/>
                    <a:gd name="T36" fmla="*/ 231797 w 393"/>
                    <a:gd name="T37" fmla="*/ 186851 h 376"/>
                    <a:gd name="T38" fmla="*/ 251113 w 393"/>
                    <a:gd name="T39" fmla="*/ 180177 h 376"/>
                    <a:gd name="T40" fmla="*/ 271202 w 393"/>
                    <a:gd name="T41" fmla="*/ 171280 h 376"/>
                    <a:gd name="T42" fmla="*/ 290519 w 393"/>
                    <a:gd name="T43" fmla="*/ 163865 h 376"/>
                    <a:gd name="T44" fmla="*/ 278156 w 393"/>
                    <a:gd name="T45" fmla="*/ 151260 h 376"/>
                    <a:gd name="T46" fmla="*/ 292064 w 393"/>
                    <a:gd name="T47" fmla="*/ 123826 h 376"/>
                    <a:gd name="T48" fmla="*/ 296700 w 393"/>
                    <a:gd name="T49" fmla="*/ 116411 h 376"/>
                    <a:gd name="T50" fmla="*/ 298245 w 393"/>
                    <a:gd name="T51" fmla="*/ 94908 h 376"/>
                    <a:gd name="T52" fmla="*/ 298245 w 393"/>
                    <a:gd name="T53" fmla="*/ 73406 h 376"/>
                    <a:gd name="T54" fmla="*/ 303654 w 393"/>
                    <a:gd name="T55" fmla="*/ 63025 h 376"/>
                    <a:gd name="T56" fmla="*/ 288974 w 393"/>
                    <a:gd name="T57" fmla="*/ 40039 h 376"/>
                    <a:gd name="T58" fmla="*/ 287428 w 393"/>
                    <a:gd name="T59" fmla="*/ 34849 h 376"/>
                    <a:gd name="T60" fmla="*/ 260385 w 393"/>
                    <a:gd name="T61" fmla="*/ 18537 h 376"/>
                    <a:gd name="T62" fmla="*/ 233342 w 393"/>
                    <a:gd name="T63" fmla="*/ 4449 h 376"/>
                    <a:gd name="T64" fmla="*/ 231797 w 393"/>
                    <a:gd name="T65" fmla="*/ 0 h 376"/>
                    <a:gd name="T66" fmla="*/ 207845 w 393"/>
                    <a:gd name="T67" fmla="*/ 4449 h 376"/>
                    <a:gd name="T68" fmla="*/ 183892 w 393"/>
                    <a:gd name="T69" fmla="*/ 10381 h 376"/>
                    <a:gd name="T70" fmla="*/ 169212 w 393"/>
                    <a:gd name="T71" fmla="*/ 31883 h 376"/>
                    <a:gd name="T72" fmla="*/ 175393 w 393"/>
                    <a:gd name="T73" fmla="*/ 54869 h 376"/>
                    <a:gd name="T74" fmla="*/ 172302 w 393"/>
                    <a:gd name="T75" fmla="*/ 79337 h 376"/>
                    <a:gd name="T76" fmla="*/ 170757 w 393"/>
                    <a:gd name="T77" fmla="*/ 103806 h 376"/>
                    <a:gd name="T78" fmla="*/ 196255 w 393"/>
                    <a:gd name="T79" fmla="*/ 120860 h 376"/>
                    <a:gd name="T80" fmla="*/ 203209 w 393"/>
                    <a:gd name="T81" fmla="*/ 110479 h 376"/>
                    <a:gd name="T82" fmla="*/ 199345 w 393"/>
                    <a:gd name="T83" fmla="*/ 146811 h 376"/>
                    <a:gd name="T84" fmla="*/ 191619 w 393"/>
                    <a:gd name="T85" fmla="*/ 145328 h 376"/>
                    <a:gd name="T86" fmla="*/ 180802 w 393"/>
                    <a:gd name="T87" fmla="*/ 145328 h 376"/>
                    <a:gd name="T88" fmla="*/ 159940 w 393"/>
                    <a:gd name="T89" fmla="*/ 117894 h 376"/>
                    <a:gd name="T90" fmla="*/ 143714 w 393"/>
                    <a:gd name="T91" fmla="*/ 106772 h 376"/>
                    <a:gd name="T92" fmla="*/ 132897 w 393"/>
                    <a:gd name="T93" fmla="*/ 96391 h 376"/>
                    <a:gd name="T94" fmla="*/ 122852 w 393"/>
                    <a:gd name="T95" fmla="*/ 106772 h 376"/>
                    <a:gd name="T96" fmla="*/ 88083 w 393"/>
                    <a:gd name="T97" fmla="*/ 94908 h 376"/>
                    <a:gd name="T98" fmla="*/ 84992 w 393"/>
                    <a:gd name="T99" fmla="*/ 86011 h 376"/>
                    <a:gd name="T100" fmla="*/ 64130 w 393"/>
                    <a:gd name="T101" fmla="*/ 88976 h 376"/>
                    <a:gd name="T102" fmla="*/ 55631 w 393"/>
                    <a:gd name="T103" fmla="*/ 74889 h 376"/>
                    <a:gd name="T104" fmla="*/ 54086 w 393"/>
                    <a:gd name="T105" fmla="*/ 105289 h 376"/>
                    <a:gd name="T106" fmla="*/ 54086 w 393"/>
                    <a:gd name="T107" fmla="*/ 133465 h 37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393"/>
                    <a:gd name="T163" fmla="*/ 0 h 376"/>
                    <a:gd name="T164" fmla="*/ 393 w 393"/>
                    <a:gd name="T165" fmla="*/ 376 h 37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393" h="376">
                      <a:moveTo>
                        <a:pt x="70" y="180"/>
                      </a:moveTo>
                      <a:lnTo>
                        <a:pt x="37" y="182"/>
                      </a:lnTo>
                      <a:lnTo>
                        <a:pt x="2" y="182"/>
                      </a:lnTo>
                      <a:lnTo>
                        <a:pt x="2" y="213"/>
                      </a:lnTo>
                      <a:lnTo>
                        <a:pt x="2" y="243"/>
                      </a:lnTo>
                      <a:lnTo>
                        <a:pt x="0" y="274"/>
                      </a:lnTo>
                      <a:lnTo>
                        <a:pt x="0" y="303"/>
                      </a:lnTo>
                      <a:lnTo>
                        <a:pt x="23" y="332"/>
                      </a:lnTo>
                      <a:lnTo>
                        <a:pt x="46" y="359"/>
                      </a:lnTo>
                      <a:lnTo>
                        <a:pt x="70" y="355"/>
                      </a:lnTo>
                      <a:lnTo>
                        <a:pt x="106" y="365"/>
                      </a:lnTo>
                      <a:lnTo>
                        <a:pt x="153" y="376"/>
                      </a:lnTo>
                      <a:lnTo>
                        <a:pt x="184" y="347"/>
                      </a:lnTo>
                      <a:lnTo>
                        <a:pt x="221" y="318"/>
                      </a:lnTo>
                      <a:lnTo>
                        <a:pt x="230" y="295"/>
                      </a:lnTo>
                      <a:lnTo>
                        <a:pt x="256" y="289"/>
                      </a:lnTo>
                      <a:lnTo>
                        <a:pt x="281" y="283"/>
                      </a:lnTo>
                      <a:lnTo>
                        <a:pt x="275" y="262"/>
                      </a:lnTo>
                      <a:lnTo>
                        <a:pt x="300" y="252"/>
                      </a:lnTo>
                      <a:lnTo>
                        <a:pt x="325" y="243"/>
                      </a:lnTo>
                      <a:lnTo>
                        <a:pt x="351" y="231"/>
                      </a:lnTo>
                      <a:lnTo>
                        <a:pt x="376" y="221"/>
                      </a:lnTo>
                      <a:lnTo>
                        <a:pt x="360" y="204"/>
                      </a:lnTo>
                      <a:lnTo>
                        <a:pt x="378" y="167"/>
                      </a:lnTo>
                      <a:lnTo>
                        <a:pt x="384" y="157"/>
                      </a:lnTo>
                      <a:lnTo>
                        <a:pt x="386" y="128"/>
                      </a:lnTo>
                      <a:lnTo>
                        <a:pt x="386" y="99"/>
                      </a:lnTo>
                      <a:lnTo>
                        <a:pt x="393" y="85"/>
                      </a:lnTo>
                      <a:lnTo>
                        <a:pt x="374" y="54"/>
                      </a:lnTo>
                      <a:lnTo>
                        <a:pt x="372" y="47"/>
                      </a:lnTo>
                      <a:lnTo>
                        <a:pt x="337" y="25"/>
                      </a:lnTo>
                      <a:lnTo>
                        <a:pt x="302" y="6"/>
                      </a:lnTo>
                      <a:lnTo>
                        <a:pt x="300" y="0"/>
                      </a:lnTo>
                      <a:lnTo>
                        <a:pt x="269" y="6"/>
                      </a:lnTo>
                      <a:lnTo>
                        <a:pt x="238" y="14"/>
                      </a:lnTo>
                      <a:lnTo>
                        <a:pt x="219" y="43"/>
                      </a:lnTo>
                      <a:lnTo>
                        <a:pt x="227" y="74"/>
                      </a:lnTo>
                      <a:lnTo>
                        <a:pt x="223" y="107"/>
                      </a:lnTo>
                      <a:lnTo>
                        <a:pt x="221" y="140"/>
                      </a:lnTo>
                      <a:lnTo>
                        <a:pt x="254" y="163"/>
                      </a:lnTo>
                      <a:lnTo>
                        <a:pt x="263" y="149"/>
                      </a:lnTo>
                      <a:lnTo>
                        <a:pt x="258" y="198"/>
                      </a:lnTo>
                      <a:lnTo>
                        <a:pt x="248" y="196"/>
                      </a:lnTo>
                      <a:lnTo>
                        <a:pt x="234" y="196"/>
                      </a:lnTo>
                      <a:lnTo>
                        <a:pt x="207" y="159"/>
                      </a:lnTo>
                      <a:lnTo>
                        <a:pt x="186" y="144"/>
                      </a:lnTo>
                      <a:lnTo>
                        <a:pt x="172" y="130"/>
                      </a:lnTo>
                      <a:lnTo>
                        <a:pt x="159" y="144"/>
                      </a:lnTo>
                      <a:lnTo>
                        <a:pt x="114" y="128"/>
                      </a:lnTo>
                      <a:lnTo>
                        <a:pt x="110" y="116"/>
                      </a:lnTo>
                      <a:lnTo>
                        <a:pt x="83" y="120"/>
                      </a:lnTo>
                      <a:lnTo>
                        <a:pt x="72" y="101"/>
                      </a:lnTo>
                      <a:lnTo>
                        <a:pt x="70" y="142"/>
                      </a:lnTo>
                      <a:lnTo>
                        <a:pt x="70" y="18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7" name="Freeform 267"/>
                <p:cNvSpPr>
                  <a:spLocks/>
                </p:cNvSpPr>
                <p:nvPr/>
              </p:nvSpPr>
              <p:spPr bwMode="auto">
                <a:xfrm>
                  <a:off x="5017222" y="3837704"/>
                  <a:ext cx="200660" cy="190006"/>
                </a:xfrm>
                <a:custGeom>
                  <a:avLst/>
                  <a:gdLst>
                    <a:gd name="T0" fmla="*/ 99540 w 254"/>
                    <a:gd name="T1" fmla="*/ 181168 h 258"/>
                    <a:gd name="T2" fmla="*/ 94010 w 254"/>
                    <a:gd name="T3" fmla="*/ 177486 h 258"/>
                    <a:gd name="T4" fmla="*/ 71100 w 254"/>
                    <a:gd name="T5" fmla="*/ 167176 h 258"/>
                    <a:gd name="T6" fmla="*/ 61620 w 254"/>
                    <a:gd name="T7" fmla="*/ 142873 h 258"/>
                    <a:gd name="T8" fmla="*/ 53720 w 254"/>
                    <a:gd name="T9" fmla="*/ 135508 h 258"/>
                    <a:gd name="T10" fmla="*/ 48980 w 254"/>
                    <a:gd name="T11" fmla="*/ 128880 h 258"/>
                    <a:gd name="T12" fmla="*/ 30810 w 254"/>
                    <a:gd name="T13" fmla="*/ 115624 h 258"/>
                    <a:gd name="T14" fmla="*/ 15800 w 254"/>
                    <a:gd name="T15" fmla="*/ 88375 h 258"/>
                    <a:gd name="T16" fmla="*/ 0 w 254"/>
                    <a:gd name="T17" fmla="*/ 60389 h 258"/>
                    <a:gd name="T18" fmla="*/ 37130 w 254"/>
                    <a:gd name="T19" fmla="*/ 68491 h 258"/>
                    <a:gd name="T20" fmla="*/ 61620 w 254"/>
                    <a:gd name="T21" fmla="*/ 47133 h 258"/>
                    <a:gd name="T22" fmla="*/ 90850 w 254"/>
                    <a:gd name="T23" fmla="*/ 25776 h 258"/>
                    <a:gd name="T24" fmla="*/ 97960 w 254"/>
                    <a:gd name="T25" fmla="*/ 8837 h 258"/>
                    <a:gd name="T26" fmla="*/ 118500 w 254"/>
                    <a:gd name="T27" fmla="*/ 4419 h 258"/>
                    <a:gd name="T28" fmla="*/ 138250 w 254"/>
                    <a:gd name="T29" fmla="*/ 0 h 258"/>
                    <a:gd name="T30" fmla="*/ 136670 w 254"/>
                    <a:gd name="T31" fmla="*/ 10310 h 258"/>
                    <a:gd name="T32" fmla="*/ 150100 w 254"/>
                    <a:gd name="T33" fmla="*/ 10310 h 258"/>
                    <a:gd name="T34" fmla="*/ 176170 w 254"/>
                    <a:gd name="T35" fmla="*/ 19884 h 258"/>
                    <a:gd name="T36" fmla="*/ 200660 w 254"/>
                    <a:gd name="T37" fmla="*/ 30195 h 258"/>
                    <a:gd name="T38" fmla="*/ 200660 w 254"/>
                    <a:gd name="T39" fmla="*/ 64072 h 258"/>
                    <a:gd name="T40" fmla="*/ 196710 w 254"/>
                    <a:gd name="T41" fmla="*/ 88375 h 258"/>
                    <a:gd name="T42" fmla="*/ 199080 w 254"/>
                    <a:gd name="T43" fmla="*/ 112678 h 258"/>
                    <a:gd name="T44" fmla="*/ 190390 w 254"/>
                    <a:gd name="T45" fmla="*/ 136981 h 258"/>
                    <a:gd name="T46" fmla="*/ 184070 w 254"/>
                    <a:gd name="T47" fmla="*/ 159811 h 258"/>
                    <a:gd name="T48" fmla="*/ 167480 w 254"/>
                    <a:gd name="T49" fmla="*/ 176013 h 258"/>
                    <a:gd name="T50" fmla="*/ 151680 w 254"/>
                    <a:gd name="T51" fmla="*/ 190006 h 258"/>
                    <a:gd name="T52" fmla="*/ 125610 w 254"/>
                    <a:gd name="T53" fmla="*/ 187060 h 258"/>
                    <a:gd name="T54" fmla="*/ 101120 w 254"/>
                    <a:gd name="T55" fmla="*/ 182641 h 258"/>
                    <a:gd name="T56" fmla="*/ 99540 w 254"/>
                    <a:gd name="T57" fmla="*/ 181168 h 25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54"/>
                    <a:gd name="T88" fmla="*/ 0 h 258"/>
                    <a:gd name="T89" fmla="*/ 254 w 254"/>
                    <a:gd name="T90" fmla="*/ 258 h 25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54" h="258">
                      <a:moveTo>
                        <a:pt x="126" y="246"/>
                      </a:moveTo>
                      <a:lnTo>
                        <a:pt x="119" y="241"/>
                      </a:lnTo>
                      <a:lnTo>
                        <a:pt x="90" y="227"/>
                      </a:lnTo>
                      <a:lnTo>
                        <a:pt x="78" y="194"/>
                      </a:lnTo>
                      <a:lnTo>
                        <a:pt x="68" y="184"/>
                      </a:lnTo>
                      <a:lnTo>
                        <a:pt x="62" y="175"/>
                      </a:lnTo>
                      <a:lnTo>
                        <a:pt x="39" y="157"/>
                      </a:lnTo>
                      <a:lnTo>
                        <a:pt x="20" y="120"/>
                      </a:lnTo>
                      <a:lnTo>
                        <a:pt x="0" y="82"/>
                      </a:lnTo>
                      <a:lnTo>
                        <a:pt x="47" y="93"/>
                      </a:lnTo>
                      <a:lnTo>
                        <a:pt x="78" y="64"/>
                      </a:lnTo>
                      <a:lnTo>
                        <a:pt x="115" y="35"/>
                      </a:lnTo>
                      <a:lnTo>
                        <a:pt x="124" y="12"/>
                      </a:lnTo>
                      <a:lnTo>
                        <a:pt x="150" y="6"/>
                      </a:lnTo>
                      <a:lnTo>
                        <a:pt x="175" y="0"/>
                      </a:lnTo>
                      <a:lnTo>
                        <a:pt x="173" y="14"/>
                      </a:lnTo>
                      <a:lnTo>
                        <a:pt x="190" y="14"/>
                      </a:lnTo>
                      <a:lnTo>
                        <a:pt x="223" y="27"/>
                      </a:lnTo>
                      <a:lnTo>
                        <a:pt x="254" y="41"/>
                      </a:lnTo>
                      <a:lnTo>
                        <a:pt x="254" y="87"/>
                      </a:lnTo>
                      <a:lnTo>
                        <a:pt x="249" y="120"/>
                      </a:lnTo>
                      <a:lnTo>
                        <a:pt x="252" y="153"/>
                      </a:lnTo>
                      <a:lnTo>
                        <a:pt x="241" y="186"/>
                      </a:lnTo>
                      <a:lnTo>
                        <a:pt x="233" y="217"/>
                      </a:lnTo>
                      <a:lnTo>
                        <a:pt x="212" y="239"/>
                      </a:lnTo>
                      <a:lnTo>
                        <a:pt x="192" y="258"/>
                      </a:lnTo>
                      <a:lnTo>
                        <a:pt x="159" y="254"/>
                      </a:lnTo>
                      <a:lnTo>
                        <a:pt x="128" y="248"/>
                      </a:lnTo>
                      <a:lnTo>
                        <a:pt x="126" y="24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8" name="Freeform 268"/>
                <p:cNvSpPr>
                  <a:spLocks/>
                </p:cNvSpPr>
                <p:nvPr/>
              </p:nvSpPr>
              <p:spPr bwMode="auto">
                <a:xfrm>
                  <a:off x="2909405" y="4246128"/>
                  <a:ext cx="129630" cy="136733"/>
                </a:xfrm>
                <a:custGeom>
                  <a:avLst/>
                  <a:gdLst>
                    <a:gd name="T0" fmla="*/ 126487 w 165"/>
                    <a:gd name="T1" fmla="*/ 71372 h 182"/>
                    <a:gd name="T2" fmla="*/ 98990 w 165"/>
                    <a:gd name="T3" fmla="*/ 52590 h 182"/>
                    <a:gd name="T4" fmla="*/ 71493 w 165"/>
                    <a:gd name="T5" fmla="*/ 33056 h 182"/>
                    <a:gd name="T6" fmla="*/ 56566 w 165"/>
                    <a:gd name="T7" fmla="*/ 24792 h 182"/>
                    <a:gd name="T8" fmla="*/ 48709 w 165"/>
                    <a:gd name="T9" fmla="*/ 23290 h 182"/>
                    <a:gd name="T10" fmla="*/ 16498 w 165"/>
                    <a:gd name="T11" fmla="*/ 0 h 182"/>
                    <a:gd name="T12" fmla="*/ 3143 w 165"/>
                    <a:gd name="T13" fmla="*/ 3005 h 182"/>
                    <a:gd name="T14" fmla="*/ 4714 w 165"/>
                    <a:gd name="T15" fmla="*/ 4508 h 182"/>
                    <a:gd name="T16" fmla="*/ 3143 w 165"/>
                    <a:gd name="T17" fmla="*/ 36061 h 182"/>
                    <a:gd name="T18" fmla="*/ 1571 w 165"/>
                    <a:gd name="T19" fmla="*/ 66864 h 182"/>
                    <a:gd name="T20" fmla="*/ 3143 w 165"/>
                    <a:gd name="T21" fmla="*/ 71372 h 182"/>
                    <a:gd name="T22" fmla="*/ 0 w 165"/>
                    <a:gd name="T23" fmla="*/ 94661 h 182"/>
                    <a:gd name="T24" fmla="*/ 14141 w 165"/>
                    <a:gd name="T25" fmla="*/ 117951 h 182"/>
                    <a:gd name="T26" fmla="*/ 45567 w 165"/>
                    <a:gd name="T27" fmla="*/ 129220 h 182"/>
                    <a:gd name="T28" fmla="*/ 87206 w 165"/>
                    <a:gd name="T29" fmla="*/ 136733 h 182"/>
                    <a:gd name="T30" fmla="*/ 111560 w 165"/>
                    <a:gd name="T31" fmla="*/ 128469 h 182"/>
                    <a:gd name="T32" fmla="*/ 129630 w 165"/>
                    <a:gd name="T33" fmla="*/ 103677 h 182"/>
                    <a:gd name="T34" fmla="*/ 123345 w 165"/>
                    <a:gd name="T35" fmla="*/ 84143 h 182"/>
                    <a:gd name="T36" fmla="*/ 126487 w 165"/>
                    <a:gd name="T37" fmla="*/ 71372 h 18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5"/>
                    <a:gd name="T58" fmla="*/ 0 h 182"/>
                    <a:gd name="T59" fmla="*/ 165 w 165"/>
                    <a:gd name="T60" fmla="*/ 182 h 18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5" h="182">
                      <a:moveTo>
                        <a:pt x="161" y="95"/>
                      </a:moveTo>
                      <a:lnTo>
                        <a:pt x="126" y="70"/>
                      </a:lnTo>
                      <a:lnTo>
                        <a:pt x="91" y="44"/>
                      </a:lnTo>
                      <a:lnTo>
                        <a:pt x="72" y="33"/>
                      </a:lnTo>
                      <a:lnTo>
                        <a:pt x="62" y="31"/>
                      </a:lnTo>
                      <a:lnTo>
                        <a:pt x="21" y="0"/>
                      </a:lnTo>
                      <a:lnTo>
                        <a:pt x="4" y="4"/>
                      </a:lnTo>
                      <a:lnTo>
                        <a:pt x="6" y="6"/>
                      </a:lnTo>
                      <a:lnTo>
                        <a:pt x="4" y="48"/>
                      </a:lnTo>
                      <a:lnTo>
                        <a:pt x="2" y="89"/>
                      </a:lnTo>
                      <a:lnTo>
                        <a:pt x="4" y="95"/>
                      </a:lnTo>
                      <a:lnTo>
                        <a:pt x="0" y="126"/>
                      </a:lnTo>
                      <a:lnTo>
                        <a:pt x="18" y="157"/>
                      </a:lnTo>
                      <a:lnTo>
                        <a:pt x="58" y="172"/>
                      </a:lnTo>
                      <a:lnTo>
                        <a:pt x="111" y="182"/>
                      </a:lnTo>
                      <a:lnTo>
                        <a:pt x="142" y="171"/>
                      </a:lnTo>
                      <a:lnTo>
                        <a:pt x="165" y="138"/>
                      </a:lnTo>
                      <a:lnTo>
                        <a:pt x="157" y="112"/>
                      </a:lnTo>
                      <a:lnTo>
                        <a:pt x="161" y="9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79" name="Freeform 269"/>
                <p:cNvSpPr>
                  <a:spLocks/>
                </p:cNvSpPr>
                <p:nvPr/>
              </p:nvSpPr>
              <p:spPr bwMode="auto">
                <a:xfrm>
                  <a:off x="2591546" y="4009953"/>
                  <a:ext cx="403096" cy="857689"/>
                </a:xfrm>
                <a:custGeom>
                  <a:avLst/>
                  <a:gdLst>
                    <a:gd name="T0" fmla="*/ 225075 w 514"/>
                    <a:gd name="T1" fmla="*/ 544245 h 1152"/>
                    <a:gd name="T2" fmla="*/ 218801 w 514"/>
                    <a:gd name="T3" fmla="*/ 577004 h 1152"/>
                    <a:gd name="T4" fmla="*/ 235270 w 514"/>
                    <a:gd name="T5" fmla="*/ 578493 h 1152"/>
                    <a:gd name="T6" fmla="*/ 250955 w 514"/>
                    <a:gd name="T7" fmla="*/ 594873 h 1152"/>
                    <a:gd name="T8" fmla="*/ 218801 w 514"/>
                    <a:gd name="T9" fmla="*/ 590406 h 1152"/>
                    <a:gd name="T10" fmla="*/ 220370 w 514"/>
                    <a:gd name="T11" fmla="*/ 620931 h 1152"/>
                    <a:gd name="T12" fmla="*/ 218801 w 514"/>
                    <a:gd name="T13" fmla="*/ 655179 h 1152"/>
                    <a:gd name="T14" fmla="*/ 192921 w 514"/>
                    <a:gd name="T15" fmla="*/ 693894 h 1152"/>
                    <a:gd name="T16" fmla="*/ 244681 w 514"/>
                    <a:gd name="T17" fmla="*/ 721441 h 1152"/>
                    <a:gd name="T18" fmla="*/ 244681 w 514"/>
                    <a:gd name="T19" fmla="*/ 737821 h 1152"/>
                    <a:gd name="T20" fmla="*/ 218801 w 514"/>
                    <a:gd name="T21" fmla="*/ 773558 h 1152"/>
                    <a:gd name="T22" fmla="*/ 203901 w 514"/>
                    <a:gd name="T23" fmla="*/ 790682 h 1152"/>
                    <a:gd name="T24" fmla="*/ 210959 w 514"/>
                    <a:gd name="T25" fmla="*/ 798127 h 1152"/>
                    <a:gd name="T26" fmla="*/ 200764 w 514"/>
                    <a:gd name="T27" fmla="*/ 819718 h 1152"/>
                    <a:gd name="T28" fmla="*/ 205469 w 514"/>
                    <a:gd name="T29" fmla="*/ 836842 h 1152"/>
                    <a:gd name="T30" fmla="*/ 236838 w 514"/>
                    <a:gd name="T31" fmla="*/ 857689 h 1152"/>
                    <a:gd name="T32" fmla="*/ 150573 w 514"/>
                    <a:gd name="T33" fmla="*/ 842799 h 1152"/>
                    <a:gd name="T34" fmla="*/ 121556 w 514"/>
                    <a:gd name="T35" fmla="*/ 810040 h 1152"/>
                    <a:gd name="T36" fmla="*/ 84697 w 514"/>
                    <a:gd name="T37" fmla="*/ 775047 h 1152"/>
                    <a:gd name="T38" fmla="*/ 95676 w 514"/>
                    <a:gd name="T39" fmla="*/ 719952 h 1152"/>
                    <a:gd name="T40" fmla="*/ 89403 w 514"/>
                    <a:gd name="T41" fmla="*/ 667091 h 1152"/>
                    <a:gd name="T42" fmla="*/ 72934 w 514"/>
                    <a:gd name="T43" fmla="*/ 649223 h 1152"/>
                    <a:gd name="T44" fmla="*/ 69797 w 514"/>
                    <a:gd name="T45" fmla="*/ 632099 h 1152"/>
                    <a:gd name="T46" fmla="*/ 47054 w 514"/>
                    <a:gd name="T47" fmla="*/ 587428 h 1152"/>
                    <a:gd name="T48" fmla="*/ 36075 w 514"/>
                    <a:gd name="T49" fmla="*/ 527121 h 1152"/>
                    <a:gd name="T50" fmla="*/ 37643 w 514"/>
                    <a:gd name="T51" fmla="*/ 479472 h 1152"/>
                    <a:gd name="T52" fmla="*/ 27448 w 514"/>
                    <a:gd name="T53" fmla="*/ 440012 h 1152"/>
                    <a:gd name="T54" fmla="*/ 32154 w 514"/>
                    <a:gd name="T55" fmla="*/ 396830 h 1152"/>
                    <a:gd name="T56" fmla="*/ 30585 w 514"/>
                    <a:gd name="T57" fmla="*/ 341735 h 1152"/>
                    <a:gd name="T58" fmla="*/ 11763 w 514"/>
                    <a:gd name="T59" fmla="*/ 303020 h 1152"/>
                    <a:gd name="T60" fmla="*/ 0 w 514"/>
                    <a:gd name="T61" fmla="*/ 261327 h 1152"/>
                    <a:gd name="T62" fmla="*/ 3137 w 514"/>
                    <a:gd name="T63" fmla="*/ 221867 h 1152"/>
                    <a:gd name="T64" fmla="*/ 13332 w 514"/>
                    <a:gd name="T65" fmla="*/ 177196 h 1152"/>
                    <a:gd name="T66" fmla="*/ 30585 w 514"/>
                    <a:gd name="T67" fmla="*/ 144437 h 1152"/>
                    <a:gd name="T68" fmla="*/ 16469 w 514"/>
                    <a:gd name="T69" fmla="*/ 87854 h 1152"/>
                    <a:gd name="T70" fmla="*/ 43917 w 514"/>
                    <a:gd name="T71" fmla="*/ 61795 h 1152"/>
                    <a:gd name="T72" fmla="*/ 43917 w 514"/>
                    <a:gd name="T73" fmla="*/ 29036 h 1152"/>
                    <a:gd name="T74" fmla="*/ 69797 w 514"/>
                    <a:gd name="T75" fmla="*/ 2978 h 1152"/>
                    <a:gd name="T76" fmla="*/ 115282 w 514"/>
                    <a:gd name="T77" fmla="*/ 26058 h 1152"/>
                    <a:gd name="T78" fmla="*/ 153710 w 514"/>
                    <a:gd name="T79" fmla="*/ 5956 h 1152"/>
                    <a:gd name="T80" fmla="*/ 183511 w 514"/>
                    <a:gd name="T81" fmla="*/ 34248 h 1152"/>
                    <a:gd name="T82" fmla="*/ 230565 w 514"/>
                    <a:gd name="T83" fmla="*/ 67751 h 1152"/>
                    <a:gd name="T84" fmla="*/ 276834 w 514"/>
                    <a:gd name="T85" fmla="*/ 89343 h 1152"/>
                    <a:gd name="T86" fmla="*/ 290166 w 514"/>
                    <a:gd name="T87" fmla="*/ 129547 h 1152"/>
                    <a:gd name="T88" fmla="*/ 309772 w 514"/>
                    <a:gd name="T89" fmla="*/ 158583 h 1152"/>
                    <a:gd name="T90" fmla="*/ 356826 w 514"/>
                    <a:gd name="T91" fmla="*/ 154116 h 1152"/>
                    <a:gd name="T92" fmla="*/ 375648 w 514"/>
                    <a:gd name="T93" fmla="*/ 106467 h 1152"/>
                    <a:gd name="T94" fmla="*/ 403096 w 514"/>
                    <a:gd name="T95" fmla="*/ 144437 h 1152"/>
                    <a:gd name="T96" fmla="*/ 370942 w 514"/>
                    <a:gd name="T97" fmla="*/ 171984 h 1152"/>
                    <a:gd name="T98" fmla="*/ 343494 w 514"/>
                    <a:gd name="T99" fmla="*/ 204743 h 1152"/>
                    <a:gd name="T100" fmla="*/ 316046 w 514"/>
                    <a:gd name="T101" fmla="*/ 236758 h 1152"/>
                    <a:gd name="T102" fmla="*/ 316046 w 514"/>
                    <a:gd name="T103" fmla="*/ 271006 h 1152"/>
                    <a:gd name="T104" fmla="*/ 317614 w 514"/>
                    <a:gd name="T105" fmla="*/ 320144 h 1152"/>
                    <a:gd name="T106" fmla="*/ 322320 w 514"/>
                    <a:gd name="T107" fmla="*/ 363327 h 1152"/>
                    <a:gd name="T108" fmla="*/ 358395 w 514"/>
                    <a:gd name="T109" fmla="*/ 407253 h 1152"/>
                    <a:gd name="T110" fmla="*/ 366237 w 514"/>
                    <a:gd name="T111" fmla="*/ 442990 h 1152"/>
                    <a:gd name="T112" fmla="*/ 334083 w 514"/>
                    <a:gd name="T113" fmla="*/ 472027 h 1152"/>
                    <a:gd name="T114" fmla="*/ 293303 w 514"/>
                    <a:gd name="T115" fmla="*/ 481706 h 1152"/>
                    <a:gd name="T116" fmla="*/ 252523 w 514"/>
                    <a:gd name="T117" fmla="*/ 484684 h 1152"/>
                    <a:gd name="T118" fmla="*/ 264287 w 514"/>
                    <a:gd name="T119" fmla="*/ 530844 h 115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514"/>
                    <a:gd name="T181" fmla="*/ 0 h 1152"/>
                    <a:gd name="T182" fmla="*/ 514 w 514"/>
                    <a:gd name="T183" fmla="*/ 1152 h 1152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514" h="1152">
                      <a:moveTo>
                        <a:pt x="329" y="731"/>
                      </a:moveTo>
                      <a:lnTo>
                        <a:pt x="287" y="731"/>
                      </a:lnTo>
                      <a:lnTo>
                        <a:pt x="254" y="723"/>
                      </a:lnTo>
                      <a:lnTo>
                        <a:pt x="279" y="775"/>
                      </a:lnTo>
                      <a:lnTo>
                        <a:pt x="289" y="779"/>
                      </a:lnTo>
                      <a:lnTo>
                        <a:pt x="300" y="777"/>
                      </a:lnTo>
                      <a:lnTo>
                        <a:pt x="310" y="770"/>
                      </a:lnTo>
                      <a:lnTo>
                        <a:pt x="320" y="799"/>
                      </a:lnTo>
                      <a:lnTo>
                        <a:pt x="302" y="793"/>
                      </a:lnTo>
                      <a:lnTo>
                        <a:pt x="279" y="793"/>
                      </a:lnTo>
                      <a:lnTo>
                        <a:pt x="302" y="804"/>
                      </a:lnTo>
                      <a:lnTo>
                        <a:pt x="281" y="834"/>
                      </a:lnTo>
                      <a:lnTo>
                        <a:pt x="283" y="865"/>
                      </a:lnTo>
                      <a:lnTo>
                        <a:pt x="279" y="880"/>
                      </a:lnTo>
                      <a:lnTo>
                        <a:pt x="244" y="898"/>
                      </a:lnTo>
                      <a:lnTo>
                        <a:pt x="246" y="932"/>
                      </a:lnTo>
                      <a:lnTo>
                        <a:pt x="294" y="958"/>
                      </a:lnTo>
                      <a:lnTo>
                        <a:pt x="312" y="969"/>
                      </a:lnTo>
                      <a:lnTo>
                        <a:pt x="302" y="987"/>
                      </a:lnTo>
                      <a:lnTo>
                        <a:pt x="312" y="991"/>
                      </a:lnTo>
                      <a:lnTo>
                        <a:pt x="294" y="1014"/>
                      </a:lnTo>
                      <a:lnTo>
                        <a:pt x="279" y="1039"/>
                      </a:lnTo>
                      <a:lnTo>
                        <a:pt x="277" y="1068"/>
                      </a:lnTo>
                      <a:lnTo>
                        <a:pt x="260" y="1062"/>
                      </a:lnTo>
                      <a:lnTo>
                        <a:pt x="254" y="1064"/>
                      </a:lnTo>
                      <a:lnTo>
                        <a:pt x="269" y="1072"/>
                      </a:lnTo>
                      <a:lnTo>
                        <a:pt x="256" y="1093"/>
                      </a:lnTo>
                      <a:lnTo>
                        <a:pt x="256" y="1101"/>
                      </a:lnTo>
                      <a:lnTo>
                        <a:pt x="269" y="1124"/>
                      </a:lnTo>
                      <a:lnTo>
                        <a:pt x="262" y="1124"/>
                      </a:lnTo>
                      <a:lnTo>
                        <a:pt x="283" y="1134"/>
                      </a:lnTo>
                      <a:lnTo>
                        <a:pt x="302" y="1152"/>
                      </a:lnTo>
                      <a:lnTo>
                        <a:pt x="250" y="1138"/>
                      </a:lnTo>
                      <a:lnTo>
                        <a:pt x="192" y="1132"/>
                      </a:lnTo>
                      <a:lnTo>
                        <a:pt x="174" y="1117"/>
                      </a:lnTo>
                      <a:lnTo>
                        <a:pt x="155" y="1088"/>
                      </a:lnTo>
                      <a:lnTo>
                        <a:pt x="137" y="1090"/>
                      </a:lnTo>
                      <a:lnTo>
                        <a:pt x="108" y="1041"/>
                      </a:lnTo>
                      <a:lnTo>
                        <a:pt x="128" y="1018"/>
                      </a:lnTo>
                      <a:lnTo>
                        <a:pt x="122" y="967"/>
                      </a:lnTo>
                      <a:lnTo>
                        <a:pt x="116" y="925"/>
                      </a:lnTo>
                      <a:lnTo>
                        <a:pt x="114" y="896"/>
                      </a:lnTo>
                      <a:lnTo>
                        <a:pt x="106" y="880"/>
                      </a:lnTo>
                      <a:lnTo>
                        <a:pt x="93" y="872"/>
                      </a:lnTo>
                      <a:lnTo>
                        <a:pt x="114" y="865"/>
                      </a:lnTo>
                      <a:lnTo>
                        <a:pt x="89" y="849"/>
                      </a:lnTo>
                      <a:lnTo>
                        <a:pt x="75" y="810"/>
                      </a:lnTo>
                      <a:lnTo>
                        <a:pt x="60" y="789"/>
                      </a:lnTo>
                      <a:lnTo>
                        <a:pt x="58" y="758"/>
                      </a:lnTo>
                      <a:lnTo>
                        <a:pt x="46" y="708"/>
                      </a:lnTo>
                      <a:lnTo>
                        <a:pt x="42" y="669"/>
                      </a:lnTo>
                      <a:lnTo>
                        <a:pt x="48" y="644"/>
                      </a:lnTo>
                      <a:lnTo>
                        <a:pt x="44" y="622"/>
                      </a:lnTo>
                      <a:lnTo>
                        <a:pt x="35" y="591"/>
                      </a:lnTo>
                      <a:lnTo>
                        <a:pt x="25" y="558"/>
                      </a:lnTo>
                      <a:lnTo>
                        <a:pt x="41" y="533"/>
                      </a:lnTo>
                      <a:lnTo>
                        <a:pt x="33" y="508"/>
                      </a:lnTo>
                      <a:lnTo>
                        <a:pt x="39" y="459"/>
                      </a:lnTo>
                      <a:lnTo>
                        <a:pt x="31" y="438"/>
                      </a:lnTo>
                      <a:lnTo>
                        <a:pt x="15" y="407"/>
                      </a:lnTo>
                      <a:lnTo>
                        <a:pt x="0" y="376"/>
                      </a:lnTo>
                      <a:lnTo>
                        <a:pt x="0" y="351"/>
                      </a:lnTo>
                      <a:lnTo>
                        <a:pt x="6" y="328"/>
                      </a:lnTo>
                      <a:lnTo>
                        <a:pt x="4" y="298"/>
                      </a:lnTo>
                      <a:lnTo>
                        <a:pt x="4" y="271"/>
                      </a:lnTo>
                      <a:lnTo>
                        <a:pt x="17" y="238"/>
                      </a:lnTo>
                      <a:lnTo>
                        <a:pt x="31" y="203"/>
                      </a:lnTo>
                      <a:lnTo>
                        <a:pt x="39" y="194"/>
                      </a:lnTo>
                      <a:lnTo>
                        <a:pt x="27" y="170"/>
                      </a:lnTo>
                      <a:lnTo>
                        <a:pt x="21" y="118"/>
                      </a:lnTo>
                      <a:lnTo>
                        <a:pt x="27" y="99"/>
                      </a:lnTo>
                      <a:lnTo>
                        <a:pt x="56" y="83"/>
                      </a:lnTo>
                      <a:lnTo>
                        <a:pt x="62" y="44"/>
                      </a:lnTo>
                      <a:lnTo>
                        <a:pt x="56" y="39"/>
                      </a:lnTo>
                      <a:lnTo>
                        <a:pt x="83" y="0"/>
                      </a:lnTo>
                      <a:lnTo>
                        <a:pt x="89" y="4"/>
                      </a:lnTo>
                      <a:lnTo>
                        <a:pt x="130" y="11"/>
                      </a:lnTo>
                      <a:lnTo>
                        <a:pt x="147" y="35"/>
                      </a:lnTo>
                      <a:lnTo>
                        <a:pt x="157" y="13"/>
                      </a:lnTo>
                      <a:lnTo>
                        <a:pt x="196" y="8"/>
                      </a:lnTo>
                      <a:lnTo>
                        <a:pt x="203" y="15"/>
                      </a:lnTo>
                      <a:lnTo>
                        <a:pt x="234" y="46"/>
                      </a:lnTo>
                      <a:lnTo>
                        <a:pt x="267" y="77"/>
                      </a:lnTo>
                      <a:lnTo>
                        <a:pt x="294" y="91"/>
                      </a:lnTo>
                      <a:lnTo>
                        <a:pt x="322" y="103"/>
                      </a:lnTo>
                      <a:lnTo>
                        <a:pt x="353" y="120"/>
                      </a:lnTo>
                      <a:lnTo>
                        <a:pt x="382" y="138"/>
                      </a:lnTo>
                      <a:lnTo>
                        <a:pt x="370" y="174"/>
                      </a:lnTo>
                      <a:lnTo>
                        <a:pt x="356" y="209"/>
                      </a:lnTo>
                      <a:lnTo>
                        <a:pt x="395" y="213"/>
                      </a:lnTo>
                      <a:lnTo>
                        <a:pt x="434" y="215"/>
                      </a:lnTo>
                      <a:lnTo>
                        <a:pt x="455" y="207"/>
                      </a:lnTo>
                      <a:lnTo>
                        <a:pt x="481" y="167"/>
                      </a:lnTo>
                      <a:lnTo>
                        <a:pt x="479" y="143"/>
                      </a:lnTo>
                      <a:lnTo>
                        <a:pt x="500" y="145"/>
                      </a:lnTo>
                      <a:lnTo>
                        <a:pt x="514" y="194"/>
                      </a:lnTo>
                      <a:lnTo>
                        <a:pt x="494" y="211"/>
                      </a:lnTo>
                      <a:lnTo>
                        <a:pt x="473" y="231"/>
                      </a:lnTo>
                      <a:lnTo>
                        <a:pt x="455" y="252"/>
                      </a:lnTo>
                      <a:lnTo>
                        <a:pt x="438" y="275"/>
                      </a:lnTo>
                      <a:lnTo>
                        <a:pt x="420" y="296"/>
                      </a:lnTo>
                      <a:lnTo>
                        <a:pt x="403" y="318"/>
                      </a:lnTo>
                      <a:lnTo>
                        <a:pt x="405" y="322"/>
                      </a:lnTo>
                      <a:lnTo>
                        <a:pt x="403" y="364"/>
                      </a:lnTo>
                      <a:lnTo>
                        <a:pt x="401" y="405"/>
                      </a:lnTo>
                      <a:lnTo>
                        <a:pt x="405" y="430"/>
                      </a:lnTo>
                      <a:lnTo>
                        <a:pt x="397" y="446"/>
                      </a:lnTo>
                      <a:lnTo>
                        <a:pt x="411" y="488"/>
                      </a:lnTo>
                      <a:lnTo>
                        <a:pt x="455" y="519"/>
                      </a:lnTo>
                      <a:lnTo>
                        <a:pt x="457" y="547"/>
                      </a:lnTo>
                      <a:lnTo>
                        <a:pt x="479" y="562"/>
                      </a:lnTo>
                      <a:lnTo>
                        <a:pt x="467" y="595"/>
                      </a:lnTo>
                      <a:lnTo>
                        <a:pt x="453" y="628"/>
                      </a:lnTo>
                      <a:lnTo>
                        <a:pt x="426" y="634"/>
                      </a:lnTo>
                      <a:lnTo>
                        <a:pt x="399" y="642"/>
                      </a:lnTo>
                      <a:lnTo>
                        <a:pt x="374" y="647"/>
                      </a:lnTo>
                      <a:lnTo>
                        <a:pt x="347" y="655"/>
                      </a:lnTo>
                      <a:lnTo>
                        <a:pt x="322" y="651"/>
                      </a:lnTo>
                      <a:lnTo>
                        <a:pt x="329" y="665"/>
                      </a:lnTo>
                      <a:lnTo>
                        <a:pt x="337" y="713"/>
                      </a:lnTo>
                      <a:lnTo>
                        <a:pt x="329" y="73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0" name="Freeform 270"/>
                <p:cNvSpPr>
                  <a:spLocks/>
                </p:cNvSpPr>
                <p:nvPr/>
              </p:nvSpPr>
              <p:spPr bwMode="auto">
                <a:xfrm>
                  <a:off x="2829496" y="4880072"/>
                  <a:ext cx="101218" cy="58600"/>
                </a:xfrm>
                <a:custGeom>
                  <a:avLst/>
                  <a:gdLst>
                    <a:gd name="T0" fmla="*/ 9640 w 126"/>
                    <a:gd name="T1" fmla="*/ 12557 h 84"/>
                    <a:gd name="T2" fmla="*/ 0 w 126"/>
                    <a:gd name="T3" fmla="*/ 0 h 84"/>
                    <a:gd name="T4" fmla="*/ 14460 w 126"/>
                    <a:gd name="T5" fmla="*/ 28602 h 84"/>
                    <a:gd name="T6" fmla="*/ 26509 w 126"/>
                    <a:gd name="T7" fmla="*/ 57205 h 84"/>
                    <a:gd name="T8" fmla="*/ 64265 w 126"/>
                    <a:gd name="T9" fmla="*/ 57205 h 84"/>
                    <a:gd name="T10" fmla="*/ 101218 w 126"/>
                    <a:gd name="T11" fmla="*/ 58600 h 84"/>
                    <a:gd name="T12" fmla="*/ 98005 w 126"/>
                    <a:gd name="T13" fmla="*/ 51624 h 84"/>
                    <a:gd name="T14" fmla="*/ 44986 w 126"/>
                    <a:gd name="T15" fmla="*/ 35579 h 84"/>
                    <a:gd name="T16" fmla="*/ 9640 w 126"/>
                    <a:gd name="T17" fmla="*/ 12557 h 8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26"/>
                    <a:gd name="T28" fmla="*/ 0 h 84"/>
                    <a:gd name="T29" fmla="*/ 126 w 126"/>
                    <a:gd name="T30" fmla="*/ 84 h 8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26" h="84">
                      <a:moveTo>
                        <a:pt x="12" y="18"/>
                      </a:moveTo>
                      <a:lnTo>
                        <a:pt x="0" y="0"/>
                      </a:lnTo>
                      <a:lnTo>
                        <a:pt x="18" y="41"/>
                      </a:lnTo>
                      <a:lnTo>
                        <a:pt x="33" y="82"/>
                      </a:lnTo>
                      <a:lnTo>
                        <a:pt x="80" y="82"/>
                      </a:lnTo>
                      <a:lnTo>
                        <a:pt x="126" y="84"/>
                      </a:lnTo>
                      <a:lnTo>
                        <a:pt x="122" y="74"/>
                      </a:lnTo>
                      <a:lnTo>
                        <a:pt x="56" y="51"/>
                      </a:lnTo>
                      <a:lnTo>
                        <a:pt x="12" y="18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1" name="Freeform 271"/>
                <p:cNvSpPr>
                  <a:spLocks/>
                </p:cNvSpPr>
                <p:nvPr/>
              </p:nvSpPr>
              <p:spPr bwMode="auto">
                <a:xfrm>
                  <a:off x="2540049" y="3890977"/>
                  <a:ext cx="289448" cy="1024610"/>
                </a:xfrm>
                <a:custGeom>
                  <a:avLst/>
                  <a:gdLst>
                    <a:gd name="T0" fmla="*/ 28945 w 370"/>
                    <a:gd name="T1" fmla="*/ 405808 h 1371"/>
                    <a:gd name="T2" fmla="*/ 32074 w 370"/>
                    <a:gd name="T3" fmla="*/ 473817 h 1371"/>
                    <a:gd name="T4" fmla="*/ 24251 w 370"/>
                    <a:gd name="T5" fmla="*/ 550793 h 1371"/>
                    <a:gd name="T6" fmla="*/ 35985 w 370"/>
                    <a:gd name="T7" fmla="*/ 606844 h 1371"/>
                    <a:gd name="T8" fmla="*/ 54760 w 370"/>
                    <a:gd name="T9" fmla="*/ 683821 h 1371"/>
                    <a:gd name="T10" fmla="*/ 75882 w 370"/>
                    <a:gd name="T11" fmla="*/ 683821 h 1371"/>
                    <a:gd name="T12" fmla="*/ 87617 w 370"/>
                    <a:gd name="T13" fmla="*/ 702504 h 1371"/>
                    <a:gd name="T14" fmla="*/ 87617 w 370"/>
                    <a:gd name="T15" fmla="*/ 724177 h 1371"/>
                    <a:gd name="T16" fmla="*/ 104827 w 370"/>
                    <a:gd name="T17" fmla="*/ 765281 h 1371"/>
                    <a:gd name="T18" fmla="*/ 98569 w 370"/>
                    <a:gd name="T19" fmla="*/ 791438 h 1371"/>
                    <a:gd name="T20" fmla="*/ 103263 w 370"/>
                    <a:gd name="T21" fmla="*/ 811617 h 1371"/>
                    <a:gd name="T22" fmla="*/ 85270 w 370"/>
                    <a:gd name="T23" fmla="*/ 814606 h 1371"/>
                    <a:gd name="T24" fmla="*/ 72753 w 370"/>
                    <a:gd name="T25" fmla="*/ 807133 h 1371"/>
                    <a:gd name="T26" fmla="*/ 72753 w 370"/>
                    <a:gd name="T27" fmla="*/ 822827 h 1371"/>
                    <a:gd name="T28" fmla="*/ 97004 w 370"/>
                    <a:gd name="T29" fmla="*/ 847489 h 1371"/>
                    <a:gd name="T30" fmla="*/ 113432 w 370"/>
                    <a:gd name="T31" fmla="*/ 854963 h 1371"/>
                    <a:gd name="T32" fmla="*/ 124384 w 370"/>
                    <a:gd name="T33" fmla="*/ 869162 h 1371"/>
                    <a:gd name="T34" fmla="*/ 111868 w 370"/>
                    <a:gd name="T35" fmla="*/ 882614 h 1371"/>
                    <a:gd name="T36" fmla="*/ 129078 w 370"/>
                    <a:gd name="T37" fmla="*/ 919982 h 1371"/>
                    <a:gd name="T38" fmla="*/ 147071 w 370"/>
                    <a:gd name="T39" fmla="*/ 943149 h 1371"/>
                    <a:gd name="T40" fmla="*/ 161934 w 370"/>
                    <a:gd name="T41" fmla="*/ 961833 h 1371"/>
                    <a:gd name="T42" fmla="*/ 169757 w 370"/>
                    <a:gd name="T43" fmla="*/ 976780 h 1371"/>
                    <a:gd name="T44" fmla="*/ 195573 w 370"/>
                    <a:gd name="T45" fmla="*/ 1001442 h 1371"/>
                    <a:gd name="T46" fmla="*/ 208872 w 370"/>
                    <a:gd name="T47" fmla="*/ 1011158 h 1371"/>
                    <a:gd name="T48" fmla="*/ 263632 w 370"/>
                    <a:gd name="T49" fmla="*/ 981264 h 1371"/>
                    <a:gd name="T50" fmla="*/ 203396 w 370"/>
                    <a:gd name="T51" fmla="*/ 967812 h 1371"/>
                    <a:gd name="T52" fmla="*/ 160370 w 370"/>
                    <a:gd name="T53" fmla="*/ 936423 h 1371"/>
                    <a:gd name="T54" fmla="*/ 148635 w 370"/>
                    <a:gd name="T55" fmla="*/ 844500 h 1371"/>
                    <a:gd name="T56" fmla="*/ 136119 w 370"/>
                    <a:gd name="T57" fmla="*/ 779481 h 1371"/>
                    <a:gd name="T58" fmla="*/ 122820 w 370"/>
                    <a:gd name="T59" fmla="*/ 756313 h 1371"/>
                    <a:gd name="T60" fmla="*/ 98569 w 370"/>
                    <a:gd name="T61" fmla="*/ 688305 h 1371"/>
                    <a:gd name="T62" fmla="*/ 90746 w 370"/>
                    <a:gd name="T63" fmla="*/ 603107 h 1371"/>
                    <a:gd name="T64" fmla="*/ 72753 w 370"/>
                    <a:gd name="T65" fmla="*/ 538836 h 1371"/>
                    <a:gd name="T66" fmla="*/ 83705 w 370"/>
                    <a:gd name="T67" fmla="*/ 464849 h 1371"/>
                    <a:gd name="T68" fmla="*/ 53196 w 370"/>
                    <a:gd name="T69" fmla="*/ 402819 h 1371"/>
                    <a:gd name="T70" fmla="*/ 56325 w 370"/>
                    <a:gd name="T71" fmla="*/ 344526 h 1371"/>
                    <a:gd name="T72" fmla="*/ 77447 w 370"/>
                    <a:gd name="T73" fmla="*/ 273528 h 1371"/>
                    <a:gd name="T74" fmla="*/ 69624 w 370"/>
                    <a:gd name="T75" fmla="*/ 210004 h 1371"/>
                    <a:gd name="T76" fmla="*/ 101698 w 370"/>
                    <a:gd name="T77" fmla="*/ 154700 h 1371"/>
                    <a:gd name="T78" fmla="*/ 66495 w 370"/>
                    <a:gd name="T79" fmla="*/ 121817 h 1371"/>
                    <a:gd name="T80" fmla="*/ 50067 w 370"/>
                    <a:gd name="T81" fmla="*/ 50819 h 1371"/>
                    <a:gd name="T82" fmla="*/ 21122 w 370"/>
                    <a:gd name="T83" fmla="*/ 0 h 1371"/>
                    <a:gd name="T84" fmla="*/ 0 w 370"/>
                    <a:gd name="T85" fmla="*/ 23168 h 1371"/>
                    <a:gd name="T86" fmla="*/ 13299 w 370"/>
                    <a:gd name="T87" fmla="*/ 127796 h 1371"/>
                    <a:gd name="T88" fmla="*/ 16428 w 370"/>
                    <a:gd name="T89" fmla="*/ 205520 h 1371"/>
                    <a:gd name="T90" fmla="*/ 16428 w 370"/>
                    <a:gd name="T91" fmla="*/ 317622 h 1371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370"/>
                    <a:gd name="T139" fmla="*/ 0 h 1371"/>
                    <a:gd name="T140" fmla="*/ 370 w 370"/>
                    <a:gd name="T141" fmla="*/ 1371 h 1371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370" h="1371">
                      <a:moveTo>
                        <a:pt x="23" y="487"/>
                      </a:moveTo>
                      <a:lnTo>
                        <a:pt x="31" y="514"/>
                      </a:lnTo>
                      <a:lnTo>
                        <a:pt x="37" y="543"/>
                      </a:lnTo>
                      <a:lnTo>
                        <a:pt x="41" y="572"/>
                      </a:lnTo>
                      <a:lnTo>
                        <a:pt x="45" y="601"/>
                      </a:lnTo>
                      <a:lnTo>
                        <a:pt x="41" y="634"/>
                      </a:lnTo>
                      <a:lnTo>
                        <a:pt x="37" y="669"/>
                      </a:lnTo>
                      <a:lnTo>
                        <a:pt x="33" y="702"/>
                      </a:lnTo>
                      <a:lnTo>
                        <a:pt x="31" y="737"/>
                      </a:lnTo>
                      <a:lnTo>
                        <a:pt x="23" y="748"/>
                      </a:lnTo>
                      <a:lnTo>
                        <a:pt x="35" y="781"/>
                      </a:lnTo>
                      <a:lnTo>
                        <a:pt x="46" y="812"/>
                      </a:lnTo>
                      <a:lnTo>
                        <a:pt x="54" y="849"/>
                      </a:lnTo>
                      <a:lnTo>
                        <a:pt x="50" y="882"/>
                      </a:lnTo>
                      <a:lnTo>
                        <a:pt x="70" y="915"/>
                      </a:lnTo>
                      <a:lnTo>
                        <a:pt x="72" y="921"/>
                      </a:lnTo>
                      <a:lnTo>
                        <a:pt x="85" y="915"/>
                      </a:lnTo>
                      <a:lnTo>
                        <a:pt x="97" y="915"/>
                      </a:lnTo>
                      <a:lnTo>
                        <a:pt x="107" y="909"/>
                      </a:lnTo>
                      <a:lnTo>
                        <a:pt x="103" y="931"/>
                      </a:lnTo>
                      <a:lnTo>
                        <a:pt x="112" y="940"/>
                      </a:lnTo>
                      <a:lnTo>
                        <a:pt x="109" y="936"/>
                      </a:lnTo>
                      <a:lnTo>
                        <a:pt x="109" y="948"/>
                      </a:lnTo>
                      <a:lnTo>
                        <a:pt x="112" y="969"/>
                      </a:lnTo>
                      <a:lnTo>
                        <a:pt x="114" y="995"/>
                      </a:lnTo>
                      <a:lnTo>
                        <a:pt x="116" y="1008"/>
                      </a:lnTo>
                      <a:lnTo>
                        <a:pt x="134" y="1024"/>
                      </a:lnTo>
                      <a:lnTo>
                        <a:pt x="124" y="1049"/>
                      </a:lnTo>
                      <a:lnTo>
                        <a:pt x="134" y="1057"/>
                      </a:lnTo>
                      <a:lnTo>
                        <a:pt x="126" y="1059"/>
                      </a:lnTo>
                      <a:lnTo>
                        <a:pt x="128" y="1068"/>
                      </a:lnTo>
                      <a:lnTo>
                        <a:pt x="130" y="1088"/>
                      </a:lnTo>
                      <a:lnTo>
                        <a:pt x="132" y="1086"/>
                      </a:lnTo>
                      <a:lnTo>
                        <a:pt x="122" y="1101"/>
                      </a:lnTo>
                      <a:lnTo>
                        <a:pt x="120" y="1090"/>
                      </a:lnTo>
                      <a:lnTo>
                        <a:pt x="109" y="1090"/>
                      </a:lnTo>
                      <a:lnTo>
                        <a:pt x="110" y="1076"/>
                      </a:lnTo>
                      <a:lnTo>
                        <a:pt x="103" y="1078"/>
                      </a:lnTo>
                      <a:lnTo>
                        <a:pt x="93" y="1080"/>
                      </a:lnTo>
                      <a:lnTo>
                        <a:pt x="78" y="1111"/>
                      </a:lnTo>
                      <a:lnTo>
                        <a:pt x="81" y="1107"/>
                      </a:lnTo>
                      <a:lnTo>
                        <a:pt x="93" y="1101"/>
                      </a:lnTo>
                      <a:lnTo>
                        <a:pt x="110" y="1109"/>
                      </a:lnTo>
                      <a:lnTo>
                        <a:pt x="134" y="1126"/>
                      </a:lnTo>
                      <a:lnTo>
                        <a:pt x="124" y="1134"/>
                      </a:lnTo>
                      <a:lnTo>
                        <a:pt x="132" y="1140"/>
                      </a:lnTo>
                      <a:lnTo>
                        <a:pt x="118" y="1146"/>
                      </a:lnTo>
                      <a:lnTo>
                        <a:pt x="145" y="1144"/>
                      </a:lnTo>
                      <a:lnTo>
                        <a:pt x="147" y="1140"/>
                      </a:lnTo>
                      <a:lnTo>
                        <a:pt x="159" y="1154"/>
                      </a:lnTo>
                      <a:lnTo>
                        <a:pt x="159" y="1163"/>
                      </a:lnTo>
                      <a:lnTo>
                        <a:pt x="138" y="1159"/>
                      </a:lnTo>
                      <a:lnTo>
                        <a:pt x="128" y="1157"/>
                      </a:lnTo>
                      <a:lnTo>
                        <a:pt x="143" y="1181"/>
                      </a:lnTo>
                      <a:lnTo>
                        <a:pt x="157" y="1206"/>
                      </a:lnTo>
                      <a:lnTo>
                        <a:pt x="159" y="1220"/>
                      </a:lnTo>
                      <a:lnTo>
                        <a:pt x="165" y="1231"/>
                      </a:lnTo>
                      <a:lnTo>
                        <a:pt x="159" y="1237"/>
                      </a:lnTo>
                      <a:lnTo>
                        <a:pt x="174" y="1247"/>
                      </a:lnTo>
                      <a:lnTo>
                        <a:pt x="188" y="1262"/>
                      </a:lnTo>
                      <a:lnTo>
                        <a:pt x="186" y="1268"/>
                      </a:lnTo>
                      <a:lnTo>
                        <a:pt x="200" y="1278"/>
                      </a:lnTo>
                      <a:lnTo>
                        <a:pt x="207" y="1287"/>
                      </a:lnTo>
                      <a:lnTo>
                        <a:pt x="200" y="1284"/>
                      </a:lnTo>
                      <a:lnTo>
                        <a:pt x="215" y="1297"/>
                      </a:lnTo>
                      <a:lnTo>
                        <a:pt x="217" y="1307"/>
                      </a:lnTo>
                      <a:lnTo>
                        <a:pt x="231" y="1324"/>
                      </a:lnTo>
                      <a:lnTo>
                        <a:pt x="235" y="1332"/>
                      </a:lnTo>
                      <a:lnTo>
                        <a:pt x="250" y="1340"/>
                      </a:lnTo>
                      <a:lnTo>
                        <a:pt x="254" y="1346"/>
                      </a:lnTo>
                      <a:lnTo>
                        <a:pt x="250" y="1348"/>
                      </a:lnTo>
                      <a:lnTo>
                        <a:pt x="267" y="1353"/>
                      </a:lnTo>
                      <a:lnTo>
                        <a:pt x="312" y="1371"/>
                      </a:lnTo>
                      <a:lnTo>
                        <a:pt x="314" y="1324"/>
                      </a:lnTo>
                      <a:lnTo>
                        <a:pt x="337" y="1313"/>
                      </a:lnTo>
                      <a:lnTo>
                        <a:pt x="370" y="1315"/>
                      </a:lnTo>
                      <a:lnTo>
                        <a:pt x="318" y="1301"/>
                      </a:lnTo>
                      <a:lnTo>
                        <a:pt x="260" y="1295"/>
                      </a:lnTo>
                      <a:lnTo>
                        <a:pt x="242" y="1280"/>
                      </a:lnTo>
                      <a:lnTo>
                        <a:pt x="223" y="1251"/>
                      </a:lnTo>
                      <a:lnTo>
                        <a:pt x="205" y="1253"/>
                      </a:lnTo>
                      <a:lnTo>
                        <a:pt x="176" y="1204"/>
                      </a:lnTo>
                      <a:lnTo>
                        <a:pt x="196" y="1181"/>
                      </a:lnTo>
                      <a:lnTo>
                        <a:pt x="190" y="1130"/>
                      </a:lnTo>
                      <a:lnTo>
                        <a:pt x="184" y="1088"/>
                      </a:lnTo>
                      <a:lnTo>
                        <a:pt x="182" y="1059"/>
                      </a:lnTo>
                      <a:lnTo>
                        <a:pt x="174" y="1043"/>
                      </a:lnTo>
                      <a:lnTo>
                        <a:pt x="161" y="1035"/>
                      </a:lnTo>
                      <a:lnTo>
                        <a:pt x="182" y="1028"/>
                      </a:lnTo>
                      <a:lnTo>
                        <a:pt x="157" y="1012"/>
                      </a:lnTo>
                      <a:lnTo>
                        <a:pt x="143" y="973"/>
                      </a:lnTo>
                      <a:lnTo>
                        <a:pt x="128" y="952"/>
                      </a:lnTo>
                      <a:lnTo>
                        <a:pt x="126" y="921"/>
                      </a:lnTo>
                      <a:lnTo>
                        <a:pt x="114" y="871"/>
                      </a:lnTo>
                      <a:lnTo>
                        <a:pt x="110" y="832"/>
                      </a:lnTo>
                      <a:lnTo>
                        <a:pt x="116" y="807"/>
                      </a:lnTo>
                      <a:lnTo>
                        <a:pt x="112" y="785"/>
                      </a:lnTo>
                      <a:lnTo>
                        <a:pt x="103" y="754"/>
                      </a:lnTo>
                      <a:lnTo>
                        <a:pt x="93" y="721"/>
                      </a:lnTo>
                      <a:lnTo>
                        <a:pt x="109" y="696"/>
                      </a:lnTo>
                      <a:lnTo>
                        <a:pt x="101" y="671"/>
                      </a:lnTo>
                      <a:lnTo>
                        <a:pt x="107" y="622"/>
                      </a:lnTo>
                      <a:lnTo>
                        <a:pt x="99" y="601"/>
                      </a:lnTo>
                      <a:lnTo>
                        <a:pt x="83" y="570"/>
                      </a:lnTo>
                      <a:lnTo>
                        <a:pt x="68" y="539"/>
                      </a:lnTo>
                      <a:lnTo>
                        <a:pt x="68" y="514"/>
                      </a:lnTo>
                      <a:lnTo>
                        <a:pt x="74" y="491"/>
                      </a:lnTo>
                      <a:lnTo>
                        <a:pt x="72" y="461"/>
                      </a:lnTo>
                      <a:lnTo>
                        <a:pt x="72" y="434"/>
                      </a:lnTo>
                      <a:lnTo>
                        <a:pt x="85" y="401"/>
                      </a:lnTo>
                      <a:lnTo>
                        <a:pt x="99" y="366"/>
                      </a:lnTo>
                      <a:lnTo>
                        <a:pt x="107" y="357"/>
                      </a:lnTo>
                      <a:lnTo>
                        <a:pt x="95" y="333"/>
                      </a:lnTo>
                      <a:lnTo>
                        <a:pt x="89" y="281"/>
                      </a:lnTo>
                      <a:lnTo>
                        <a:pt x="95" y="262"/>
                      </a:lnTo>
                      <a:lnTo>
                        <a:pt x="124" y="246"/>
                      </a:lnTo>
                      <a:lnTo>
                        <a:pt x="130" y="207"/>
                      </a:lnTo>
                      <a:lnTo>
                        <a:pt x="124" y="202"/>
                      </a:lnTo>
                      <a:lnTo>
                        <a:pt x="101" y="198"/>
                      </a:lnTo>
                      <a:lnTo>
                        <a:pt x="85" y="163"/>
                      </a:lnTo>
                      <a:lnTo>
                        <a:pt x="72" y="130"/>
                      </a:lnTo>
                      <a:lnTo>
                        <a:pt x="64" y="97"/>
                      </a:lnTo>
                      <a:lnTo>
                        <a:pt x="64" y="68"/>
                      </a:lnTo>
                      <a:lnTo>
                        <a:pt x="46" y="43"/>
                      </a:lnTo>
                      <a:lnTo>
                        <a:pt x="35" y="17"/>
                      </a:lnTo>
                      <a:lnTo>
                        <a:pt x="27" y="0"/>
                      </a:lnTo>
                      <a:lnTo>
                        <a:pt x="17" y="14"/>
                      </a:lnTo>
                      <a:lnTo>
                        <a:pt x="6" y="31"/>
                      </a:lnTo>
                      <a:lnTo>
                        <a:pt x="0" y="31"/>
                      </a:lnTo>
                      <a:lnTo>
                        <a:pt x="8" y="79"/>
                      </a:lnTo>
                      <a:lnTo>
                        <a:pt x="17" y="128"/>
                      </a:lnTo>
                      <a:lnTo>
                        <a:pt x="17" y="171"/>
                      </a:lnTo>
                      <a:lnTo>
                        <a:pt x="17" y="211"/>
                      </a:lnTo>
                      <a:lnTo>
                        <a:pt x="15" y="229"/>
                      </a:lnTo>
                      <a:lnTo>
                        <a:pt x="21" y="275"/>
                      </a:lnTo>
                      <a:lnTo>
                        <a:pt x="23" y="316"/>
                      </a:lnTo>
                      <a:lnTo>
                        <a:pt x="21" y="370"/>
                      </a:lnTo>
                      <a:lnTo>
                        <a:pt x="21" y="425"/>
                      </a:lnTo>
                      <a:lnTo>
                        <a:pt x="23" y="448"/>
                      </a:lnTo>
                      <a:lnTo>
                        <a:pt x="23" y="48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2" name="Freeform 272"/>
                <p:cNvSpPr>
                  <a:spLocks/>
                </p:cNvSpPr>
                <p:nvPr/>
              </p:nvSpPr>
              <p:spPr bwMode="auto">
                <a:xfrm>
                  <a:off x="2777999" y="4872969"/>
                  <a:ext cx="72806" cy="65703"/>
                </a:xfrm>
                <a:custGeom>
                  <a:avLst/>
                  <a:gdLst>
                    <a:gd name="T0" fmla="*/ 48037 w 97"/>
                    <a:gd name="T1" fmla="*/ 3056 h 86"/>
                    <a:gd name="T2" fmla="*/ 61547 w 97"/>
                    <a:gd name="T3" fmla="*/ 34379 h 86"/>
                    <a:gd name="T4" fmla="*/ 72806 w 97"/>
                    <a:gd name="T5" fmla="*/ 65703 h 86"/>
                    <a:gd name="T6" fmla="*/ 66051 w 97"/>
                    <a:gd name="T7" fmla="*/ 64175 h 86"/>
                    <a:gd name="T8" fmla="*/ 55543 w 97"/>
                    <a:gd name="T9" fmla="*/ 65703 h 86"/>
                    <a:gd name="T10" fmla="*/ 29273 w 97"/>
                    <a:gd name="T11" fmla="*/ 62647 h 86"/>
                    <a:gd name="T12" fmla="*/ 20266 w 97"/>
                    <a:gd name="T13" fmla="*/ 61119 h 86"/>
                    <a:gd name="T14" fmla="*/ 0 w 97"/>
                    <a:gd name="T15" fmla="*/ 58063 h 86"/>
                    <a:gd name="T16" fmla="*/ 6005 w 97"/>
                    <a:gd name="T17" fmla="*/ 55007 h 86"/>
                    <a:gd name="T18" fmla="*/ 18014 w 97"/>
                    <a:gd name="T19" fmla="*/ 50423 h 86"/>
                    <a:gd name="T20" fmla="*/ 24769 w 97"/>
                    <a:gd name="T21" fmla="*/ 55007 h 86"/>
                    <a:gd name="T22" fmla="*/ 32275 w 97"/>
                    <a:gd name="T23" fmla="*/ 55007 h 86"/>
                    <a:gd name="T24" fmla="*/ 20266 w 97"/>
                    <a:gd name="T25" fmla="*/ 48895 h 86"/>
                    <a:gd name="T26" fmla="*/ 35277 w 97"/>
                    <a:gd name="T27" fmla="*/ 51951 h 86"/>
                    <a:gd name="T28" fmla="*/ 42783 w 97"/>
                    <a:gd name="T29" fmla="*/ 53479 h 86"/>
                    <a:gd name="T30" fmla="*/ 55543 w 97"/>
                    <a:gd name="T31" fmla="*/ 56535 h 86"/>
                    <a:gd name="T32" fmla="*/ 58545 w 97"/>
                    <a:gd name="T33" fmla="*/ 56535 h 86"/>
                    <a:gd name="T34" fmla="*/ 30774 w 97"/>
                    <a:gd name="T35" fmla="*/ 40491 h 86"/>
                    <a:gd name="T36" fmla="*/ 42783 w 97"/>
                    <a:gd name="T37" fmla="*/ 26740 h 86"/>
                    <a:gd name="T38" fmla="*/ 23268 w 97"/>
                    <a:gd name="T39" fmla="*/ 26740 h 86"/>
                    <a:gd name="T40" fmla="*/ 16513 w 97"/>
                    <a:gd name="T41" fmla="*/ 6112 h 86"/>
                    <a:gd name="T42" fmla="*/ 24769 w 97"/>
                    <a:gd name="T43" fmla="*/ 0 h 86"/>
                    <a:gd name="T44" fmla="*/ 48037 w 97"/>
                    <a:gd name="T45" fmla="*/ 3056 h 8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97"/>
                    <a:gd name="T70" fmla="*/ 0 h 86"/>
                    <a:gd name="T71" fmla="*/ 97 w 97"/>
                    <a:gd name="T72" fmla="*/ 86 h 8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97" h="86">
                      <a:moveTo>
                        <a:pt x="64" y="4"/>
                      </a:moveTo>
                      <a:lnTo>
                        <a:pt x="82" y="45"/>
                      </a:lnTo>
                      <a:lnTo>
                        <a:pt x="97" y="86"/>
                      </a:lnTo>
                      <a:lnTo>
                        <a:pt x="88" y="84"/>
                      </a:lnTo>
                      <a:lnTo>
                        <a:pt x="74" y="86"/>
                      </a:lnTo>
                      <a:lnTo>
                        <a:pt x="39" y="82"/>
                      </a:lnTo>
                      <a:lnTo>
                        <a:pt x="27" y="80"/>
                      </a:lnTo>
                      <a:lnTo>
                        <a:pt x="0" y="76"/>
                      </a:lnTo>
                      <a:lnTo>
                        <a:pt x="8" y="72"/>
                      </a:lnTo>
                      <a:lnTo>
                        <a:pt x="24" y="66"/>
                      </a:lnTo>
                      <a:lnTo>
                        <a:pt x="33" y="72"/>
                      </a:lnTo>
                      <a:lnTo>
                        <a:pt x="43" y="72"/>
                      </a:lnTo>
                      <a:lnTo>
                        <a:pt x="27" y="64"/>
                      </a:lnTo>
                      <a:lnTo>
                        <a:pt x="47" y="68"/>
                      </a:lnTo>
                      <a:lnTo>
                        <a:pt x="57" y="70"/>
                      </a:lnTo>
                      <a:lnTo>
                        <a:pt x="74" y="74"/>
                      </a:lnTo>
                      <a:lnTo>
                        <a:pt x="78" y="74"/>
                      </a:lnTo>
                      <a:lnTo>
                        <a:pt x="41" y="53"/>
                      </a:lnTo>
                      <a:lnTo>
                        <a:pt x="57" y="35"/>
                      </a:lnTo>
                      <a:lnTo>
                        <a:pt x="31" y="35"/>
                      </a:lnTo>
                      <a:lnTo>
                        <a:pt x="22" y="8"/>
                      </a:lnTo>
                      <a:lnTo>
                        <a:pt x="33" y="0"/>
                      </a:lnTo>
                      <a:lnTo>
                        <a:pt x="64" y="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3" name="Freeform 273"/>
                <p:cNvSpPr>
                  <a:spLocks/>
                </p:cNvSpPr>
                <p:nvPr/>
              </p:nvSpPr>
              <p:spPr bwMode="auto">
                <a:xfrm>
                  <a:off x="2591546" y="4578194"/>
                  <a:ext cx="21309" cy="40842"/>
                </a:xfrm>
                <a:custGeom>
                  <a:avLst/>
                  <a:gdLst>
                    <a:gd name="T0" fmla="*/ 7892 w 27"/>
                    <a:gd name="T1" fmla="*/ 0 h 56"/>
                    <a:gd name="T2" fmla="*/ 0 w 27"/>
                    <a:gd name="T3" fmla="*/ 4376 h 56"/>
                    <a:gd name="T4" fmla="*/ 11049 w 27"/>
                    <a:gd name="T5" fmla="*/ 40842 h 56"/>
                    <a:gd name="T6" fmla="*/ 19731 w 27"/>
                    <a:gd name="T7" fmla="*/ 37925 h 56"/>
                    <a:gd name="T8" fmla="*/ 21309 w 27"/>
                    <a:gd name="T9" fmla="*/ 31361 h 56"/>
                    <a:gd name="T10" fmla="*/ 14995 w 27"/>
                    <a:gd name="T11" fmla="*/ 13857 h 56"/>
                    <a:gd name="T12" fmla="*/ 19731 w 27"/>
                    <a:gd name="T13" fmla="*/ 12398 h 56"/>
                    <a:gd name="T14" fmla="*/ 7892 w 27"/>
                    <a:gd name="T15" fmla="*/ 0 h 5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7"/>
                    <a:gd name="T25" fmla="*/ 0 h 56"/>
                    <a:gd name="T26" fmla="*/ 27 w 27"/>
                    <a:gd name="T27" fmla="*/ 56 h 5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7" h="56">
                      <a:moveTo>
                        <a:pt x="10" y="0"/>
                      </a:moveTo>
                      <a:lnTo>
                        <a:pt x="0" y="6"/>
                      </a:lnTo>
                      <a:lnTo>
                        <a:pt x="14" y="56"/>
                      </a:lnTo>
                      <a:lnTo>
                        <a:pt x="25" y="52"/>
                      </a:lnTo>
                      <a:lnTo>
                        <a:pt x="27" y="43"/>
                      </a:lnTo>
                      <a:lnTo>
                        <a:pt x="19" y="19"/>
                      </a:lnTo>
                      <a:lnTo>
                        <a:pt x="25" y="17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4" name="Freeform 274"/>
                <p:cNvSpPr>
                  <a:spLocks/>
                </p:cNvSpPr>
                <p:nvPr/>
              </p:nvSpPr>
              <p:spPr bwMode="auto">
                <a:xfrm>
                  <a:off x="2634164" y="4773527"/>
                  <a:ext cx="21309" cy="35515"/>
                </a:xfrm>
                <a:custGeom>
                  <a:avLst/>
                  <a:gdLst>
                    <a:gd name="T0" fmla="*/ 11757 w 29"/>
                    <a:gd name="T1" fmla="*/ 0 h 48"/>
                    <a:gd name="T2" fmla="*/ 0 w 29"/>
                    <a:gd name="T3" fmla="*/ 14058 h 48"/>
                    <a:gd name="T4" fmla="*/ 13226 w 29"/>
                    <a:gd name="T5" fmla="*/ 29596 h 48"/>
                    <a:gd name="T6" fmla="*/ 21309 w 29"/>
                    <a:gd name="T7" fmla="*/ 35515 h 48"/>
                    <a:gd name="T8" fmla="*/ 21309 w 29"/>
                    <a:gd name="T9" fmla="*/ 24417 h 48"/>
                    <a:gd name="T10" fmla="*/ 11757 w 29"/>
                    <a:gd name="T11" fmla="*/ 0 h 4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9"/>
                    <a:gd name="T19" fmla="*/ 0 h 48"/>
                    <a:gd name="T20" fmla="*/ 29 w 29"/>
                    <a:gd name="T21" fmla="*/ 48 h 4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9" h="48">
                      <a:moveTo>
                        <a:pt x="16" y="0"/>
                      </a:moveTo>
                      <a:lnTo>
                        <a:pt x="0" y="19"/>
                      </a:lnTo>
                      <a:lnTo>
                        <a:pt x="18" y="40"/>
                      </a:lnTo>
                      <a:lnTo>
                        <a:pt x="29" y="48"/>
                      </a:lnTo>
                      <a:lnTo>
                        <a:pt x="29" y="33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5" name="Freeform 275"/>
                <p:cNvSpPr>
                  <a:spLocks/>
                </p:cNvSpPr>
                <p:nvPr/>
              </p:nvSpPr>
              <p:spPr bwMode="auto">
                <a:xfrm>
                  <a:off x="158766" y="3683214"/>
                  <a:ext cx="0" cy="7103"/>
                </a:xfrm>
                <a:custGeom>
                  <a:avLst/>
                  <a:gdLst>
                    <a:gd name="T0" fmla="*/ 0 w 4"/>
                    <a:gd name="T1" fmla="*/ 2368 h 6"/>
                    <a:gd name="T2" fmla="*/ 0 w 4"/>
                    <a:gd name="T3" fmla="*/ 0 h 6"/>
                    <a:gd name="T4" fmla="*/ 0 w 4"/>
                    <a:gd name="T5" fmla="*/ 4735 h 6"/>
                    <a:gd name="T6" fmla="*/ 0 w 4"/>
                    <a:gd name="T7" fmla="*/ 7103 h 6"/>
                    <a:gd name="T8" fmla="*/ 0 w 4"/>
                    <a:gd name="T9" fmla="*/ 7103 h 6"/>
                    <a:gd name="T10" fmla="*/ 0 w 4"/>
                    <a:gd name="T11" fmla="*/ 4735 h 6"/>
                    <a:gd name="T12" fmla="*/ 0 w 4"/>
                    <a:gd name="T13" fmla="*/ 2368 h 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"/>
                    <a:gd name="T22" fmla="*/ 0 h 6"/>
                    <a:gd name="T23" fmla="*/ 0 w 4"/>
                    <a:gd name="T24" fmla="*/ 6 h 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" h="6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4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6" name="Freeform 276"/>
                <p:cNvSpPr>
                  <a:spLocks/>
                </p:cNvSpPr>
                <p:nvPr/>
              </p:nvSpPr>
              <p:spPr bwMode="auto">
                <a:xfrm>
                  <a:off x="309705" y="4009953"/>
                  <a:ext cx="0" cy="5327"/>
                </a:xfrm>
                <a:custGeom>
                  <a:avLst/>
                  <a:gdLst>
                    <a:gd name="T0" fmla="*/ 0 w 3"/>
                    <a:gd name="T1" fmla="*/ 3551 h 6"/>
                    <a:gd name="T2" fmla="*/ 0 w 3"/>
                    <a:gd name="T3" fmla="*/ 0 h 6"/>
                    <a:gd name="T4" fmla="*/ 0 w 3"/>
                    <a:gd name="T5" fmla="*/ 0 h 6"/>
                    <a:gd name="T6" fmla="*/ 0 w 3"/>
                    <a:gd name="T7" fmla="*/ 3551 h 6"/>
                    <a:gd name="T8" fmla="*/ 0 w 3"/>
                    <a:gd name="T9" fmla="*/ 5327 h 6"/>
                    <a:gd name="T10" fmla="*/ 0 w 3"/>
                    <a:gd name="T11" fmla="*/ 3551 h 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"/>
                    <a:gd name="T19" fmla="*/ 0 h 6"/>
                    <a:gd name="T20" fmla="*/ 0 w 3"/>
                    <a:gd name="T21" fmla="*/ 6 h 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" h="6">
                      <a:moveTo>
                        <a:pt x="3" y="4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6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7" name="Freeform 277"/>
                <p:cNvSpPr>
                  <a:spLocks/>
                </p:cNvSpPr>
                <p:nvPr/>
              </p:nvSpPr>
              <p:spPr bwMode="auto">
                <a:xfrm>
                  <a:off x="252881" y="3997522"/>
                  <a:ext cx="7103" cy="0"/>
                </a:xfrm>
                <a:custGeom>
                  <a:avLst/>
                  <a:gdLst>
                    <a:gd name="T0" fmla="*/ 2368 w 6"/>
                    <a:gd name="T1" fmla="*/ 0 h 5"/>
                    <a:gd name="T2" fmla="*/ 0 w 6"/>
                    <a:gd name="T3" fmla="*/ 0 h 5"/>
                    <a:gd name="T4" fmla="*/ 2368 w 6"/>
                    <a:gd name="T5" fmla="*/ 0 h 5"/>
                    <a:gd name="T6" fmla="*/ 0 w 6"/>
                    <a:gd name="T7" fmla="*/ 0 h 5"/>
                    <a:gd name="T8" fmla="*/ 2368 w 6"/>
                    <a:gd name="T9" fmla="*/ 0 h 5"/>
                    <a:gd name="T10" fmla="*/ 7103 w 6"/>
                    <a:gd name="T11" fmla="*/ 0 h 5"/>
                    <a:gd name="T12" fmla="*/ 2368 w 6"/>
                    <a:gd name="T13" fmla="*/ 0 h 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5"/>
                    <a:gd name="T23" fmla="*/ 6 w 6"/>
                    <a:gd name="T24" fmla="*/ 0 h 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5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6" y="1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8" name="Freeform 278"/>
                <p:cNvSpPr>
                  <a:spLocks/>
                </p:cNvSpPr>
                <p:nvPr/>
              </p:nvSpPr>
              <p:spPr bwMode="auto">
                <a:xfrm>
                  <a:off x="229796" y="3926492"/>
                  <a:ext cx="7103" cy="0"/>
                </a:xfrm>
                <a:custGeom>
                  <a:avLst/>
                  <a:gdLst>
                    <a:gd name="T0" fmla="*/ 7103 w 6"/>
                    <a:gd name="T1" fmla="*/ 0 h 4"/>
                    <a:gd name="T2" fmla="*/ 4735 w 6"/>
                    <a:gd name="T3" fmla="*/ 0 h 4"/>
                    <a:gd name="T4" fmla="*/ 2368 w 6"/>
                    <a:gd name="T5" fmla="*/ 0 h 4"/>
                    <a:gd name="T6" fmla="*/ 0 w 6"/>
                    <a:gd name="T7" fmla="*/ 0 h 4"/>
                    <a:gd name="T8" fmla="*/ 7103 w 6"/>
                    <a:gd name="T9" fmla="*/ 0 h 4"/>
                    <a:gd name="T10" fmla="*/ 7103 w 6"/>
                    <a:gd name="T11" fmla="*/ 0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"/>
                    <a:gd name="T19" fmla="*/ 0 h 4"/>
                    <a:gd name="T20" fmla="*/ 6 w 6"/>
                    <a:gd name="T21" fmla="*/ 0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" h="4">
                      <a:moveTo>
                        <a:pt x="6" y="4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6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89" name="Freeform 279"/>
                <p:cNvSpPr>
                  <a:spLocks/>
                </p:cNvSpPr>
                <p:nvPr/>
              </p:nvSpPr>
              <p:spPr bwMode="auto">
                <a:xfrm>
                  <a:off x="259984" y="3931819"/>
                  <a:ext cx="0" cy="7103"/>
                </a:xfrm>
                <a:custGeom>
                  <a:avLst/>
                  <a:gdLst>
                    <a:gd name="T0" fmla="*/ 0 w 5"/>
                    <a:gd name="T1" fmla="*/ 7103 h 4"/>
                    <a:gd name="T2" fmla="*/ 0 w 5"/>
                    <a:gd name="T3" fmla="*/ 7103 h 4"/>
                    <a:gd name="T4" fmla="*/ 0 w 5"/>
                    <a:gd name="T5" fmla="*/ 3552 h 4"/>
                    <a:gd name="T6" fmla="*/ 0 w 5"/>
                    <a:gd name="T7" fmla="*/ 0 h 4"/>
                    <a:gd name="T8" fmla="*/ 0 w 5"/>
                    <a:gd name="T9" fmla="*/ 0 h 4"/>
                    <a:gd name="T10" fmla="*/ 0 w 5"/>
                    <a:gd name="T11" fmla="*/ 0 h 4"/>
                    <a:gd name="T12" fmla="*/ 0 w 5"/>
                    <a:gd name="T13" fmla="*/ 3552 h 4"/>
                    <a:gd name="T14" fmla="*/ 0 w 5"/>
                    <a:gd name="T15" fmla="*/ 7103 h 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4"/>
                    <a:gd name="T26" fmla="*/ 0 w 5"/>
                    <a:gd name="T27" fmla="*/ 4 h 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4">
                      <a:moveTo>
                        <a:pt x="3" y="4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3" y="0"/>
                      </a:lnTo>
                      <a:lnTo>
                        <a:pt x="5" y="2"/>
                      </a:lnTo>
                      <a:lnTo>
                        <a:pt x="3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0" name="Freeform 280"/>
                <p:cNvSpPr>
                  <a:spLocks/>
                </p:cNvSpPr>
                <p:nvPr/>
              </p:nvSpPr>
              <p:spPr bwMode="auto">
                <a:xfrm>
                  <a:off x="151663" y="3683214"/>
                  <a:ext cx="7103" cy="0"/>
                </a:xfrm>
                <a:custGeom>
                  <a:avLst/>
                  <a:gdLst>
                    <a:gd name="T0" fmla="*/ 7103 w 4"/>
                    <a:gd name="T1" fmla="*/ 0 h 4"/>
                    <a:gd name="T2" fmla="*/ 3552 w 4"/>
                    <a:gd name="T3" fmla="*/ 0 h 4"/>
                    <a:gd name="T4" fmla="*/ 0 w 4"/>
                    <a:gd name="T5" fmla="*/ 0 h 4"/>
                    <a:gd name="T6" fmla="*/ 0 w 4"/>
                    <a:gd name="T7" fmla="*/ 0 h 4"/>
                    <a:gd name="T8" fmla="*/ 3552 w 4"/>
                    <a:gd name="T9" fmla="*/ 0 h 4"/>
                    <a:gd name="T10" fmla="*/ 7103 w 4"/>
                    <a:gd name="T11" fmla="*/ 0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4"/>
                    <a:gd name="T20" fmla="*/ 4 w 4"/>
                    <a:gd name="T21" fmla="*/ 0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4">
                      <a:moveTo>
                        <a:pt x="4" y="0"/>
                      </a:move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1" name="Freeform 281"/>
                <p:cNvSpPr>
                  <a:spLocks/>
                </p:cNvSpPr>
                <p:nvPr/>
              </p:nvSpPr>
              <p:spPr bwMode="auto">
                <a:xfrm>
                  <a:off x="236899" y="3921165"/>
                  <a:ext cx="0" cy="0"/>
                </a:xfrm>
                <a:custGeom>
                  <a:avLst/>
                  <a:gdLst>
                    <a:gd name="T0" fmla="*/ 0 w 7"/>
                    <a:gd name="T1" fmla="*/ 0 h 2"/>
                    <a:gd name="T2" fmla="*/ 0 w 7"/>
                    <a:gd name="T3" fmla="*/ 0 h 2"/>
                    <a:gd name="T4" fmla="*/ 0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7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7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2" name="Freeform 282"/>
                <p:cNvSpPr>
                  <a:spLocks/>
                </p:cNvSpPr>
                <p:nvPr/>
              </p:nvSpPr>
              <p:spPr bwMode="auto">
                <a:xfrm>
                  <a:off x="144560" y="3903407"/>
                  <a:ext cx="0" cy="5327"/>
                </a:xfrm>
                <a:custGeom>
                  <a:avLst/>
                  <a:gdLst>
                    <a:gd name="T0" fmla="*/ 0 w 6"/>
                    <a:gd name="T1" fmla="*/ 5327 h 2"/>
                    <a:gd name="T2" fmla="*/ 0 w 6"/>
                    <a:gd name="T3" fmla="*/ 5327 h 2"/>
                    <a:gd name="T4" fmla="*/ 0 w 6"/>
                    <a:gd name="T5" fmla="*/ 0 h 2"/>
                    <a:gd name="T6" fmla="*/ 0 w 6"/>
                    <a:gd name="T7" fmla="*/ 0 h 2"/>
                    <a:gd name="T8" fmla="*/ 0 w 6"/>
                    <a:gd name="T9" fmla="*/ 0 h 2"/>
                    <a:gd name="T10" fmla="*/ 0 w 6"/>
                    <a:gd name="T11" fmla="*/ 5327 h 2"/>
                    <a:gd name="T12" fmla="*/ 0 w 6"/>
                    <a:gd name="T13" fmla="*/ 5327 h 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"/>
                    <a:gd name="T22" fmla="*/ 0 h 2"/>
                    <a:gd name="T23" fmla="*/ 0 w 6"/>
                    <a:gd name="T24" fmla="*/ 2 h 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" h="2">
                      <a:moveTo>
                        <a:pt x="4" y="2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3" name="Freeform 283"/>
                <p:cNvSpPr>
                  <a:spLocks/>
                </p:cNvSpPr>
                <p:nvPr/>
              </p:nvSpPr>
              <p:spPr bwMode="auto">
                <a:xfrm>
                  <a:off x="288396" y="3949577"/>
                  <a:ext cx="7103" cy="7103"/>
                </a:xfrm>
                <a:custGeom>
                  <a:avLst/>
                  <a:gdLst>
                    <a:gd name="T0" fmla="*/ 0 w 4"/>
                    <a:gd name="T1" fmla="*/ 3552 h 4"/>
                    <a:gd name="T2" fmla="*/ 0 w 4"/>
                    <a:gd name="T3" fmla="*/ 7103 h 4"/>
                    <a:gd name="T4" fmla="*/ 3552 w 4"/>
                    <a:gd name="T5" fmla="*/ 7103 h 4"/>
                    <a:gd name="T6" fmla="*/ 7103 w 4"/>
                    <a:gd name="T7" fmla="*/ 3552 h 4"/>
                    <a:gd name="T8" fmla="*/ 3552 w 4"/>
                    <a:gd name="T9" fmla="*/ 0 h 4"/>
                    <a:gd name="T10" fmla="*/ 0 w 4"/>
                    <a:gd name="T11" fmla="*/ 3552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4"/>
                    <a:gd name="T20" fmla="*/ 4 w 4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4">
                      <a:moveTo>
                        <a:pt x="0" y="2"/>
                      </a:moveTo>
                      <a:lnTo>
                        <a:pt x="0" y="4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4" name="Freeform 284"/>
                <p:cNvSpPr>
                  <a:spLocks/>
                </p:cNvSpPr>
                <p:nvPr/>
              </p:nvSpPr>
              <p:spPr bwMode="auto">
                <a:xfrm>
                  <a:off x="302602" y="3962007"/>
                  <a:ext cx="7103" cy="5327"/>
                </a:xfrm>
                <a:custGeom>
                  <a:avLst/>
                  <a:gdLst>
                    <a:gd name="T0" fmla="*/ 3552 w 4"/>
                    <a:gd name="T1" fmla="*/ 5327 h 2"/>
                    <a:gd name="T2" fmla="*/ 0 w 4"/>
                    <a:gd name="T3" fmla="*/ 5327 h 2"/>
                    <a:gd name="T4" fmla="*/ 3552 w 4"/>
                    <a:gd name="T5" fmla="*/ 0 h 2"/>
                    <a:gd name="T6" fmla="*/ 7103 w 4"/>
                    <a:gd name="T7" fmla="*/ 0 h 2"/>
                    <a:gd name="T8" fmla="*/ 3552 w 4"/>
                    <a:gd name="T9" fmla="*/ 5327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2"/>
                    <a:gd name="T17" fmla="*/ 4 w 4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2">
                      <a:moveTo>
                        <a:pt x="2" y="2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5" name="Freeform 285"/>
                <p:cNvSpPr>
                  <a:spLocks/>
                </p:cNvSpPr>
                <p:nvPr/>
              </p:nvSpPr>
              <p:spPr bwMode="auto">
                <a:xfrm>
                  <a:off x="107269" y="3772002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w 2"/>
                    <a:gd name="T9" fmla="*/ 0 h 4"/>
                    <a:gd name="T10" fmla="*/ 0 w 2"/>
                    <a:gd name="T11" fmla="*/ 0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"/>
                    <a:gd name="T19" fmla="*/ 0 h 4"/>
                    <a:gd name="T20" fmla="*/ 2 w 2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" h="4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6" name="Freeform 286"/>
                <p:cNvSpPr>
                  <a:spLocks/>
                </p:cNvSpPr>
                <p:nvPr/>
              </p:nvSpPr>
              <p:spPr bwMode="auto">
                <a:xfrm>
                  <a:off x="229796" y="3931819"/>
                  <a:ext cx="0" cy="0"/>
                </a:xfrm>
                <a:custGeom>
                  <a:avLst/>
                  <a:gdLst>
                    <a:gd name="T0" fmla="*/ 0 w 2"/>
                    <a:gd name="T1" fmla="*/ 0 h 4"/>
                    <a:gd name="T2" fmla="*/ 0 w 2"/>
                    <a:gd name="T3" fmla="*/ 0 h 4"/>
                    <a:gd name="T4" fmla="*/ 0 w 2"/>
                    <a:gd name="T5" fmla="*/ 0 h 4"/>
                    <a:gd name="T6" fmla="*/ 0 w 2"/>
                    <a:gd name="T7" fmla="*/ 0 h 4"/>
                    <a:gd name="T8" fmla="*/ 0 w 2"/>
                    <a:gd name="T9" fmla="*/ 0 h 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"/>
                    <a:gd name="T16" fmla="*/ 0 h 4"/>
                    <a:gd name="T17" fmla="*/ 2 w 2"/>
                    <a:gd name="T18" fmla="*/ 4 h 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" h="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2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7" name="Freeform 287"/>
                <p:cNvSpPr>
                  <a:spLocks/>
                </p:cNvSpPr>
                <p:nvPr/>
              </p:nvSpPr>
              <p:spPr bwMode="auto">
                <a:xfrm>
                  <a:off x="107269" y="3766674"/>
                  <a:ext cx="0" cy="0"/>
                </a:xfrm>
                <a:custGeom>
                  <a:avLst/>
                  <a:gdLst>
                    <a:gd name="T0" fmla="*/ 0 w 4"/>
                    <a:gd name="T1" fmla="*/ 0 h 4"/>
                    <a:gd name="T2" fmla="*/ 0 w 4"/>
                    <a:gd name="T3" fmla="*/ 0 h 4"/>
                    <a:gd name="T4" fmla="*/ 0 w 4"/>
                    <a:gd name="T5" fmla="*/ 0 h 4"/>
                    <a:gd name="T6" fmla="*/ 0 w 4"/>
                    <a:gd name="T7" fmla="*/ 0 h 4"/>
                    <a:gd name="T8" fmla="*/ 0 w 4"/>
                    <a:gd name="T9" fmla="*/ 0 h 4"/>
                    <a:gd name="T10" fmla="*/ 0 w 4"/>
                    <a:gd name="T11" fmla="*/ 0 h 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4"/>
                    <a:gd name="T20" fmla="*/ 4 w 4"/>
                    <a:gd name="T21" fmla="*/ 4 h 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4">
                      <a:moveTo>
                        <a:pt x="4" y="0"/>
                      </a:move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8" name="Freeform 288"/>
                <p:cNvSpPr>
                  <a:spLocks/>
                </p:cNvSpPr>
                <p:nvPr/>
              </p:nvSpPr>
              <p:spPr bwMode="auto">
                <a:xfrm>
                  <a:off x="236899" y="3921165"/>
                  <a:ext cx="0" cy="5327"/>
                </a:xfrm>
                <a:custGeom>
                  <a:avLst/>
                  <a:gdLst>
                    <a:gd name="T0" fmla="*/ 0 w 2"/>
                    <a:gd name="T1" fmla="*/ 0 h 1"/>
                    <a:gd name="T2" fmla="*/ 0 w 2"/>
                    <a:gd name="T3" fmla="*/ 5327 h 1"/>
                    <a:gd name="T4" fmla="*/ 0 w 2"/>
                    <a:gd name="T5" fmla="*/ 5327 h 1"/>
                    <a:gd name="T6" fmla="*/ 0 w 2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"/>
                    <a:gd name="T13" fmla="*/ 0 h 1"/>
                    <a:gd name="T14" fmla="*/ 0 w 2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299" name="Freeform 289"/>
                <p:cNvSpPr>
                  <a:spLocks/>
                </p:cNvSpPr>
                <p:nvPr/>
              </p:nvSpPr>
              <p:spPr bwMode="auto">
                <a:xfrm>
                  <a:off x="2238171" y="3345821"/>
                  <a:ext cx="150939" cy="184678"/>
                </a:xfrm>
                <a:custGeom>
                  <a:avLst/>
                  <a:gdLst>
                    <a:gd name="T0" fmla="*/ 0 w 190"/>
                    <a:gd name="T1" fmla="*/ 73417 h 244"/>
                    <a:gd name="T2" fmla="*/ 3178 w 190"/>
                    <a:gd name="T3" fmla="*/ 102178 h 244"/>
                    <a:gd name="T4" fmla="*/ 0 w 190"/>
                    <a:gd name="T5" fmla="*/ 106720 h 244"/>
                    <a:gd name="T6" fmla="*/ 19066 w 190"/>
                    <a:gd name="T7" fmla="*/ 115802 h 244"/>
                    <a:gd name="T8" fmla="*/ 23038 w 190"/>
                    <a:gd name="T9" fmla="*/ 108233 h 244"/>
                    <a:gd name="T10" fmla="*/ 26216 w 190"/>
                    <a:gd name="T11" fmla="*/ 114288 h 244"/>
                    <a:gd name="T12" fmla="*/ 26216 w 190"/>
                    <a:gd name="T13" fmla="*/ 133210 h 244"/>
                    <a:gd name="T14" fmla="*/ 15888 w 190"/>
                    <a:gd name="T15" fmla="*/ 137752 h 244"/>
                    <a:gd name="T16" fmla="*/ 19066 w 190"/>
                    <a:gd name="T17" fmla="*/ 155160 h 244"/>
                    <a:gd name="T18" fmla="*/ 12711 w 190"/>
                    <a:gd name="T19" fmla="*/ 167270 h 244"/>
                    <a:gd name="T20" fmla="*/ 21449 w 190"/>
                    <a:gd name="T21" fmla="*/ 164242 h 244"/>
                    <a:gd name="T22" fmla="*/ 50843 w 190"/>
                    <a:gd name="T23" fmla="*/ 184678 h 244"/>
                    <a:gd name="T24" fmla="*/ 58787 w 190"/>
                    <a:gd name="T25" fmla="*/ 174082 h 244"/>
                    <a:gd name="T26" fmla="*/ 61964 w 190"/>
                    <a:gd name="T27" fmla="*/ 161215 h 244"/>
                    <a:gd name="T28" fmla="*/ 68320 w 190"/>
                    <a:gd name="T29" fmla="*/ 150619 h 244"/>
                    <a:gd name="T30" fmla="*/ 72292 w 190"/>
                    <a:gd name="T31" fmla="*/ 134724 h 244"/>
                    <a:gd name="T32" fmla="*/ 75470 w 190"/>
                    <a:gd name="T33" fmla="*/ 134724 h 244"/>
                    <a:gd name="T34" fmla="*/ 75470 w 190"/>
                    <a:gd name="T35" fmla="*/ 139265 h 244"/>
                    <a:gd name="T36" fmla="*/ 80236 w 190"/>
                    <a:gd name="T37" fmla="*/ 139265 h 244"/>
                    <a:gd name="T38" fmla="*/ 78647 w 190"/>
                    <a:gd name="T39" fmla="*/ 133210 h 244"/>
                    <a:gd name="T40" fmla="*/ 83414 w 190"/>
                    <a:gd name="T41" fmla="*/ 127155 h 244"/>
                    <a:gd name="T42" fmla="*/ 100096 w 190"/>
                    <a:gd name="T43" fmla="*/ 120343 h 244"/>
                    <a:gd name="T44" fmla="*/ 129490 w 190"/>
                    <a:gd name="T45" fmla="*/ 102178 h 244"/>
                    <a:gd name="T46" fmla="*/ 146173 w 190"/>
                    <a:gd name="T47" fmla="*/ 68876 h 244"/>
                    <a:gd name="T48" fmla="*/ 150939 w 190"/>
                    <a:gd name="T49" fmla="*/ 68876 h 244"/>
                    <a:gd name="T50" fmla="*/ 142200 w 190"/>
                    <a:gd name="T51" fmla="*/ 46926 h 244"/>
                    <a:gd name="T52" fmla="*/ 149350 w 190"/>
                    <a:gd name="T53" fmla="*/ 43899 h 244"/>
                    <a:gd name="T54" fmla="*/ 119162 w 190"/>
                    <a:gd name="T55" fmla="*/ 28761 h 244"/>
                    <a:gd name="T56" fmla="*/ 94535 w 190"/>
                    <a:gd name="T57" fmla="*/ 28761 h 244"/>
                    <a:gd name="T58" fmla="*/ 77058 w 190"/>
                    <a:gd name="T59" fmla="*/ 14381 h 244"/>
                    <a:gd name="T60" fmla="*/ 55609 w 190"/>
                    <a:gd name="T61" fmla="*/ 0 h 244"/>
                    <a:gd name="T62" fmla="*/ 44487 w 190"/>
                    <a:gd name="T63" fmla="*/ 9839 h 244"/>
                    <a:gd name="T64" fmla="*/ 21449 w 190"/>
                    <a:gd name="T65" fmla="*/ 21949 h 244"/>
                    <a:gd name="T66" fmla="*/ 15888 w 190"/>
                    <a:gd name="T67" fmla="*/ 45413 h 244"/>
                    <a:gd name="T68" fmla="*/ 12711 w 190"/>
                    <a:gd name="T69" fmla="*/ 58280 h 244"/>
                    <a:gd name="T70" fmla="*/ 0 w 190"/>
                    <a:gd name="T71" fmla="*/ 73417 h 244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90"/>
                    <a:gd name="T109" fmla="*/ 0 h 244"/>
                    <a:gd name="T110" fmla="*/ 190 w 190"/>
                    <a:gd name="T111" fmla="*/ 244 h 244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90" h="244">
                      <a:moveTo>
                        <a:pt x="0" y="97"/>
                      </a:moveTo>
                      <a:lnTo>
                        <a:pt x="4" y="135"/>
                      </a:lnTo>
                      <a:lnTo>
                        <a:pt x="0" y="141"/>
                      </a:lnTo>
                      <a:lnTo>
                        <a:pt x="24" y="153"/>
                      </a:lnTo>
                      <a:lnTo>
                        <a:pt x="29" y="143"/>
                      </a:lnTo>
                      <a:lnTo>
                        <a:pt x="33" y="151"/>
                      </a:lnTo>
                      <a:lnTo>
                        <a:pt x="33" y="176"/>
                      </a:lnTo>
                      <a:lnTo>
                        <a:pt x="20" y="182"/>
                      </a:lnTo>
                      <a:lnTo>
                        <a:pt x="24" y="205"/>
                      </a:lnTo>
                      <a:lnTo>
                        <a:pt x="16" y="221"/>
                      </a:lnTo>
                      <a:lnTo>
                        <a:pt x="27" y="217"/>
                      </a:lnTo>
                      <a:lnTo>
                        <a:pt x="64" y="244"/>
                      </a:lnTo>
                      <a:lnTo>
                        <a:pt x="74" y="230"/>
                      </a:lnTo>
                      <a:lnTo>
                        <a:pt x="78" y="213"/>
                      </a:lnTo>
                      <a:lnTo>
                        <a:pt x="86" y="199"/>
                      </a:lnTo>
                      <a:lnTo>
                        <a:pt x="91" y="178"/>
                      </a:lnTo>
                      <a:lnTo>
                        <a:pt x="95" y="178"/>
                      </a:lnTo>
                      <a:lnTo>
                        <a:pt x="95" y="184"/>
                      </a:lnTo>
                      <a:lnTo>
                        <a:pt x="101" y="184"/>
                      </a:lnTo>
                      <a:lnTo>
                        <a:pt x="99" y="176"/>
                      </a:lnTo>
                      <a:lnTo>
                        <a:pt x="105" y="168"/>
                      </a:lnTo>
                      <a:lnTo>
                        <a:pt x="126" y="159"/>
                      </a:lnTo>
                      <a:lnTo>
                        <a:pt x="163" y="135"/>
                      </a:lnTo>
                      <a:lnTo>
                        <a:pt x="184" y="91"/>
                      </a:lnTo>
                      <a:lnTo>
                        <a:pt x="190" y="91"/>
                      </a:lnTo>
                      <a:lnTo>
                        <a:pt x="179" y="62"/>
                      </a:lnTo>
                      <a:lnTo>
                        <a:pt x="188" y="58"/>
                      </a:lnTo>
                      <a:lnTo>
                        <a:pt x="150" y="38"/>
                      </a:lnTo>
                      <a:lnTo>
                        <a:pt x="119" y="38"/>
                      </a:lnTo>
                      <a:lnTo>
                        <a:pt x="97" y="19"/>
                      </a:lnTo>
                      <a:lnTo>
                        <a:pt x="70" y="0"/>
                      </a:lnTo>
                      <a:lnTo>
                        <a:pt x="56" y="13"/>
                      </a:lnTo>
                      <a:lnTo>
                        <a:pt x="27" y="29"/>
                      </a:lnTo>
                      <a:lnTo>
                        <a:pt x="20" y="60"/>
                      </a:lnTo>
                      <a:lnTo>
                        <a:pt x="16" y="77"/>
                      </a:lnTo>
                      <a:lnTo>
                        <a:pt x="0" y="9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0" name="Freeform 290"/>
                <p:cNvSpPr>
                  <a:spLocks/>
                </p:cNvSpPr>
                <p:nvPr/>
              </p:nvSpPr>
              <p:spPr bwMode="auto">
                <a:xfrm>
                  <a:off x="1955826" y="3393766"/>
                  <a:ext cx="14206" cy="23085"/>
                </a:xfrm>
                <a:custGeom>
                  <a:avLst/>
                  <a:gdLst>
                    <a:gd name="T0" fmla="*/ 0 w 19"/>
                    <a:gd name="T1" fmla="*/ 0 h 35"/>
                    <a:gd name="T2" fmla="*/ 8225 w 19"/>
                    <a:gd name="T3" fmla="*/ 13851 h 35"/>
                    <a:gd name="T4" fmla="*/ 0 w 19"/>
                    <a:gd name="T5" fmla="*/ 21766 h 35"/>
                    <a:gd name="T6" fmla="*/ 14206 w 19"/>
                    <a:gd name="T7" fmla="*/ 23085 h 35"/>
                    <a:gd name="T8" fmla="*/ 5234 w 19"/>
                    <a:gd name="T9" fmla="*/ 0 h 35"/>
                    <a:gd name="T10" fmla="*/ 0 w 19"/>
                    <a:gd name="T11" fmla="*/ 0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"/>
                    <a:gd name="T19" fmla="*/ 0 h 35"/>
                    <a:gd name="T20" fmla="*/ 19 w 19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" h="35">
                      <a:moveTo>
                        <a:pt x="0" y="0"/>
                      </a:moveTo>
                      <a:lnTo>
                        <a:pt x="11" y="21"/>
                      </a:lnTo>
                      <a:lnTo>
                        <a:pt x="0" y="33"/>
                      </a:lnTo>
                      <a:lnTo>
                        <a:pt x="19" y="35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1" name="Freeform 291"/>
                <p:cNvSpPr>
                  <a:spLocks/>
                </p:cNvSpPr>
                <p:nvPr/>
              </p:nvSpPr>
              <p:spPr bwMode="auto">
                <a:xfrm>
                  <a:off x="2259480" y="3464796"/>
                  <a:ext cx="0" cy="5327"/>
                </a:xfrm>
                <a:custGeom>
                  <a:avLst/>
                  <a:gdLst>
                    <a:gd name="T0" fmla="*/ 0 w 8"/>
                    <a:gd name="T1" fmla="*/ 1332 h 8"/>
                    <a:gd name="T2" fmla="*/ 0 w 8"/>
                    <a:gd name="T3" fmla="*/ 5327 h 8"/>
                    <a:gd name="T4" fmla="*/ 0 w 8"/>
                    <a:gd name="T5" fmla="*/ 0 h 8"/>
                    <a:gd name="T6" fmla="*/ 0 w 8"/>
                    <a:gd name="T7" fmla="*/ 1332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0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8" y="2"/>
                      </a:moveTo>
                      <a:lnTo>
                        <a:pt x="2" y="8"/>
                      </a:lnTo>
                      <a:lnTo>
                        <a:pt x="0" y="0"/>
                      </a:lnTo>
                      <a:lnTo>
                        <a:pt x="8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2" name="Freeform 292"/>
                <p:cNvSpPr>
                  <a:spLocks/>
                </p:cNvSpPr>
                <p:nvPr/>
              </p:nvSpPr>
              <p:spPr bwMode="auto">
                <a:xfrm>
                  <a:off x="1984238" y="3406196"/>
                  <a:ext cx="7103" cy="5327"/>
                </a:xfrm>
                <a:custGeom>
                  <a:avLst/>
                  <a:gdLst>
                    <a:gd name="T0" fmla="*/ 7103 w 11"/>
                    <a:gd name="T1" fmla="*/ 2664 h 4"/>
                    <a:gd name="T2" fmla="*/ 7103 w 11"/>
                    <a:gd name="T3" fmla="*/ 5327 h 4"/>
                    <a:gd name="T4" fmla="*/ 0 w 11"/>
                    <a:gd name="T5" fmla="*/ 0 h 4"/>
                    <a:gd name="T6" fmla="*/ 7103 w 11"/>
                    <a:gd name="T7" fmla="*/ 2664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4"/>
                    <a:gd name="T14" fmla="*/ 11 w 11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4">
                      <a:moveTo>
                        <a:pt x="11" y="2"/>
                      </a:moveTo>
                      <a:lnTo>
                        <a:pt x="11" y="4"/>
                      </a:lnTo>
                      <a:lnTo>
                        <a:pt x="0" y="0"/>
                      </a:lnTo>
                      <a:lnTo>
                        <a:pt x="11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3" name="Freeform 293"/>
                <p:cNvSpPr>
                  <a:spLocks/>
                </p:cNvSpPr>
                <p:nvPr/>
              </p:nvSpPr>
              <p:spPr bwMode="auto">
                <a:xfrm>
                  <a:off x="483728" y="3890977"/>
                  <a:ext cx="14206" cy="5327"/>
                </a:xfrm>
                <a:custGeom>
                  <a:avLst/>
                  <a:gdLst>
                    <a:gd name="T0" fmla="*/ 4735 w 18"/>
                    <a:gd name="T1" fmla="*/ 0 h 12"/>
                    <a:gd name="T2" fmla="*/ 0 w 18"/>
                    <a:gd name="T3" fmla="*/ 1776 h 12"/>
                    <a:gd name="T4" fmla="*/ 14206 w 18"/>
                    <a:gd name="T5" fmla="*/ 5327 h 12"/>
                    <a:gd name="T6" fmla="*/ 4735 w 18"/>
                    <a:gd name="T7" fmla="*/ 0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2"/>
                    <a:gd name="T14" fmla="*/ 18 w 18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2">
                      <a:moveTo>
                        <a:pt x="6" y="0"/>
                      </a:moveTo>
                      <a:lnTo>
                        <a:pt x="0" y="4"/>
                      </a:lnTo>
                      <a:lnTo>
                        <a:pt x="18" y="1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4" name="Freeform 294"/>
                <p:cNvSpPr>
                  <a:spLocks/>
                </p:cNvSpPr>
                <p:nvPr/>
              </p:nvSpPr>
              <p:spPr bwMode="auto">
                <a:xfrm>
                  <a:off x="432232" y="3867892"/>
                  <a:ext cx="7103" cy="0"/>
                </a:xfrm>
                <a:custGeom>
                  <a:avLst/>
                  <a:gdLst>
                    <a:gd name="T0" fmla="*/ 7103 w 5"/>
                    <a:gd name="T1" fmla="*/ 0 h 4"/>
                    <a:gd name="T2" fmla="*/ 0 w 5"/>
                    <a:gd name="T3" fmla="*/ 0 h 4"/>
                    <a:gd name="T4" fmla="*/ 5682 w 5"/>
                    <a:gd name="T5" fmla="*/ 0 h 4"/>
                    <a:gd name="T6" fmla="*/ 7103 w 5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"/>
                    <a:gd name="T13" fmla="*/ 0 h 4"/>
                    <a:gd name="T14" fmla="*/ 5 w 5"/>
                    <a:gd name="T15" fmla="*/ 0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" h="4">
                      <a:moveTo>
                        <a:pt x="5" y="4"/>
                      </a:moveTo>
                      <a:lnTo>
                        <a:pt x="0" y="0"/>
                      </a:lnTo>
                      <a:lnTo>
                        <a:pt x="4" y="4"/>
                      </a:lnTo>
                      <a:lnTo>
                        <a:pt x="5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5" name="Freeform 295"/>
                <p:cNvSpPr>
                  <a:spLocks/>
                </p:cNvSpPr>
                <p:nvPr/>
              </p:nvSpPr>
              <p:spPr bwMode="auto">
                <a:xfrm>
                  <a:off x="2229292" y="3393766"/>
                  <a:ext cx="348047" cy="520296"/>
                </a:xfrm>
                <a:custGeom>
                  <a:avLst/>
                  <a:gdLst>
                    <a:gd name="T0" fmla="*/ 336973 w 440"/>
                    <a:gd name="T1" fmla="*/ 411901 h 696"/>
                    <a:gd name="T2" fmla="*/ 340137 w 440"/>
                    <a:gd name="T3" fmla="*/ 458249 h 696"/>
                    <a:gd name="T4" fmla="*/ 336973 w 440"/>
                    <a:gd name="T5" fmla="*/ 485161 h 696"/>
                    <a:gd name="T6" fmla="*/ 329063 w 440"/>
                    <a:gd name="T7" fmla="*/ 507588 h 696"/>
                    <a:gd name="T8" fmla="*/ 315615 w 440"/>
                    <a:gd name="T9" fmla="*/ 520296 h 696"/>
                    <a:gd name="T10" fmla="*/ 286348 w 440"/>
                    <a:gd name="T11" fmla="*/ 494132 h 696"/>
                    <a:gd name="T12" fmla="*/ 240469 w 440"/>
                    <a:gd name="T13" fmla="*/ 467967 h 696"/>
                    <a:gd name="T14" fmla="*/ 194590 w 440"/>
                    <a:gd name="T15" fmla="*/ 443298 h 696"/>
                    <a:gd name="T16" fmla="*/ 148711 w 440"/>
                    <a:gd name="T17" fmla="*/ 401435 h 696"/>
                    <a:gd name="T18" fmla="*/ 131309 w 440"/>
                    <a:gd name="T19" fmla="*/ 355087 h 696"/>
                    <a:gd name="T20" fmla="*/ 102832 w 440"/>
                    <a:gd name="T21" fmla="*/ 304254 h 696"/>
                    <a:gd name="T22" fmla="*/ 78311 w 440"/>
                    <a:gd name="T23" fmla="*/ 263886 h 696"/>
                    <a:gd name="T24" fmla="*/ 56162 w 440"/>
                    <a:gd name="T25" fmla="*/ 222023 h 696"/>
                    <a:gd name="T26" fmla="*/ 26104 w 440"/>
                    <a:gd name="T27" fmla="*/ 186888 h 696"/>
                    <a:gd name="T28" fmla="*/ 8701 w 440"/>
                    <a:gd name="T29" fmla="*/ 165209 h 696"/>
                    <a:gd name="T30" fmla="*/ 11865 w 440"/>
                    <a:gd name="T31" fmla="*/ 111385 h 696"/>
                    <a:gd name="T32" fmla="*/ 27686 w 440"/>
                    <a:gd name="T33" fmla="*/ 111385 h 696"/>
                    <a:gd name="T34" fmla="*/ 30059 w 440"/>
                    <a:gd name="T35" fmla="*/ 120356 h 696"/>
                    <a:gd name="T36" fmla="*/ 67236 w 440"/>
                    <a:gd name="T37" fmla="*/ 130074 h 696"/>
                    <a:gd name="T38" fmla="*/ 76729 w 440"/>
                    <a:gd name="T39" fmla="*/ 106900 h 696"/>
                    <a:gd name="T40" fmla="*/ 83848 w 440"/>
                    <a:gd name="T41" fmla="*/ 91201 h 696"/>
                    <a:gd name="T42" fmla="*/ 88594 w 440"/>
                    <a:gd name="T43" fmla="*/ 95687 h 696"/>
                    <a:gd name="T44" fmla="*/ 91758 w 440"/>
                    <a:gd name="T45" fmla="*/ 83726 h 696"/>
                    <a:gd name="T46" fmla="*/ 137637 w 440"/>
                    <a:gd name="T47" fmla="*/ 59057 h 696"/>
                    <a:gd name="T48" fmla="*/ 158994 w 440"/>
                    <a:gd name="T49" fmla="*/ 26164 h 696"/>
                    <a:gd name="T50" fmla="*/ 157412 w 440"/>
                    <a:gd name="T51" fmla="*/ 1495 h 696"/>
                    <a:gd name="T52" fmla="*/ 174815 w 440"/>
                    <a:gd name="T53" fmla="*/ 12708 h 696"/>
                    <a:gd name="T54" fmla="*/ 209619 w 440"/>
                    <a:gd name="T55" fmla="*/ 49338 h 696"/>
                    <a:gd name="T56" fmla="*/ 246797 w 440"/>
                    <a:gd name="T57" fmla="*/ 63542 h 696"/>
                    <a:gd name="T58" fmla="*/ 294258 w 440"/>
                    <a:gd name="T59" fmla="*/ 72513 h 696"/>
                    <a:gd name="T60" fmla="*/ 300586 w 440"/>
                    <a:gd name="T61" fmla="*/ 118861 h 696"/>
                    <a:gd name="T62" fmla="*/ 269736 w 440"/>
                    <a:gd name="T63" fmla="*/ 123346 h 696"/>
                    <a:gd name="T64" fmla="*/ 227022 w 440"/>
                    <a:gd name="T65" fmla="*/ 142035 h 696"/>
                    <a:gd name="T66" fmla="*/ 212783 w 440"/>
                    <a:gd name="T67" fmla="*/ 185393 h 696"/>
                    <a:gd name="T68" fmla="*/ 211201 w 440"/>
                    <a:gd name="T69" fmla="*/ 230246 h 696"/>
                    <a:gd name="T70" fmla="*/ 222276 w 440"/>
                    <a:gd name="T71" fmla="*/ 263886 h 696"/>
                    <a:gd name="T72" fmla="*/ 248379 w 440"/>
                    <a:gd name="T73" fmla="*/ 278089 h 696"/>
                    <a:gd name="T74" fmla="*/ 287930 w 440"/>
                    <a:gd name="T75" fmla="*/ 269866 h 696"/>
                    <a:gd name="T76" fmla="*/ 291094 w 440"/>
                    <a:gd name="T77" fmla="*/ 311729 h 696"/>
                    <a:gd name="T78" fmla="*/ 332227 w 440"/>
                    <a:gd name="T79" fmla="*/ 331913 h 696"/>
                    <a:gd name="T80" fmla="*/ 341719 w 440"/>
                    <a:gd name="T81" fmla="*/ 361067 h 69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440"/>
                    <a:gd name="T124" fmla="*/ 0 h 696"/>
                    <a:gd name="T125" fmla="*/ 440 w 440"/>
                    <a:gd name="T126" fmla="*/ 696 h 69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440" h="696">
                      <a:moveTo>
                        <a:pt x="432" y="529"/>
                      </a:moveTo>
                      <a:lnTo>
                        <a:pt x="426" y="551"/>
                      </a:lnTo>
                      <a:lnTo>
                        <a:pt x="424" y="582"/>
                      </a:lnTo>
                      <a:lnTo>
                        <a:pt x="430" y="613"/>
                      </a:lnTo>
                      <a:lnTo>
                        <a:pt x="440" y="617"/>
                      </a:lnTo>
                      <a:lnTo>
                        <a:pt x="426" y="649"/>
                      </a:lnTo>
                      <a:lnTo>
                        <a:pt x="426" y="665"/>
                      </a:lnTo>
                      <a:lnTo>
                        <a:pt x="416" y="679"/>
                      </a:lnTo>
                      <a:lnTo>
                        <a:pt x="405" y="696"/>
                      </a:lnTo>
                      <a:lnTo>
                        <a:pt x="399" y="696"/>
                      </a:lnTo>
                      <a:lnTo>
                        <a:pt x="376" y="679"/>
                      </a:lnTo>
                      <a:lnTo>
                        <a:pt x="362" y="661"/>
                      </a:lnTo>
                      <a:lnTo>
                        <a:pt x="333" y="644"/>
                      </a:lnTo>
                      <a:lnTo>
                        <a:pt x="304" y="626"/>
                      </a:lnTo>
                      <a:lnTo>
                        <a:pt x="275" y="611"/>
                      </a:lnTo>
                      <a:lnTo>
                        <a:pt x="246" y="593"/>
                      </a:lnTo>
                      <a:lnTo>
                        <a:pt x="217" y="564"/>
                      </a:lnTo>
                      <a:lnTo>
                        <a:pt x="188" y="537"/>
                      </a:lnTo>
                      <a:lnTo>
                        <a:pt x="190" y="518"/>
                      </a:lnTo>
                      <a:lnTo>
                        <a:pt x="166" y="475"/>
                      </a:lnTo>
                      <a:lnTo>
                        <a:pt x="145" y="434"/>
                      </a:lnTo>
                      <a:lnTo>
                        <a:pt x="130" y="407"/>
                      </a:lnTo>
                      <a:lnTo>
                        <a:pt x="114" y="382"/>
                      </a:lnTo>
                      <a:lnTo>
                        <a:pt x="99" y="353"/>
                      </a:lnTo>
                      <a:lnTo>
                        <a:pt x="85" y="326"/>
                      </a:lnTo>
                      <a:lnTo>
                        <a:pt x="71" y="297"/>
                      </a:lnTo>
                      <a:lnTo>
                        <a:pt x="56" y="269"/>
                      </a:lnTo>
                      <a:lnTo>
                        <a:pt x="33" y="250"/>
                      </a:lnTo>
                      <a:lnTo>
                        <a:pt x="9" y="231"/>
                      </a:lnTo>
                      <a:lnTo>
                        <a:pt x="11" y="221"/>
                      </a:lnTo>
                      <a:lnTo>
                        <a:pt x="0" y="171"/>
                      </a:lnTo>
                      <a:lnTo>
                        <a:pt x="15" y="149"/>
                      </a:lnTo>
                      <a:lnTo>
                        <a:pt x="31" y="126"/>
                      </a:lnTo>
                      <a:lnTo>
                        <a:pt x="35" y="149"/>
                      </a:lnTo>
                      <a:lnTo>
                        <a:pt x="27" y="165"/>
                      </a:lnTo>
                      <a:lnTo>
                        <a:pt x="38" y="161"/>
                      </a:lnTo>
                      <a:lnTo>
                        <a:pt x="75" y="188"/>
                      </a:lnTo>
                      <a:lnTo>
                        <a:pt x="85" y="174"/>
                      </a:lnTo>
                      <a:lnTo>
                        <a:pt x="89" y="157"/>
                      </a:lnTo>
                      <a:lnTo>
                        <a:pt x="97" y="143"/>
                      </a:lnTo>
                      <a:lnTo>
                        <a:pt x="102" y="122"/>
                      </a:lnTo>
                      <a:lnTo>
                        <a:pt x="106" y="122"/>
                      </a:lnTo>
                      <a:lnTo>
                        <a:pt x="106" y="128"/>
                      </a:lnTo>
                      <a:lnTo>
                        <a:pt x="112" y="128"/>
                      </a:lnTo>
                      <a:lnTo>
                        <a:pt x="110" y="120"/>
                      </a:lnTo>
                      <a:lnTo>
                        <a:pt x="116" y="112"/>
                      </a:lnTo>
                      <a:lnTo>
                        <a:pt x="137" y="103"/>
                      </a:lnTo>
                      <a:lnTo>
                        <a:pt x="174" y="79"/>
                      </a:lnTo>
                      <a:lnTo>
                        <a:pt x="195" y="35"/>
                      </a:lnTo>
                      <a:lnTo>
                        <a:pt x="201" y="35"/>
                      </a:lnTo>
                      <a:lnTo>
                        <a:pt x="190" y="6"/>
                      </a:lnTo>
                      <a:lnTo>
                        <a:pt x="199" y="2"/>
                      </a:lnTo>
                      <a:lnTo>
                        <a:pt x="201" y="0"/>
                      </a:lnTo>
                      <a:lnTo>
                        <a:pt x="221" y="17"/>
                      </a:lnTo>
                      <a:lnTo>
                        <a:pt x="238" y="37"/>
                      </a:lnTo>
                      <a:lnTo>
                        <a:pt x="265" y="66"/>
                      </a:lnTo>
                      <a:lnTo>
                        <a:pt x="271" y="83"/>
                      </a:lnTo>
                      <a:lnTo>
                        <a:pt x="312" y="85"/>
                      </a:lnTo>
                      <a:lnTo>
                        <a:pt x="339" y="85"/>
                      </a:lnTo>
                      <a:lnTo>
                        <a:pt x="372" y="97"/>
                      </a:lnTo>
                      <a:lnTo>
                        <a:pt x="358" y="143"/>
                      </a:lnTo>
                      <a:lnTo>
                        <a:pt x="380" y="159"/>
                      </a:lnTo>
                      <a:lnTo>
                        <a:pt x="368" y="157"/>
                      </a:lnTo>
                      <a:lnTo>
                        <a:pt x="341" y="165"/>
                      </a:lnTo>
                      <a:lnTo>
                        <a:pt x="314" y="178"/>
                      </a:lnTo>
                      <a:lnTo>
                        <a:pt x="287" y="190"/>
                      </a:lnTo>
                      <a:lnTo>
                        <a:pt x="279" y="219"/>
                      </a:lnTo>
                      <a:lnTo>
                        <a:pt x="269" y="248"/>
                      </a:lnTo>
                      <a:lnTo>
                        <a:pt x="252" y="279"/>
                      </a:lnTo>
                      <a:lnTo>
                        <a:pt x="267" y="308"/>
                      </a:lnTo>
                      <a:lnTo>
                        <a:pt x="283" y="337"/>
                      </a:lnTo>
                      <a:lnTo>
                        <a:pt x="281" y="353"/>
                      </a:lnTo>
                      <a:lnTo>
                        <a:pt x="294" y="357"/>
                      </a:lnTo>
                      <a:lnTo>
                        <a:pt x="314" y="372"/>
                      </a:lnTo>
                      <a:lnTo>
                        <a:pt x="341" y="378"/>
                      </a:lnTo>
                      <a:lnTo>
                        <a:pt x="364" y="361"/>
                      </a:lnTo>
                      <a:lnTo>
                        <a:pt x="366" y="390"/>
                      </a:lnTo>
                      <a:lnTo>
                        <a:pt x="368" y="417"/>
                      </a:lnTo>
                      <a:lnTo>
                        <a:pt x="403" y="415"/>
                      </a:lnTo>
                      <a:lnTo>
                        <a:pt x="420" y="444"/>
                      </a:lnTo>
                      <a:lnTo>
                        <a:pt x="438" y="473"/>
                      </a:lnTo>
                      <a:lnTo>
                        <a:pt x="432" y="483"/>
                      </a:lnTo>
                      <a:lnTo>
                        <a:pt x="432" y="52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6" name="Freeform 296"/>
                <p:cNvSpPr>
                  <a:spLocks/>
                </p:cNvSpPr>
                <p:nvPr/>
              </p:nvSpPr>
              <p:spPr bwMode="auto">
                <a:xfrm>
                  <a:off x="6150152" y="1879047"/>
                  <a:ext cx="1342468" cy="934047"/>
                </a:xfrm>
                <a:custGeom>
                  <a:avLst/>
                  <a:gdLst>
                    <a:gd name="T0" fmla="*/ 524598 w 1712"/>
                    <a:gd name="T1" fmla="*/ 712155 h 1246"/>
                    <a:gd name="T2" fmla="*/ 416385 w 1712"/>
                    <a:gd name="T3" fmla="*/ 715153 h 1246"/>
                    <a:gd name="T4" fmla="*/ 331696 w 1712"/>
                    <a:gd name="T5" fmla="*/ 676922 h 1246"/>
                    <a:gd name="T6" fmla="*/ 254065 w 1712"/>
                    <a:gd name="T7" fmla="*/ 650684 h 1246"/>
                    <a:gd name="T8" fmla="*/ 190549 w 1712"/>
                    <a:gd name="T9" fmla="*/ 585466 h 1246"/>
                    <a:gd name="T10" fmla="*/ 170161 w 1712"/>
                    <a:gd name="T11" fmla="*/ 529993 h 1246"/>
                    <a:gd name="T12" fmla="*/ 141931 w 1712"/>
                    <a:gd name="T13" fmla="*/ 502256 h 1246"/>
                    <a:gd name="T14" fmla="*/ 41560 w 1712"/>
                    <a:gd name="T15" fmla="*/ 455779 h 1246"/>
                    <a:gd name="T16" fmla="*/ 36855 w 1712"/>
                    <a:gd name="T17" fmla="*/ 415299 h 1246"/>
                    <a:gd name="T18" fmla="*/ 38423 w 1712"/>
                    <a:gd name="T19" fmla="*/ 359076 h 1246"/>
                    <a:gd name="T20" fmla="*/ 130953 w 1712"/>
                    <a:gd name="T21" fmla="*/ 308101 h 1246"/>
                    <a:gd name="T22" fmla="*/ 108213 w 1712"/>
                    <a:gd name="T23" fmla="*/ 242133 h 1246"/>
                    <a:gd name="T24" fmla="*/ 141931 w 1712"/>
                    <a:gd name="T25" fmla="*/ 192657 h 1246"/>
                    <a:gd name="T26" fmla="*/ 197606 w 1712"/>
                    <a:gd name="T27" fmla="*/ 136434 h 1246"/>
                    <a:gd name="T28" fmla="*/ 272101 w 1712"/>
                    <a:gd name="T29" fmla="*/ 149178 h 1246"/>
                    <a:gd name="T30" fmla="*/ 370904 w 1712"/>
                    <a:gd name="T31" fmla="*/ 226390 h 1246"/>
                    <a:gd name="T32" fmla="*/ 511267 w 1712"/>
                    <a:gd name="T33" fmla="*/ 294607 h 1246"/>
                    <a:gd name="T34" fmla="*/ 653983 w 1712"/>
                    <a:gd name="T35" fmla="*/ 309600 h 1246"/>
                    <a:gd name="T36" fmla="*/ 767685 w 1712"/>
                    <a:gd name="T37" fmla="*/ 308101 h 1246"/>
                    <a:gd name="T38" fmla="*/ 853157 w 1712"/>
                    <a:gd name="T39" fmla="*/ 254127 h 1246"/>
                    <a:gd name="T40" fmla="*/ 934709 w 1712"/>
                    <a:gd name="T41" fmla="*/ 198654 h 1246"/>
                    <a:gd name="T42" fmla="*/ 932357 w 1712"/>
                    <a:gd name="T43" fmla="*/ 158173 h 1246"/>
                    <a:gd name="T44" fmla="*/ 882171 w 1712"/>
                    <a:gd name="T45" fmla="*/ 119192 h 1246"/>
                    <a:gd name="T46" fmla="*/ 921379 w 1712"/>
                    <a:gd name="T47" fmla="*/ 29985 h 1246"/>
                    <a:gd name="T48" fmla="*/ 968428 w 1712"/>
                    <a:gd name="T49" fmla="*/ 0 h 1246"/>
                    <a:gd name="T50" fmla="*/ 1123690 w 1712"/>
                    <a:gd name="T51" fmla="*/ 94454 h 1246"/>
                    <a:gd name="T52" fmla="*/ 1281304 w 1712"/>
                    <a:gd name="T53" fmla="*/ 150677 h 1246"/>
                    <a:gd name="T54" fmla="*/ 1310318 w 1712"/>
                    <a:gd name="T55" fmla="*/ 224891 h 1246"/>
                    <a:gd name="T56" fmla="*/ 1334626 w 1712"/>
                    <a:gd name="T57" fmla="*/ 303603 h 1246"/>
                    <a:gd name="T58" fmla="*/ 1292282 w 1712"/>
                    <a:gd name="T59" fmla="*/ 332839 h 1246"/>
                    <a:gd name="T60" fmla="*/ 1211515 w 1712"/>
                    <a:gd name="T61" fmla="*/ 376317 h 1246"/>
                    <a:gd name="T62" fmla="*/ 1156624 w 1712"/>
                    <a:gd name="T63" fmla="*/ 383064 h 1246"/>
                    <a:gd name="T64" fmla="*/ 1108007 w 1712"/>
                    <a:gd name="T65" fmla="*/ 387562 h 1246"/>
                    <a:gd name="T66" fmla="*/ 1133884 w 1712"/>
                    <a:gd name="T67" fmla="*/ 452031 h 1246"/>
                    <a:gd name="T68" fmla="*/ 1219356 w 1712"/>
                    <a:gd name="T69" fmla="*/ 461776 h 1246"/>
                    <a:gd name="T70" fmla="*/ 1170739 w 1712"/>
                    <a:gd name="T71" fmla="*/ 521747 h 1246"/>
                    <a:gd name="T72" fmla="*/ 1230334 w 1712"/>
                    <a:gd name="T73" fmla="*/ 597460 h 1246"/>
                    <a:gd name="T74" fmla="*/ 1246801 w 1712"/>
                    <a:gd name="T75" fmla="*/ 650684 h 1246"/>
                    <a:gd name="T76" fmla="*/ 1295419 w 1712"/>
                    <a:gd name="T77" fmla="*/ 670925 h 1246"/>
                    <a:gd name="T78" fmla="*/ 1286009 w 1712"/>
                    <a:gd name="T79" fmla="*/ 694163 h 1246"/>
                    <a:gd name="T80" fmla="*/ 1274247 w 1712"/>
                    <a:gd name="T81" fmla="*/ 735393 h 1246"/>
                    <a:gd name="T82" fmla="*/ 1253075 w 1712"/>
                    <a:gd name="T83" fmla="*/ 768377 h 1246"/>
                    <a:gd name="T84" fmla="*/ 1254643 w 1712"/>
                    <a:gd name="T85" fmla="*/ 799112 h 1246"/>
                    <a:gd name="T86" fmla="*/ 1234255 w 1712"/>
                    <a:gd name="T87" fmla="*/ 822351 h 1246"/>
                    <a:gd name="T88" fmla="*/ 1182501 w 1712"/>
                    <a:gd name="T89" fmla="*/ 859833 h 1246"/>
                    <a:gd name="T90" fmla="*/ 1154272 w 1712"/>
                    <a:gd name="T91" fmla="*/ 868829 h 1246"/>
                    <a:gd name="T92" fmla="*/ 1129963 w 1712"/>
                    <a:gd name="T93" fmla="*/ 880823 h 1246"/>
                    <a:gd name="T94" fmla="*/ 1102518 w 1712"/>
                    <a:gd name="T95" fmla="*/ 884571 h 1246"/>
                    <a:gd name="T96" fmla="*/ 1057037 w 1712"/>
                    <a:gd name="T97" fmla="*/ 905561 h 1246"/>
                    <a:gd name="T98" fmla="*/ 1033512 w 1712"/>
                    <a:gd name="T99" fmla="*/ 896565 h 1246"/>
                    <a:gd name="T100" fmla="*/ 992736 w 1712"/>
                    <a:gd name="T101" fmla="*/ 898064 h 1246"/>
                    <a:gd name="T102" fmla="*/ 909616 w 1712"/>
                    <a:gd name="T103" fmla="*/ 850088 h 1246"/>
                    <a:gd name="T104" fmla="*/ 863351 w 1712"/>
                    <a:gd name="T105" fmla="*/ 867329 h 1246"/>
                    <a:gd name="T106" fmla="*/ 831985 w 1712"/>
                    <a:gd name="T107" fmla="*/ 907810 h 1246"/>
                    <a:gd name="T108" fmla="*/ 777094 w 1712"/>
                    <a:gd name="T109" fmla="*/ 883072 h 1246"/>
                    <a:gd name="T110" fmla="*/ 740239 w 1712"/>
                    <a:gd name="T111" fmla="*/ 825350 h 1246"/>
                    <a:gd name="T112" fmla="*/ 726909 w 1712"/>
                    <a:gd name="T113" fmla="*/ 771376 h 1246"/>
                    <a:gd name="T114" fmla="*/ 679860 w 1712"/>
                    <a:gd name="T115" fmla="*/ 707657 h 1246"/>
                    <a:gd name="T116" fmla="*/ 634379 w 1712"/>
                    <a:gd name="T117" fmla="*/ 675422 h 124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1712"/>
                    <a:gd name="T178" fmla="*/ 0 h 1246"/>
                    <a:gd name="T179" fmla="*/ 1712 w 1712"/>
                    <a:gd name="T180" fmla="*/ 1246 h 124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1712" h="1246">
                      <a:moveTo>
                        <a:pt x="764" y="907"/>
                      </a:moveTo>
                      <a:lnTo>
                        <a:pt x="741" y="928"/>
                      </a:lnTo>
                      <a:lnTo>
                        <a:pt x="718" y="950"/>
                      </a:lnTo>
                      <a:lnTo>
                        <a:pt x="687" y="961"/>
                      </a:lnTo>
                      <a:lnTo>
                        <a:pt x="669" y="950"/>
                      </a:lnTo>
                      <a:lnTo>
                        <a:pt x="623" y="944"/>
                      </a:lnTo>
                      <a:lnTo>
                        <a:pt x="601" y="979"/>
                      </a:lnTo>
                      <a:lnTo>
                        <a:pt x="586" y="948"/>
                      </a:lnTo>
                      <a:lnTo>
                        <a:pt x="572" y="957"/>
                      </a:lnTo>
                      <a:lnTo>
                        <a:pt x="531" y="954"/>
                      </a:lnTo>
                      <a:lnTo>
                        <a:pt x="502" y="950"/>
                      </a:lnTo>
                      <a:lnTo>
                        <a:pt x="469" y="936"/>
                      </a:lnTo>
                      <a:lnTo>
                        <a:pt x="464" y="928"/>
                      </a:lnTo>
                      <a:lnTo>
                        <a:pt x="435" y="915"/>
                      </a:lnTo>
                      <a:lnTo>
                        <a:pt x="423" y="903"/>
                      </a:lnTo>
                      <a:lnTo>
                        <a:pt x="409" y="907"/>
                      </a:lnTo>
                      <a:lnTo>
                        <a:pt x="367" y="874"/>
                      </a:lnTo>
                      <a:lnTo>
                        <a:pt x="340" y="859"/>
                      </a:lnTo>
                      <a:lnTo>
                        <a:pt x="326" y="872"/>
                      </a:lnTo>
                      <a:lnTo>
                        <a:pt x="324" y="868"/>
                      </a:lnTo>
                      <a:lnTo>
                        <a:pt x="293" y="847"/>
                      </a:lnTo>
                      <a:lnTo>
                        <a:pt x="254" y="826"/>
                      </a:lnTo>
                      <a:lnTo>
                        <a:pt x="237" y="820"/>
                      </a:lnTo>
                      <a:lnTo>
                        <a:pt x="223" y="779"/>
                      </a:lnTo>
                      <a:lnTo>
                        <a:pt x="243" y="781"/>
                      </a:lnTo>
                      <a:lnTo>
                        <a:pt x="248" y="767"/>
                      </a:lnTo>
                      <a:lnTo>
                        <a:pt x="227" y="738"/>
                      </a:lnTo>
                      <a:lnTo>
                        <a:pt x="227" y="725"/>
                      </a:lnTo>
                      <a:lnTo>
                        <a:pt x="223" y="715"/>
                      </a:lnTo>
                      <a:lnTo>
                        <a:pt x="217" y="707"/>
                      </a:lnTo>
                      <a:lnTo>
                        <a:pt x="212" y="700"/>
                      </a:lnTo>
                      <a:lnTo>
                        <a:pt x="212" y="690"/>
                      </a:lnTo>
                      <a:lnTo>
                        <a:pt x="208" y="680"/>
                      </a:lnTo>
                      <a:lnTo>
                        <a:pt x="196" y="676"/>
                      </a:lnTo>
                      <a:lnTo>
                        <a:pt x="181" y="670"/>
                      </a:lnTo>
                      <a:lnTo>
                        <a:pt x="171" y="667"/>
                      </a:lnTo>
                      <a:lnTo>
                        <a:pt x="128" y="655"/>
                      </a:lnTo>
                      <a:lnTo>
                        <a:pt x="105" y="643"/>
                      </a:lnTo>
                      <a:lnTo>
                        <a:pt x="89" y="618"/>
                      </a:lnTo>
                      <a:lnTo>
                        <a:pt x="53" y="608"/>
                      </a:lnTo>
                      <a:lnTo>
                        <a:pt x="51" y="601"/>
                      </a:lnTo>
                      <a:lnTo>
                        <a:pt x="60" y="601"/>
                      </a:lnTo>
                      <a:lnTo>
                        <a:pt x="62" y="601"/>
                      </a:lnTo>
                      <a:lnTo>
                        <a:pt x="66" y="599"/>
                      </a:lnTo>
                      <a:lnTo>
                        <a:pt x="47" y="554"/>
                      </a:lnTo>
                      <a:lnTo>
                        <a:pt x="18" y="552"/>
                      </a:lnTo>
                      <a:lnTo>
                        <a:pt x="0" y="521"/>
                      </a:lnTo>
                      <a:lnTo>
                        <a:pt x="12" y="492"/>
                      </a:lnTo>
                      <a:lnTo>
                        <a:pt x="33" y="479"/>
                      </a:lnTo>
                      <a:lnTo>
                        <a:pt x="49" y="479"/>
                      </a:lnTo>
                      <a:lnTo>
                        <a:pt x="66" y="482"/>
                      </a:lnTo>
                      <a:lnTo>
                        <a:pt x="88" y="457"/>
                      </a:lnTo>
                      <a:lnTo>
                        <a:pt x="121" y="449"/>
                      </a:lnTo>
                      <a:lnTo>
                        <a:pt x="144" y="430"/>
                      </a:lnTo>
                      <a:lnTo>
                        <a:pt x="167" y="411"/>
                      </a:lnTo>
                      <a:lnTo>
                        <a:pt x="159" y="393"/>
                      </a:lnTo>
                      <a:lnTo>
                        <a:pt x="167" y="385"/>
                      </a:lnTo>
                      <a:lnTo>
                        <a:pt x="167" y="378"/>
                      </a:lnTo>
                      <a:lnTo>
                        <a:pt x="152" y="351"/>
                      </a:lnTo>
                      <a:lnTo>
                        <a:pt x="138" y="323"/>
                      </a:lnTo>
                      <a:lnTo>
                        <a:pt x="119" y="314"/>
                      </a:lnTo>
                      <a:lnTo>
                        <a:pt x="155" y="300"/>
                      </a:lnTo>
                      <a:lnTo>
                        <a:pt x="196" y="304"/>
                      </a:lnTo>
                      <a:lnTo>
                        <a:pt x="184" y="290"/>
                      </a:lnTo>
                      <a:lnTo>
                        <a:pt x="181" y="257"/>
                      </a:lnTo>
                      <a:lnTo>
                        <a:pt x="177" y="226"/>
                      </a:lnTo>
                      <a:lnTo>
                        <a:pt x="225" y="234"/>
                      </a:lnTo>
                      <a:lnTo>
                        <a:pt x="254" y="232"/>
                      </a:lnTo>
                      <a:lnTo>
                        <a:pt x="239" y="192"/>
                      </a:lnTo>
                      <a:lnTo>
                        <a:pt x="252" y="182"/>
                      </a:lnTo>
                      <a:lnTo>
                        <a:pt x="266" y="157"/>
                      </a:lnTo>
                      <a:lnTo>
                        <a:pt x="287" y="153"/>
                      </a:lnTo>
                      <a:lnTo>
                        <a:pt x="291" y="159"/>
                      </a:lnTo>
                      <a:lnTo>
                        <a:pt x="303" y="172"/>
                      </a:lnTo>
                      <a:lnTo>
                        <a:pt x="347" y="199"/>
                      </a:lnTo>
                      <a:lnTo>
                        <a:pt x="371" y="203"/>
                      </a:lnTo>
                      <a:lnTo>
                        <a:pt x="415" y="236"/>
                      </a:lnTo>
                      <a:lnTo>
                        <a:pt x="427" y="265"/>
                      </a:lnTo>
                      <a:lnTo>
                        <a:pt x="438" y="296"/>
                      </a:lnTo>
                      <a:lnTo>
                        <a:pt x="473" y="302"/>
                      </a:lnTo>
                      <a:lnTo>
                        <a:pt x="510" y="308"/>
                      </a:lnTo>
                      <a:lnTo>
                        <a:pt x="553" y="321"/>
                      </a:lnTo>
                      <a:lnTo>
                        <a:pt x="597" y="335"/>
                      </a:lnTo>
                      <a:lnTo>
                        <a:pt x="625" y="364"/>
                      </a:lnTo>
                      <a:lnTo>
                        <a:pt x="652" y="393"/>
                      </a:lnTo>
                      <a:lnTo>
                        <a:pt x="694" y="395"/>
                      </a:lnTo>
                      <a:lnTo>
                        <a:pt x="737" y="399"/>
                      </a:lnTo>
                      <a:lnTo>
                        <a:pt x="780" y="401"/>
                      </a:lnTo>
                      <a:lnTo>
                        <a:pt x="822" y="403"/>
                      </a:lnTo>
                      <a:lnTo>
                        <a:pt x="834" y="413"/>
                      </a:lnTo>
                      <a:lnTo>
                        <a:pt x="873" y="420"/>
                      </a:lnTo>
                      <a:lnTo>
                        <a:pt x="909" y="428"/>
                      </a:lnTo>
                      <a:lnTo>
                        <a:pt x="935" y="438"/>
                      </a:lnTo>
                      <a:lnTo>
                        <a:pt x="956" y="424"/>
                      </a:lnTo>
                      <a:lnTo>
                        <a:pt x="979" y="411"/>
                      </a:lnTo>
                      <a:lnTo>
                        <a:pt x="1016" y="407"/>
                      </a:lnTo>
                      <a:lnTo>
                        <a:pt x="1053" y="405"/>
                      </a:lnTo>
                      <a:lnTo>
                        <a:pt x="1080" y="382"/>
                      </a:lnTo>
                      <a:lnTo>
                        <a:pt x="1107" y="358"/>
                      </a:lnTo>
                      <a:lnTo>
                        <a:pt x="1088" y="339"/>
                      </a:lnTo>
                      <a:lnTo>
                        <a:pt x="1082" y="304"/>
                      </a:lnTo>
                      <a:lnTo>
                        <a:pt x="1127" y="316"/>
                      </a:lnTo>
                      <a:lnTo>
                        <a:pt x="1156" y="300"/>
                      </a:lnTo>
                      <a:lnTo>
                        <a:pt x="1187" y="290"/>
                      </a:lnTo>
                      <a:lnTo>
                        <a:pt x="1192" y="265"/>
                      </a:lnTo>
                      <a:lnTo>
                        <a:pt x="1227" y="248"/>
                      </a:lnTo>
                      <a:lnTo>
                        <a:pt x="1280" y="250"/>
                      </a:lnTo>
                      <a:lnTo>
                        <a:pt x="1270" y="230"/>
                      </a:lnTo>
                      <a:lnTo>
                        <a:pt x="1204" y="195"/>
                      </a:lnTo>
                      <a:lnTo>
                        <a:pt x="1189" y="211"/>
                      </a:lnTo>
                      <a:lnTo>
                        <a:pt x="1177" y="203"/>
                      </a:lnTo>
                      <a:lnTo>
                        <a:pt x="1146" y="205"/>
                      </a:lnTo>
                      <a:lnTo>
                        <a:pt x="1121" y="190"/>
                      </a:lnTo>
                      <a:lnTo>
                        <a:pt x="1129" y="188"/>
                      </a:lnTo>
                      <a:lnTo>
                        <a:pt x="1125" y="159"/>
                      </a:lnTo>
                      <a:lnTo>
                        <a:pt x="1121" y="130"/>
                      </a:lnTo>
                      <a:lnTo>
                        <a:pt x="1163" y="137"/>
                      </a:lnTo>
                      <a:lnTo>
                        <a:pt x="1185" y="112"/>
                      </a:lnTo>
                      <a:lnTo>
                        <a:pt x="1175" y="87"/>
                      </a:lnTo>
                      <a:lnTo>
                        <a:pt x="1175" y="40"/>
                      </a:lnTo>
                      <a:lnTo>
                        <a:pt x="1154" y="27"/>
                      </a:lnTo>
                      <a:lnTo>
                        <a:pt x="1140" y="21"/>
                      </a:lnTo>
                      <a:lnTo>
                        <a:pt x="1161" y="2"/>
                      </a:lnTo>
                      <a:lnTo>
                        <a:pt x="1198" y="0"/>
                      </a:lnTo>
                      <a:lnTo>
                        <a:pt x="1235" y="0"/>
                      </a:lnTo>
                      <a:lnTo>
                        <a:pt x="1313" y="23"/>
                      </a:lnTo>
                      <a:lnTo>
                        <a:pt x="1342" y="48"/>
                      </a:lnTo>
                      <a:lnTo>
                        <a:pt x="1373" y="73"/>
                      </a:lnTo>
                      <a:lnTo>
                        <a:pt x="1404" y="100"/>
                      </a:lnTo>
                      <a:lnTo>
                        <a:pt x="1433" y="126"/>
                      </a:lnTo>
                      <a:lnTo>
                        <a:pt x="1466" y="139"/>
                      </a:lnTo>
                      <a:lnTo>
                        <a:pt x="1520" y="155"/>
                      </a:lnTo>
                      <a:lnTo>
                        <a:pt x="1551" y="166"/>
                      </a:lnTo>
                      <a:lnTo>
                        <a:pt x="1590" y="207"/>
                      </a:lnTo>
                      <a:lnTo>
                        <a:pt x="1634" y="201"/>
                      </a:lnTo>
                      <a:lnTo>
                        <a:pt x="1681" y="186"/>
                      </a:lnTo>
                      <a:lnTo>
                        <a:pt x="1700" y="219"/>
                      </a:lnTo>
                      <a:lnTo>
                        <a:pt x="1706" y="261"/>
                      </a:lnTo>
                      <a:lnTo>
                        <a:pt x="1712" y="306"/>
                      </a:lnTo>
                      <a:lnTo>
                        <a:pt x="1671" y="300"/>
                      </a:lnTo>
                      <a:lnTo>
                        <a:pt x="1665" y="320"/>
                      </a:lnTo>
                      <a:lnTo>
                        <a:pt x="1687" y="352"/>
                      </a:lnTo>
                      <a:lnTo>
                        <a:pt x="1708" y="387"/>
                      </a:lnTo>
                      <a:lnTo>
                        <a:pt x="1695" y="395"/>
                      </a:lnTo>
                      <a:lnTo>
                        <a:pt x="1702" y="405"/>
                      </a:lnTo>
                      <a:lnTo>
                        <a:pt x="1667" y="385"/>
                      </a:lnTo>
                      <a:lnTo>
                        <a:pt x="1667" y="405"/>
                      </a:lnTo>
                      <a:lnTo>
                        <a:pt x="1646" y="420"/>
                      </a:lnTo>
                      <a:lnTo>
                        <a:pt x="1636" y="424"/>
                      </a:lnTo>
                      <a:lnTo>
                        <a:pt x="1648" y="444"/>
                      </a:lnTo>
                      <a:lnTo>
                        <a:pt x="1611" y="432"/>
                      </a:lnTo>
                      <a:lnTo>
                        <a:pt x="1600" y="440"/>
                      </a:lnTo>
                      <a:lnTo>
                        <a:pt x="1580" y="473"/>
                      </a:lnTo>
                      <a:lnTo>
                        <a:pt x="1561" y="492"/>
                      </a:lnTo>
                      <a:lnTo>
                        <a:pt x="1545" y="502"/>
                      </a:lnTo>
                      <a:lnTo>
                        <a:pt x="1528" y="517"/>
                      </a:lnTo>
                      <a:lnTo>
                        <a:pt x="1508" y="531"/>
                      </a:lnTo>
                      <a:lnTo>
                        <a:pt x="1483" y="541"/>
                      </a:lnTo>
                      <a:lnTo>
                        <a:pt x="1497" y="519"/>
                      </a:lnTo>
                      <a:lnTo>
                        <a:pt x="1475" y="511"/>
                      </a:lnTo>
                      <a:lnTo>
                        <a:pt x="1483" y="475"/>
                      </a:lnTo>
                      <a:lnTo>
                        <a:pt x="1466" y="465"/>
                      </a:lnTo>
                      <a:lnTo>
                        <a:pt x="1444" y="469"/>
                      </a:lnTo>
                      <a:lnTo>
                        <a:pt x="1431" y="492"/>
                      </a:lnTo>
                      <a:lnTo>
                        <a:pt x="1413" y="517"/>
                      </a:lnTo>
                      <a:lnTo>
                        <a:pt x="1392" y="531"/>
                      </a:lnTo>
                      <a:lnTo>
                        <a:pt x="1375" y="533"/>
                      </a:lnTo>
                      <a:lnTo>
                        <a:pt x="1386" y="558"/>
                      </a:lnTo>
                      <a:lnTo>
                        <a:pt x="1429" y="572"/>
                      </a:lnTo>
                      <a:lnTo>
                        <a:pt x="1446" y="603"/>
                      </a:lnTo>
                      <a:lnTo>
                        <a:pt x="1470" y="597"/>
                      </a:lnTo>
                      <a:lnTo>
                        <a:pt x="1495" y="579"/>
                      </a:lnTo>
                      <a:lnTo>
                        <a:pt x="1536" y="595"/>
                      </a:lnTo>
                      <a:lnTo>
                        <a:pt x="1555" y="599"/>
                      </a:lnTo>
                      <a:lnTo>
                        <a:pt x="1555" y="616"/>
                      </a:lnTo>
                      <a:lnTo>
                        <a:pt x="1538" y="614"/>
                      </a:lnTo>
                      <a:lnTo>
                        <a:pt x="1516" y="628"/>
                      </a:lnTo>
                      <a:lnTo>
                        <a:pt x="1505" y="645"/>
                      </a:lnTo>
                      <a:lnTo>
                        <a:pt x="1499" y="657"/>
                      </a:lnTo>
                      <a:lnTo>
                        <a:pt x="1493" y="696"/>
                      </a:lnTo>
                      <a:lnTo>
                        <a:pt x="1539" y="723"/>
                      </a:lnTo>
                      <a:lnTo>
                        <a:pt x="1561" y="752"/>
                      </a:lnTo>
                      <a:lnTo>
                        <a:pt x="1584" y="781"/>
                      </a:lnTo>
                      <a:lnTo>
                        <a:pt x="1619" y="812"/>
                      </a:lnTo>
                      <a:lnTo>
                        <a:pt x="1569" y="797"/>
                      </a:lnTo>
                      <a:lnTo>
                        <a:pt x="1570" y="800"/>
                      </a:lnTo>
                      <a:lnTo>
                        <a:pt x="1600" y="820"/>
                      </a:lnTo>
                      <a:lnTo>
                        <a:pt x="1631" y="839"/>
                      </a:lnTo>
                      <a:lnTo>
                        <a:pt x="1600" y="862"/>
                      </a:lnTo>
                      <a:lnTo>
                        <a:pt x="1590" y="868"/>
                      </a:lnTo>
                      <a:lnTo>
                        <a:pt x="1609" y="872"/>
                      </a:lnTo>
                      <a:lnTo>
                        <a:pt x="1629" y="870"/>
                      </a:lnTo>
                      <a:lnTo>
                        <a:pt x="1652" y="882"/>
                      </a:lnTo>
                      <a:lnTo>
                        <a:pt x="1640" y="895"/>
                      </a:lnTo>
                      <a:lnTo>
                        <a:pt x="1652" y="895"/>
                      </a:lnTo>
                      <a:lnTo>
                        <a:pt x="1650" y="903"/>
                      </a:lnTo>
                      <a:lnTo>
                        <a:pt x="1640" y="911"/>
                      </a:lnTo>
                      <a:lnTo>
                        <a:pt x="1644" y="917"/>
                      </a:lnTo>
                      <a:lnTo>
                        <a:pt x="1646" y="926"/>
                      </a:lnTo>
                      <a:lnTo>
                        <a:pt x="1640" y="926"/>
                      </a:lnTo>
                      <a:lnTo>
                        <a:pt x="1650" y="940"/>
                      </a:lnTo>
                      <a:lnTo>
                        <a:pt x="1642" y="942"/>
                      </a:lnTo>
                      <a:lnTo>
                        <a:pt x="1623" y="952"/>
                      </a:lnTo>
                      <a:lnTo>
                        <a:pt x="1631" y="961"/>
                      </a:lnTo>
                      <a:lnTo>
                        <a:pt x="1625" y="981"/>
                      </a:lnTo>
                      <a:lnTo>
                        <a:pt x="1615" y="1008"/>
                      </a:lnTo>
                      <a:lnTo>
                        <a:pt x="1609" y="1010"/>
                      </a:lnTo>
                      <a:lnTo>
                        <a:pt x="1615" y="1018"/>
                      </a:lnTo>
                      <a:lnTo>
                        <a:pt x="1601" y="1027"/>
                      </a:lnTo>
                      <a:lnTo>
                        <a:pt x="1598" y="1025"/>
                      </a:lnTo>
                      <a:lnTo>
                        <a:pt x="1613" y="1033"/>
                      </a:lnTo>
                      <a:lnTo>
                        <a:pt x="1615" y="1050"/>
                      </a:lnTo>
                      <a:lnTo>
                        <a:pt x="1605" y="1049"/>
                      </a:lnTo>
                      <a:lnTo>
                        <a:pt x="1605" y="1058"/>
                      </a:lnTo>
                      <a:lnTo>
                        <a:pt x="1600" y="1066"/>
                      </a:lnTo>
                      <a:lnTo>
                        <a:pt x="1596" y="1070"/>
                      </a:lnTo>
                      <a:lnTo>
                        <a:pt x="1594" y="1083"/>
                      </a:lnTo>
                      <a:lnTo>
                        <a:pt x="1576" y="1085"/>
                      </a:lnTo>
                      <a:lnTo>
                        <a:pt x="1572" y="1089"/>
                      </a:lnTo>
                      <a:lnTo>
                        <a:pt x="1574" y="1097"/>
                      </a:lnTo>
                      <a:lnTo>
                        <a:pt x="1565" y="1109"/>
                      </a:lnTo>
                      <a:lnTo>
                        <a:pt x="1538" y="1130"/>
                      </a:lnTo>
                      <a:lnTo>
                        <a:pt x="1539" y="1134"/>
                      </a:lnTo>
                      <a:lnTo>
                        <a:pt x="1528" y="1144"/>
                      </a:lnTo>
                      <a:lnTo>
                        <a:pt x="1508" y="1147"/>
                      </a:lnTo>
                      <a:lnTo>
                        <a:pt x="1507" y="1149"/>
                      </a:lnTo>
                      <a:lnTo>
                        <a:pt x="1503" y="1151"/>
                      </a:lnTo>
                      <a:lnTo>
                        <a:pt x="1487" y="1155"/>
                      </a:lnTo>
                      <a:lnTo>
                        <a:pt x="1479" y="1151"/>
                      </a:lnTo>
                      <a:lnTo>
                        <a:pt x="1472" y="1159"/>
                      </a:lnTo>
                      <a:lnTo>
                        <a:pt x="1470" y="1165"/>
                      </a:lnTo>
                      <a:lnTo>
                        <a:pt x="1458" y="1163"/>
                      </a:lnTo>
                      <a:lnTo>
                        <a:pt x="1441" y="1138"/>
                      </a:lnTo>
                      <a:lnTo>
                        <a:pt x="1433" y="1147"/>
                      </a:lnTo>
                      <a:lnTo>
                        <a:pt x="1441" y="1175"/>
                      </a:lnTo>
                      <a:lnTo>
                        <a:pt x="1433" y="1165"/>
                      </a:lnTo>
                      <a:lnTo>
                        <a:pt x="1433" y="1178"/>
                      </a:lnTo>
                      <a:lnTo>
                        <a:pt x="1427" y="1177"/>
                      </a:lnTo>
                      <a:lnTo>
                        <a:pt x="1415" y="1190"/>
                      </a:lnTo>
                      <a:lnTo>
                        <a:pt x="1406" y="1180"/>
                      </a:lnTo>
                      <a:lnTo>
                        <a:pt x="1404" y="1188"/>
                      </a:lnTo>
                      <a:lnTo>
                        <a:pt x="1392" y="1188"/>
                      </a:lnTo>
                      <a:lnTo>
                        <a:pt x="1373" y="1200"/>
                      </a:lnTo>
                      <a:lnTo>
                        <a:pt x="1355" y="1206"/>
                      </a:lnTo>
                      <a:lnTo>
                        <a:pt x="1348" y="1208"/>
                      </a:lnTo>
                      <a:lnTo>
                        <a:pt x="1346" y="1225"/>
                      </a:lnTo>
                      <a:lnTo>
                        <a:pt x="1353" y="1246"/>
                      </a:lnTo>
                      <a:lnTo>
                        <a:pt x="1336" y="1242"/>
                      </a:lnTo>
                      <a:lnTo>
                        <a:pt x="1328" y="1206"/>
                      </a:lnTo>
                      <a:lnTo>
                        <a:pt x="1318" y="1196"/>
                      </a:lnTo>
                      <a:lnTo>
                        <a:pt x="1305" y="1198"/>
                      </a:lnTo>
                      <a:lnTo>
                        <a:pt x="1293" y="1194"/>
                      </a:lnTo>
                      <a:lnTo>
                        <a:pt x="1280" y="1188"/>
                      </a:lnTo>
                      <a:lnTo>
                        <a:pt x="1278" y="1192"/>
                      </a:lnTo>
                      <a:lnTo>
                        <a:pt x="1266" y="1198"/>
                      </a:lnTo>
                      <a:lnTo>
                        <a:pt x="1233" y="1184"/>
                      </a:lnTo>
                      <a:lnTo>
                        <a:pt x="1218" y="1173"/>
                      </a:lnTo>
                      <a:lnTo>
                        <a:pt x="1214" y="1147"/>
                      </a:lnTo>
                      <a:lnTo>
                        <a:pt x="1173" y="1136"/>
                      </a:lnTo>
                      <a:lnTo>
                        <a:pt x="1160" y="1134"/>
                      </a:lnTo>
                      <a:lnTo>
                        <a:pt x="1140" y="1155"/>
                      </a:lnTo>
                      <a:lnTo>
                        <a:pt x="1129" y="1155"/>
                      </a:lnTo>
                      <a:lnTo>
                        <a:pt x="1123" y="1157"/>
                      </a:lnTo>
                      <a:lnTo>
                        <a:pt x="1115" y="1155"/>
                      </a:lnTo>
                      <a:lnTo>
                        <a:pt x="1101" y="1157"/>
                      </a:lnTo>
                      <a:lnTo>
                        <a:pt x="1094" y="1163"/>
                      </a:lnTo>
                      <a:lnTo>
                        <a:pt x="1076" y="1157"/>
                      </a:lnTo>
                      <a:lnTo>
                        <a:pt x="1068" y="1165"/>
                      </a:lnTo>
                      <a:lnTo>
                        <a:pt x="1053" y="1167"/>
                      </a:lnTo>
                      <a:lnTo>
                        <a:pt x="1061" y="1211"/>
                      </a:lnTo>
                      <a:lnTo>
                        <a:pt x="1045" y="1204"/>
                      </a:lnTo>
                      <a:lnTo>
                        <a:pt x="1041" y="1198"/>
                      </a:lnTo>
                      <a:lnTo>
                        <a:pt x="1032" y="1192"/>
                      </a:lnTo>
                      <a:lnTo>
                        <a:pt x="1006" y="1200"/>
                      </a:lnTo>
                      <a:lnTo>
                        <a:pt x="991" y="1178"/>
                      </a:lnTo>
                      <a:lnTo>
                        <a:pt x="973" y="1171"/>
                      </a:lnTo>
                      <a:lnTo>
                        <a:pt x="977" y="1140"/>
                      </a:lnTo>
                      <a:lnTo>
                        <a:pt x="956" y="1130"/>
                      </a:lnTo>
                      <a:lnTo>
                        <a:pt x="946" y="1105"/>
                      </a:lnTo>
                      <a:lnTo>
                        <a:pt x="944" y="1101"/>
                      </a:lnTo>
                      <a:lnTo>
                        <a:pt x="909" y="1105"/>
                      </a:lnTo>
                      <a:lnTo>
                        <a:pt x="909" y="1087"/>
                      </a:lnTo>
                      <a:lnTo>
                        <a:pt x="908" y="1074"/>
                      </a:lnTo>
                      <a:lnTo>
                        <a:pt x="923" y="1045"/>
                      </a:lnTo>
                      <a:lnTo>
                        <a:pt x="927" y="1029"/>
                      </a:lnTo>
                      <a:lnTo>
                        <a:pt x="921" y="998"/>
                      </a:lnTo>
                      <a:lnTo>
                        <a:pt x="913" y="967"/>
                      </a:lnTo>
                      <a:lnTo>
                        <a:pt x="900" y="959"/>
                      </a:lnTo>
                      <a:lnTo>
                        <a:pt x="873" y="932"/>
                      </a:lnTo>
                      <a:lnTo>
                        <a:pt x="867" y="944"/>
                      </a:lnTo>
                      <a:lnTo>
                        <a:pt x="832" y="932"/>
                      </a:lnTo>
                      <a:lnTo>
                        <a:pt x="834" y="915"/>
                      </a:lnTo>
                      <a:lnTo>
                        <a:pt x="820" y="911"/>
                      </a:lnTo>
                      <a:lnTo>
                        <a:pt x="822" y="905"/>
                      </a:lnTo>
                      <a:lnTo>
                        <a:pt x="809" y="901"/>
                      </a:lnTo>
                      <a:lnTo>
                        <a:pt x="791" y="911"/>
                      </a:lnTo>
                      <a:lnTo>
                        <a:pt x="764" y="90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7" name="Freeform 297"/>
                <p:cNvSpPr>
                  <a:spLocks/>
                </p:cNvSpPr>
                <p:nvPr/>
              </p:nvSpPr>
              <p:spPr bwMode="auto">
                <a:xfrm>
                  <a:off x="7174761" y="2820197"/>
                  <a:ext cx="58600" cy="46170"/>
                </a:xfrm>
                <a:custGeom>
                  <a:avLst/>
                  <a:gdLst>
                    <a:gd name="T0" fmla="*/ 43950 w 72"/>
                    <a:gd name="T1" fmla="*/ 0 h 66"/>
                    <a:gd name="T2" fmla="*/ 17092 w 72"/>
                    <a:gd name="T3" fmla="*/ 4197 h 66"/>
                    <a:gd name="T4" fmla="*/ 0 w 72"/>
                    <a:gd name="T5" fmla="*/ 16090 h 66"/>
                    <a:gd name="T6" fmla="*/ 0 w 72"/>
                    <a:gd name="T7" fmla="*/ 37775 h 66"/>
                    <a:gd name="T8" fmla="*/ 21975 w 72"/>
                    <a:gd name="T9" fmla="*/ 46170 h 66"/>
                    <a:gd name="T10" fmla="*/ 33369 w 72"/>
                    <a:gd name="T11" fmla="*/ 43372 h 66"/>
                    <a:gd name="T12" fmla="*/ 47206 w 72"/>
                    <a:gd name="T13" fmla="*/ 27282 h 66"/>
                    <a:gd name="T14" fmla="*/ 58600 w 72"/>
                    <a:gd name="T15" fmla="*/ 11193 h 66"/>
                    <a:gd name="T16" fmla="*/ 55344 w 72"/>
                    <a:gd name="T17" fmla="*/ 1399 h 66"/>
                    <a:gd name="T18" fmla="*/ 43950 w 72"/>
                    <a:gd name="T19" fmla="*/ 0 h 6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72"/>
                    <a:gd name="T31" fmla="*/ 0 h 66"/>
                    <a:gd name="T32" fmla="*/ 72 w 72"/>
                    <a:gd name="T33" fmla="*/ 66 h 6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72" h="66">
                      <a:moveTo>
                        <a:pt x="54" y="0"/>
                      </a:moveTo>
                      <a:lnTo>
                        <a:pt x="21" y="6"/>
                      </a:lnTo>
                      <a:lnTo>
                        <a:pt x="0" y="23"/>
                      </a:lnTo>
                      <a:lnTo>
                        <a:pt x="0" y="54"/>
                      </a:lnTo>
                      <a:lnTo>
                        <a:pt x="27" y="66"/>
                      </a:lnTo>
                      <a:lnTo>
                        <a:pt x="41" y="62"/>
                      </a:lnTo>
                      <a:lnTo>
                        <a:pt x="58" y="39"/>
                      </a:lnTo>
                      <a:lnTo>
                        <a:pt x="72" y="16"/>
                      </a:lnTo>
                      <a:lnTo>
                        <a:pt x="68" y="2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8" name="Freeform 298"/>
                <p:cNvSpPr>
                  <a:spLocks/>
                </p:cNvSpPr>
                <p:nvPr/>
              </p:nvSpPr>
              <p:spPr bwMode="auto">
                <a:xfrm>
                  <a:off x="7615147" y="2216441"/>
                  <a:ext cx="223745" cy="218418"/>
                </a:xfrm>
                <a:custGeom>
                  <a:avLst/>
                  <a:gdLst>
                    <a:gd name="T0" fmla="*/ 209614 w 285"/>
                    <a:gd name="T1" fmla="*/ 164898 h 302"/>
                    <a:gd name="T2" fmla="*/ 204118 w 285"/>
                    <a:gd name="T3" fmla="*/ 158389 h 302"/>
                    <a:gd name="T4" fmla="*/ 204118 w 285"/>
                    <a:gd name="T5" fmla="*/ 170684 h 302"/>
                    <a:gd name="T6" fmla="*/ 193127 w 285"/>
                    <a:gd name="T7" fmla="*/ 175024 h 302"/>
                    <a:gd name="T8" fmla="*/ 189987 w 285"/>
                    <a:gd name="T9" fmla="*/ 186596 h 302"/>
                    <a:gd name="T10" fmla="*/ 183706 w 285"/>
                    <a:gd name="T11" fmla="*/ 173577 h 302"/>
                    <a:gd name="T12" fmla="*/ 178211 w 285"/>
                    <a:gd name="T13" fmla="*/ 187319 h 302"/>
                    <a:gd name="T14" fmla="*/ 150733 w 285"/>
                    <a:gd name="T15" fmla="*/ 186596 h 302"/>
                    <a:gd name="T16" fmla="*/ 142883 w 285"/>
                    <a:gd name="T17" fmla="*/ 182256 h 302"/>
                    <a:gd name="T18" fmla="*/ 135032 w 285"/>
                    <a:gd name="T19" fmla="*/ 176470 h 302"/>
                    <a:gd name="T20" fmla="*/ 139742 w 285"/>
                    <a:gd name="T21" fmla="*/ 188765 h 302"/>
                    <a:gd name="T22" fmla="*/ 146023 w 285"/>
                    <a:gd name="T23" fmla="*/ 195998 h 302"/>
                    <a:gd name="T24" fmla="*/ 134247 w 285"/>
                    <a:gd name="T25" fmla="*/ 207569 h 302"/>
                    <a:gd name="T26" fmla="*/ 131107 w 285"/>
                    <a:gd name="T27" fmla="*/ 218418 h 302"/>
                    <a:gd name="T28" fmla="*/ 106770 w 285"/>
                    <a:gd name="T29" fmla="*/ 201784 h 302"/>
                    <a:gd name="T30" fmla="*/ 105199 w 285"/>
                    <a:gd name="T31" fmla="*/ 185149 h 302"/>
                    <a:gd name="T32" fmla="*/ 74582 w 285"/>
                    <a:gd name="T33" fmla="*/ 187319 h 302"/>
                    <a:gd name="T34" fmla="*/ 39254 w 285"/>
                    <a:gd name="T35" fmla="*/ 194551 h 302"/>
                    <a:gd name="T36" fmla="*/ 30618 w 285"/>
                    <a:gd name="T37" fmla="*/ 206123 h 302"/>
                    <a:gd name="T38" fmla="*/ 0 w 285"/>
                    <a:gd name="T39" fmla="*/ 201784 h 302"/>
                    <a:gd name="T40" fmla="*/ 6281 w 285"/>
                    <a:gd name="T41" fmla="*/ 191658 h 302"/>
                    <a:gd name="T42" fmla="*/ 22767 w 285"/>
                    <a:gd name="T43" fmla="*/ 176470 h 302"/>
                    <a:gd name="T44" fmla="*/ 37683 w 285"/>
                    <a:gd name="T45" fmla="*/ 161282 h 302"/>
                    <a:gd name="T46" fmla="*/ 63591 w 285"/>
                    <a:gd name="T47" fmla="*/ 159836 h 302"/>
                    <a:gd name="T48" fmla="*/ 89498 w 285"/>
                    <a:gd name="T49" fmla="*/ 158389 h 302"/>
                    <a:gd name="T50" fmla="*/ 94208 w 285"/>
                    <a:gd name="T51" fmla="*/ 161282 h 302"/>
                    <a:gd name="T52" fmla="*/ 108340 w 285"/>
                    <a:gd name="T53" fmla="*/ 155496 h 302"/>
                    <a:gd name="T54" fmla="*/ 105199 w 285"/>
                    <a:gd name="T55" fmla="*/ 140308 h 302"/>
                    <a:gd name="T56" fmla="*/ 102059 w 285"/>
                    <a:gd name="T57" fmla="*/ 117888 h 302"/>
                    <a:gd name="T58" fmla="*/ 112265 w 285"/>
                    <a:gd name="T59" fmla="*/ 112102 h 302"/>
                    <a:gd name="T60" fmla="*/ 112265 w 285"/>
                    <a:gd name="T61" fmla="*/ 118611 h 302"/>
                    <a:gd name="T62" fmla="*/ 120116 w 285"/>
                    <a:gd name="T63" fmla="*/ 128736 h 302"/>
                    <a:gd name="T64" fmla="*/ 134247 w 285"/>
                    <a:gd name="T65" fmla="*/ 117888 h 302"/>
                    <a:gd name="T66" fmla="*/ 146023 w 285"/>
                    <a:gd name="T67" fmla="*/ 104870 h 302"/>
                    <a:gd name="T68" fmla="*/ 147593 w 285"/>
                    <a:gd name="T69" fmla="*/ 85342 h 302"/>
                    <a:gd name="T70" fmla="*/ 150733 w 285"/>
                    <a:gd name="T71" fmla="*/ 64368 h 302"/>
                    <a:gd name="T72" fmla="*/ 136602 w 285"/>
                    <a:gd name="T73" fmla="*/ 43394 h 302"/>
                    <a:gd name="T74" fmla="*/ 127966 w 285"/>
                    <a:gd name="T75" fmla="*/ 19527 h 302"/>
                    <a:gd name="T76" fmla="*/ 129537 w 285"/>
                    <a:gd name="T77" fmla="*/ 6509 h 302"/>
                    <a:gd name="T78" fmla="*/ 141313 w 285"/>
                    <a:gd name="T79" fmla="*/ 13742 h 302"/>
                    <a:gd name="T80" fmla="*/ 149163 w 285"/>
                    <a:gd name="T81" fmla="*/ 9402 h 302"/>
                    <a:gd name="T82" fmla="*/ 146023 w 285"/>
                    <a:gd name="T83" fmla="*/ 5063 h 302"/>
                    <a:gd name="T84" fmla="*/ 135032 w 285"/>
                    <a:gd name="T85" fmla="*/ 5063 h 302"/>
                    <a:gd name="T86" fmla="*/ 138172 w 285"/>
                    <a:gd name="T87" fmla="*/ 0 h 302"/>
                    <a:gd name="T88" fmla="*/ 149163 w 285"/>
                    <a:gd name="T89" fmla="*/ 4339 h 302"/>
                    <a:gd name="T90" fmla="*/ 171930 w 285"/>
                    <a:gd name="T91" fmla="*/ 27483 h 302"/>
                    <a:gd name="T92" fmla="*/ 196268 w 285"/>
                    <a:gd name="T93" fmla="*/ 51350 h 302"/>
                    <a:gd name="T94" fmla="*/ 199408 w 285"/>
                    <a:gd name="T95" fmla="*/ 83896 h 302"/>
                    <a:gd name="T96" fmla="*/ 191557 w 285"/>
                    <a:gd name="T97" fmla="*/ 94021 h 302"/>
                    <a:gd name="T98" fmla="*/ 208829 w 285"/>
                    <a:gd name="T99" fmla="*/ 127290 h 302"/>
                    <a:gd name="T100" fmla="*/ 223745 w 285"/>
                    <a:gd name="T101" fmla="*/ 154050 h 302"/>
                    <a:gd name="T102" fmla="*/ 214324 w 285"/>
                    <a:gd name="T103" fmla="*/ 179363 h 302"/>
                    <a:gd name="T104" fmla="*/ 209614 w 285"/>
                    <a:gd name="T105" fmla="*/ 164898 h 30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85"/>
                    <a:gd name="T160" fmla="*/ 0 h 302"/>
                    <a:gd name="T161" fmla="*/ 285 w 285"/>
                    <a:gd name="T162" fmla="*/ 302 h 30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85" h="302">
                      <a:moveTo>
                        <a:pt x="267" y="228"/>
                      </a:moveTo>
                      <a:lnTo>
                        <a:pt x="260" y="219"/>
                      </a:lnTo>
                      <a:lnTo>
                        <a:pt x="260" y="236"/>
                      </a:lnTo>
                      <a:lnTo>
                        <a:pt x="246" y="242"/>
                      </a:lnTo>
                      <a:lnTo>
                        <a:pt x="242" y="258"/>
                      </a:lnTo>
                      <a:lnTo>
                        <a:pt x="234" y="240"/>
                      </a:lnTo>
                      <a:lnTo>
                        <a:pt x="227" y="259"/>
                      </a:lnTo>
                      <a:lnTo>
                        <a:pt x="192" y="258"/>
                      </a:lnTo>
                      <a:lnTo>
                        <a:pt x="182" y="252"/>
                      </a:lnTo>
                      <a:lnTo>
                        <a:pt x="172" y="244"/>
                      </a:lnTo>
                      <a:lnTo>
                        <a:pt x="178" y="261"/>
                      </a:lnTo>
                      <a:lnTo>
                        <a:pt x="186" y="271"/>
                      </a:lnTo>
                      <a:lnTo>
                        <a:pt x="171" y="287"/>
                      </a:lnTo>
                      <a:lnTo>
                        <a:pt x="167" y="302"/>
                      </a:lnTo>
                      <a:lnTo>
                        <a:pt x="136" y="279"/>
                      </a:lnTo>
                      <a:lnTo>
                        <a:pt x="134" y="256"/>
                      </a:lnTo>
                      <a:lnTo>
                        <a:pt x="95" y="259"/>
                      </a:lnTo>
                      <a:lnTo>
                        <a:pt x="50" y="269"/>
                      </a:lnTo>
                      <a:lnTo>
                        <a:pt x="39" y="285"/>
                      </a:lnTo>
                      <a:lnTo>
                        <a:pt x="0" y="279"/>
                      </a:lnTo>
                      <a:lnTo>
                        <a:pt x="8" y="265"/>
                      </a:lnTo>
                      <a:lnTo>
                        <a:pt x="29" y="244"/>
                      </a:lnTo>
                      <a:lnTo>
                        <a:pt x="48" y="223"/>
                      </a:lnTo>
                      <a:lnTo>
                        <a:pt x="81" y="221"/>
                      </a:lnTo>
                      <a:lnTo>
                        <a:pt x="114" y="219"/>
                      </a:lnTo>
                      <a:lnTo>
                        <a:pt x="120" y="223"/>
                      </a:lnTo>
                      <a:lnTo>
                        <a:pt x="138" y="215"/>
                      </a:lnTo>
                      <a:lnTo>
                        <a:pt x="134" y="194"/>
                      </a:lnTo>
                      <a:lnTo>
                        <a:pt x="130" y="163"/>
                      </a:lnTo>
                      <a:lnTo>
                        <a:pt x="143" y="155"/>
                      </a:lnTo>
                      <a:lnTo>
                        <a:pt x="143" y="164"/>
                      </a:lnTo>
                      <a:lnTo>
                        <a:pt x="153" y="178"/>
                      </a:lnTo>
                      <a:lnTo>
                        <a:pt x="171" y="163"/>
                      </a:lnTo>
                      <a:lnTo>
                        <a:pt x="186" y="145"/>
                      </a:lnTo>
                      <a:lnTo>
                        <a:pt x="188" y="118"/>
                      </a:lnTo>
                      <a:lnTo>
                        <a:pt x="192" y="89"/>
                      </a:lnTo>
                      <a:lnTo>
                        <a:pt x="174" y="60"/>
                      </a:lnTo>
                      <a:lnTo>
                        <a:pt x="163" y="27"/>
                      </a:lnTo>
                      <a:lnTo>
                        <a:pt x="165" y="9"/>
                      </a:lnTo>
                      <a:lnTo>
                        <a:pt x="180" y="19"/>
                      </a:lnTo>
                      <a:lnTo>
                        <a:pt x="190" y="13"/>
                      </a:lnTo>
                      <a:lnTo>
                        <a:pt x="186" y="7"/>
                      </a:lnTo>
                      <a:lnTo>
                        <a:pt x="172" y="7"/>
                      </a:lnTo>
                      <a:lnTo>
                        <a:pt x="176" y="0"/>
                      </a:lnTo>
                      <a:lnTo>
                        <a:pt x="190" y="6"/>
                      </a:lnTo>
                      <a:lnTo>
                        <a:pt x="219" y="38"/>
                      </a:lnTo>
                      <a:lnTo>
                        <a:pt x="250" y="71"/>
                      </a:lnTo>
                      <a:lnTo>
                        <a:pt x="254" y="116"/>
                      </a:lnTo>
                      <a:lnTo>
                        <a:pt x="244" y="130"/>
                      </a:lnTo>
                      <a:lnTo>
                        <a:pt x="266" y="176"/>
                      </a:lnTo>
                      <a:lnTo>
                        <a:pt x="285" y="213"/>
                      </a:lnTo>
                      <a:lnTo>
                        <a:pt x="273" y="248"/>
                      </a:lnTo>
                      <a:lnTo>
                        <a:pt x="267" y="22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09" name="Freeform 299"/>
                <p:cNvSpPr>
                  <a:spLocks/>
                </p:cNvSpPr>
                <p:nvPr/>
              </p:nvSpPr>
              <p:spPr bwMode="auto">
                <a:xfrm>
                  <a:off x="7695056" y="2097465"/>
                  <a:ext cx="129630" cy="118976"/>
                </a:xfrm>
                <a:custGeom>
                  <a:avLst/>
                  <a:gdLst>
                    <a:gd name="T0" fmla="*/ 100561 w 165"/>
                    <a:gd name="T1" fmla="*/ 44616 h 152"/>
                    <a:gd name="T2" fmla="*/ 77778 w 165"/>
                    <a:gd name="T3" fmla="*/ 39920 h 152"/>
                    <a:gd name="T4" fmla="*/ 39282 w 165"/>
                    <a:gd name="T5" fmla="*/ 20351 h 152"/>
                    <a:gd name="T6" fmla="*/ 0 w 165"/>
                    <a:gd name="T7" fmla="*/ 0 h 152"/>
                    <a:gd name="T8" fmla="*/ 7071 w 165"/>
                    <a:gd name="T9" fmla="*/ 15655 h 152"/>
                    <a:gd name="T10" fmla="*/ 19641 w 165"/>
                    <a:gd name="T11" fmla="*/ 39920 h 152"/>
                    <a:gd name="T12" fmla="*/ 31425 w 165"/>
                    <a:gd name="T13" fmla="*/ 64184 h 152"/>
                    <a:gd name="T14" fmla="*/ 14927 w 165"/>
                    <a:gd name="T15" fmla="*/ 65750 h 152"/>
                    <a:gd name="T16" fmla="*/ 10213 w 165"/>
                    <a:gd name="T17" fmla="*/ 68881 h 152"/>
                    <a:gd name="T18" fmla="*/ 11785 w 165"/>
                    <a:gd name="T19" fmla="*/ 80622 h 152"/>
                    <a:gd name="T20" fmla="*/ 16498 w 165"/>
                    <a:gd name="T21" fmla="*/ 97842 h 152"/>
                    <a:gd name="T22" fmla="*/ 32997 w 165"/>
                    <a:gd name="T23" fmla="*/ 118976 h 152"/>
                    <a:gd name="T24" fmla="*/ 39282 w 165"/>
                    <a:gd name="T25" fmla="*/ 112714 h 152"/>
                    <a:gd name="T26" fmla="*/ 53423 w 165"/>
                    <a:gd name="T27" fmla="*/ 111149 h 152"/>
                    <a:gd name="T28" fmla="*/ 22783 w 165"/>
                    <a:gd name="T29" fmla="*/ 91580 h 152"/>
                    <a:gd name="T30" fmla="*/ 34568 w 165"/>
                    <a:gd name="T31" fmla="*/ 90015 h 152"/>
                    <a:gd name="T32" fmla="*/ 45567 w 165"/>
                    <a:gd name="T33" fmla="*/ 85318 h 152"/>
                    <a:gd name="T34" fmla="*/ 95848 w 165"/>
                    <a:gd name="T35" fmla="*/ 101756 h 152"/>
                    <a:gd name="T36" fmla="*/ 97419 w 165"/>
                    <a:gd name="T37" fmla="*/ 94711 h 152"/>
                    <a:gd name="T38" fmla="*/ 109203 w 165"/>
                    <a:gd name="T39" fmla="*/ 74360 h 152"/>
                    <a:gd name="T40" fmla="*/ 129630 w 165"/>
                    <a:gd name="T41" fmla="*/ 65750 h 152"/>
                    <a:gd name="T42" fmla="*/ 117060 w 165"/>
                    <a:gd name="T43" fmla="*/ 56357 h 152"/>
                    <a:gd name="T44" fmla="*/ 107632 w 165"/>
                    <a:gd name="T45" fmla="*/ 35223 h 152"/>
                    <a:gd name="T46" fmla="*/ 100561 w 165"/>
                    <a:gd name="T47" fmla="*/ 44616 h 15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65"/>
                    <a:gd name="T73" fmla="*/ 0 h 152"/>
                    <a:gd name="T74" fmla="*/ 165 w 165"/>
                    <a:gd name="T75" fmla="*/ 152 h 15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65" h="152">
                      <a:moveTo>
                        <a:pt x="128" y="57"/>
                      </a:moveTo>
                      <a:lnTo>
                        <a:pt x="99" y="51"/>
                      </a:lnTo>
                      <a:lnTo>
                        <a:pt x="50" y="26"/>
                      </a:lnTo>
                      <a:lnTo>
                        <a:pt x="0" y="0"/>
                      </a:lnTo>
                      <a:lnTo>
                        <a:pt x="9" y="20"/>
                      </a:lnTo>
                      <a:lnTo>
                        <a:pt x="25" y="51"/>
                      </a:lnTo>
                      <a:lnTo>
                        <a:pt x="40" y="82"/>
                      </a:lnTo>
                      <a:lnTo>
                        <a:pt x="19" y="84"/>
                      </a:lnTo>
                      <a:lnTo>
                        <a:pt x="13" y="88"/>
                      </a:lnTo>
                      <a:lnTo>
                        <a:pt x="15" y="103"/>
                      </a:lnTo>
                      <a:lnTo>
                        <a:pt x="21" y="125"/>
                      </a:lnTo>
                      <a:lnTo>
                        <a:pt x="42" y="152"/>
                      </a:lnTo>
                      <a:lnTo>
                        <a:pt x="50" y="144"/>
                      </a:lnTo>
                      <a:lnTo>
                        <a:pt x="68" y="142"/>
                      </a:lnTo>
                      <a:lnTo>
                        <a:pt x="29" y="117"/>
                      </a:lnTo>
                      <a:lnTo>
                        <a:pt x="44" y="115"/>
                      </a:lnTo>
                      <a:lnTo>
                        <a:pt x="58" y="109"/>
                      </a:lnTo>
                      <a:lnTo>
                        <a:pt x="122" y="130"/>
                      </a:lnTo>
                      <a:lnTo>
                        <a:pt x="124" y="121"/>
                      </a:lnTo>
                      <a:lnTo>
                        <a:pt x="139" y="95"/>
                      </a:lnTo>
                      <a:lnTo>
                        <a:pt x="165" y="84"/>
                      </a:lnTo>
                      <a:lnTo>
                        <a:pt x="149" y="72"/>
                      </a:lnTo>
                      <a:lnTo>
                        <a:pt x="137" y="45"/>
                      </a:lnTo>
                      <a:lnTo>
                        <a:pt x="128" y="5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0" name="Freeform 300"/>
                <p:cNvSpPr>
                  <a:spLocks/>
                </p:cNvSpPr>
                <p:nvPr/>
              </p:nvSpPr>
              <p:spPr bwMode="auto">
                <a:xfrm>
                  <a:off x="7593838" y="2429531"/>
                  <a:ext cx="65703" cy="76357"/>
                </a:xfrm>
                <a:custGeom>
                  <a:avLst/>
                  <a:gdLst>
                    <a:gd name="T0" fmla="*/ 65703 w 83"/>
                    <a:gd name="T1" fmla="*/ 26431 h 104"/>
                    <a:gd name="T2" fmla="*/ 64120 w 83"/>
                    <a:gd name="T3" fmla="*/ 46989 h 104"/>
                    <a:gd name="T4" fmla="*/ 62537 w 83"/>
                    <a:gd name="T5" fmla="*/ 66812 h 104"/>
                    <a:gd name="T6" fmla="*/ 55412 w 83"/>
                    <a:gd name="T7" fmla="*/ 76357 h 104"/>
                    <a:gd name="T8" fmla="*/ 44330 w 83"/>
                    <a:gd name="T9" fmla="*/ 60939 h 104"/>
                    <a:gd name="T10" fmla="*/ 47496 w 83"/>
                    <a:gd name="T11" fmla="*/ 73420 h 104"/>
                    <a:gd name="T12" fmla="*/ 39580 w 83"/>
                    <a:gd name="T13" fmla="*/ 68281 h 104"/>
                    <a:gd name="T14" fmla="*/ 32456 w 83"/>
                    <a:gd name="T15" fmla="*/ 46989 h 104"/>
                    <a:gd name="T16" fmla="*/ 33247 w 83"/>
                    <a:gd name="T17" fmla="*/ 33773 h 104"/>
                    <a:gd name="T18" fmla="*/ 15040 w 83"/>
                    <a:gd name="T19" fmla="*/ 21292 h 104"/>
                    <a:gd name="T20" fmla="*/ 24540 w 83"/>
                    <a:gd name="T21" fmla="*/ 35242 h 104"/>
                    <a:gd name="T22" fmla="*/ 13457 w 83"/>
                    <a:gd name="T23" fmla="*/ 35242 h 104"/>
                    <a:gd name="T24" fmla="*/ 8708 w 83"/>
                    <a:gd name="T25" fmla="*/ 25697 h 104"/>
                    <a:gd name="T26" fmla="*/ 11874 w 83"/>
                    <a:gd name="T27" fmla="*/ 25697 h 104"/>
                    <a:gd name="T28" fmla="*/ 0 w 83"/>
                    <a:gd name="T29" fmla="*/ 13950 h 104"/>
                    <a:gd name="T30" fmla="*/ 27706 w 83"/>
                    <a:gd name="T31" fmla="*/ 0 h 104"/>
                    <a:gd name="T32" fmla="*/ 42747 w 83"/>
                    <a:gd name="T33" fmla="*/ 8076 h 104"/>
                    <a:gd name="T34" fmla="*/ 50663 w 83"/>
                    <a:gd name="T35" fmla="*/ 12481 h 104"/>
                    <a:gd name="T36" fmla="*/ 53829 w 83"/>
                    <a:gd name="T37" fmla="*/ 16887 h 104"/>
                    <a:gd name="T38" fmla="*/ 65703 w 83"/>
                    <a:gd name="T39" fmla="*/ 26431 h 10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3"/>
                    <a:gd name="T61" fmla="*/ 0 h 104"/>
                    <a:gd name="T62" fmla="*/ 83 w 83"/>
                    <a:gd name="T63" fmla="*/ 104 h 10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3" h="104">
                      <a:moveTo>
                        <a:pt x="83" y="36"/>
                      </a:moveTo>
                      <a:lnTo>
                        <a:pt x="81" y="64"/>
                      </a:lnTo>
                      <a:lnTo>
                        <a:pt x="79" y="91"/>
                      </a:lnTo>
                      <a:lnTo>
                        <a:pt x="70" y="104"/>
                      </a:lnTo>
                      <a:lnTo>
                        <a:pt x="56" y="83"/>
                      </a:lnTo>
                      <a:lnTo>
                        <a:pt x="60" y="100"/>
                      </a:lnTo>
                      <a:lnTo>
                        <a:pt x="50" y="93"/>
                      </a:lnTo>
                      <a:lnTo>
                        <a:pt x="41" y="64"/>
                      </a:lnTo>
                      <a:lnTo>
                        <a:pt x="42" y="46"/>
                      </a:lnTo>
                      <a:lnTo>
                        <a:pt x="19" y="29"/>
                      </a:lnTo>
                      <a:lnTo>
                        <a:pt x="31" y="48"/>
                      </a:lnTo>
                      <a:lnTo>
                        <a:pt x="17" y="48"/>
                      </a:lnTo>
                      <a:lnTo>
                        <a:pt x="11" y="35"/>
                      </a:lnTo>
                      <a:lnTo>
                        <a:pt x="15" y="35"/>
                      </a:lnTo>
                      <a:lnTo>
                        <a:pt x="0" y="19"/>
                      </a:lnTo>
                      <a:lnTo>
                        <a:pt x="35" y="0"/>
                      </a:lnTo>
                      <a:lnTo>
                        <a:pt x="54" y="11"/>
                      </a:lnTo>
                      <a:lnTo>
                        <a:pt x="64" y="17"/>
                      </a:lnTo>
                      <a:lnTo>
                        <a:pt x="68" y="23"/>
                      </a:lnTo>
                      <a:lnTo>
                        <a:pt x="83" y="3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1" name="Freeform 301"/>
                <p:cNvSpPr>
                  <a:spLocks/>
                </p:cNvSpPr>
                <p:nvPr/>
              </p:nvSpPr>
              <p:spPr bwMode="auto">
                <a:xfrm>
                  <a:off x="7659541" y="2411774"/>
                  <a:ext cx="56824" cy="46170"/>
                </a:xfrm>
                <a:custGeom>
                  <a:avLst/>
                  <a:gdLst>
                    <a:gd name="T0" fmla="*/ 46356 w 76"/>
                    <a:gd name="T1" fmla="*/ 28472 h 60"/>
                    <a:gd name="T2" fmla="*/ 27664 w 76"/>
                    <a:gd name="T3" fmla="*/ 28472 h 60"/>
                    <a:gd name="T4" fmla="*/ 24674 w 76"/>
                    <a:gd name="T5" fmla="*/ 46170 h 60"/>
                    <a:gd name="T6" fmla="*/ 10468 w 76"/>
                    <a:gd name="T7" fmla="*/ 34628 h 60"/>
                    <a:gd name="T8" fmla="*/ 2991 w 76"/>
                    <a:gd name="T9" fmla="*/ 25394 h 60"/>
                    <a:gd name="T10" fmla="*/ 0 w 76"/>
                    <a:gd name="T11" fmla="*/ 26933 h 60"/>
                    <a:gd name="T12" fmla="*/ 14954 w 76"/>
                    <a:gd name="T13" fmla="*/ 9234 h 60"/>
                    <a:gd name="T14" fmla="*/ 27664 w 76"/>
                    <a:gd name="T15" fmla="*/ 7695 h 60"/>
                    <a:gd name="T16" fmla="*/ 39627 w 76"/>
                    <a:gd name="T17" fmla="*/ 0 h 60"/>
                    <a:gd name="T18" fmla="*/ 50843 w 76"/>
                    <a:gd name="T19" fmla="*/ 7695 h 60"/>
                    <a:gd name="T20" fmla="*/ 56824 w 76"/>
                    <a:gd name="T21" fmla="*/ 15390 h 60"/>
                    <a:gd name="T22" fmla="*/ 46356 w 76"/>
                    <a:gd name="T23" fmla="*/ 28472 h 6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6"/>
                    <a:gd name="T37" fmla="*/ 0 h 60"/>
                    <a:gd name="T38" fmla="*/ 76 w 76"/>
                    <a:gd name="T39" fmla="*/ 60 h 6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6" h="60">
                      <a:moveTo>
                        <a:pt x="62" y="37"/>
                      </a:moveTo>
                      <a:lnTo>
                        <a:pt x="37" y="37"/>
                      </a:lnTo>
                      <a:lnTo>
                        <a:pt x="33" y="60"/>
                      </a:lnTo>
                      <a:lnTo>
                        <a:pt x="14" y="45"/>
                      </a:lnTo>
                      <a:lnTo>
                        <a:pt x="4" y="33"/>
                      </a:lnTo>
                      <a:lnTo>
                        <a:pt x="0" y="35"/>
                      </a:lnTo>
                      <a:lnTo>
                        <a:pt x="20" y="12"/>
                      </a:lnTo>
                      <a:lnTo>
                        <a:pt x="37" y="10"/>
                      </a:lnTo>
                      <a:lnTo>
                        <a:pt x="53" y="0"/>
                      </a:lnTo>
                      <a:lnTo>
                        <a:pt x="68" y="10"/>
                      </a:lnTo>
                      <a:lnTo>
                        <a:pt x="76" y="20"/>
                      </a:lnTo>
                      <a:lnTo>
                        <a:pt x="62" y="3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2" name="Freeform 302"/>
                <p:cNvSpPr>
                  <a:spLocks/>
                </p:cNvSpPr>
                <p:nvPr/>
              </p:nvSpPr>
              <p:spPr bwMode="auto">
                <a:xfrm>
                  <a:off x="7615147" y="2624864"/>
                  <a:ext cx="14206" cy="17758"/>
                </a:xfrm>
                <a:custGeom>
                  <a:avLst/>
                  <a:gdLst>
                    <a:gd name="T0" fmla="*/ 0 w 15"/>
                    <a:gd name="T1" fmla="*/ 17758 h 25"/>
                    <a:gd name="T2" fmla="*/ 14206 w 15"/>
                    <a:gd name="T3" fmla="*/ 2841 h 25"/>
                    <a:gd name="T4" fmla="*/ 12312 w 15"/>
                    <a:gd name="T5" fmla="*/ 0 h 25"/>
                    <a:gd name="T6" fmla="*/ 0 w 15"/>
                    <a:gd name="T7" fmla="*/ 17758 h 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"/>
                    <a:gd name="T13" fmla="*/ 0 h 25"/>
                    <a:gd name="T14" fmla="*/ 15 w 15"/>
                    <a:gd name="T15" fmla="*/ 25 h 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" h="25">
                      <a:moveTo>
                        <a:pt x="0" y="25"/>
                      </a:moveTo>
                      <a:lnTo>
                        <a:pt x="15" y="4"/>
                      </a:lnTo>
                      <a:lnTo>
                        <a:pt x="13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3" name="Freeform 303"/>
                <p:cNvSpPr>
                  <a:spLocks/>
                </p:cNvSpPr>
                <p:nvPr/>
              </p:nvSpPr>
              <p:spPr bwMode="auto">
                <a:xfrm>
                  <a:off x="7737674" y="2298125"/>
                  <a:ext cx="14206" cy="12430"/>
                </a:xfrm>
                <a:custGeom>
                  <a:avLst/>
                  <a:gdLst>
                    <a:gd name="T0" fmla="*/ 14206 w 9"/>
                    <a:gd name="T1" fmla="*/ 10358 h 12"/>
                    <a:gd name="T2" fmla="*/ 3157 w 9"/>
                    <a:gd name="T3" fmla="*/ 0 h 12"/>
                    <a:gd name="T4" fmla="*/ 0 w 9"/>
                    <a:gd name="T5" fmla="*/ 12430 h 12"/>
                    <a:gd name="T6" fmla="*/ 14206 w 9"/>
                    <a:gd name="T7" fmla="*/ 10358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2"/>
                    <a:gd name="T14" fmla="*/ 9 w 9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2">
                      <a:moveTo>
                        <a:pt x="9" y="10"/>
                      </a:moveTo>
                      <a:lnTo>
                        <a:pt x="2" y="0"/>
                      </a:lnTo>
                      <a:lnTo>
                        <a:pt x="0" y="12"/>
                      </a:lnTo>
                      <a:lnTo>
                        <a:pt x="9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4" name="Freeform 304"/>
                <p:cNvSpPr>
                  <a:spLocks/>
                </p:cNvSpPr>
                <p:nvPr/>
              </p:nvSpPr>
              <p:spPr bwMode="auto">
                <a:xfrm>
                  <a:off x="7615147" y="2465046"/>
                  <a:ext cx="7103" cy="5327"/>
                </a:xfrm>
                <a:custGeom>
                  <a:avLst/>
                  <a:gdLst>
                    <a:gd name="T0" fmla="*/ 5327 w 8"/>
                    <a:gd name="T1" fmla="*/ 0 h 6"/>
                    <a:gd name="T2" fmla="*/ 7103 w 8"/>
                    <a:gd name="T3" fmla="*/ 5327 h 6"/>
                    <a:gd name="T4" fmla="*/ 0 w 8"/>
                    <a:gd name="T5" fmla="*/ 5327 h 6"/>
                    <a:gd name="T6" fmla="*/ 5327 w 8"/>
                    <a:gd name="T7" fmla="*/ 0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6"/>
                    <a:gd name="T14" fmla="*/ 8 w 8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6">
                      <a:moveTo>
                        <a:pt x="6" y="0"/>
                      </a:moveTo>
                      <a:lnTo>
                        <a:pt x="8" y="6"/>
                      </a:lnTo>
                      <a:lnTo>
                        <a:pt x="0" y="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5" name="Freeform 305"/>
                <p:cNvSpPr>
                  <a:spLocks/>
                </p:cNvSpPr>
                <p:nvPr/>
              </p:nvSpPr>
              <p:spPr bwMode="auto">
                <a:xfrm>
                  <a:off x="7370093" y="2168495"/>
                  <a:ext cx="122527" cy="147388"/>
                </a:xfrm>
                <a:custGeom>
                  <a:avLst/>
                  <a:gdLst>
                    <a:gd name="T0" fmla="*/ 32457 w 151"/>
                    <a:gd name="T1" fmla="*/ 98765 h 194"/>
                    <a:gd name="T2" fmla="*/ 15417 w 151"/>
                    <a:gd name="T3" fmla="*/ 94966 h 194"/>
                    <a:gd name="T4" fmla="*/ 0 w 151"/>
                    <a:gd name="T5" fmla="*/ 81291 h 194"/>
                    <a:gd name="T6" fmla="*/ 15417 w 151"/>
                    <a:gd name="T7" fmla="*/ 66856 h 194"/>
                    <a:gd name="T8" fmla="*/ 31646 w 151"/>
                    <a:gd name="T9" fmla="*/ 41785 h 194"/>
                    <a:gd name="T10" fmla="*/ 40572 w 151"/>
                    <a:gd name="T11" fmla="*/ 35707 h 194"/>
                    <a:gd name="T12" fmla="*/ 70595 w 151"/>
                    <a:gd name="T13" fmla="*/ 44824 h 194"/>
                    <a:gd name="T14" fmla="*/ 60858 w 151"/>
                    <a:gd name="T15" fmla="*/ 29630 h 194"/>
                    <a:gd name="T16" fmla="*/ 68972 w 151"/>
                    <a:gd name="T17" fmla="*/ 26591 h 194"/>
                    <a:gd name="T18" fmla="*/ 86012 w 151"/>
                    <a:gd name="T19" fmla="*/ 15195 h 194"/>
                    <a:gd name="T20" fmla="*/ 86012 w 151"/>
                    <a:gd name="T21" fmla="*/ 0 h 194"/>
                    <a:gd name="T22" fmla="*/ 114413 w 151"/>
                    <a:gd name="T23" fmla="*/ 15195 h 194"/>
                    <a:gd name="T24" fmla="*/ 119281 w 151"/>
                    <a:gd name="T25" fmla="*/ 19753 h 194"/>
                    <a:gd name="T26" fmla="*/ 107110 w 151"/>
                    <a:gd name="T27" fmla="*/ 34188 h 194"/>
                    <a:gd name="T28" fmla="*/ 116036 w 151"/>
                    <a:gd name="T29" fmla="*/ 62298 h 194"/>
                    <a:gd name="T30" fmla="*/ 103864 w 151"/>
                    <a:gd name="T31" fmla="*/ 78252 h 194"/>
                    <a:gd name="T32" fmla="*/ 89258 w 151"/>
                    <a:gd name="T33" fmla="*/ 95726 h 194"/>
                    <a:gd name="T34" fmla="*/ 94127 w 151"/>
                    <a:gd name="T35" fmla="*/ 109401 h 194"/>
                    <a:gd name="T36" fmla="*/ 122527 w 151"/>
                    <a:gd name="T37" fmla="*/ 123836 h 194"/>
                    <a:gd name="T38" fmla="*/ 112790 w 151"/>
                    <a:gd name="T39" fmla="*/ 132953 h 194"/>
                    <a:gd name="T40" fmla="*/ 92504 w 151"/>
                    <a:gd name="T41" fmla="*/ 142070 h 194"/>
                    <a:gd name="T42" fmla="*/ 92504 w 151"/>
                    <a:gd name="T43" fmla="*/ 147388 h 194"/>
                    <a:gd name="T44" fmla="*/ 67349 w 151"/>
                    <a:gd name="T45" fmla="*/ 143589 h 194"/>
                    <a:gd name="T46" fmla="*/ 60858 w 151"/>
                    <a:gd name="T47" fmla="*/ 147388 h 194"/>
                    <a:gd name="T48" fmla="*/ 48686 w 151"/>
                    <a:gd name="T49" fmla="*/ 142070 h 194"/>
                    <a:gd name="T50" fmla="*/ 38949 w 151"/>
                    <a:gd name="T51" fmla="*/ 137511 h 194"/>
                    <a:gd name="T52" fmla="*/ 45440 w 151"/>
                    <a:gd name="T53" fmla="*/ 122317 h 194"/>
                    <a:gd name="T54" fmla="*/ 48686 w 151"/>
                    <a:gd name="T55" fmla="*/ 120797 h 194"/>
                    <a:gd name="T56" fmla="*/ 37326 w 151"/>
                    <a:gd name="T57" fmla="*/ 115479 h 194"/>
                    <a:gd name="T58" fmla="*/ 32457 w 151"/>
                    <a:gd name="T59" fmla="*/ 98765 h 19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51"/>
                    <a:gd name="T91" fmla="*/ 0 h 194"/>
                    <a:gd name="T92" fmla="*/ 151 w 151"/>
                    <a:gd name="T93" fmla="*/ 194 h 19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51" h="194">
                      <a:moveTo>
                        <a:pt x="40" y="130"/>
                      </a:moveTo>
                      <a:lnTo>
                        <a:pt x="19" y="125"/>
                      </a:lnTo>
                      <a:lnTo>
                        <a:pt x="0" y="107"/>
                      </a:lnTo>
                      <a:lnTo>
                        <a:pt x="19" y="88"/>
                      </a:lnTo>
                      <a:lnTo>
                        <a:pt x="39" y="55"/>
                      </a:lnTo>
                      <a:lnTo>
                        <a:pt x="50" y="47"/>
                      </a:lnTo>
                      <a:lnTo>
                        <a:pt x="87" y="59"/>
                      </a:lnTo>
                      <a:lnTo>
                        <a:pt x="75" y="39"/>
                      </a:lnTo>
                      <a:lnTo>
                        <a:pt x="85" y="35"/>
                      </a:lnTo>
                      <a:lnTo>
                        <a:pt x="106" y="20"/>
                      </a:lnTo>
                      <a:lnTo>
                        <a:pt x="106" y="0"/>
                      </a:lnTo>
                      <a:lnTo>
                        <a:pt x="141" y="20"/>
                      </a:lnTo>
                      <a:lnTo>
                        <a:pt x="147" y="26"/>
                      </a:lnTo>
                      <a:lnTo>
                        <a:pt x="132" y="45"/>
                      </a:lnTo>
                      <a:lnTo>
                        <a:pt x="143" y="82"/>
                      </a:lnTo>
                      <a:lnTo>
                        <a:pt x="128" y="103"/>
                      </a:lnTo>
                      <a:lnTo>
                        <a:pt x="110" y="126"/>
                      </a:lnTo>
                      <a:lnTo>
                        <a:pt x="116" y="144"/>
                      </a:lnTo>
                      <a:lnTo>
                        <a:pt x="151" y="163"/>
                      </a:lnTo>
                      <a:lnTo>
                        <a:pt x="139" y="175"/>
                      </a:lnTo>
                      <a:lnTo>
                        <a:pt x="114" y="187"/>
                      </a:lnTo>
                      <a:lnTo>
                        <a:pt x="114" y="194"/>
                      </a:lnTo>
                      <a:lnTo>
                        <a:pt x="83" y="189"/>
                      </a:lnTo>
                      <a:lnTo>
                        <a:pt x="75" y="194"/>
                      </a:lnTo>
                      <a:lnTo>
                        <a:pt x="60" y="187"/>
                      </a:lnTo>
                      <a:lnTo>
                        <a:pt x="48" y="181"/>
                      </a:lnTo>
                      <a:lnTo>
                        <a:pt x="56" y="161"/>
                      </a:lnTo>
                      <a:lnTo>
                        <a:pt x="60" y="159"/>
                      </a:lnTo>
                      <a:lnTo>
                        <a:pt x="46" y="152"/>
                      </a:lnTo>
                      <a:lnTo>
                        <a:pt x="40" y="13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6" name="Freeform 306"/>
                <p:cNvSpPr>
                  <a:spLocks/>
                </p:cNvSpPr>
                <p:nvPr/>
              </p:nvSpPr>
              <p:spPr bwMode="auto">
                <a:xfrm>
                  <a:off x="7464208" y="2292798"/>
                  <a:ext cx="101218" cy="118976"/>
                </a:xfrm>
                <a:custGeom>
                  <a:avLst/>
                  <a:gdLst>
                    <a:gd name="T0" fmla="*/ 58517 w 128"/>
                    <a:gd name="T1" fmla="*/ 115983 h 159"/>
                    <a:gd name="T2" fmla="*/ 56935 w 128"/>
                    <a:gd name="T3" fmla="*/ 112242 h 159"/>
                    <a:gd name="T4" fmla="*/ 47446 w 128"/>
                    <a:gd name="T5" fmla="*/ 114486 h 159"/>
                    <a:gd name="T6" fmla="*/ 41120 w 128"/>
                    <a:gd name="T7" fmla="*/ 118976 h 159"/>
                    <a:gd name="T8" fmla="*/ 37166 w 128"/>
                    <a:gd name="T9" fmla="*/ 114486 h 159"/>
                    <a:gd name="T10" fmla="*/ 38748 w 128"/>
                    <a:gd name="T11" fmla="*/ 112242 h 159"/>
                    <a:gd name="T12" fmla="*/ 37166 w 128"/>
                    <a:gd name="T13" fmla="*/ 109248 h 159"/>
                    <a:gd name="T14" fmla="*/ 32421 w 128"/>
                    <a:gd name="T15" fmla="*/ 101766 h 159"/>
                    <a:gd name="T16" fmla="*/ 27677 w 128"/>
                    <a:gd name="T17" fmla="*/ 87548 h 159"/>
                    <a:gd name="T18" fmla="*/ 26095 w 128"/>
                    <a:gd name="T19" fmla="*/ 77072 h 159"/>
                    <a:gd name="T20" fmla="*/ 26095 w 128"/>
                    <a:gd name="T21" fmla="*/ 74079 h 159"/>
                    <a:gd name="T22" fmla="*/ 9489 w 128"/>
                    <a:gd name="T23" fmla="*/ 56869 h 159"/>
                    <a:gd name="T24" fmla="*/ 4745 w 128"/>
                    <a:gd name="T25" fmla="*/ 52379 h 159"/>
                    <a:gd name="T26" fmla="*/ 7908 w 128"/>
                    <a:gd name="T27" fmla="*/ 49386 h 159"/>
                    <a:gd name="T28" fmla="*/ 18188 w 128"/>
                    <a:gd name="T29" fmla="*/ 52379 h 159"/>
                    <a:gd name="T30" fmla="*/ 18188 w 128"/>
                    <a:gd name="T31" fmla="*/ 47890 h 159"/>
                    <a:gd name="T32" fmla="*/ 1582 w 128"/>
                    <a:gd name="T33" fmla="*/ 27686 h 159"/>
                    <a:gd name="T34" fmla="*/ 0 w 128"/>
                    <a:gd name="T35" fmla="*/ 23197 h 159"/>
                    <a:gd name="T36" fmla="*/ 0 w 128"/>
                    <a:gd name="T37" fmla="*/ 17959 h 159"/>
                    <a:gd name="T38" fmla="*/ 19769 w 128"/>
                    <a:gd name="T39" fmla="*/ 8979 h 159"/>
                    <a:gd name="T40" fmla="*/ 29258 w 128"/>
                    <a:gd name="T41" fmla="*/ 0 h 159"/>
                    <a:gd name="T42" fmla="*/ 56935 w 128"/>
                    <a:gd name="T43" fmla="*/ 27686 h 159"/>
                    <a:gd name="T44" fmla="*/ 84612 w 128"/>
                    <a:gd name="T45" fmla="*/ 55372 h 159"/>
                    <a:gd name="T46" fmla="*/ 101218 w 128"/>
                    <a:gd name="T47" fmla="*/ 94283 h 159"/>
                    <a:gd name="T48" fmla="*/ 89356 w 128"/>
                    <a:gd name="T49" fmla="*/ 100269 h 159"/>
                    <a:gd name="T50" fmla="*/ 78286 w 128"/>
                    <a:gd name="T51" fmla="*/ 106255 h 159"/>
                    <a:gd name="T52" fmla="*/ 70378 w 128"/>
                    <a:gd name="T53" fmla="*/ 104759 h 159"/>
                    <a:gd name="T54" fmla="*/ 68797 w 128"/>
                    <a:gd name="T55" fmla="*/ 107752 h 159"/>
                    <a:gd name="T56" fmla="*/ 66424 w 128"/>
                    <a:gd name="T57" fmla="*/ 110745 h 159"/>
                    <a:gd name="T58" fmla="*/ 61680 w 128"/>
                    <a:gd name="T59" fmla="*/ 112242 h 159"/>
                    <a:gd name="T60" fmla="*/ 58517 w 128"/>
                    <a:gd name="T61" fmla="*/ 115983 h 15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28"/>
                    <a:gd name="T94" fmla="*/ 0 h 159"/>
                    <a:gd name="T95" fmla="*/ 128 w 128"/>
                    <a:gd name="T96" fmla="*/ 159 h 159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28" h="159">
                      <a:moveTo>
                        <a:pt x="74" y="155"/>
                      </a:moveTo>
                      <a:lnTo>
                        <a:pt x="72" y="150"/>
                      </a:lnTo>
                      <a:lnTo>
                        <a:pt x="60" y="153"/>
                      </a:lnTo>
                      <a:lnTo>
                        <a:pt x="52" y="159"/>
                      </a:lnTo>
                      <a:lnTo>
                        <a:pt x="47" y="153"/>
                      </a:lnTo>
                      <a:lnTo>
                        <a:pt x="49" y="150"/>
                      </a:lnTo>
                      <a:lnTo>
                        <a:pt x="47" y="146"/>
                      </a:lnTo>
                      <a:lnTo>
                        <a:pt x="41" y="136"/>
                      </a:lnTo>
                      <a:lnTo>
                        <a:pt x="35" y="117"/>
                      </a:lnTo>
                      <a:lnTo>
                        <a:pt x="33" y="103"/>
                      </a:lnTo>
                      <a:lnTo>
                        <a:pt x="33" y="99"/>
                      </a:lnTo>
                      <a:lnTo>
                        <a:pt x="12" y="76"/>
                      </a:lnTo>
                      <a:lnTo>
                        <a:pt x="6" y="70"/>
                      </a:lnTo>
                      <a:lnTo>
                        <a:pt x="10" y="66"/>
                      </a:lnTo>
                      <a:lnTo>
                        <a:pt x="23" y="70"/>
                      </a:lnTo>
                      <a:lnTo>
                        <a:pt x="23" y="64"/>
                      </a:lnTo>
                      <a:lnTo>
                        <a:pt x="2" y="37"/>
                      </a:lnTo>
                      <a:lnTo>
                        <a:pt x="0" y="31"/>
                      </a:lnTo>
                      <a:lnTo>
                        <a:pt x="0" y="24"/>
                      </a:lnTo>
                      <a:lnTo>
                        <a:pt x="25" y="12"/>
                      </a:lnTo>
                      <a:lnTo>
                        <a:pt x="37" y="0"/>
                      </a:lnTo>
                      <a:lnTo>
                        <a:pt x="72" y="37"/>
                      </a:lnTo>
                      <a:lnTo>
                        <a:pt x="107" y="74"/>
                      </a:lnTo>
                      <a:lnTo>
                        <a:pt x="128" y="126"/>
                      </a:lnTo>
                      <a:lnTo>
                        <a:pt x="113" y="134"/>
                      </a:lnTo>
                      <a:lnTo>
                        <a:pt x="99" y="142"/>
                      </a:lnTo>
                      <a:lnTo>
                        <a:pt x="89" y="140"/>
                      </a:lnTo>
                      <a:lnTo>
                        <a:pt x="87" y="144"/>
                      </a:lnTo>
                      <a:lnTo>
                        <a:pt x="84" y="148"/>
                      </a:lnTo>
                      <a:lnTo>
                        <a:pt x="78" y="150"/>
                      </a:lnTo>
                      <a:lnTo>
                        <a:pt x="74" y="15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7" name="Freeform 307"/>
                <p:cNvSpPr>
                  <a:spLocks/>
                </p:cNvSpPr>
                <p:nvPr/>
              </p:nvSpPr>
              <p:spPr bwMode="auto">
                <a:xfrm>
                  <a:off x="7450002" y="2671034"/>
                  <a:ext cx="35515" cy="95891"/>
                </a:xfrm>
                <a:custGeom>
                  <a:avLst/>
                  <a:gdLst>
                    <a:gd name="T0" fmla="*/ 22937 w 48"/>
                    <a:gd name="T1" fmla="*/ 95891 h 120"/>
                    <a:gd name="T2" fmla="*/ 4439 w 48"/>
                    <a:gd name="T3" fmla="*/ 72717 h 120"/>
                    <a:gd name="T4" fmla="*/ 0 w 48"/>
                    <a:gd name="T5" fmla="*/ 39155 h 120"/>
                    <a:gd name="T6" fmla="*/ 9619 w 48"/>
                    <a:gd name="T7" fmla="*/ 18379 h 120"/>
                    <a:gd name="T8" fmla="*/ 18497 w 48"/>
                    <a:gd name="T9" fmla="*/ 0 h 120"/>
                    <a:gd name="T10" fmla="*/ 35515 w 48"/>
                    <a:gd name="T11" fmla="*/ 4795 h 120"/>
                    <a:gd name="T12" fmla="*/ 32555 w 48"/>
                    <a:gd name="T13" fmla="*/ 27968 h 120"/>
                    <a:gd name="T14" fmla="*/ 30336 w 48"/>
                    <a:gd name="T15" fmla="*/ 51142 h 120"/>
                    <a:gd name="T16" fmla="*/ 25896 w 48"/>
                    <a:gd name="T17" fmla="*/ 74316 h 120"/>
                    <a:gd name="T18" fmla="*/ 22937 w 48"/>
                    <a:gd name="T19" fmla="*/ 95891 h 12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120"/>
                    <a:gd name="T32" fmla="*/ 48 w 48"/>
                    <a:gd name="T33" fmla="*/ 120 h 12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120">
                      <a:moveTo>
                        <a:pt x="31" y="120"/>
                      </a:moveTo>
                      <a:lnTo>
                        <a:pt x="6" y="91"/>
                      </a:lnTo>
                      <a:lnTo>
                        <a:pt x="0" y="49"/>
                      </a:lnTo>
                      <a:lnTo>
                        <a:pt x="13" y="23"/>
                      </a:lnTo>
                      <a:lnTo>
                        <a:pt x="25" y="0"/>
                      </a:lnTo>
                      <a:lnTo>
                        <a:pt x="48" y="6"/>
                      </a:lnTo>
                      <a:lnTo>
                        <a:pt x="44" y="35"/>
                      </a:lnTo>
                      <a:lnTo>
                        <a:pt x="41" y="64"/>
                      </a:lnTo>
                      <a:lnTo>
                        <a:pt x="35" y="93"/>
                      </a:lnTo>
                      <a:lnTo>
                        <a:pt x="31" y="1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8" name="Freeform 308"/>
                <p:cNvSpPr>
                  <a:spLocks/>
                </p:cNvSpPr>
                <p:nvPr/>
              </p:nvSpPr>
              <p:spPr bwMode="auto">
                <a:xfrm>
                  <a:off x="6381000" y="1919890"/>
                  <a:ext cx="772452" cy="289448"/>
                </a:xfrm>
                <a:custGeom>
                  <a:avLst/>
                  <a:gdLst>
                    <a:gd name="T0" fmla="*/ 455848 w 993"/>
                    <a:gd name="T1" fmla="*/ 276089 h 390"/>
                    <a:gd name="T2" fmla="*/ 416175 w 993"/>
                    <a:gd name="T3" fmla="*/ 263472 h 390"/>
                    <a:gd name="T4" fmla="*/ 350054 w 993"/>
                    <a:gd name="T5" fmla="*/ 260503 h 390"/>
                    <a:gd name="T6" fmla="*/ 283933 w 993"/>
                    <a:gd name="T7" fmla="*/ 256050 h 390"/>
                    <a:gd name="T8" fmla="*/ 241148 w 993"/>
                    <a:gd name="T9" fmla="*/ 213004 h 390"/>
                    <a:gd name="T10" fmla="*/ 173471 w 993"/>
                    <a:gd name="T11" fmla="*/ 192965 h 390"/>
                    <a:gd name="T12" fmla="*/ 117463 w 993"/>
                    <a:gd name="T13" fmla="*/ 184059 h 390"/>
                    <a:gd name="T14" fmla="*/ 99571 w 993"/>
                    <a:gd name="T15" fmla="*/ 139529 h 390"/>
                    <a:gd name="T16" fmla="*/ 46674 w 993"/>
                    <a:gd name="T17" fmla="*/ 112068 h 390"/>
                    <a:gd name="T18" fmla="*/ 3112 w 993"/>
                    <a:gd name="T19" fmla="*/ 82381 h 390"/>
                    <a:gd name="T20" fmla="*/ 12446 w 993"/>
                    <a:gd name="T21" fmla="*/ 69022 h 390"/>
                    <a:gd name="T22" fmla="*/ 56009 w 993"/>
                    <a:gd name="T23" fmla="*/ 47499 h 390"/>
                    <a:gd name="T24" fmla="*/ 126797 w 993"/>
                    <a:gd name="T25" fmla="*/ 40077 h 390"/>
                    <a:gd name="T26" fmla="*/ 168804 w 993"/>
                    <a:gd name="T27" fmla="*/ 54921 h 390"/>
                    <a:gd name="T28" fmla="*/ 221701 w 993"/>
                    <a:gd name="T29" fmla="*/ 47499 h 390"/>
                    <a:gd name="T30" fmla="*/ 205365 w 993"/>
                    <a:gd name="T31" fmla="*/ 0 h 390"/>
                    <a:gd name="T32" fmla="*/ 285488 w 993"/>
                    <a:gd name="T33" fmla="*/ 17070 h 390"/>
                    <a:gd name="T34" fmla="*/ 337607 w 993"/>
                    <a:gd name="T35" fmla="*/ 50468 h 390"/>
                    <a:gd name="T36" fmla="*/ 409174 w 993"/>
                    <a:gd name="T37" fmla="*/ 48984 h 390"/>
                    <a:gd name="T38" fmla="*/ 454292 w 993"/>
                    <a:gd name="T39" fmla="*/ 66054 h 390"/>
                    <a:gd name="T40" fmla="*/ 529748 w 993"/>
                    <a:gd name="T41" fmla="*/ 73475 h 390"/>
                    <a:gd name="T42" fmla="*/ 581867 w 993"/>
                    <a:gd name="T43" fmla="*/ 48984 h 390"/>
                    <a:gd name="T44" fmla="*/ 648766 w 993"/>
                    <a:gd name="T45" fmla="*/ 60858 h 390"/>
                    <a:gd name="T46" fmla="*/ 654990 w 993"/>
                    <a:gd name="T47" fmla="*/ 103904 h 390"/>
                    <a:gd name="T48" fmla="*/ 668214 w 993"/>
                    <a:gd name="T49" fmla="*/ 116521 h 390"/>
                    <a:gd name="T50" fmla="*/ 701663 w 993"/>
                    <a:gd name="T51" fmla="*/ 120974 h 390"/>
                    <a:gd name="T52" fmla="*/ 764673 w 993"/>
                    <a:gd name="T53" fmla="*/ 135076 h 390"/>
                    <a:gd name="T54" fmla="*/ 731223 w 993"/>
                    <a:gd name="T55" fmla="*/ 148435 h 390"/>
                    <a:gd name="T56" fmla="*/ 700108 w 993"/>
                    <a:gd name="T57" fmla="*/ 179606 h 390"/>
                    <a:gd name="T58" fmla="*/ 653434 w 993"/>
                    <a:gd name="T59" fmla="*/ 198903 h 390"/>
                    <a:gd name="T60" fmla="*/ 623096 w 993"/>
                    <a:gd name="T61" fmla="*/ 215973 h 390"/>
                    <a:gd name="T62" fmla="*/ 616873 w 993"/>
                    <a:gd name="T63" fmla="*/ 247886 h 390"/>
                    <a:gd name="T64" fmla="*/ 567087 w 993"/>
                    <a:gd name="T65" fmla="*/ 266441 h 390"/>
                    <a:gd name="T66" fmla="*/ 520413 w 993"/>
                    <a:gd name="T67" fmla="*/ 279058 h 390"/>
                    <a:gd name="T68" fmla="*/ 483852 w 993"/>
                    <a:gd name="T69" fmla="*/ 282026 h 39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993"/>
                    <a:gd name="T106" fmla="*/ 0 h 390"/>
                    <a:gd name="T107" fmla="*/ 993 w 993"/>
                    <a:gd name="T108" fmla="*/ 390 h 39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993" h="390">
                      <a:moveTo>
                        <a:pt x="622" y="380"/>
                      </a:moveTo>
                      <a:lnTo>
                        <a:pt x="586" y="372"/>
                      </a:lnTo>
                      <a:lnTo>
                        <a:pt x="547" y="365"/>
                      </a:lnTo>
                      <a:lnTo>
                        <a:pt x="535" y="355"/>
                      </a:lnTo>
                      <a:lnTo>
                        <a:pt x="493" y="353"/>
                      </a:lnTo>
                      <a:lnTo>
                        <a:pt x="450" y="351"/>
                      </a:lnTo>
                      <a:lnTo>
                        <a:pt x="407" y="347"/>
                      </a:lnTo>
                      <a:lnTo>
                        <a:pt x="365" y="345"/>
                      </a:lnTo>
                      <a:lnTo>
                        <a:pt x="338" y="316"/>
                      </a:lnTo>
                      <a:lnTo>
                        <a:pt x="310" y="287"/>
                      </a:lnTo>
                      <a:lnTo>
                        <a:pt x="266" y="273"/>
                      </a:lnTo>
                      <a:lnTo>
                        <a:pt x="223" y="260"/>
                      </a:lnTo>
                      <a:lnTo>
                        <a:pt x="186" y="254"/>
                      </a:lnTo>
                      <a:lnTo>
                        <a:pt x="151" y="248"/>
                      </a:lnTo>
                      <a:lnTo>
                        <a:pt x="140" y="217"/>
                      </a:lnTo>
                      <a:lnTo>
                        <a:pt x="128" y="188"/>
                      </a:lnTo>
                      <a:lnTo>
                        <a:pt x="84" y="155"/>
                      </a:lnTo>
                      <a:lnTo>
                        <a:pt x="60" y="151"/>
                      </a:lnTo>
                      <a:lnTo>
                        <a:pt x="16" y="124"/>
                      </a:lnTo>
                      <a:lnTo>
                        <a:pt x="4" y="111"/>
                      </a:lnTo>
                      <a:lnTo>
                        <a:pt x="0" y="105"/>
                      </a:lnTo>
                      <a:lnTo>
                        <a:pt x="16" y="93"/>
                      </a:lnTo>
                      <a:lnTo>
                        <a:pt x="43" y="82"/>
                      </a:lnTo>
                      <a:lnTo>
                        <a:pt x="72" y="64"/>
                      </a:lnTo>
                      <a:lnTo>
                        <a:pt x="101" y="47"/>
                      </a:lnTo>
                      <a:lnTo>
                        <a:pt x="163" y="54"/>
                      </a:lnTo>
                      <a:lnTo>
                        <a:pt x="173" y="66"/>
                      </a:lnTo>
                      <a:lnTo>
                        <a:pt x="217" y="74"/>
                      </a:lnTo>
                      <a:lnTo>
                        <a:pt x="262" y="82"/>
                      </a:lnTo>
                      <a:lnTo>
                        <a:pt x="285" y="64"/>
                      </a:lnTo>
                      <a:lnTo>
                        <a:pt x="256" y="39"/>
                      </a:lnTo>
                      <a:lnTo>
                        <a:pt x="264" y="0"/>
                      </a:lnTo>
                      <a:lnTo>
                        <a:pt x="314" y="12"/>
                      </a:lnTo>
                      <a:lnTo>
                        <a:pt x="367" y="23"/>
                      </a:lnTo>
                      <a:lnTo>
                        <a:pt x="388" y="45"/>
                      </a:lnTo>
                      <a:lnTo>
                        <a:pt x="434" y="68"/>
                      </a:lnTo>
                      <a:lnTo>
                        <a:pt x="485" y="58"/>
                      </a:lnTo>
                      <a:lnTo>
                        <a:pt x="526" y="66"/>
                      </a:lnTo>
                      <a:lnTo>
                        <a:pt x="568" y="76"/>
                      </a:lnTo>
                      <a:lnTo>
                        <a:pt x="584" y="89"/>
                      </a:lnTo>
                      <a:lnTo>
                        <a:pt x="646" y="105"/>
                      </a:lnTo>
                      <a:lnTo>
                        <a:pt x="681" y="99"/>
                      </a:lnTo>
                      <a:lnTo>
                        <a:pt x="716" y="91"/>
                      </a:lnTo>
                      <a:lnTo>
                        <a:pt x="748" y="66"/>
                      </a:lnTo>
                      <a:lnTo>
                        <a:pt x="805" y="78"/>
                      </a:lnTo>
                      <a:lnTo>
                        <a:pt x="834" y="82"/>
                      </a:lnTo>
                      <a:lnTo>
                        <a:pt x="838" y="111"/>
                      </a:lnTo>
                      <a:lnTo>
                        <a:pt x="842" y="140"/>
                      </a:lnTo>
                      <a:lnTo>
                        <a:pt x="834" y="142"/>
                      </a:lnTo>
                      <a:lnTo>
                        <a:pt x="859" y="157"/>
                      </a:lnTo>
                      <a:lnTo>
                        <a:pt x="890" y="155"/>
                      </a:lnTo>
                      <a:lnTo>
                        <a:pt x="902" y="163"/>
                      </a:lnTo>
                      <a:lnTo>
                        <a:pt x="917" y="147"/>
                      </a:lnTo>
                      <a:lnTo>
                        <a:pt x="983" y="182"/>
                      </a:lnTo>
                      <a:lnTo>
                        <a:pt x="993" y="202"/>
                      </a:lnTo>
                      <a:lnTo>
                        <a:pt x="940" y="200"/>
                      </a:lnTo>
                      <a:lnTo>
                        <a:pt x="905" y="217"/>
                      </a:lnTo>
                      <a:lnTo>
                        <a:pt x="900" y="242"/>
                      </a:lnTo>
                      <a:lnTo>
                        <a:pt x="869" y="252"/>
                      </a:lnTo>
                      <a:lnTo>
                        <a:pt x="840" y="268"/>
                      </a:lnTo>
                      <a:lnTo>
                        <a:pt x="795" y="256"/>
                      </a:lnTo>
                      <a:lnTo>
                        <a:pt x="801" y="291"/>
                      </a:lnTo>
                      <a:lnTo>
                        <a:pt x="820" y="310"/>
                      </a:lnTo>
                      <a:lnTo>
                        <a:pt x="793" y="334"/>
                      </a:lnTo>
                      <a:lnTo>
                        <a:pt x="766" y="357"/>
                      </a:lnTo>
                      <a:lnTo>
                        <a:pt x="729" y="359"/>
                      </a:lnTo>
                      <a:lnTo>
                        <a:pt x="692" y="363"/>
                      </a:lnTo>
                      <a:lnTo>
                        <a:pt x="669" y="376"/>
                      </a:lnTo>
                      <a:lnTo>
                        <a:pt x="648" y="390"/>
                      </a:lnTo>
                      <a:lnTo>
                        <a:pt x="622" y="38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19" name="Freeform 309"/>
                <p:cNvSpPr>
                  <a:spLocks/>
                </p:cNvSpPr>
                <p:nvPr/>
              </p:nvSpPr>
              <p:spPr bwMode="auto">
                <a:xfrm>
                  <a:off x="5434524" y="1825775"/>
                  <a:ext cx="925167" cy="390666"/>
                </a:xfrm>
                <a:custGeom>
                  <a:avLst/>
                  <a:gdLst>
                    <a:gd name="T0" fmla="*/ 106720 w 1179"/>
                    <a:gd name="T1" fmla="*/ 230508 h 522"/>
                    <a:gd name="T2" fmla="*/ 74547 w 1179"/>
                    <a:gd name="T3" fmla="*/ 245476 h 522"/>
                    <a:gd name="T4" fmla="*/ 27465 w 1179"/>
                    <a:gd name="T5" fmla="*/ 197578 h 522"/>
                    <a:gd name="T6" fmla="*/ 4708 w 1179"/>
                    <a:gd name="T7" fmla="*/ 145190 h 522"/>
                    <a:gd name="T8" fmla="*/ 35312 w 1179"/>
                    <a:gd name="T9" fmla="*/ 126480 h 522"/>
                    <a:gd name="T10" fmla="*/ 56499 w 1179"/>
                    <a:gd name="T11" fmla="*/ 103280 h 522"/>
                    <a:gd name="T12" fmla="*/ 108289 w 1179"/>
                    <a:gd name="T13" fmla="*/ 88311 h 522"/>
                    <a:gd name="T14" fmla="*/ 170281 w 1179"/>
                    <a:gd name="T15" fmla="*/ 116002 h 522"/>
                    <a:gd name="T16" fmla="*/ 249536 w 1179"/>
                    <a:gd name="T17" fmla="*/ 113009 h 522"/>
                    <a:gd name="T18" fmla="*/ 299757 w 1179"/>
                    <a:gd name="T19" fmla="*/ 111512 h 522"/>
                    <a:gd name="T20" fmla="*/ 284848 w 1179"/>
                    <a:gd name="T21" fmla="*/ 53885 h 522"/>
                    <a:gd name="T22" fmla="*/ 278570 w 1179"/>
                    <a:gd name="T23" fmla="*/ 40414 h 522"/>
                    <a:gd name="T24" fmla="*/ 338208 w 1179"/>
                    <a:gd name="T25" fmla="*/ 32181 h 522"/>
                    <a:gd name="T26" fmla="*/ 393922 w 1179"/>
                    <a:gd name="T27" fmla="*/ 15716 h 522"/>
                    <a:gd name="T28" fmla="*/ 448851 w 1179"/>
                    <a:gd name="T29" fmla="*/ 1497 h 522"/>
                    <a:gd name="T30" fmla="*/ 485732 w 1179"/>
                    <a:gd name="T31" fmla="*/ 17213 h 522"/>
                    <a:gd name="T32" fmla="*/ 547724 w 1179"/>
                    <a:gd name="T33" fmla="*/ 40414 h 522"/>
                    <a:gd name="T34" fmla="*/ 594806 w 1179"/>
                    <a:gd name="T35" fmla="*/ 32181 h 522"/>
                    <a:gd name="T36" fmla="*/ 630118 w 1179"/>
                    <a:gd name="T37" fmla="*/ 26194 h 522"/>
                    <a:gd name="T38" fmla="*/ 657583 w 1179"/>
                    <a:gd name="T39" fmla="*/ 59124 h 522"/>
                    <a:gd name="T40" fmla="*/ 719574 w 1179"/>
                    <a:gd name="T41" fmla="*/ 100286 h 522"/>
                    <a:gd name="T42" fmla="*/ 756455 w 1179"/>
                    <a:gd name="T43" fmla="*/ 114506 h 522"/>
                    <a:gd name="T44" fmla="*/ 803538 w 1179"/>
                    <a:gd name="T45" fmla="*/ 116002 h 522"/>
                    <a:gd name="T46" fmla="*/ 867099 w 1179"/>
                    <a:gd name="T47" fmla="*/ 152674 h 522"/>
                    <a:gd name="T48" fmla="*/ 925167 w 1179"/>
                    <a:gd name="T49" fmla="*/ 172881 h 522"/>
                    <a:gd name="T50" fmla="*/ 903980 w 1179"/>
                    <a:gd name="T51" fmla="*/ 199075 h 522"/>
                    <a:gd name="T52" fmla="*/ 892994 w 1179"/>
                    <a:gd name="T53" fmla="*/ 230508 h 522"/>
                    <a:gd name="T54" fmla="*/ 858467 w 1179"/>
                    <a:gd name="T55" fmla="*/ 247721 h 522"/>
                    <a:gd name="T56" fmla="*/ 870238 w 1179"/>
                    <a:gd name="T57" fmla="*/ 282896 h 522"/>
                    <a:gd name="T58" fmla="*/ 809815 w 1179"/>
                    <a:gd name="T59" fmla="*/ 290380 h 522"/>
                    <a:gd name="T60" fmla="*/ 835711 w 1179"/>
                    <a:gd name="T61" fmla="*/ 318071 h 522"/>
                    <a:gd name="T62" fmla="*/ 847481 w 1179"/>
                    <a:gd name="T63" fmla="*/ 343517 h 522"/>
                    <a:gd name="T64" fmla="*/ 811385 w 1179"/>
                    <a:gd name="T65" fmla="*/ 330794 h 522"/>
                    <a:gd name="T66" fmla="*/ 747039 w 1179"/>
                    <a:gd name="T67" fmla="*/ 338278 h 522"/>
                    <a:gd name="T68" fmla="*/ 690540 w 1179"/>
                    <a:gd name="T69" fmla="*/ 336781 h 522"/>
                    <a:gd name="T70" fmla="*/ 652874 w 1179"/>
                    <a:gd name="T71" fmla="*/ 348007 h 522"/>
                    <a:gd name="T72" fmla="*/ 612070 w 1179"/>
                    <a:gd name="T73" fmla="*/ 358485 h 522"/>
                    <a:gd name="T74" fmla="*/ 565772 w 1179"/>
                    <a:gd name="T75" fmla="*/ 390666 h 522"/>
                    <a:gd name="T76" fmla="*/ 520259 w 1179"/>
                    <a:gd name="T77" fmla="*/ 366717 h 522"/>
                    <a:gd name="T78" fmla="*/ 491225 w 1179"/>
                    <a:gd name="T79" fmla="*/ 326303 h 522"/>
                    <a:gd name="T80" fmla="*/ 441004 w 1179"/>
                    <a:gd name="T81" fmla="*/ 323310 h 522"/>
                    <a:gd name="T82" fmla="*/ 390783 w 1179"/>
                    <a:gd name="T83" fmla="*/ 320316 h 522"/>
                    <a:gd name="T84" fmla="*/ 335069 w 1179"/>
                    <a:gd name="T85" fmla="*/ 275412 h 522"/>
                    <a:gd name="T86" fmla="*/ 273862 w 1179"/>
                    <a:gd name="T87" fmla="*/ 271670 h 522"/>
                    <a:gd name="T88" fmla="*/ 251106 w 1179"/>
                    <a:gd name="T89" fmla="*/ 307593 h 522"/>
                    <a:gd name="T90" fmla="*/ 263661 w 1179"/>
                    <a:gd name="T91" fmla="*/ 358485 h 522"/>
                    <a:gd name="T92" fmla="*/ 242474 w 1179"/>
                    <a:gd name="T93" fmla="*/ 374201 h 522"/>
                    <a:gd name="T94" fmla="*/ 218148 w 1179"/>
                    <a:gd name="T95" fmla="*/ 346510 h 522"/>
                    <a:gd name="T96" fmla="*/ 155372 w 1179"/>
                    <a:gd name="T97" fmla="*/ 339775 h 522"/>
                    <a:gd name="T98" fmla="*/ 123199 w 1179"/>
                    <a:gd name="T99" fmla="*/ 306096 h 522"/>
                    <a:gd name="T100" fmla="*/ 138893 w 1179"/>
                    <a:gd name="T101" fmla="*/ 297116 h 522"/>
                    <a:gd name="T102" fmla="*/ 142032 w 1179"/>
                    <a:gd name="T103" fmla="*/ 273915 h 522"/>
                    <a:gd name="T104" fmla="*/ 164788 w 1179"/>
                    <a:gd name="T105" fmla="*/ 264186 h 522"/>
                    <a:gd name="T106" fmla="*/ 126337 w 1179"/>
                    <a:gd name="T107" fmla="*/ 232005 h 52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179"/>
                    <a:gd name="T163" fmla="*/ 0 h 522"/>
                    <a:gd name="T164" fmla="*/ 1179 w 1179"/>
                    <a:gd name="T165" fmla="*/ 522 h 52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179" h="522">
                      <a:moveTo>
                        <a:pt x="161" y="310"/>
                      </a:moveTo>
                      <a:lnTo>
                        <a:pt x="136" y="308"/>
                      </a:lnTo>
                      <a:lnTo>
                        <a:pt x="99" y="326"/>
                      </a:lnTo>
                      <a:lnTo>
                        <a:pt x="95" y="328"/>
                      </a:lnTo>
                      <a:lnTo>
                        <a:pt x="70" y="291"/>
                      </a:lnTo>
                      <a:lnTo>
                        <a:pt x="35" y="264"/>
                      </a:lnTo>
                      <a:lnTo>
                        <a:pt x="0" y="235"/>
                      </a:lnTo>
                      <a:lnTo>
                        <a:pt x="6" y="194"/>
                      </a:lnTo>
                      <a:lnTo>
                        <a:pt x="8" y="153"/>
                      </a:lnTo>
                      <a:lnTo>
                        <a:pt x="45" y="169"/>
                      </a:lnTo>
                      <a:lnTo>
                        <a:pt x="51" y="153"/>
                      </a:lnTo>
                      <a:lnTo>
                        <a:pt x="72" y="138"/>
                      </a:lnTo>
                      <a:lnTo>
                        <a:pt x="95" y="120"/>
                      </a:lnTo>
                      <a:lnTo>
                        <a:pt x="138" y="118"/>
                      </a:lnTo>
                      <a:lnTo>
                        <a:pt x="177" y="138"/>
                      </a:lnTo>
                      <a:lnTo>
                        <a:pt x="217" y="155"/>
                      </a:lnTo>
                      <a:lnTo>
                        <a:pt x="262" y="153"/>
                      </a:lnTo>
                      <a:lnTo>
                        <a:pt x="318" y="151"/>
                      </a:lnTo>
                      <a:lnTo>
                        <a:pt x="376" y="161"/>
                      </a:lnTo>
                      <a:lnTo>
                        <a:pt x="382" y="149"/>
                      </a:lnTo>
                      <a:lnTo>
                        <a:pt x="349" y="112"/>
                      </a:lnTo>
                      <a:lnTo>
                        <a:pt x="363" y="72"/>
                      </a:lnTo>
                      <a:lnTo>
                        <a:pt x="390" y="72"/>
                      </a:lnTo>
                      <a:lnTo>
                        <a:pt x="355" y="54"/>
                      </a:lnTo>
                      <a:lnTo>
                        <a:pt x="392" y="48"/>
                      </a:lnTo>
                      <a:lnTo>
                        <a:pt x="431" y="43"/>
                      </a:lnTo>
                      <a:lnTo>
                        <a:pt x="466" y="33"/>
                      </a:lnTo>
                      <a:lnTo>
                        <a:pt x="502" y="21"/>
                      </a:lnTo>
                      <a:lnTo>
                        <a:pt x="537" y="12"/>
                      </a:lnTo>
                      <a:lnTo>
                        <a:pt x="572" y="2"/>
                      </a:lnTo>
                      <a:lnTo>
                        <a:pt x="599" y="0"/>
                      </a:lnTo>
                      <a:lnTo>
                        <a:pt x="619" y="23"/>
                      </a:lnTo>
                      <a:lnTo>
                        <a:pt x="677" y="43"/>
                      </a:lnTo>
                      <a:lnTo>
                        <a:pt x="698" y="54"/>
                      </a:lnTo>
                      <a:lnTo>
                        <a:pt x="721" y="58"/>
                      </a:lnTo>
                      <a:lnTo>
                        <a:pt x="758" y="43"/>
                      </a:lnTo>
                      <a:lnTo>
                        <a:pt x="795" y="29"/>
                      </a:lnTo>
                      <a:lnTo>
                        <a:pt x="803" y="35"/>
                      </a:lnTo>
                      <a:lnTo>
                        <a:pt x="797" y="52"/>
                      </a:lnTo>
                      <a:lnTo>
                        <a:pt x="838" y="79"/>
                      </a:lnTo>
                      <a:lnTo>
                        <a:pt x="876" y="107"/>
                      </a:lnTo>
                      <a:lnTo>
                        <a:pt x="917" y="134"/>
                      </a:lnTo>
                      <a:lnTo>
                        <a:pt x="958" y="161"/>
                      </a:lnTo>
                      <a:lnTo>
                        <a:pt x="964" y="153"/>
                      </a:lnTo>
                      <a:lnTo>
                        <a:pt x="987" y="161"/>
                      </a:lnTo>
                      <a:lnTo>
                        <a:pt x="1024" y="155"/>
                      </a:lnTo>
                      <a:lnTo>
                        <a:pt x="1065" y="178"/>
                      </a:lnTo>
                      <a:lnTo>
                        <a:pt x="1105" y="204"/>
                      </a:lnTo>
                      <a:lnTo>
                        <a:pt x="1144" y="194"/>
                      </a:lnTo>
                      <a:lnTo>
                        <a:pt x="1179" y="231"/>
                      </a:lnTo>
                      <a:lnTo>
                        <a:pt x="1165" y="256"/>
                      </a:lnTo>
                      <a:lnTo>
                        <a:pt x="1152" y="266"/>
                      </a:lnTo>
                      <a:lnTo>
                        <a:pt x="1167" y="306"/>
                      </a:lnTo>
                      <a:lnTo>
                        <a:pt x="1138" y="308"/>
                      </a:lnTo>
                      <a:lnTo>
                        <a:pt x="1090" y="300"/>
                      </a:lnTo>
                      <a:lnTo>
                        <a:pt x="1094" y="331"/>
                      </a:lnTo>
                      <a:lnTo>
                        <a:pt x="1097" y="364"/>
                      </a:lnTo>
                      <a:lnTo>
                        <a:pt x="1109" y="378"/>
                      </a:lnTo>
                      <a:lnTo>
                        <a:pt x="1068" y="374"/>
                      </a:lnTo>
                      <a:lnTo>
                        <a:pt x="1032" y="388"/>
                      </a:lnTo>
                      <a:lnTo>
                        <a:pt x="1051" y="397"/>
                      </a:lnTo>
                      <a:lnTo>
                        <a:pt x="1065" y="425"/>
                      </a:lnTo>
                      <a:lnTo>
                        <a:pt x="1080" y="452"/>
                      </a:lnTo>
                      <a:lnTo>
                        <a:pt x="1080" y="459"/>
                      </a:lnTo>
                      <a:lnTo>
                        <a:pt x="1072" y="467"/>
                      </a:lnTo>
                      <a:lnTo>
                        <a:pt x="1034" y="442"/>
                      </a:lnTo>
                      <a:lnTo>
                        <a:pt x="993" y="448"/>
                      </a:lnTo>
                      <a:lnTo>
                        <a:pt x="952" y="452"/>
                      </a:lnTo>
                      <a:lnTo>
                        <a:pt x="909" y="452"/>
                      </a:lnTo>
                      <a:lnTo>
                        <a:pt x="880" y="450"/>
                      </a:lnTo>
                      <a:lnTo>
                        <a:pt x="865" y="471"/>
                      </a:lnTo>
                      <a:lnTo>
                        <a:pt x="832" y="465"/>
                      </a:lnTo>
                      <a:lnTo>
                        <a:pt x="799" y="461"/>
                      </a:lnTo>
                      <a:lnTo>
                        <a:pt x="780" y="479"/>
                      </a:lnTo>
                      <a:lnTo>
                        <a:pt x="750" y="500"/>
                      </a:lnTo>
                      <a:lnTo>
                        <a:pt x="721" y="522"/>
                      </a:lnTo>
                      <a:lnTo>
                        <a:pt x="692" y="506"/>
                      </a:lnTo>
                      <a:lnTo>
                        <a:pt x="663" y="490"/>
                      </a:lnTo>
                      <a:lnTo>
                        <a:pt x="659" y="459"/>
                      </a:lnTo>
                      <a:lnTo>
                        <a:pt x="626" y="436"/>
                      </a:lnTo>
                      <a:lnTo>
                        <a:pt x="593" y="434"/>
                      </a:lnTo>
                      <a:lnTo>
                        <a:pt x="562" y="432"/>
                      </a:lnTo>
                      <a:lnTo>
                        <a:pt x="530" y="430"/>
                      </a:lnTo>
                      <a:lnTo>
                        <a:pt x="498" y="428"/>
                      </a:lnTo>
                      <a:lnTo>
                        <a:pt x="466" y="390"/>
                      </a:lnTo>
                      <a:lnTo>
                        <a:pt x="427" y="368"/>
                      </a:lnTo>
                      <a:lnTo>
                        <a:pt x="386" y="349"/>
                      </a:lnTo>
                      <a:lnTo>
                        <a:pt x="349" y="363"/>
                      </a:lnTo>
                      <a:lnTo>
                        <a:pt x="310" y="376"/>
                      </a:lnTo>
                      <a:lnTo>
                        <a:pt x="320" y="411"/>
                      </a:lnTo>
                      <a:lnTo>
                        <a:pt x="328" y="444"/>
                      </a:lnTo>
                      <a:lnTo>
                        <a:pt x="336" y="479"/>
                      </a:lnTo>
                      <a:lnTo>
                        <a:pt x="345" y="512"/>
                      </a:lnTo>
                      <a:lnTo>
                        <a:pt x="309" y="500"/>
                      </a:lnTo>
                      <a:lnTo>
                        <a:pt x="274" y="490"/>
                      </a:lnTo>
                      <a:lnTo>
                        <a:pt x="278" y="463"/>
                      </a:lnTo>
                      <a:lnTo>
                        <a:pt x="223" y="463"/>
                      </a:lnTo>
                      <a:lnTo>
                        <a:pt x="198" y="454"/>
                      </a:lnTo>
                      <a:lnTo>
                        <a:pt x="184" y="446"/>
                      </a:lnTo>
                      <a:lnTo>
                        <a:pt x="157" y="409"/>
                      </a:lnTo>
                      <a:lnTo>
                        <a:pt x="142" y="399"/>
                      </a:lnTo>
                      <a:lnTo>
                        <a:pt x="177" y="397"/>
                      </a:lnTo>
                      <a:lnTo>
                        <a:pt x="163" y="382"/>
                      </a:lnTo>
                      <a:lnTo>
                        <a:pt x="181" y="366"/>
                      </a:lnTo>
                      <a:lnTo>
                        <a:pt x="219" y="366"/>
                      </a:lnTo>
                      <a:lnTo>
                        <a:pt x="210" y="353"/>
                      </a:lnTo>
                      <a:lnTo>
                        <a:pt x="202" y="312"/>
                      </a:lnTo>
                      <a:lnTo>
                        <a:pt x="161" y="3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0" name="Freeform 310"/>
                <p:cNvSpPr>
                  <a:spLocks/>
                </p:cNvSpPr>
                <p:nvPr/>
              </p:nvSpPr>
              <p:spPr bwMode="auto">
                <a:xfrm>
                  <a:off x="5297791" y="2145411"/>
                  <a:ext cx="195333" cy="71030"/>
                </a:xfrm>
                <a:custGeom>
                  <a:avLst/>
                  <a:gdLst>
                    <a:gd name="T0" fmla="*/ 39220 w 254"/>
                    <a:gd name="T1" fmla="*/ 24674 h 95"/>
                    <a:gd name="T2" fmla="*/ 0 w 254"/>
                    <a:gd name="T3" fmla="*/ 1495 h 95"/>
                    <a:gd name="T4" fmla="*/ 1538 w 254"/>
                    <a:gd name="T5" fmla="*/ 0 h 95"/>
                    <a:gd name="T6" fmla="*/ 28454 w 254"/>
                    <a:gd name="T7" fmla="*/ 1495 h 95"/>
                    <a:gd name="T8" fmla="*/ 53832 w 254"/>
                    <a:gd name="T9" fmla="*/ 2991 h 95"/>
                    <a:gd name="T10" fmla="*/ 89207 w 254"/>
                    <a:gd name="T11" fmla="*/ 17197 h 95"/>
                    <a:gd name="T12" fmla="*/ 125352 w 254"/>
                    <a:gd name="T13" fmla="*/ 29907 h 95"/>
                    <a:gd name="T14" fmla="*/ 159958 w 254"/>
                    <a:gd name="T15" fmla="*/ 43366 h 95"/>
                    <a:gd name="T16" fmla="*/ 195333 w 254"/>
                    <a:gd name="T17" fmla="*/ 57572 h 95"/>
                    <a:gd name="T18" fmla="*/ 187643 w 254"/>
                    <a:gd name="T19" fmla="*/ 71030 h 95"/>
                    <a:gd name="T20" fmla="*/ 163803 w 254"/>
                    <a:gd name="T21" fmla="*/ 68039 h 95"/>
                    <a:gd name="T22" fmla="*/ 129966 w 254"/>
                    <a:gd name="T23" fmla="*/ 68039 h 95"/>
                    <a:gd name="T24" fmla="*/ 95359 w 254"/>
                    <a:gd name="T25" fmla="*/ 66544 h 95"/>
                    <a:gd name="T26" fmla="*/ 64598 w 254"/>
                    <a:gd name="T27" fmla="*/ 69535 h 95"/>
                    <a:gd name="T28" fmla="*/ 63060 w 254"/>
                    <a:gd name="T29" fmla="*/ 47852 h 95"/>
                    <a:gd name="T30" fmla="*/ 39220 w 254"/>
                    <a:gd name="T31" fmla="*/ 24674 h 9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54"/>
                    <a:gd name="T49" fmla="*/ 0 h 95"/>
                    <a:gd name="T50" fmla="*/ 254 w 254"/>
                    <a:gd name="T51" fmla="*/ 95 h 9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54" h="95">
                      <a:moveTo>
                        <a:pt x="51" y="3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37" y="2"/>
                      </a:lnTo>
                      <a:lnTo>
                        <a:pt x="70" y="4"/>
                      </a:lnTo>
                      <a:lnTo>
                        <a:pt x="116" y="23"/>
                      </a:lnTo>
                      <a:lnTo>
                        <a:pt x="163" y="40"/>
                      </a:lnTo>
                      <a:lnTo>
                        <a:pt x="208" y="58"/>
                      </a:lnTo>
                      <a:lnTo>
                        <a:pt x="254" y="77"/>
                      </a:lnTo>
                      <a:lnTo>
                        <a:pt x="244" y="95"/>
                      </a:lnTo>
                      <a:lnTo>
                        <a:pt x="213" y="91"/>
                      </a:lnTo>
                      <a:lnTo>
                        <a:pt x="169" y="91"/>
                      </a:lnTo>
                      <a:lnTo>
                        <a:pt x="124" y="89"/>
                      </a:lnTo>
                      <a:lnTo>
                        <a:pt x="84" y="93"/>
                      </a:lnTo>
                      <a:lnTo>
                        <a:pt x="82" y="64"/>
                      </a:lnTo>
                      <a:lnTo>
                        <a:pt x="51" y="3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1" name="Freeform 311"/>
                <p:cNvSpPr>
                  <a:spLocks/>
                </p:cNvSpPr>
                <p:nvPr/>
              </p:nvSpPr>
              <p:spPr bwMode="auto">
                <a:xfrm>
                  <a:off x="6048934" y="2156065"/>
                  <a:ext cx="237951" cy="113648"/>
                </a:xfrm>
                <a:custGeom>
                  <a:avLst/>
                  <a:gdLst>
                    <a:gd name="T0" fmla="*/ 77731 w 300"/>
                    <a:gd name="T1" fmla="*/ 66109 h 153"/>
                    <a:gd name="T2" fmla="*/ 51556 w 300"/>
                    <a:gd name="T3" fmla="*/ 50510 h 153"/>
                    <a:gd name="T4" fmla="*/ 18243 w 300"/>
                    <a:gd name="T5" fmla="*/ 47539 h 153"/>
                    <a:gd name="T6" fmla="*/ 0 w 300"/>
                    <a:gd name="T7" fmla="*/ 27484 h 153"/>
                    <a:gd name="T8" fmla="*/ 15070 w 300"/>
                    <a:gd name="T9" fmla="*/ 14113 h 153"/>
                    <a:gd name="T10" fmla="*/ 41245 w 300"/>
                    <a:gd name="T11" fmla="*/ 17084 h 153"/>
                    <a:gd name="T12" fmla="*/ 67419 w 300"/>
                    <a:gd name="T13" fmla="*/ 21541 h 153"/>
                    <a:gd name="T14" fmla="*/ 79317 w 300"/>
                    <a:gd name="T15" fmla="*/ 5942 h 153"/>
                    <a:gd name="T16" fmla="*/ 102319 w 300"/>
                    <a:gd name="T17" fmla="*/ 7428 h 153"/>
                    <a:gd name="T18" fmla="*/ 136425 w 300"/>
                    <a:gd name="T19" fmla="*/ 7428 h 153"/>
                    <a:gd name="T20" fmla="*/ 168945 w 300"/>
                    <a:gd name="T21" fmla="*/ 4457 h 153"/>
                    <a:gd name="T22" fmla="*/ 201465 w 300"/>
                    <a:gd name="T23" fmla="*/ 0 h 153"/>
                    <a:gd name="T24" fmla="*/ 231606 w 300"/>
                    <a:gd name="T25" fmla="*/ 18570 h 153"/>
                    <a:gd name="T26" fmla="*/ 237951 w 300"/>
                    <a:gd name="T27" fmla="*/ 31940 h 153"/>
                    <a:gd name="T28" fmla="*/ 219708 w 300"/>
                    <a:gd name="T29" fmla="*/ 46053 h 153"/>
                    <a:gd name="T30" fmla="*/ 201465 w 300"/>
                    <a:gd name="T31" fmla="*/ 60167 h 153"/>
                    <a:gd name="T32" fmla="*/ 175291 w 300"/>
                    <a:gd name="T33" fmla="*/ 66109 h 153"/>
                    <a:gd name="T34" fmla="*/ 157841 w 300"/>
                    <a:gd name="T35" fmla="*/ 84679 h 153"/>
                    <a:gd name="T36" fmla="*/ 144357 w 300"/>
                    <a:gd name="T37" fmla="*/ 82450 h 153"/>
                    <a:gd name="T38" fmla="*/ 131666 w 300"/>
                    <a:gd name="T39" fmla="*/ 82450 h 153"/>
                    <a:gd name="T40" fmla="*/ 115010 w 300"/>
                    <a:gd name="T41" fmla="*/ 92107 h 153"/>
                    <a:gd name="T42" fmla="*/ 105492 w 300"/>
                    <a:gd name="T43" fmla="*/ 113648 h 153"/>
                    <a:gd name="T44" fmla="*/ 62660 w 300"/>
                    <a:gd name="T45" fmla="*/ 107706 h 153"/>
                    <a:gd name="T46" fmla="*/ 19829 w 300"/>
                    <a:gd name="T47" fmla="*/ 103992 h 153"/>
                    <a:gd name="T48" fmla="*/ 18243 w 300"/>
                    <a:gd name="T49" fmla="*/ 84679 h 153"/>
                    <a:gd name="T50" fmla="*/ 49177 w 300"/>
                    <a:gd name="T51" fmla="*/ 76508 h 153"/>
                    <a:gd name="T52" fmla="*/ 77731 w 300"/>
                    <a:gd name="T53" fmla="*/ 66109 h 153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300"/>
                    <a:gd name="T82" fmla="*/ 0 h 153"/>
                    <a:gd name="T83" fmla="*/ 300 w 300"/>
                    <a:gd name="T84" fmla="*/ 153 h 153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300" h="153">
                      <a:moveTo>
                        <a:pt x="98" y="89"/>
                      </a:moveTo>
                      <a:lnTo>
                        <a:pt x="65" y="68"/>
                      </a:lnTo>
                      <a:lnTo>
                        <a:pt x="23" y="64"/>
                      </a:lnTo>
                      <a:lnTo>
                        <a:pt x="0" y="37"/>
                      </a:lnTo>
                      <a:lnTo>
                        <a:pt x="19" y="19"/>
                      </a:lnTo>
                      <a:lnTo>
                        <a:pt x="52" y="23"/>
                      </a:lnTo>
                      <a:lnTo>
                        <a:pt x="85" y="29"/>
                      </a:lnTo>
                      <a:lnTo>
                        <a:pt x="100" y="8"/>
                      </a:lnTo>
                      <a:lnTo>
                        <a:pt x="129" y="10"/>
                      </a:lnTo>
                      <a:lnTo>
                        <a:pt x="172" y="10"/>
                      </a:lnTo>
                      <a:lnTo>
                        <a:pt x="213" y="6"/>
                      </a:lnTo>
                      <a:lnTo>
                        <a:pt x="254" y="0"/>
                      </a:lnTo>
                      <a:lnTo>
                        <a:pt x="292" y="25"/>
                      </a:lnTo>
                      <a:lnTo>
                        <a:pt x="300" y="43"/>
                      </a:lnTo>
                      <a:lnTo>
                        <a:pt x="277" y="62"/>
                      </a:lnTo>
                      <a:lnTo>
                        <a:pt x="254" y="81"/>
                      </a:lnTo>
                      <a:lnTo>
                        <a:pt x="221" y="89"/>
                      </a:lnTo>
                      <a:lnTo>
                        <a:pt x="199" y="114"/>
                      </a:lnTo>
                      <a:lnTo>
                        <a:pt x="182" y="111"/>
                      </a:lnTo>
                      <a:lnTo>
                        <a:pt x="166" y="111"/>
                      </a:lnTo>
                      <a:lnTo>
                        <a:pt x="145" y="124"/>
                      </a:lnTo>
                      <a:lnTo>
                        <a:pt x="133" y="153"/>
                      </a:lnTo>
                      <a:lnTo>
                        <a:pt x="79" y="145"/>
                      </a:lnTo>
                      <a:lnTo>
                        <a:pt x="25" y="140"/>
                      </a:lnTo>
                      <a:lnTo>
                        <a:pt x="23" y="114"/>
                      </a:lnTo>
                      <a:lnTo>
                        <a:pt x="62" y="103"/>
                      </a:lnTo>
                      <a:lnTo>
                        <a:pt x="98" y="8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2" name="Freeform 312"/>
                <p:cNvSpPr>
                  <a:spLocks/>
                </p:cNvSpPr>
                <p:nvPr/>
              </p:nvSpPr>
              <p:spPr bwMode="auto">
                <a:xfrm>
                  <a:off x="5615651" y="2173823"/>
                  <a:ext cx="360478" cy="213091"/>
                </a:xfrm>
                <a:custGeom>
                  <a:avLst/>
                  <a:gdLst>
                    <a:gd name="T0" fmla="*/ 341670 w 460"/>
                    <a:gd name="T1" fmla="*/ 165572 h 287"/>
                    <a:gd name="T2" fmla="*/ 333050 w 460"/>
                    <a:gd name="T3" fmla="*/ 187104 h 287"/>
                    <a:gd name="T4" fmla="*/ 310325 w 460"/>
                    <a:gd name="T5" fmla="*/ 198984 h 287"/>
                    <a:gd name="T6" fmla="*/ 302488 w 460"/>
                    <a:gd name="T7" fmla="*/ 213091 h 287"/>
                    <a:gd name="T8" fmla="*/ 287599 w 460"/>
                    <a:gd name="T9" fmla="*/ 210121 h 287"/>
                    <a:gd name="T10" fmla="*/ 264873 w 460"/>
                    <a:gd name="T11" fmla="*/ 203439 h 287"/>
                    <a:gd name="T12" fmla="*/ 253902 w 460"/>
                    <a:gd name="T13" fmla="*/ 174482 h 287"/>
                    <a:gd name="T14" fmla="*/ 232743 w 460"/>
                    <a:gd name="T15" fmla="*/ 171512 h 287"/>
                    <a:gd name="T16" fmla="*/ 211585 w 460"/>
                    <a:gd name="T17" fmla="*/ 158890 h 287"/>
                    <a:gd name="T18" fmla="*/ 190426 w 460"/>
                    <a:gd name="T19" fmla="*/ 145526 h 287"/>
                    <a:gd name="T20" fmla="*/ 148893 w 460"/>
                    <a:gd name="T21" fmla="*/ 131418 h 287"/>
                    <a:gd name="T22" fmla="*/ 126167 w 460"/>
                    <a:gd name="T23" fmla="*/ 134388 h 287"/>
                    <a:gd name="T24" fmla="*/ 97172 w 460"/>
                    <a:gd name="T25" fmla="*/ 137358 h 287"/>
                    <a:gd name="T26" fmla="*/ 79148 w 460"/>
                    <a:gd name="T27" fmla="*/ 154435 h 287"/>
                    <a:gd name="T28" fmla="*/ 71312 w 460"/>
                    <a:gd name="T29" fmla="*/ 154435 h 287"/>
                    <a:gd name="T30" fmla="*/ 64259 w 460"/>
                    <a:gd name="T31" fmla="*/ 131418 h 287"/>
                    <a:gd name="T32" fmla="*/ 57990 w 460"/>
                    <a:gd name="T33" fmla="*/ 106917 h 287"/>
                    <a:gd name="T34" fmla="*/ 43101 w 460"/>
                    <a:gd name="T35" fmla="*/ 98007 h 287"/>
                    <a:gd name="T36" fmla="*/ 41533 w 460"/>
                    <a:gd name="T37" fmla="*/ 99492 h 287"/>
                    <a:gd name="T38" fmla="*/ 45452 w 460"/>
                    <a:gd name="T39" fmla="*/ 92067 h 287"/>
                    <a:gd name="T40" fmla="*/ 50153 w 460"/>
                    <a:gd name="T41" fmla="*/ 90582 h 287"/>
                    <a:gd name="T42" fmla="*/ 43101 w 460"/>
                    <a:gd name="T43" fmla="*/ 79445 h 287"/>
                    <a:gd name="T44" fmla="*/ 32130 w 460"/>
                    <a:gd name="T45" fmla="*/ 82415 h 287"/>
                    <a:gd name="T46" fmla="*/ 32130 w 460"/>
                    <a:gd name="T47" fmla="*/ 83900 h 287"/>
                    <a:gd name="T48" fmla="*/ 24293 w 460"/>
                    <a:gd name="T49" fmla="*/ 54943 h 287"/>
                    <a:gd name="T50" fmla="*/ 27428 w 460"/>
                    <a:gd name="T51" fmla="*/ 53458 h 287"/>
                    <a:gd name="T52" fmla="*/ 41533 w 460"/>
                    <a:gd name="T53" fmla="*/ 54943 h 287"/>
                    <a:gd name="T54" fmla="*/ 53288 w 460"/>
                    <a:gd name="T55" fmla="*/ 62368 h 287"/>
                    <a:gd name="T56" fmla="*/ 61125 w 460"/>
                    <a:gd name="T57" fmla="*/ 59398 h 287"/>
                    <a:gd name="T58" fmla="*/ 62692 w 460"/>
                    <a:gd name="T59" fmla="*/ 56428 h 287"/>
                    <a:gd name="T60" fmla="*/ 65826 w 460"/>
                    <a:gd name="T61" fmla="*/ 47519 h 287"/>
                    <a:gd name="T62" fmla="*/ 41533 w 460"/>
                    <a:gd name="T63" fmla="*/ 24502 h 287"/>
                    <a:gd name="T64" fmla="*/ 21158 w 460"/>
                    <a:gd name="T65" fmla="*/ 23017 h 287"/>
                    <a:gd name="T66" fmla="*/ 21158 w 460"/>
                    <a:gd name="T67" fmla="*/ 44549 h 287"/>
                    <a:gd name="T68" fmla="*/ 21158 w 460"/>
                    <a:gd name="T69" fmla="*/ 47519 h 287"/>
                    <a:gd name="T70" fmla="*/ 6269 w 460"/>
                    <a:gd name="T71" fmla="*/ 19304 h 287"/>
                    <a:gd name="T72" fmla="*/ 6269 w 460"/>
                    <a:gd name="T73" fmla="*/ 5940 h 287"/>
                    <a:gd name="T74" fmla="*/ 0 w 460"/>
                    <a:gd name="T75" fmla="*/ 0 h 287"/>
                    <a:gd name="T76" fmla="*/ 43101 w 460"/>
                    <a:gd name="T77" fmla="*/ 0 h 287"/>
                    <a:gd name="T78" fmla="*/ 39966 w 460"/>
                    <a:gd name="T79" fmla="*/ 20047 h 287"/>
                    <a:gd name="T80" fmla="*/ 67394 w 460"/>
                    <a:gd name="T81" fmla="*/ 27472 h 287"/>
                    <a:gd name="T82" fmla="*/ 95605 w 460"/>
                    <a:gd name="T83" fmla="*/ 36381 h 287"/>
                    <a:gd name="T84" fmla="*/ 129302 w 460"/>
                    <a:gd name="T85" fmla="*/ 43806 h 287"/>
                    <a:gd name="T86" fmla="*/ 124600 w 460"/>
                    <a:gd name="T87" fmla="*/ 27472 h 287"/>
                    <a:gd name="T88" fmla="*/ 137138 w 460"/>
                    <a:gd name="T89" fmla="*/ 21532 h 287"/>
                    <a:gd name="T90" fmla="*/ 156730 w 460"/>
                    <a:gd name="T91" fmla="*/ 0 h 287"/>
                    <a:gd name="T92" fmla="*/ 187292 w 460"/>
                    <a:gd name="T93" fmla="*/ 21532 h 287"/>
                    <a:gd name="T94" fmla="*/ 206883 w 460"/>
                    <a:gd name="T95" fmla="*/ 50488 h 287"/>
                    <a:gd name="T96" fmla="*/ 240580 w 460"/>
                    <a:gd name="T97" fmla="*/ 62368 h 287"/>
                    <a:gd name="T98" fmla="*/ 260171 w 460"/>
                    <a:gd name="T99" fmla="*/ 72020 h 287"/>
                    <a:gd name="T100" fmla="*/ 302488 w 460"/>
                    <a:gd name="T101" fmla="*/ 96522 h 287"/>
                    <a:gd name="T102" fmla="*/ 343238 w 460"/>
                    <a:gd name="T103" fmla="*/ 122509 h 287"/>
                    <a:gd name="T104" fmla="*/ 360478 w 460"/>
                    <a:gd name="T105" fmla="*/ 149980 h 287"/>
                    <a:gd name="T106" fmla="*/ 351074 w 460"/>
                    <a:gd name="T107" fmla="*/ 157405 h 287"/>
                    <a:gd name="T108" fmla="*/ 341670 w 460"/>
                    <a:gd name="T109" fmla="*/ 165572 h 28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460"/>
                    <a:gd name="T166" fmla="*/ 0 h 287"/>
                    <a:gd name="T167" fmla="*/ 460 w 460"/>
                    <a:gd name="T168" fmla="*/ 287 h 28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460" h="287">
                      <a:moveTo>
                        <a:pt x="436" y="223"/>
                      </a:moveTo>
                      <a:lnTo>
                        <a:pt x="425" y="252"/>
                      </a:lnTo>
                      <a:lnTo>
                        <a:pt x="396" y="268"/>
                      </a:lnTo>
                      <a:lnTo>
                        <a:pt x="386" y="287"/>
                      </a:lnTo>
                      <a:lnTo>
                        <a:pt x="367" y="283"/>
                      </a:lnTo>
                      <a:lnTo>
                        <a:pt x="338" y="274"/>
                      </a:lnTo>
                      <a:lnTo>
                        <a:pt x="324" y="235"/>
                      </a:lnTo>
                      <a:lnTo>
                        <a:pt x="297" y="231"/>
                      </a:lnTo>
                      <a:lnTo>
                        <a:pt x="270" y="214"/>
                      </a:lnTo>
                      <a:lnTo>
                        <a:pt x="243" y="196"/>
                      </a:lnTo>
                      <a:lnTo>
                        <a:pt x="190" y="177"/>
                      </a:lnTo>
                      <a:lnTo>
                        <a:pt x="161" y="181"/>
                      </a:lnTo>
                      <a:lnTo>
                        <a:pt x="124" y="185"/>
                      </a:lnTo>
                      <a:lnTo>
                        <a:pt x="101" y="208"/>
                      </a:lnTo>
                      <a:lnTo>
                        <a:pt x="91" y="208"/>
                      </a:lnTo>
                      <a:lnTo>
                        <a:pt x="82" y="177"/>
                      </a:lnTo>
                      <a:lnTo>
                        <a:pt x="74" y="144"/>
                      </a:lnTo>
                      <a:lnTo>
                        <a:pt x="55" y="132"/>
                      </a:lnTo>
                      <a:lnTo>
                        <a:pt x="53" y="134"/>
                      </a:lnTo>
                      <a:lnTo>
                        <a:pt x="58" y="124"/>
                      </a:lnTo>
                      <a:lnTo>
                        <a:pt x="64" y="122"/>
                      </a:lnTo>
                      <a:lnTo>
                        <a:pt x="55" y="107"/>
                      </a:lnTo>
                      <a:lnTo>
                        <a:pt x="41" y="111"/>
                      </a:lnTo>
                      <a:lnTo>
                        <a:pt x="41" y="113"/>
                      </a:lnTo>
                      <a:lnTo>
                        <a:pt x="31" y="74"/>
                      </a:lnTo>
                      <a:lnTo>
                        <a:pt x="35" y="72"/>
                      </a:lnTo>
                      <a:lnTo>
                        <a:pt x="53" y="74"/>
                      </a:lnTo>
                      <a:lnTo>
                        <a:pt x="68" y="84"/>
                      </a:lnTo>
                      <a:lnTo>
                        <a:pt x="78" y="80"/>
                      </a:lnTo>
                      <a:lnTo>
                        <a:pt x="80" y="76"/>
                      </a:lnTo>
                      <a:lnTo>
                        <a:pt x="84" y="64"/>
                      </a:lnTo>
                      <a:lnTo>
                        <a:pt x="53" y="33"/>
                      </a:lnTo>
                      <a:lnTo>
                        <a:pt x="27" y="31"/>
                      </a:lnTo>
                      <a:lnTo>
                        <a:pt x="27" y="60"/>
                      </a:lnTo>
                      <a:lnTo>
                        <a:pt x="27" y="64"/>
                      </a:lnTo>
                      <a:lnTo>
                        <a:pt x="8" y="26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55" y="0"/>
                      </a:lnTo>
                      <a:lnTo>
                        <a:pt x="51" y="27"/>
                      </a:lnTo>
                      <a:lnTo>
                        <a:pt x="86" y="37"/>
                      </a:lnTo>
                      <a:lnTo>
                        <a:pt x="122" y="49"/>
                      </a:lnTo>
                      <a:lnTo>
                        <a:pt x="165" y="59"/>
                      </a:lnTo>
                      <a:lnTo>
                        <a:pt x="159" y="37"/>
                      </a:lnTo>
                      <a:lnTo>
                        <a:pt x="175" y="29"/>
                      </a:lnTo>
                      <a:lnTo>
                        <a:pt x="200" y="0"/>
                      </a:lnTo>
                      <a:lnTo>
                        <a:pt x="239" y="29"/>
                      </a:lnTo>
                      <a:lnTo>
                        <a:pt x="264" y="68"/>
                      </a:lnTo>
                      <a:lnTo>
                        <a:pt x="307" y="84"/>
                      </a:lnTo>
                      <a:lnTo>
                        <a:pt x="332" y="97"/>
                      </a:lnTo>
                      <a:lnTo>
                        <a:pt x="386" y="130"/>
                      </a:lnTo>
                      <a:lnTo>
                        <a:pt x="438" y="165"/>
                      </a:lnTo>
                      <a:lnTo>
                        <a:pt x="460" y="202"/>
                      </a:lnTo>
                      <a:lnTo>
                        <a:pt x="448" y="212"/>
                      </a:lnTo>
                      <a:lnTo>
                        <a:pt x="436" y="2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3" name="Freeform 313"/>
                <p:cNvSpPr>
                  <a:spLocks/>
                </p:cNvSpPr>
                <p:nvPr/>
              </p:nvSpPr>
              <p:spPr bwMode="auto">
                <a:xfrm>
                  <a:off x="5867807" y="2298125"/>
                  <a:ext cx="332066" cy="255709"/>
                </a:xfrm>
                <a:custGeom>
                  <a:avLst/>
                  <a:gdLst>
                    <a:gd name="T0" fmla="*/ 3148 w 422"/>
                    <a:gd name="T1" fmla="*/ 111081 h 343"/>
                    <a:gd name="T2" fmla="*/ 0 w 422"/>
                    <a:gd name="T3" fmla="*/ 115554 h 343"/>
                    <a:gd name="T4" fmla="*/ 0 w 422"/>
                    <a:gd name="T5" fmla="*/ 130464 h 343"/>
                    <a:gd name="T6" fmla="*/ 10230 w 422"/>
                    <a:gd name="T7" fmla="*/ 137173 h 343"/>
                    <a:gd name="T8" fmla="*/ 7869 w 422"/>
                    <a:gd name="T9" fmla="*/ 143137 h 343"/>
                    <a:gd name="T10" fmla="*/ 13377 w 422"/>
                    <a:gd name="T11" fmla="*/ 167739 h 343"/>
                    <a:gd name="T12" fmla="*/ 18098 w 422"/>
                    <a:gd name="T13" fmla="*/ 190850 h 343"/>
                    <a:gd name="T14" fmla="*/ 42492 w 422"/>
                    <a:gd name="T15" fmla="*/ 199796 h 343"/>
                    <a:gd name="T16" fmla="*/ 48787 w 422"/>
                    <a:gd name="T17" fmla="*/ 209488 h 343"/>
                    <a:gd name="T18" fmla="*/ 30689 w 422"/>
                    <a:gd name="T19" fmla="*/ 243035 h 343"/>
                    <a:gd name="T20" fmla="*/ 51935 w 422"/>
                    <a:gd name="T21" fmla="*/ 248999 h 343"/>
                    <a:gd name="T22" fmla="*/ 73180 w 422"/>
                    <a:gd name="T23" fmla="*/ 255709 h 343"/>
                    <a:gd name="T24" fmla="*/ 110951 w 422"/>
                    <a:gd name="T25" fmla="*/ 254218 h 343"/>
                    <a:gd name="T26" fmla="*/ 138492 w 422"/>
                    <a:gd name="T27" fmla="*/ 248999 h 343"/>
                    <a:gd name="T28" fmla="*/ 166033 w 422"/>
                    <a:gd name="T29" fmla="*/ 243035 h 343"/>
                    <a:gd name="T30" fmla="*/ 166033 w 422"/>
                    <a:gd name="T31" fmla="*/ 229616 h 343"/>
                    <a:gd name="T32" fmla="*/ 170754 w 422"/>
                    <a:gd name="T33" fmla="*/ 207997 h 343"/>
                    <a:gd name="T34" fmla="*/ 195148 w 422"/>
                    <a:gd name="T35" fmla="*/ 198305 h 343"/>
                    <a:gd name="T36" fmla="*/ 201443 w 422"/>
                    <a:gd name="T37" fmla="*/ 190850 h 343"/>
                    <a:gd name="T38" fmla="*/ 225836 w 422"/>
                    <a:gd name="T39" fmla="*/ 192341 h 343"/>
                    <a:gd name="T40" fmla="*/ 228984 w 422"/>
                    <a:gd name="T41" fmla="*/ 160284 h 343"/>
                    <a:gd name="T42" fmla="*/ 248656 w 422"/>
                    <a:gd name="T43" fmla="*/ 144628 h 343"/>
                    <a:gd name="T44" fmla="*/ 232918 w 422"/>
                    <a:gd name="T45" fmla="*/ 128973 h 343"/>
                    <a:gd name="T46" fmla="*/ 255738 w 422"/>
                    <a:gd name="T47" fmla="*/ 127482 h 343"/>
                    <a:gd name="T48" fmla="*/ 260459 w 422"/>
                    <a:gd name="T49" fmla="*/ 114063 h 343"/>
                    <a:gd name="T50" fmla="*/ 266754 w 422"/>
                    <a:gd name="T51" fmla="*/ 93934 h 343"/>
                    <a:gd name="T52" fmla="*/ 253377 w 422"/>
                    <a:gd name="T53" fmla="*/ 69332 h 343"/>
                    <a:gd name="T54" fmla="*/ 266754 w 422"/>
                    <a:gd name="T55" fmla="*/ 52186 h 343"/>
                    <a:gd name="T56" fmla="*/ 295869 w 422"/>
                    <a:gd name="T57" fmla="*/ 46221 h 343"/>
                    <a:gd name="T58" fmla="*/ 326558 w 422"/>
                    <a:gd name="T59" fmla="*/ 38766 h 343"/>
                    <a:gd name="T60" fmla="*/ 324984 w 422"/>
                    <a:gd name="T61" fmla="*/ 33548 h 343"/>
                    <a:gd name="T62" fmla="*/ 332066 w 422"/>
                    <a:gd name="T63" fmla="*/ 33548 h 343"/>
                    <a:gd name="T64" fmla="*/ 310820 w 422"/>
                    <a:gd name="T65" fmla="*/ 32057 h 343"/>
                    <a:gd name="T66" fmla="*/ 303738 w 422"/>
                    <a:gd name="T67" fmla="*/ 30566 h 343"/>
                    <a:gd name="T68" fmla="*/ 284853 w 422"/>
                    <a:gd name="T69" fmla="*/ 32057 h 343"/>
                    <a:gd name="T70" fmla="*/ 253377 w 422"/>
                    <a:gd name="T71" fmla="*/ 46221 h 343"/>
                    <a:gd name="T72" fmla="*/ 243935 w 422"/>
                    <a:gd name="T73" fmla="*/ 13419 h 343"/>
                    <a:gd name="T74" fmla="*/ 236066 w 422"/>
                    <a:gd name="T75" fmla="*/ 13419 h 343"/>
                    <a:gd name="T76" fmla="*/ 230558 w 422"/>
                    <a:gd name="T77" fmla="*/ 0 h 343"/>
                    <a:gd name="T78" fmla="*/ 217968 w 422"/>
                    <a:gd name="T79" fmla="*/ 4473 h 343"/>
                    <a:gd name="T80" fmla="*/ 214820 w 422"/>
                    <a:gd name="T81" fmla="*/ 21620 h 343"/>
                    <a:gd name="T82" fmla="*/ 195148 w 422"/>
                    <a:gd name="T83" fmla="*/ 30566 h 343"/>
                    <a:gd name="T84" fmla="*/ 190426 w 422"/>
                    <a:gd name="T85" fmla="*/ 36530 h 343"/>
                    <a:gd name="T86" fmla="*/ 173902 w 422"/>
                    <a:gd name="T87" fmla="*/ 36530 h 343"/>
                    <a:gd name="T88" fmla="*/ 159738 w 422"/>
                    <a:gd name="T89" fmla="*/ 38766 h 343"/>
                    <a:gd name="T90" fmla="*/ 152656 w 422"/>
                    <a:gd name="T91" fmla="*/ 33548 h 343"/>
                    <a:gd name="T92" fmla="*/ 128262 w 422"/>
                    <a:gd name="T93" fmla="*/ 29075 h 343"/>
                    <a:gd name="T94" fmla="*/ 103869 w 422"/>
                    <a:gd name="T95" fmla="*/ 26093 h 343"/>
                    <a:gd name="T96" fmla="*/ 94426 w 422"/>
                    <a:gd name="T97" fmla="*/ 33548 h 343"/>
                    <a:gd name="T98" fmla="*/ 84984 w 422"/>
                    <a:gd name="T99" fmla="*/ 41748 h 343"/>
                    <a:gd name="T100" fmla="*/ 76328 w 422"/>
                    <a:gd name="T101" fmla="*/ 63368 h 343"/>
                    <a:gd name="T102" fmla="*/ 53508 w 422"/>
                    <a:gd name="T103" fmla="*/ 75296 h 343"/>
                    <a:gd name="T104" fmla="*/ 45639 w 422"/>
                    <a:gd name="T105" fmla="*/ 89461 h 343"/>
                    <a:gd name="T106" fmla="*/ 30689 w 422"/>
                    <a:gd name="T107" fmla="*/ 86479 h 343"/>
                    <a:gd name="T108" fmla="*/ 7869 w 422"/>
                    <a:gd name="T109" fmla="*/ 79769 h 343"/>
                    <a:gd name="T110" fmla="*/ 3148 w 422"/>
                    <a:gd name="T111" fmla="*/ 111081 h 34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22"/>
                    <a:gd name="T169" fmla="*/ 0 h 343"/>
                    <a:gd name="T170" fmla="*/ 422 w 422"/>
                    <a:gd name="T171" fmla="*/ 343 h 34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22" h="343">
                      <a:moveTo>
                        <a:pt x="4" y="149"/>
                      </a:moveTo>
                      <a:lnTo>
                        <a:pt x="0" y="155"/>
                      </a:lnTo>
                      <a:lnTo>
                        <a:pt x="0" y="175"/>
                      </a:lnTo>
                      <a:lnTo>
                        <a:pt x="13" y="184"/>
                      </a:lnTo>
                      <a:lnTo>
                        <a:pt x="10" y="192"/>
                      </a:lnTo>
                      <a:lnTo>
                        <a:pt x="17" y="225"/>
                      </a:lnTo>
                      <a:lnTo>
                        <a:pt x="23" y="256"/>
                      </a:lnTo>
                      <a:lnTo>
                        <a:pt x="54" y="268"/>
                      </a:lnTo>
                      <a:lnTo>
                        <a:pt x="62" y="281"/>
                      </a:lnTo>
                      <a:lnTo>
                        <a:pt x="39" y="326"/>
                      </a:lnTo>
                      <a:lnTo>
                        <a:pt x="66" y="334"/>
                      </a:lnTo>
                      <a:lnTo>
                        <a:pt x="93" y="343"/>
                      </a:lnTo>
                      <a:lnTo>
                        <a:pt x="141" y="341"/>
                      </a:lnTo>
                      <a:lnTo>
                        <a:pt x="176" y="334"/>
                      </a:lnTo>
                      <a:lnTo>
                        <a:pt x="211" y="326"/>
                      </a:lnTo>
                      <a:lnTo>
                        <a:pt x="211" y="308"/>
                      </a:lnTo>
                      <a:lnTo>
                        <a:pt x="217" y="279"/>
                      </a:lnTo>
                      <a:lnTo>
                        <a:pt x="248" y="266"/>
                      </a:lnTo>
                      <a:lnTo>
                        <a:pt x="256" y="256"/>
                      </a:lnTo>
                      <a:lnTo>
                        <a:pt x="287" y="258"/>
                      </a:lnTo>
                      <a:lnTo>
                        <a:pt x="291" y="215"/>
                      </a:lnTo>
                      <a:lnTo>
                        <a:pt x="316" y="194"/>
                      </a:lnTo>
                      <a:lnTo>
                        <a:pt x="296" y="173"/>
                      </a:lnTo>
                      <a:lnTo>
                        <a:pt x="325" y="171"/>
                      </a:lnTo>
                      <a:lnTo>
                        <a:pt x="331" y="153"/>
                      </a:lnTo>
                      <a:lnTo>
                        <a:pt x="339" y="126"/>
                      </a:lnTo>
                      <a:lnTo>
                        <a:pt x="322" y="93"/>
                      </a:lnTo>
                      <a:lnTo>
                        <a:pt x="339" y="70"/>
                      </a:lnTo>
                      <a:lnTo>
                        <a:pt x="376" y="62"/>
                      </a:lnTo>
                      <a:lnTo>
                        <a:pt x="415" y="52"/>
                      </a:lnTo>
                      <a:lnTo>
                        <a:pt x="413" y="45"/>
                      </a:lnTo>
                      <a:lnTo>
                        <a:pt x="422" y="45"/>
                      </a:lnTo>
                      <a:lnTo>
                        <a:pt x="395" y="43"/>
                      </a:lnTo>
                      <a:lnTo>
                        <a:pt x="386" y="41"/>
                      </a:lnTo>
                      <a:lnTo>
                        <a:pt x="362" y="43"/>
                      </a:lnTo>
                      <a:lnTo>
                        <a:pt x="322" y="62"/>
                      </a:lnTo>
                      <a:lnTo>
                        <a:pt x="310" y="18"/>
                      </a:lnTo>
                      <a:lnTo>
                        <a:pt x="300" y="18"/>
                      </a:lnTo>
                      <a:lnTo>
                        <a:pt x="293" y="0"/>
                      </a:lnTo>
                      <a:lnTo>
                        <a:pt x="277" y="6"/>
                      </a:lnTo>
                      <a:lnTo>
                        <a:pt x="273" y="29"/>
                      </a:lnTo>
                      <a:lnTo>
                        <a:pt x="248" y="41"/>
                      </a:lnTo>
                      <a:lnTo>
                        <a:pt x="242" y="49"/>
                      </a:lnTo>
                      <a:lnTo>
                        <a:pt x="221" y="49"/>
                      </a:lnTo>
                      <a:lnTo>
                        <a:pt x="203" y="52"/>
                      </a:lnTo>
                      <a:lnTo>
                        <a:pt x="194" y="45"/>
                      </a:lnTo>
                      <a:lnTo>
                        <a:pt x="163" y="39"/>
                      </a:lnTo>
                      <a:lnTo>
                        <a:pt x="132" y="35"/>
                      </a:lnTo>
                      <a:lnTo>
                        <a:pt x="120" y="45"/>
                      </a:lnTo>
                      <a:lnTo>
                        <a:pt x="108" y="56"/>
                      </a:lnTo>
                      <a:lnTo>
                        <a:pt x="97" y="85"/>
                      </a:lnTo>
                      <a:lnTo>
                        <a:pt x="68" y="101"/>
                      </a:lnTo>
                      <a:lnTo>
                        <a:pt x="58" y="120"/>
                      </a:lnTo>
                      <a:lnTo>
                        <a:pt x="39" y="116"/>
                      </a:lnTo>
                      <a:lnTo>
                        <a:pt x="10" y="107"/>
                      </a:lnTo>
                      <a:lnTo>
                        <a:pt x="4" y="14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4" name="Freeform 314"/>
                <p:cNvSpPr>
                  <a:spLocks/>
                </p:cNvSpPr>
                <p:nvPr/>
              </p:nvSpPr>
              <p:spPr bwMode="auto">
                <a:xfrm>
                  <a:off x="5168161" y="2376259"/>
                  <a:ext cx="49721" cy="28412"/>
                </a:xfrm>
                <a:custGeom>
                  <a:avLst/>
                  <a:gdLst>
                    <a:gd name="T0" fmla="*/ 49721 w 66"/>
                    <a:gd name="T1" fmla="*/ 0 h 39"/>
                    <a:gd name="T2" fmla="*/ 18080 w 66"/>
                    <a:gd name="T3" fmla="*/ 8014 h 39"/>
                    <a:gd name="T4" fmla="*/ 0 w 66"/>
                    <a:gd name="T5" fmla="*/ 16756 h 39"/>
                    <a:gd name="T6" fmla="*/ 9040 w 66"/>
                    <a:gd name="T7" fmla="*/ 28412 h 39"/>
                    <a:gd name="T8" fmla="*/ 35407 w 66"/>
                    <a:gd name="T9" fmla="*/ 19670 h 39"/>
                    <a:gd name="T10" fmla="*/ 35407 w 66"/>
                    <a:gd name="T11" fmla="*/ 13842 h 39"/>
                    <a:gd name="T12" fmla="*/ 49721 w 66"/>
                    <a:gd name="T13" fmla="*/ 0 h 3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6"/>
                    <a:gd name="T22" fmla="*/ 0 h 39"/>
                    <a:gd name="T23" fmla="*/ 66 w 66"/>
                    <a:gd name="T24" fmla="*/ 39 h 3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6" h="39">
                      <a:moveTo>
                        <a:pt x="66" y="0"/>
                      </a:moveTo>
                      <a:lnTo>
                        <a:pt x="24" y="11"/>
                      </a:lnTo>
                      <a:lnTo>
                        <a:pt x="0" y="23"/>
                      </a:lnTo>
                      <a:lnTo>
                        <a:pt x="12" y="39"/>
                      </a:lnTo>
                      <a:lnTo>
                        <a:pt x="47" y="27"/>
                      </a:lnTo>
                      <a:lnTo>
                        <a:pt x="47" y="19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5" name="Line 315"/>
                <p:cNvSpPr>
                  <a:spLocks noChangeShapeType="1"/>
                </p:cNvSpPr>
                <p:nvPr/>
              </p:nvSpPr>
              <p:spPr bwMode="auto">
                <a:xfrm>
                  <a:off x="6185667" y="2340744"/>
                  <a:ext cx="0" cy="5327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6" name="Line 316"/>
                <p:cNvSpPr>
                  <a:spLocks noChangeShapeType="1"/>
                </p:cNvSpPr>
                <p:nvPr/>
              </p:nvSpPr>
              <p:spPr bwMode="auto">
                <a:xfrm>
                  <a:off x="6185667" y="2346071"/>
                  <a:ext cx="0" cy="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7" name="Line 317"/>
                <p:cNvSpPr>
                  <a:spLocks noChangeShapeType="1"/>
                </p:cNvSpPr>
                <p:nvPr/>
              </p:nvSpPr>
              <p:spPr bwMode="auto">
                <a:xfrm flipH="1">
                  <a:off x="6178564" y="2346071"/>
                  <a:ext cx="7103" cy="5327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8" name="Line 318"/>
                <p:cNvSpPr>
                  <a:spLocks noChangeShapeType="1"/>
                </p:cNvSpPr>
                <p:nvPr/>
              </p:nvSpPr>
              <p:spPr bwMode="auto">
                <a:xfrm flipH="1">
                  <a:off x="6171461" y="2346071"/>
                  <a:ext cx="14206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29" name="Line 319"/>
                <p:cNvSpPr>
                  <a:spLocks noChangeShapeType="1"/>
                </p:cNvSpPr>
                <p:nvPr/>
              </p:nvSpPr>
              <p:spPr bwMode="auto">
                <a:xfrm flipH="1">
                  <a:off x="6171461" y="2358501"/>
                  <a:ext cx="7103" cy="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0" name="Line 320"/>
                <p:cNvSpPr>
                  <a:spLocks noChangeShapeType="1"/>
                </p:cNvSpPr>
                <p:nvPr/>
              </p:nvSpPr>
              <p:spPr bwMode="auto">
                <a:xfrm flipH="1">
                  <a:off x="6164358" y="2358501"/>
                  <a:ext cx="7103" cy="10655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1" name="Line 321"/>
                <p:cNvSpPr>
                  <a:spLocks noChangeShapeType="1"/>
                </p:cNvSpPr>
                <p:nvPr/>
              </p:nvSpPr>
              <p:spPr bwMode="auto">
                <a:xfrm flipH="1">
                  <a:off x="6164358" y="2363828"/>
                  <a:ext cx="7103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2" name="Line 322"/>
                <p:cNvSpPr>
                  <a:spLocks noChangeShapeType="1"/>
                </p:cNvSpPr>
                <p:nvPr/>
              </p:nvSpPr>
              <p:spPr bwMode="auto">
                <a:xfrm>
                  <a:off x="6164358" y="2376259"/>
                  <a:ext cx="7103" cy="5327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3" name="Line 323"/>
                <p:cNvSpPr>
                  <a:spLocks noChangeShapeType="1"/>
                </p:cNvSpPr>
                <p:nvPr/>
              </p:nvSpPr>
              <p:spPr bwMode="auto">
                <a:xfrm>
                  <a:off x="6178564" y="2404671"/>
                  <a:ext cx="0" cy="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4" name="Line 324"/>
                <p:cNvSpPr>
                  <a:spLocks noChangeShapeType="1"/>
                </p:cNvSpPr>
                <p:nvPr/>
              </p:nvSpPr>
              <p:spPr bwMode="auto">
                <a:xfrm>
                  <a:off x="6178564" y="2404671"/>
                  <a:ext cx="0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5" name="Line 325"/>
                <p:cNvSpPr>
                  <a:spLocks noChangeShapeType="1"/>
                </p:cNvSpPr>
                <p:nvPr/>
              </p:nvSpPr>
              <p:spPr bwMode="auto">
                <a:xfrm>
                  <a:off x="6178564" y="2417101"/>
                  <a:ext cx="14206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6" name="Line 326"/>
                <p:cNvSpPr>
                  <a:spLocks noChangeShapeType="1"/>
                </p:cNvSpPr>
                <p:nvPr/>
              </p:nvSpPr>
              <p:spPr bwMode="auto">
                <a:xfrm>
                  <a:off x="6185667" y="2422428"/>
                  <a:ext cx="14206" cy="7103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7" name="Line 327"/>
                <p:cNvSpPr>
                  <a:spLocks noChangeShapeType="1"/>
                </p:cNvSpPr>
                <p:nvPr/>
              </p:nvSpPr>
              <p:spPr bwMode="auto">
                <a:xfrm>
                  <a:off x="6199873" y="2429531"/>
                  <a:ext cx="0" cy="10655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8" name="Line 328"/>
                <p:cNvSpPr>
                  <a:spLocks noChangeShapeType="1"/>
                </p:cNvSpPr>
                <p:nvPr/>
              </p:nvSpPr>
              <p:spPr bwMode="auto">
                <a:xfrm>
                  <a:off x="6199873" y="2434859"/>
                  <a:ext cx="0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39" name="Line 329"/>
                <p:cNvSpPr>
                  <a:spLocks noChangeShapeType="1"/>
                </p:cNvSpPr>
                <p:nvPr/>
              </p:nvSpPr>
              <p:spPr bwMode="auto">
                <a:xfrm>
                  <a:off x="6199873" y="2447289"/>
                  <a:ext cx="7103" cy="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0" name="Line 330"/>
                <p:cNvSpPr>
                  <a:spLocks noChangeShapeType="1"/>
                </p:cNvSpPr>
                <p:nvPr/>
              </p:nvSpPr>
              <p:spPr bwMode="auto">
                <a:xfrm flipV="1">
                  <a:off x="6331278" y="2417101"/>
                  <a:ext cx="14206" cy="5327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1" name="Line 331"/>
                <p:cNvSpPr>
                  <a:spLocks noChangeShapeType="1"/>
                </p:cNvSpPr>
                <p:nvPr/>
              </p:nvSpPr>
              <p:spPr bwMode="auto">
                <a:xfrm flipV="1">
                  <a:off x="6345485" y="2404671"/>
                  <a:ext cx="0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2" name="Line 332"/>
                <p:cNvSpPr>
                  <a:spLocks noChangeShapeType="1"/>
                </p:cNvSpPr>
                <p:nvPr/>
              </p:nvSpPr>
              <p:spPr bwMode="auto">
                <a:xfrm flipV="1">
                  <a:off x="6345485" y="2381586"/>
                  <a:ext cx="7103" cy="23085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3" name="Line 333"/>
                <p:cNvSpPr>
                  <a:spLocks noChangeShapeType="1"/>
                </p:cNvSpPr>
                <p:nvPr/>
              </p:nvSpPr>
              <p:spPr bwMode="auto">
                <a:xfrm flipH="1" flipV="1">
                  <a:off x="6345485" y="2376259"/>
                  <a:ext cx="7103" cy="5327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4" name="Line 334"/>
                <p:cNvSpPr>
                  <a:spLocks noChangeShapeType="1"/>
                </p:cNvSpPr>
                <p:nvPr/>
              </p:nvSpPr>
              <p:spPr bwMode="auto">
                <a:xfrm flipH="1" flipV="1">
                  <a:off x="6301091" y="2369156"/>
                  <a:ext cx="14206" cy="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5" name="Line 335"/>
                <p:cNvSpPr>
                  <a:spLocks noChangeShapeType="1"/>
                </p:cNvSpPr>
                <p:nvPr/>
              </p:nvSpPr>
              <p:spPr bwMode="auto">
                <a:xfrm flipH="1">
                  <a:off x="6286885" y="2369156"/>
                  <a:ext cx="21309" cy="12430"/>
                </a:xfrm>
                <a:prstGeom prst="line">
                  <a:avLst/>
                </a:pr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6" name="Freeform 336"/>
                <p:cNvSpPr>
                  <a:spLocks/>
                </p:cNvSpPr>
                <p:nvPr/>
              </p:nvSpPr>
              <p:spPr bwMode="auto">
                <a:xfrm>
                  <a:off x="5240967" y="2404671"/>
                  <a:ext cx="28412" cy="42618"/>
                </a:xfrm>
                <a:custGeom>
                  <a:avLst/>
                  <a:gdLst>
                    <a:gd name="T0" fmla="*/ 24254 w 41"/>
                    <a:gd name="T1" fmla="*/ 22779 h 58"/>
                    <a:gd name="T2" fmla="*/ 11088 w 41"/>
                    <a:gd name="T3" fmla="*/ 38209 h 58"/>
                    <a:gd name="T4" fmla="*/ 0 w 41"/>
                    <a:gd name="T5" fmla="*/ 42618 h 58"/>
                    <a:gd name="T6" fmla="*/ 6930 w 41"/>
                    <a:gd name="T7" fmla="*/ 21309 h 58"/>
                    <a:gd name="T8" fmla="*/ 15245 w 41"/>
                    <a:gd name="T9" fmla="*/ 0 h 58"/>
                    <a:gd name="T10" fmla="*/ 28412 w 41"/>
                    <a:gd name="T11" fmla="*/ 5144 h 58"/>
                    <a:gd name="T12" fmla="*/ 24254 w 41"/>
                    <a:gd name="T13" fmla="*/ 22779 h 5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1"/>
                    <a:gd name="T22" fmla="*/ 0 h 58"/>
                    <a:gd name="T23" fmla="*/ 41 w 41"/>
                    <a:gd name="T24" fmla="*/ 58 h 5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1" h="58">
                      <a:moveTo>
                        <a:pt x="35" y="31"/>
                      </a:moveTo>
                      <a:lnTo>
                        <a:pt x="16" y="52"/>
                      </a:lnTo>
                      <a:lnTo>
                        <a:pt x="0" y="58"/>
                      </a:lnTo>
                      <a:lnTo>
                        <a:pt x="10" y="29"/>
                      </a:lnTo>
                      <a:lnTo>
                        <a:pt x="22" y="0"/>
                      </a:lnTo>
                      <a:lnTo>
                        <a:pt x="41" y="7"/>
                      </a:lnTo>
                      <a:lnTo>
                        <a:pt x="35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7" name="Freeform 337"/>
                <p:cNvSpPr>
                  <a:spLocks/>
                </p:cNvSpPr>
                <p:nvPr/>
              </p:nvSpPr>
              <p:spPr bwMode="auto">
                <a:xfrm>
                  <a:off x="5248070" y="2333641"/>
                  <a:ext cx="158042" cy="136733"/>
                </a:xfrm>
                <a:custGeom>
                  <a:avLst/>
                  <a:gdLst>
                    <a:gd name="T0" fmla="*/ 99986 w 196"/>
                    <a:gd name="T1" fmla="*/ 9557 h 186"/>
                    <a:gd name="T2" fmla="*/ 61282 w 196"/>
                    <a:gd name="T3" fmla="*/ 9557 h 186"/>
                    <a:gd name="T4" fmla="*/ 23384 w 196"/>
                    <a:gd name="T5" fmla="*/ 12497 h 186"/>
                    <a:gd name="T6" fmla="*/ 13708 w 196"/>
                    <a:gd name="T7" fmla="*/ 15438 h 186"/>
                    <a:gd name="T8" fmla="*/ 12901 w 196"/>
                    <a:gd name="T9" fmla="*/ 26464 h 186"/>
                    <a:gd name="T10" fmla="*/ 1613 w 196"/>
                    <a:gd name="T11" fmla="*/ 36756 h 186"/>
                    <a:gd name="T12" fmla="*/ 0 w 196"/>
                    <a:gd name="T13" fmla="*/ 35286 h 186"/>
                    <a:gd name="T14" fmla="*/ 6451 w 196"/>
                    <a:gd name="T15" fmla="*/ 71307 h 186"/>
                    <a:gd name="T16" fmla="*/ 21771 w 196"/>
                    <a:gd name="T17" fmla="*/ 76453 h 186"/>
                    <a:gd name="T18" fmla="*/ 16933 w 196"/>
                    <a:gd name="T19" fmla="*/ 94096 h 186"/>
                    <a:gd name="T20" fmla="*/ 1613 w 196"/>
                    <a:gd name="T21" fmla="*/ 109533 h 186"/>
                    <a:gd name="T22" fmla="*/ 3225 w 196"/>
                    <a:gd name="T23" fmla="*/ 123501 h 186"/>
                    <a:gd name="T24" fmla="*/ 36285 w 196"/>
                    <a:gd name="T25" fmla="*/ 136733 h 186"/>
                    <a:gd name="T26" fmla="*/ 59669 w 196"/>
                    <a:gd name="T27" fmla="*/ 120560 h 186"/>
                    <a:gd name="T28" fmla="*/ 83053 w 196"/>
                    <a:gd name="T29" fmla="*/ 106593 h 186"/>
                    <a:gd name="T30" fmla="*/ 109662 w 196"/>
                    <a:gd name="T31" fmla="*/ 92626 h 186"/>
                    <a:gd name="T32" fmla="*/ 136271 w 196"/>
                    <a:gd name="T33" fmla="*/ 76453 h 186"/>
                    <a:gd name="T34" fmla="*/ 134658 w 196"/>
                    <a:gd name="T35" fmla="*/ 49253 h 186"/>
                    <a:gd name="T36" fmla="*/ 134658 w 196"/>
                    <a:gd name="T37" fmla="*/ 24259 h 186"/>
                    <a:gd name="T38" fmla="*/ 158042 w 196"/>
                    <a:gd name="T39" fmla="*/ 2205 h 186"/>
                    <a:gd name="T40" fmla="*/ 149979 w 196"/>
                    <a:gd name="T41" fmla="*/ 0 h 186"/>
                    <a:gd name="T42" fmla="*/ 124982 w 196"/>
                    <a:gd name="T43" fmla="*/ 5146 h 186"/>
                    <a:gd name="T44" fmla="*/ 99986 w 196"/>
                    <a:gd name="T45" fmla="*/ 9557 h 18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96"/>
                    <a:gd name="T70" fmla="*/ 0 h 186"/>
                    <a:gd name="T71" fmla="*/ 196 w 196"/>
                    <a:gd name="T72" fmla="*/ 186 h 18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96" h="186">
                      <a:moveTo>
                        <a:pt x="124" y="13"/>
                      </a:moveTo>
                      <a:lnTo>
                        <a:pt x="76" y="13"/>
                      </a:lnTo>
                      <a:lnTo>
                        <a:pt x="29" y="17"/>
                      </a:lnTo>
                      <a:lnTo>
                        <a:pt x="17" y="21"/>
                      </a:lnTo>
                      <a:lnTo>
                        <a:pt x="16" y="36"/>
                      </a:lnTo>
                      <a:lnTo>
                        <a:pt x="2" y="50"/>
                      </a:lnTo>
                      <a:lnTo>
                        <a:pt x="0" y="48"/>
                      </a:lnTo>
                      <a:lnTo>
                        <a:pt x="8" y="97"/>
                      </a:lnTo>
                      <a:lnTo>
                        <a:pt x="27" y="104"/>
                      </a:lnTo>
                      <a:lnTo>
                        <a:pt x="21" y="128"/>
                      </a:lnTo>
                      <a:lnTo>
                        <a:pt x="2" y="149"/>
                      </a:lnTo>
                      <a:lnTo>
                        <a:pt x="4" y="168"/>
                      </a:lnTo>
                      <a:lnTo>
                        <a:pt x="45" y="186"/>
                      </a:lnTo>
                      <a:lnTo>
                        <a:pt x="74" y="164"/>
                      </a:lnTo>
                      <a:lnTo>
                        <a:pt x="103" y="145"/>
                      </a:lnTo>
                      <a:lnTo>
                        <a:pt x="136" y="126"/>
                      </a:lnTo>
                      <a:lnTo>
                        <a:pt x="169" y="104"/>
                      </a:lnTo>
                      <a:lnTo>
                        <a:pt x="167" y="67"/>
                      </a:lnTo>
                      <a:lnTo>
                        <a:pt x="167" y="33"/>
                      </a:lnTo>
                      <a:lnTo>
                        <a:pt x="196" y="3"/>
                      </a:lnTo>
                      <a:lnTo>
                        <a:pt x="186" y="0"/>
                      </a:lnTo>
                      <a:lnTo>
                        <a:pt x="155" y="7"/>
                      </a:lnTo>
                      <a:lnTo>
                        <a:pt x="124" y="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8" name="Freeform 338"/>
                <p:cNvSpPr>
                  <a:spLocks/>
                </p:cNvSpPr>
                <p:nvPr/>
              </p:nvSpPr>
              <p:spPr bwMode="auto">
                <a:xfrm>
                  <a:off x="5999213" y="2204011"/>
                  <a:ext cx="207763" cy="142060"/>
                </a:xfrm>
                <a:custGeom>
                  <a:avLst/>
                  <a:gdLst>
                    <a:gd name="T0" fmla="*/ 174584 w 263"/>
                    <a:gd name="T1" fmla="*/ 126021 h 186"/>
                    <a:gd name="T2" fmla="*/ 155625 w 263"/>
                    <a:gd name="T3" fmla="*/ 127548 h 186"/>
                    <a:gd name="T4" fmla="*/ 124026 w 263"/>
                    <a:gd name="T5" fmla="*/ 142060 h 186"/>
                    <a:gd name="T6" fmla="*/ 114546 w 263"/>
                    <a:gd name="T7" fmla="*/ 108454 h 186"/>
                    <a:gd name="T8" fmla="*/ 106646 w 263"/>
                    <a:gd name="T9" fmla="*/ 108454 h 186"/>
                    <a:gd name="T10" fmla="*/ 101117 w 263"/>
                    <a:gd name="T11" fmla="*/ 94707 h 186"/>
                    <a:gd name="T12" fmla="*/ 88477 w 263"/>
                    <a:gd name="T13" fmla="*/ 99289 h 186"/>
                    <a:gd name="T14" fmla="*/ 85317 w 263"/>
                    <a:gd name="T15" fmla="*/ 116856 h 186"/>
                    <a:gd name="T16" fmla="*/ 65568 w 263"/>
                    <a:gd name="T17" fmla="*/ 126021 h 186"/>
                    <a:gd name="T18" fmla="*/ 60828 w 263"/>
                    <a:gd name="T19" fmla="*/ 132131 h 186"/>
                    <a:gd name="T20" fmla="*/ 44239 w 263"/>
                    <a:gd name="T21" fmla="*/ 132131 h 186"/>
                    <a:gd name="T22" fmla="*/ 30019 w 263"/>
                    <a:gd name="T23" fmla="*/ 134422 h 186"/>
                    <a:gd name="T24" fmla="*/ 22909 w 263"/>
                    <a:gd name="T25" fmla="*/ 129076 h 186"/>
                    <a:gd name="T26" fmla="*/ 28439 w 263"/>
                    <a:gd name="T27" fmla="*/ 109218 h 186"/>
                    <a:gd name="T28" fmla="*/ 34759 w 263"/>
                    <a:gd name="T29" fmla="*/ 91652 h 186"/>
                    <a:gd name="T30" fmla="*/ 26859 w 263"/>
                    <a:gd name="T31" fmla="*/ 80195 h 186"/>
                    <a:gd name="T32" fmla="*/ 10270 w 263"/>
                    <a:gd name="T33" fmla="*/ 71030 h 186"/>
                    <a:gd name="T34" fmla="*/ 0 w 263"/>
                    <a:gd name="T35" fmla="*/ 59574 h 186"/>
                    <a:gd name="T36" fmla="*/ 26069 w 263"/>
                    <a:gd name="T37" fmla="*/ 36661 h 186"/>
                    <a:gd name="T38" fmla="*/ 50558 w 263"/>
                    <a:gd name="T39" fmla="*/ 14512 h 186"/>
                    <a:gd name="T40" fmla="*/ 68728 w 263"/>
                    <a:gd name="T41" fmla="*/ 0 h 186"/>
                    <a:gd name="T42" fmla="*/ 101907 w 263"/>
                    <a:gd name="T43" fmla="*/ 3055 h 186"/>
                    <a:gd name="T44" fmla="*/ 127976 w 263"/>
                    <a:gd name="T45" fmla="*/ 19094 h 186"/>
                    <a:gd name="T46" fmla="*/ 99537 w 263"/>
                    <a:gd name="T47" fmla="*/ 29787 h 186"/>
                    <a:gd name="T48" fmla="*/ 68728 w 263"/>
                    <a:gd name="T49" fmla="*/ 38188 h 186"/>
                    <a:gd name="T50" fmla="*/ 70308 w 263"/>
                    <a:gd name="T51" fmla="*/ 58046 h 186"/>
                    <a:gd name="T52" fmla="*/ 112966 w 263"/>
                    <a:gd name="T53" fmla="*/ 61865 h 186"/>
                    <a:gd name="T54" fmla="*/ 155625 w 263"/>
                    <a:gd name="T55" fmla="*/ 67975 h 186"/>
                    <a:gd name="T56" fmla="*/ 169844 w 263"/>
                    <a:gd name="T57" fmla="*/ 91652 h 186"/>
                    <a:gd name="T58" fmla="*/ 192753 w 263"/>
                    <a:gd name="T59" fmla="*/ 93179 h 186"/>
                    <a:gd name="T60" fmla="*/ 207763 w 263"/>
                    <a:gd name="T61" fmla="*/ 127548 h 186"/>
                    <a:gd name="T62" fmla="*/ 204603 w 263"/>
                    <a:gd name="T63" fmla="*/ 129076 h 186"/>
                    <a:gd name="T64" fmla="*/ 203023 w 263"/>
                    <a:gd name="T65" fmla="*/ 129076 h 186"/>
                    <a:gd name="T66" fmla="*/ 181694 w 263"/>
                    <a:gd name="T67" fmla="*/ 127548 h 186"/>
                    <a:gd name="T68" fmla="*/ 174584 w 263"/>
                    <a:gd name="T69" fmla="*/ 126021 h 18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63"/>
                    <a:gd name="T106" fmla="*/ 0 h 186"/>
                    <a:gd name="T107" fmla="*/ 263 w 263"/>
                    <a:gd name="T108" fmla="*/ 186 h 18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63" h="186">
                      <a:moveTo>
                        <a:pt x="221" y="165"/>
                      </a:moveTo>
                      <a:lnTo>
                        <a:pt x="197" y="167"/>
                      </a:lnTo>
                      <a:lnTo>
                        <a:pt x="157" y="186"/>
                      </a:lnTo>
                      <a:lnTo>
                        <a:pt x="145" y="142"/>
                      </a:lnTo>
                      <a:lnTo>
                        <a:pt x="135" y="142"/>
                      </a:lnTo>
                      <a:lnTo>
                        <a:pt x="128" y="124"/>
                      </a:lnTo>
                      <a:lnTo>
                        <a:pt x="112" y="130"/>
                      </a:lnTo>
                      <a:lnTo>
                        <a:pt x="108" y="153"/>
                      </a:lnTo>
                      <a:lnTo>
                        <a:pt x="83" y="165"/>
                      </a:lnTo>
                      <a:lnTo>
                        <a:pt x="77" y="173"/>
                      </a:lnTo>
                      <a:lnTo>
                        <a:pt x="56" y="173"/>
                      </a:lnTo>
                      <a:lnTo>
                        <a:pt x="38" y="176"/>
                      </a:lnTo>
                      <a:lnTo>
                        <a:pt x="29" y="169"/>
                      </a:lnTo>
                      <a:lnTo>
                        <a:pt x="36" y="143"/>
                      </a:lnTo>
                      <a:lnTo>
                        <a:pt x="44" y="120"/>
                      </a:lnTo>
                      <a:lnTo>
                        <a:pt x="34" y="105"/>
                      </a:lnTo>
                      <a:lnTo>
                        <a:pt x="13" y="93"/>
                      </a:lnTo>
                      <a:lnTo>
                        <a:pt x="0" y="78"/>
                      </a:lnTo>
                      <a:lnTo>
                        <a:pt x="33" y="48"/>
                      </a:lnTo>
                      <a:lnTo>
                        <a:pt x="64" y="19"/>
                      </a:lnTo>
                      <a:lnTo>
                        <a:pt x="87" y="0"/>
                      </a:lnTo>
                      <a:lnTo>
                        <a:pt x="129" y="4"/>
                      </a:lnTo>
                      <a:lnTo>
                        <a:pt x="162" y="25"/>
                      </a:lnTo>
                      <a:lnTo>
                        <a:pt x="126" y="39"/>
                      </a:lnTo>
                      <a:lnTo>
                        <a:pt x="87" y="50"/>
                      </a:lnTo>
                      <a:lnTo>
                        <a:pt x="89" y="76"/>
                      </a:lnTo>
                      <a:lnTo>
                        <a:pt x="143" y="81"/>
                      </a:lnTo>
                      <a:lnTo>
                        <a:pt x="197" y="89"/>
                      </a:lnTo>
                      <a:lnTo>
                        <a:pt x="215" y="120"/>
                      </a:lnTo>
                      <a:lnTo>
                        <a:pt x="244" y="122"/>
                      </a:lnTo>
                      <a:lnTo>
                        <a:pt x="263" y="167"/>
                      </a:lnTo>
                      <a:lnTo>
                        <a:pt x="259" y="169"/>
                      </a:lnTo>
                      <a:lnTo>
                        <a:pt x="257" y="169"/>
                      </a:lnTo>
                      <a:lnTo>
                        <a:pt x="230" y="167"/>
                      </a:lnTo>
                      <a:lnTo>
                        <a:pt x="221" y="16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49" name="Freeform 339"/>
                <p:cNvSpPr>
                  <a:spLocks/>
                </p:cNvSpPr>
                <p:nvPr/>
              </p:nvSpPr>
              <p:spPr bwMode="auto">
                <a:xfrm>
                  <a:off x="5681353" y="2085035"/>
                  <a:ext cx="388890" cy="243278"/>
                </a:xfrm>
                <a:custGeom>
                  <a:avLst/>
                  <a:gdLst>
                    <a:gd name="T0" fmla="*/ 276877 w 493"/>
                    <a:gd name="T1" fmla="*/ 208204 h 326"/>
                    <a:gd name="T2" fmla="*/ 235858 w 493"/>
                    <a:gd name="T3" fmla="*/ 182085 h 326"/>
                    <a:gd name="T4" fmla="*/ 193262 w 493"/>
                    <a:gd name="T5" fmla="*/ 157459 h 326"/>
                    <a:gd name="T6" fmla="*/ 173541 w 493"/>
                    <a:gd name="T7" fmla="*/ 147758 h 326"/>
                    <a:gd name="T8" fmla="*/ 139622 w 493"/>
                    <a:gd name="T9" fmla="*/ 135818 h 326"/>
                    <a:gd name="T10" fmla="*/ 119901 w 493"/>
                    <a:gd name="T11" fmla="*/ 106714 h 326"/>
                    <a:gd name="T12" fmla="*/ 89137 w 493"/>
                    <a:gd name="T13" fmla="*/ 85073 h 326"/>
                    <a:gd name="T14" fmla="*/ 69416 w 493"/>
                    <a:gd name="T15" fmla="*/ 106714 h 326"/>
                    <a:gd name="T16" fmla="*/ 56795 w 493"/>
                    <a:gd name="T17" fmla="*/ 112684 h 326"/>
                    <a:gd name="T18" fmla="*/ 61528 w 493"/>
                    <a:gd name="T19" fmla="*/ 129102 h 326"/>
                    <a:gd name="T20" fmla="*/ 27609 w 493"/>
                    <a:gd name="T21" fmla="*/ 121639 h 326"/>
                    <a:gd name="T22" fmla="*/ 20509 w 493"/>
                    <a:gd name="T23" fmla="*/ 97013 h 326"/>
                    <a:gd name="T24" fmla="*/ 14199 w 493"/>
                    <a:gd name="T25" fmla="*/ 70894 h 326"/>
                    <a:gd name="T26" fmla="*/ 7888 w 493"/>
                    <a:gd name="T27" fmla="*/ 46268 h 326"/>
                    <a:gd name="T28" fmla="*/ 0 w 493"/>
                    <a:gd name="T29" fmla="*/ 20149 h 326"/>
                    <a:gd name="T30" fmla="*/ 30764 w 493"/>
                    <a:gd name="T31" fmla="*/ 10448 h 326"/>
                    <a:gd name="T32" fmla="*/ 59951 w 493"/>
                    <a:gd name="T33" fmla="*/ 0 h 326"/>
                    <a:gd name="T34" fmla="*/ 92292 w 493"/>
                    <a:gd name="T35" fmla="*/ 14179 h 326"/>
                    <a:gd name="T36" fmla="*/ 123056 w 493"/>
                    <a:gd name="T37" fmla="*/ 30596 h 326"/>
                    <a:gd name="T38" fmla="*/ 148299 w 493"/>
                    <a:gd name="T39" fmla="*/ 58954 h 326"/>
                    <a:gd name="T40" fmla="*/ 173541 w 493"/>
                    <a:gd name="T41" fmla="*/ 60446 h 326"/>
                    <a:gd name="T42" fmla="*/ 198784 w 493"/>
                    <a:gd name="T43" fmla="*/ 61939 h 326"/>
                    <a:gd name="T44" fmla="*/ 223237 w 493"/>
                    <a:gd name="T45" fmla="*/ 63431 h 326"/>
                    <a:gd name="T46" fmla="*/ 249268 w 493"/>
                    <a:gd name="T47" fmla="*/ 64924 h 326"/>
                    <a:gd name="T48" fmla="*/ 275299 w 493"/>
                    <a:gd name="T49" fmla="*/ 82088 h 326"/>
                    <a:gd name="T50" fmla="*/ 278455 w 493"/>
                    <a:gd name="T51" fmla="*/ 105221 h 326"/>
                    <a:gd name="T52" fmla="*/ 301331 w 493"/>
                    <a:gd name="T53" fmla="*/ 117161 h 326"/>
                    <a:gd name="T54" fmla="*/ 324206 w 493"/>
                    <a:gd name="T55" fmla="*/ 129102 h 326"/>
                    <a:gd name="T56" fmla="*/ 347082 w 493"/>
                    <a:gd name="T57" fmla="*/ 112684 h 326"/>
                    <a:gd name="T58" fmla="*/ 370747 w 493"/>
                    <a:gd name="T59" fmla="*/ 97013 h 326"/>
                    <a:gd name="T60" fmla="*/ 388890 w 493"/>
                    <a:gd name="T61" fmla="*/ 117161 h 326"/>
                    <a:gd name="T62" fmla="*/ 370747 w 493"/>
                    <a:gd name="T63" fmla="*/ 131340 h 326"/>
                    <a:gd name="T64" fmla="*/ 346294 w 493"/>
                    <a:gd name="T65" fmla="*/ 152982 h 326"/>
                    <a:gd name="T66" fmla="*/ 320262 w 493"/>
                    <a:gd name="T67" fmla="*/ 175369 h 326"/>
                    <a:gd name="T68" fmla="*/ 330517 w 493"/>
                    <a:gd name="T69" fmla="*/ 186563 h 326"/>
                    <a:gd name="T70" fmla="*/ 347082 w 493"/>
                    <a:gd name="T71" fmla="*/ 195518 h 326"/>
                    <a:gd name="T72" fmla="*/ 354971 w 493"/>
                    <a:gd name="T73" fmla="*/ 206712 h 326"/>
                    <a:gd name="T74" fmla="*/ 348660 w 493"/>
                    <a:gd name="T75" fmla="*/ 223875 h 326"/>
                    <a:gd name="T76" fmla="*/ 343138 w 493"/>
                    <a:gd name="T77" fmla="*/ 243278 h 326"/>
                    <a:gd name="T78" fmla="*/ 318685 w 493"/>
                    <a:gd name="T79" fmla="*/ 238800 h 326"/>
                    <a:gd name="T80" fmla="*/ 294231 w 493"/>
                    <a:gd name="T81" fmla="*/ 235815 h 326"/>
                    <a:gd name="T82" fmla="*/ 276877 w 493"/>
                    <a:gd name="T83" fmla="*/ 208204 h 32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93"/>
                    <a:gd name="T127" fmla="*/ 0 h 326"/>
                    <a:gd name="T128" fmla="*/ 493 w 493"/>
                    <a:gd name="T129" fmla="*/ 326 h 32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93" h="326">
                      <a:moveTo>
                        <a:pt x="351" y="279"/>
                      </a:moveTo>
                      <a:lnTo>
                        <a:pt x="299" y="244"/>
                      </a:lnTo>
                      <a:lnTo>
                        <a:pt x="245" y="211"/>
                      </a:lnTo>
                      <a:lnTo>
                        <a:pt x="220" y="198"/>
                      </a:lnTo>
                      <a:lnTo>
                        <a:pt x="177" y="182"/>
                      </a:lnTo>
                      <a:lnTo>
                        <a:pt x="152" y="143"/>
                      </a:lnTo>
                      <a:lnTo>
                        <a:pt x="113" y="114"/>
                      </a:lnTo>
                      <a:lnTo>
                        <a:pt x="88" y="143"/>
                      </a:lnTo>
                      <a:lnTo>
                        <a:pt x="72" y="151"/>
                      </a:lnTo>
                      <a:lnTo>
                        <a:pt x="78" y="173"/>
                      </a:lnTo>
                      <a:lnTo>
                        <a:pt x="35" y="163"/>
                      </a:lnTo>
                      <a:lnTo>
                        <a:pt x="26" y="130"/>
                      </a:lnTo>
                      <a:lnTo>
                        <a:pt x="18" y="95"/>
                      </a:lnTo>
                      <a:lnTo>
                        <a:pt x="10" y="62"/>
                      </a:lnTo>
                      <a:lnTo>
                        <a:pt x="0" y="27"/>
                      </a:lnTo>
                      <a:lnTo>
                        <a:pt x="39" y="14"/>
                      </a:lnTo>
                      <a:lnTo>
                        <a:pt x="76" y="0"/>
                      </a:lnTo>
                      <a:lnTo>
                        <a:pt x="117" y="19"/>
                      </a:lnTo>
                      <a:lnTo>
                        <a:pt x="156" y="41"/>
                      </a:lnTo>
                      <a:lnTo>
                        <a:pt x="188" y="79"/>
                      </a:lnTo>
                      <a:lnTo>
                        <a:pt x="220" y="81"/>
                      </a:lnTo>
                      <a:lnTo>
                        <a:pt x="252" y="83"/>
                      </a:lnTo>
                      <a:lnTo>
                        <a:pt x="283" y="85"/>
                      </a:lnTo>
                      <a:lnTo>
                        <a:pt x="316" y="87"/>
                      </a:lnTo>
                      <a:lnTo>
                        <a:pt x="349" y="110"/>
                      </a:lnTo>
                      <a:lnTo>
                        <a:pt x="353" y="141"/>
                      </a:lnTo>
                      <a:lnTo>
                        <a:pt x="382" y="157"/>
                      </a:lnTo>
                      <a:lnTo>
                        <a:pt x="411" y="173"/>
                      </a:lnTo>
                      <a:lnTo>
                        <a:pt x="440" y="151"/>
                      </a:lnTo>
                      <a:lnTo>
                        <a:pt x="470" y="130"/>
                      </a:lnTo>
                      <a:lnTo>
                        <a:pt x="493" y="157"/>
                      </a:lnTo>
                      <a:lnTo>
                        <a:pt x="470" y="176"/>
                      </a:lnTo>
                      <a:lnTo>
                        <a:pt x="439" y="205"/>
                      </a:lnTo>
                      <a:lnTo>
                        <a:pt x="406" y="235"/>
                      </a:lnTo>
                      <a:lnTo>
                        <a:pt x="419" y="250"/>
                      </a:lnTo>
                      <a:lnTo>
                        <a:pt x="440" y="262"/>
                      </a:lnTo>
                      <a:lnTo>
                        <a:pt x="450" y="277"/>
                      </a:lnTo>
                      <a:lnTo>
                        <a:pt x="442" y="300"/>
                      </a:lnTo>
                      <a:lnTo>
                        <a:pt x="435" y="326"/>
                      </a:lnTo>
                      <a:lnTo>
                        <a:pt x="404" y="320"/>
                      </a:lnTo>
                      <a:lnTo>
                        <a:pt x="373" y="316"/>
                      </a:lnTo>
                      <a:lnTo>
                        <a:pt x="351" y="27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0" name="Freeform 340"/>
                <p:cNvSpPr>
                  <a:spLocks/>
                </p:cNvSpPr>
                <p:nvPr/>
              </p:nvSpPr>
              <p:spPr bwMode="auto">
                <a:xfrm>
                  <a:off x="4850302" y="2186253"/>
                  <a:ext cx="65703" cy="47945"/>
                </a:xfrm>
                <a:custGeom>
                  <a:avLst/>
                  <a:gdLst>
                    <a:gd name="T0" fmla="*/ 17689 w 78"/>
                    <a:gd name="T1" fmla="*/ 47945 h 56"/>
                    <a:gd name="T2" fmla="*/ 0 w 78"/>
                    <a:gd name="T3" fmla="*/ 12842 h 56"/>
                    <a:gd name="T4" fmla="*/ 6739 w 78"/>
                    <a:gd name="T5" fmla="*/ 12842 h 56"/>
                    <a:gd name="T6" fmla="*/ 6739 w 78"/>
                    <a:gd name="T7" fmla="*/ 7705 h 56"/>
                    <a:gd name="T8" fmla="*/ 15162 w 78"/>
                    <a:gd name="T9" fmla="*/ 5137 h 56"/>
                    <a:gd name="T10" fmla="*/ 21059 w 78"/>
                    <a:gd name="T11" fmla="*/ 5993 h 56"/>
                    <a:gd name="T12" fmla="*/ 24428 w 78"/>
                    <a:gd name="T13" fmla="*/ 1712 h 56"/>
                    <a:gd name="T14" fmla="*/ 27797 w 78"/>
                    <a:gd name="T15" fmla="*/ 3425 h 56"/>
                    <a:gd name="T16" fmla="*/ 34536 w 78"/>
                    <a:gd name="T17" fmla="*/ 3425 h 56"/>
                    <a:gd name="T18" fmla="*/ 37906 w 78"/>
                    <a:gd name="T19" fmla="*/ 1712 h 56"/>
                    <a:gd name="T20" fmla="*/ 45487 w 78"/>
                    <a:gd name="T21" fmla="*/ 0 h 56"/>
                    <a:gd name="T22" fmla="*/ 52225 w 78"/>
                    <a:gd name="T23" fmla="*/ 5993 h 56"/>
                    <a:gd name="T24" fmla="*/ 57280 w 78"/>
                    <a:gd name="T25" fmla="*/ 3425 h 56"/>
                    <a:gd name="T26" fmla="*/ 62334 w 78"/>
                    <a:gd name="T27" fmla="*/ 9418 h 56"/>
                    <a:gd name="T28" fmla="*/ 65703 w 78"/>
                    <a:gd name="T29" fmla="*/ 33390 h 56"/>
                    <a:gd name="T30" fmla="*/ 17689 w 78"/>
                    <a:gd name="T31" fmla="*/ 47945 h 5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8"/>
                    <a:gd name="T49" fmla="*/ 0 h 56"/>
                    <a:gd name="T50" fmla="*/ 78 w 78"/>
                    <a:gd name="T51" fmla="*/ 56 h 5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8" h="56">
                      <a:moveTo>
                        <a:pt x="21" y="56"/>
                      </a:moveTo>
                      <a:lnTo>
                        <a:pt x="0" y="15"/>
                      </a:lnTo>
                      <a:lnTo>
                        <a:pt x="8" y="15"/>
                      </a:lnTo>
                      <a:lnTo>
                        <a:pt x="8" y="9"/>
                      </a:lnTo>
                      <a:lnTo>
                        <a:pt x="18" y="6"/>
                      </a:lnTo>
                      <a:lnTo>
                        <a:pt x="25" y="7"/>
                      </a:lnTo>
                      <a:lnTo>
                        <a:pt x="29" y="2"/>
                      </a:lnTo>
                      <a:lnTo>
                        <a:pt x="33" y="4"/>
                      </a:lnTo>
                      <a:lnTo>
                        <a:pt x="41" y="4"/>
                      </a:lnTo>
                      <a:lnTo>
                        <a:pt x="45" y="2"/>
                      </a:lnTo>
                      <a:lnTo>
                        <a:pt x="54" y="0"/>
                      </a:lnTo>
                      <a:lnTo>
                        <a:pt x="62" y="7"/>
                      </a:lnTo>
                      <a:lnTo>
                        <a:pt x="68" y="4"/>
                      </a:lnTo>
                      <a:lnTo>
                        <a:pt x="74" y="11"/>
                      </a:lnTo>
                      <a:lnTo>
                        <a:pt x="78" y="39"/>
                      </a:lnTo>
                      <a:lnTo>
                        <a:pt x="21" y="5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1" name="Freeform 341"/>
                <p:cNvSpPr>
                  <a:spLocks/>
                </p:cNvSpPr>
                <p:nvPr/>
              </p:nvSpPr>
              <p:spPr bwMode="auto">
                <a:xfrm>
                  <a:off x="4894695" y="2132980"/>
                  <a:ext cx="143836" cy="83460"/>
                </a:xfrm>
                <a:custGeom>
                  <a:avLst/>
                  <a:gdLst>
                    <a:gd name="T0" fmla="*/ 7903 w 182"/>
                    <a:gd name="T1" fmla="*/ 7519 h 111"/>
                    <a:gd name="T2" fmla="*/ 1581 w 182"/>
                    <a:gd name="T3" fmla="*/ 0 h 111"/>
                    <a:gd name="T4" fmla="*/ 0 w 182"/>
                    <a:gd name="T5" fmla="*/ 17294 h 111"/>
                    <a:gd name="T6" fmla="*/ 11064 w 182"/>
                    <a:gd name="T7" fmla="*/ 33835 h 111"/>
                    <a:gd name="T8" fmla="*/ 0 w 182"/>
                    <a:gd name="T9" fmla="*/ 48121 h 111"/>
                    <a:gd name="T10" fmla="*/ 7903 w 182"/>
                    <a:gd name="T11" fmla="*/ 57144 h 111"/>
                    <a:gd name="T12" fmla="*/ 12645 w 182"/>
                    <a:gd name="T13" fmla="*/ 62407 h 111"/>
                    <a:gd name="T14" fmla="*/ 15806 w 182"/>
                    <a:gd name="T15" fmla="*/ 83460 h 111"/>
                    <a:gd name="T16" fmla="*/ 43467 w 182"/>
                    <a:gd name="T17" fmla="*/ 78949 h 111"/>
                    <a:gd name="T18" fmla="*/ 84563 w 182"/>
                    <a:gd name="T19" fmla="*/ 83460 h 111"/>
                    <a:gd name="T20" fmla="*/ 94047 w 182"/>
                    <a:gd name="T21" fmla="*/ 75941 h 111"/>
                    <a:gd name="T22" fmla="*/ 97998 w 182"/>
                    <a:gd name="T23" fmla="*/ 71430 h 111"/>
                    <a:gd name="T24" fmla="*/ 102740 w 182"/>
                    <a:gd name="T25" fmla="*/ 65415 h 111"/>
                    <a:gd name="T26" fmla="*/ 138304 w 182"/>
                    <a:gd name="T27" fmla="*/ 63911 h 111"/>
                    <a:gd name="T28" fmla="*/ 127240 w 182"/>
                    <a:gd name="T29" fmla="*/ 51129 h 111"/>
                    <a:gd name="T30" fmla="*/ 131981 w 182"/>
                    <a:gd name="T31" fmla="*/ 40602 h 111"/>
                    <a:gd name="T32" fmla="*/ 138304 w 182"/>
                    <a:gd name="T33" fmla="*/ 23309 h 111"/>
                    <a:gd name="T34" fmla="*/ 143836 w 182"/>
                    <a:gd name="T35" fmla="*/ 12782 h 111"/>
                    <a:gd name="T36" fmla="*/ 97998 w 182"/>
                    <a:gd name="T37" fmla="*/ 4511 h 111"/>
                    <a:gd name="T38" fmla="*/ 61644 w 182"/>
                    <a:gd name="T39" fmla="*/ 15790 h 111"/>
                    <a:gd name="T40" fmla="*/ 33983 w 182"/>
                    <a:gd name="T41" fmla="*/ 11278 h 111"/>
                    <a:gd name="T42" fmla="*/ 7903 w 182"/>
                    <a:gd name="T43" fmla="*/ 7519 h 11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82"/>
                    <a:gd name="T67" fmla="*/ 0 h 111"/>
                    <a:gd name="T68" fmla="*/ 182 w 182"/>
                    <a:gd name="T69" fmla="*/ 111 h 111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82" h="111">
                      <a:moveTo>
                        <a:pt x="10" y="10"/>
                      </a:moveTo>
                      <a:lnTo>
                        <a:pt x="2" y="0"/>
                      </a:lnTo>
                      <a:lnTo>
                        <a:pt x="0" y="23"/>
                      </a:lnTo>
                      <a:lnTo>
                        <a:pt x="14" y="45"/>
                      </a:lnTo>
                      <a:lnTo>
                        <a:pt x="0" y="64"/>
                      </a:lnTo>
                      <a:lnTo>
                        <a:pt x="10" y="76"/>
                      </a:lnTo>
                      <a:lnTo>
                        <a:pt x="16" y="83"/>
                      </a:lnTo>
                      <a:lnTo>
                        <a:pt x="20" y="111"/>
                      </a:lnTo>
                      <a:lnTo>
                        <a:pt x="55" y="105"/>
                      </a:lnTo>
                      <a:lnTo>
                        <a:pt x="107" y="111"/>
                      </a:lnTo>
                      <a:lnTo>
                        <a:pt x="119" y="101"/>
                      </a:lnTo>
                      <a:lnTo>
                        <a:pt x="124" y="95"/>
                      </a:lnTo>
                      <a:lnTo>
                        <a:pt x="130" y="87"/>
                      </a:lnTo>
                      <a:lnTo>
                        <a:pt x="175" y="85"/>
                      </a:lnTo>
                      <a:lnTo>
                        <a:pt x="161" y="68"/>
                      </a:lnTo>
                      <a:lnTo>
                        <a:pt x="167" y="54"/>
                      </a:lnTo>
                      <a:lnTo>
                        <a:pt x="175" y="31"/>
                      </a:lnTo>
                      <a:lnTo>
                        <a:pt x="182" y="17"/>
                      </a:lnTo>
                      <a:lnTo>
                        <a:pt x="124" y="6"/>
                      </a:lnTo>
                      <a:lnTo>
                        <a:pt x="78" y="21"/>
                      </a:lnTo>
                      <a:lnTo>
                        <a:pt x="43" y="15"/>
                      </a:lnTo>
                      <a:lnTo>
                        <a:pt x="10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2" name="Freeform 342"/>
                <p:cNvSpPr>
                  <a:spLocks/>
                </p:cNvSpPr>
                <p:nvPr/>
              </p:nvSpPr>
              <p:spPr bwMode="auto">
                <a:xfrm>
                  <a:off x="4828993" y="2180926"/>
                  <a:ext cx="42618" cy="81685"/>
                </a:xfrm>
                <a:custGeom>
                  <a:avLst/>
                  <a:gdLst>
                    <a:gd name="T0" fmla="*/ 0 w 54"/>
                    <a:gd name="T1" fmla="*/ 19085 h 107"/>
                    <a:gd name="T2" fmla="*/ 6314 w 54"/>
                    <a:gd name="T3" fmla="*/ 58019 h 107"/>
                    <a:gd name="T4" fmla="*/ 22887 w 54"/>
                    <a:gd name="T5" fmla="*/ 81685 h 107"/>
                    <a:gd name="T6" fmla="*/ 29201 w 54"/>
                    <a:gd name="T7" fmla="*/ 74051 h 107"/>
                    <a:gd name="T8" fmla="*/ 42618 w 54"/>
                    <a:gd name="T9" fmla="*/ 50385 h 107"/>
                    <a:gd name="T10" fmla="*/ 42618 w 54"/>
                    <a:gd name="T11" fmla="*/ 48858 h 107"/>
                    <a:gd name="T12" fmla="*/ 26044 w 54"/>
                    <a:gd name="T13" fmla="*/ 17558 h 107"/>
                    <a:gd name="T14" fmla="*/ 19731 w 54"/>
                    <a:gd name="T15" fmla="*/ 3054 h 107"/>
                    <a:gd name="T16" fmla="*/ 4735 w 54"/>
                    <a:gd name="T17" fmla="*/ 0 h 107"/>
                    <a:gd name="T18" fmla="*/ 0 w 54"/>
                    <a:gd name="T19" fmla="*/ 19085 h 10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4"/>
                    <a:gd name="T31" fmla="*/ 0 h 107"/>
                    <a:gd name="T32" fmla="*/ 54 w 54"/>
                    <a:gd name="T33" fmla="*/ 107 h 10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4" h="107">
                      <a:moveTo>
                        <a:pt x="0" y="25"/>
                      </a:moveTo>
                      <a:lnTo>
                        <a:pt x="8" y="76"/>
                      </a:lnTo>
                      <a:lnTo>
                        <a:pt x="29" y="107"/>
                      </a:lnTo>
                      <a:lnTo>
                        <a:pt x="37" y="97"/>
                      </a:lnTo>
                      <a:lnTo>
                        <a:pt x="54" y="66"/>
                      </a:lnTo>
                      <a:lnTo>
                        <a:pt x="54" y="64"/>
                      </a:lnTo>
                      <a:lnTo>
                        <a:pt x="33" y="23"/>
                      </a:lnTo>
                      <a:lnTo>
                        <a:pt x="25" y="4"/>
                      </a:lnTo>
                      <a:lnTo>
                        <a:pt x="6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3" name="Freeform 343"/>
                <p:cNvSpPr>
                  <a:spLocks/>
                </p:cNvSpPr>
                <p:nvPr/>
              </p:nvSpPr>
              <p:spPr bwMode="auto">
                <a:xfrm>
                  <a:off x="5391906" y="2209338"/>
                  <a:ext cx="108321" cy="71030"/>
                </a:xfrm>
                <a:custGeom>
                  <a:avLst/>
                  <a:gdLst>
                    <a:gd name="T0" fmla="*/ 13731 w 142"/>
                    <a:gd name="T1" fmla="*/ 10984 h 97"/>
                    <a:gd name="T2" fmla="*/ 0 w 142"/>
                    <a:gd name="T3" fmla="*/ 0 h 97"/>
                    <a:gd name="T4" fmla="*/ 34327 w 142"/>
                    <a:gd name="T5" fmla="*/ 1465 h 97"/>
                    <a:gd name="T6" fmla="*/ 67891 w 142"/>
                    <a:gd name="T7" fmla="*/ 1465 h 97"/>
                    <a:gd name="T8" fmla="*/ 91539 w 142"/>
                    <a:gd name="T9" fmla="*/ 4394 h 97"/>
                    <a:gd name="T10" fmla="*/ 90013 w 142"/>
                    <a:gd name="T11" fmla="*/ 30023 h 97"/>
                    <a:gd name="T12" fmla="*/ 100693 w 142"/>
                    <a:gd name="T13" fmla="*/ 33684 h 97"/>
                    <a:gd name="T14" fmla="*/ 91539 w 142"/>
                    <a:gd name="T15" fmla="*/ 43936 h 97"/>
                    <a:gd name="T16" fmla="*/ 108321 w 142"/>
                    <a:gd name="T17" fmla="*/ 66636 h 97"/>
                    <a:gd name="T18" fmla="*/ 99167 w 142"/>
                    <a:gd name="T19" fmla="*/ 71030 h 97"/>
                    <a:gd name="T20" fmla="*/ 91539 w 142"/>
                    <a:gd name="T21" fmla="*/ 66636 h 97"/>
                    <a:gd name="T22" fmla="*/ 89250 w 142"/>
                    <a:gd name="T23" fmla="*/ 62243 h 97"/>
                    <a:gd name="T24" fmla="*/ 84673 w 142"/>
                    <a:gd name="T25" fmla="*/ 57849 h 97"/>
                    <a:gd name="T26" fmla="*/ 78571 w 142"/>
                    <a:gd name="T27" fmla="*/ 57849 h 97"/>
                    <a:gd name="T28" fmla="*/ 70943 w 142"/>
                    <a:gd name="T29" fmla="*/ 56385 h 97"/>
                    <a:gd name="T30" fmla="*/ 64077 w 142"/>
                    <a:gd name="T31" fmla="*/ 54188 h 97"/>
                    <a:gd name="T32" fmla="*/ 54923 w 142"/>
                    <a:gd name="T33" fmla="*/ 52723 h 97"/>
                    <a:gd name="T34" fmla="*/ 34327 w 142"/>
                    <a:gd name="T35" fmla="*/ 43936 h 97"/>
                    <a:gd name="T36" fmla="*/ 23648 w 142"/>
                    <a:gd name="T37" fmla="*/ 28558 h 97"/>
                    <a:gd name="T38" fmla="*/ 13731 w 142"/>
                    <a:gd name="T39" fmla="*/ 10984 h 97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42"/>
                    <a:gd name="T61" fmla="*/ 0 h 97"/>
                    <a:gd name="T62" fmla="*/ 142 w 142"/>
                    <a:gd name="T63" fmla="*/ 97 h 97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42" h="97">
                      <a:moveTo>
                        <a:pt x="18" y="15"/>
                      </a:moveTo>
                      <a:lnTo>
                        <a:pt x="0" y="0"/>
                      </a:lnTo>
                      <a:lnTo>
                        <a:pt x="45" y="2"/>
                      </a:lnTo>
                      <a:lnTo>
                        <a:pt x="89" y="2"/>
                      </a:lnTo>
                      <a:lnTo>
                        <a:pt x="120" y="6"/>
                      </a:lnTo>
                      <a:lnTo>
                        <a:pt x="118" y="41"/>
                      </a:lnTo>
                      <a:lnTo>
                        <a:pt x="132" y="46"/>
                      </a:lnTo>
                      <a:lnTo>
                        <a:pt x="120" y="60"/>
                      </a:lnTo>
                      <a:lnTo>
                        <a:pt x="142" y="91"/>
                      </a:lnTo>
                      <a:lnTo>
                        <a:pt x="130" y="97"/>
                      </a:lnTo>
                      <a:lnTo>
                        <a:pt x="120" y="91"/>
                      </a:lnTo>
                      <a:lnTo>
                        <a:pt x="117" y="85"/>
                      </a:lnTo>
                      <a:lnTo>
                        <a:pt x="111" y="79"/>
                      </a:lnTo>
                      <a:lnTo>
                        <a:pt x="103" y="79"/>
                      </a:lnTo>
                      <a:lnTo>
                        <a:pt x="93" y="77"/>
                      </a:lnTo>
                      <a:lnTo>
                        <a:pt x="84" y="74"/>
                      </a:lnTo>
                      <a:lnTo>
                        <a:pt x="72" y="72"/>
                      </a:lnTo>
                      <a:lnTo>
                        <a:pt x="45" y="60"/>
                      </a:lnTo>
                      <a:lnTo>
                        <a:pt x="31" y="39"/>
                      </a:lnTo>
                      <a:lnTo>
                        <a:pt x="18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4" name="Freeform 344"/>
                <p:cNvSpPr>
                  <a:spLocks/>
                </p:cNvSpPr>
                <p:nvPr/>
              </p:nvSpPr>
              <p:spPr bwMode="auto">
                <a:xfrm>
                  <a:off x="5486021" y="2198683"/>
                  <a:ext cx="94115" cy="94115"/>
                </a:xfrm>
                <a:custGeom>
                  <a:avLst/>
                  <a:gdLst>
                    <a:gd name="T0" fmla="*/ 18364 w 123"/>
                    <a:gd name="T1" fmla="*/ 74568 h 130"/>
                    <a:gd name="T2" fmla="*/ 1530 w 123"/>
                    <a:gd name="T3" fmla="*/ 52125 h 130"/>
                    <a:gd name="T4" fmla="*/ 10712 w 123"/>
                    <a:gd name="T5" fmla="*/ 41990 h 130"/>
                    <a:gd name="T6" fmla="*/ 0 w 123"/>
                    <a:gd name="T7" fmla="*/ 38370 h 130"/>
                    <a:gd name="T8" fmla="*/ 1530 w 123"/>
                    <a:gd name="T9" fmla="*/ 13031 h 130"/>
                    <a:gd name="T10" fmla="*/ 9182 w 123"/>
                    <a:gd name="T11" fmla="*/ 0 h 130"/>
                    <a:gd name="T12" fmla="*/ 47440 w 123"/>
                    <a:gd name="T13" fmla="*/ 5792 h 130"/>
                    <a:gd name="T14" fmla="*/ 62743 w 123"/>
                    <a:gd name="T15" fmla="*/ 23891 h 130"/>
                    <a:gd name="T16" fmla="*/ 94115 w 123"/>
                    <a:gd name="T17" fmla="*/ 41990 h 130"/>
                    <a:gd name="T18" fmla="*/ 78812 w 123"/>
                    <a:gd name="T19" fmla="*/ 44886 h 130"/>
                    <a:gd name="T20" fmla="*/ 72690 w 123"/>
                    <a:gd name="T21" fmla="*/ 77464 h 130"/>
                    <a:gd name="T22" fmla="*/ 70395 w 123"/>
                    <a:gd name="T23" fmla="*/ 94115 h 130"/>
                    <a:gd name="T24" fmla="*/ 47440 w 123"/>
                    <a:gd name="T25" fmla="*/ 81808 h 130"/>
                    <a:gd name="T26" fmla="*/ 50501 w 123"/>
                    <a:gd name="T27" fmla="*/ 76016 h 130"/>
                    <a:gd name="T28" fmla="*/ 43614 w 123"/>
                    <a:gd name="T29" fmla="*/ 60813 h 130"/>
                    <a:gd name="T30" fmla="*/ 18364 w 123"/>
                    <a:gd name="T31" fmla="*/ 74568 h 13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23"/>
                    <a:gd name="T49" fmla="*/ 0 h 130"/>
                    <a:gd name="T50" fmla="*/ 123 w 123"/>
                    <a:gd name="T51" fmla="*/ 130 h 13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23" h="130">
                      <a:moveTo>
                        <a:pt x="24" y="103"/>
                      </a:moveTo>
                      <a:lnTo>
                        <a:pt x="2" y="72"/>
                      </a:lnTo>
                      <a:lnTo>
                        <a:pt x="14" y="58"/>
                      </a:lnTo>
                      <a:lnTo>
                        <a:pt x="0" y="53"/>
                      </a:lnTo>
                      <a:lnTo>
                        <a:pt x="2" y="18"/>
                      </a:lnTo>
                      <a:lnTo>
                        <a:pt x="12" y="0"/>
                      </a:lnTo>
                      <a:lnTo>
                        <a:pt x="62" y="8"/>
                      </a:lnTo>
                      <a:lnTo>
                        <a:pt x="82" y="33"/>
                      </a:lnTo>
                      <a:lnTo>
                        <a:pt x="123" y="58"/>
                      </a:lnTo>
                      <a:lnTo>
                        <a:pt x="103" y="62"/>
                      </a:lnTo>
                      <a:lnTo>
                        <a:pt x="95" y="107"/>
                      </a:lnTo>
                      <a:lnTo>
                        <a:pt x="92" y="130"/>
                      </a:lnTo>
                      <a:lnTo>
                        <a:pt x="62" y="113"/>
                      </a:lnTo>
                      <a:lnTo>
                        <a:pt x="66" y="105"/>
                      </a:lnTo>
                      <a:lnTo>
                        <a:pt x="57" y="84"/>
                      </a:lnTo>
                      <a:lnTo>
                        <a:pt x="24" y="10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5" name="Freeform 345"/>
                <p:cNvSpPr>
                  <a:spLocks/>
                </p:cNvSpPr>
                <p:nvPr/>
              </p:nvSpPr>
              <p:spPr bwMode="auto">
                <a:xfrm>
                  <a:off x="5450506" y="2262610"/>
                  <a:ext cx="42618" cy="24861"/>
                </a:xfrm>
                <a:custGeom>
                  <a:avLst/>
                  <a:gdLst>
                    <a:gd name="T0" fmla="*/ 42618 w 58"/>
                    <a:gd name="T1" fmla="*/ 20049 h 31"/>
                    <a:gd name="T2" fmla="*/ 33800 w 58"/>
                    <a:gd name="T3" fmla="*/ 24861 h 31"/>
                    <a:gd name="T4" fmla="*/ 5878 w 58"/>
                    <a:gd name="T5" fmla="*/ 7218 h 31"/>
                    <a:gd name="T6" fmla="*/ 2939 w 58"/>
                    <a:gd name="T7" fmla="*/ 1604 h 31"/>
                    <a:gd name="T8" fmla="*/ 0 w 58"/>
                    <a:gd name="T9" fmla="*/ 0 h 31"/>
                    <a:gd name="T10" fmla="*/ 8818 w 58"/>
                    <a:gd name="T11" fmla="*/ 1604 h 31"/>
                    <a:gd name="T12" fmla="*/ 15431 w 58"/>
                    <a:gd name="T13" fmla="*/ 4010 h 31"/>
                    <a:gd name="T14" fmla="*/ 21309 w 58"/>
                    <a:gd name="T15" fmla="*/ 5614 h 31"/>
                    <a:gd name="T16" fmla="*/ 28657 w 58"/>
                    <a:gd name="T17" fmla="*/ 5614 h 31"/>
                    <a:gd name="T18" fmla="*/ 33066 w 58"/>
                    <a:gd name="T19" fmla="*/ 10426 h 31"/>
                    <a:gd name="T20" fmla="*/ 35270 w 58"/>
                    <a:gd name="T21" fmla="*/ 15237 h 31"/>
                    <a:gd name="T22" fmla="*/ 42618 w 58"/>
                    <a:gd name="T23" fmla="*/ 20049 h 3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8"/>
                    <a:gd name="T37" fmla="*/ 0 h 31"/>
                    <a:gd name="T38" fmla="*/ 58 w 58"/>
                    <a:gd name="T39" fmla="*/ 31 h 3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8" h="31">
                      <a:moveTo>
                        <a:pt x="58" y="25"/>
                      </a:moveTo>
                      <a:lnTo>
                        <a:pt x="46" y="31"/>
                      </a:lnTo>
                      <a:lnTo>
                        <a:pt x="8" y="9"/>
                      </a:lnTo>
                      <a:lnTo>
                        <a:pt x="4" y="2"/>
                      </a:lnTo>
                      <a:lnTo>
                        <a:pt x="0" y="0"/>
                      </a:lnTo>
                      <a:lnTo>
                        <a:pt x="12" y="2"/>
                      </a:lnTo>
                      <a:lnTo>
                        <a:pt x="21" y="5"/>
                      </a:lnTo>
                      <a:lnTo>
                        <a:pt x="29" y="7"/>
                      </a:lnTo>
                      <a:lnTo>
                        <a:pt x="39" y="7"/>
                      </a:lnTo>
                      <a:lnTo>
                        <a:pt x="45" y="13"/>
                      </a:lnTo>
                      <a:lnTo>
                        <a:pt x="48" y="19"/>
                      </a:lnTo>
                      <a:lnTo>
                        <a:pt x="58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6" name="Freeform 346"/>
                <p:cNvSpPr>
                  <a:spLocks/>
                </p:cNvSpPr>
                <p:nvPr/>
              </p:nvSpPr>
              <p:spPr bwMode="auto">
                <a:xfrm>
                  <a:off x="4850302" y="2204011"/>
                  <a:ext cx="152715" cy="147388"/>
                </a:xfrm>
                <a:custGeom>
                  <a:avLst/>
                  <a:gdLst>
                    <a:gd name="T0" fmla="*/ 29126 w 194"/>
                    <a:gd name="T1" fmla="*/ 77454 h 196"/>
                    <a:gd name="T2" fmla="*/ 12595 w 194"/>
                    <a:gd name="T3" fmla="*/ 69934 h 196"/>
                    <a:gd name="T4" fmla="*/ 0 w 194"/>
                    <a:gd name="T5" fmla="*/ 57150 h 196"/>
                    <a:gd name="T6" fmla="*/ 6298 w 194"/>
                    <a:gd name="T7" fmla="*/ 49631 h 196"/>
                    <a:gd name="T8" fmla="*/ 19680 w 194"/>
                    <a:gd name="T9" fmla="*/ 26319 h 196"/>
                    <a:gd name="T10" fmla="*/ 19680 w 194"/>
                    <a:gd name="T11" fmla="*/ 24815 h 196"/>
                    <a:gd name="T12" fmla="*/ 64550 w 194"/>
                    <a:gd name="T13" fmla="*/ 12032 h 196"/>
                    <a:gd name="T14" fmla="*/ 92101 w 194"/>
                    <a:gd name="T15" fmla="*/ 7520 h 196"/>
                    <a:gd name="T16" fmla="*/ 133035 w 194"/>
                    <a:gd name="T17" fmla="*/ 12032 h 196"/>
                    <a:gd name="T18" fmla="*/ 142482 w 194"/>
                    <a:gd name="T19" fmla="*/ 4512 h 196"/>
                    <a:gd name="T20" fmla="*/ 146417 w 194"/>
                    <a:gd name="T21" fmla="*/ 0 h 196"/>
                    <a:gd name="T22" fmla="*/ 152715 w 194"/>
                    <a:gd name="T23" fmla="*/ 10528 h 196"/>
                    <a:gd name="T24" fmla="*/ 143269 w 194"/>
                    <a:gd name="T25" fmla="*/ 27823 h 196"/>
                    <a:gd name="T26" fmla="*/ 114930 w 194"/>
                    <a:gd name="T27" fmla="*/ 21807 h 196"/>
                    <a:gd name="T28" fmla="*/ 87378 w 194"/>
                    <a:gd name="T29" fmla="*/ 30831 h 196"/>
                    <a:gd name="T30" fmla="*/ 100760 w 194"/>
                    <a:gd name="T31" fmla="*/ 42111 h 196"/>
                    <a:gd name="T32" fmla="*/ 88953 w 194"/>
                    <a:gd name="T33" fmla="*/ 42111 h 196"/>
                    <a:gd name="T34" fmla="*/ 92101 w 194"/>
                    <a:gd name="T35" fmla="*/ 48127 h 196"/>
                    <a:gd name="T36" fmla="*/ 81081 w 194"/>
                    <a:gd name="T37" fmla="*/ 45119 h 196"/>
                    <a:gd name="T38" fmla="*/ 85804 w 194"/>
                    <a:gd name="T39" fmla="*/ 51135 h 196"/>
                    <a:gd name="T40" fmla="*/ 68486 w 194"/>
                    <a:gd name="T41" fmla="*/ 33839 h 196"/>
                    <a:gd name="T42" fmla="*/ 62975 w 194"/>
                    <a:gd name="T43" fmla="*/ 37599 h 196"/>
                    <a:gd name="T44" fmla="*/ 73209 w 194"/>
                    <a:gd name="T45" fmla="*/ 60910 h 196"/>
                    <a:gd name="T46" fmla="*/ 77932 w 194"/>
                    <a:gd name="T47" fmla="*/ 74446 h 196"/>
                    <a:gd name="T48" fmla="*/ 68486 w 194"/>
                    <a:gd name="T49" fmla="*/ 68430 h 196"/>
                    <a:gd name="T50" fmla="*/ 71634 w 194"/>
                    <a:gd name="T51" fmla="*/ 78958 h 196"/>
                    <a:gd name="T52" fmla="*/ 67698 w 194"/>
                    <a:gd name="T53" fmla="*/ 81966 h 196"/>
                    <a:gd name="T54" fmla="*/ 100760 w 194"/>
                    <a:gd name="T55" fmla="*/ 102269 h 196"/>
                    <a:gd name="T56" fmla="*/ 99186 w 194"/>
                    <a:gd name="T57" fmla="*/ 112045 h 196"/>
                    <a:gd name="T58" fmla="*/ 87378 w 194"/>
                    <a:gd name="T59" fmla="*/ 106781 h 196"/>
                    <a:gd name="T60" fmla="*/ 79506 w 194"/>
                    <a:gd name="T61" fmla="*/ 109037 h 196"/>
                    <a:gd name="T62" fmla="*/ 87378 w 194"/>
                    <a:gd name="T63" fmla="*/ 122573 h 196"/>
                    <a:gd name="T64" fmla="*/ 71634 w 194"/>
                    <a:gd name="T65" fmla="*/ 122573 h 196"/>
                    <a:gd name="T66" fmla="*/ 81081 w 194"/>
                    <a:gd name="T67" fmla="*/ 147388 h 196"/>
                    <a:gd name="T68" fmla="*/ 68486 w 194"/>
                    <a:gd name="T69" fmla="*/ 141372 h 196"/>
                    <a:gd name="T70" fmla="*/ 64550 w 194"/>
                    <a:gd name="T71" fmla="*/ 147388 h 196"/>
                    <a:gd name="T72" fmla="*/ 51955 w 194"/>
                    <a:gd name="T73" fmla="*/ 133852 h 196"/>
                    <a:gd name="T74" fmla="*/ 48806 w 194"/>
                    <a:gd name="T75" fmla="*/ 139868 h 196"/>
                    <a:gd name="T76" fmla="*/ 35424 w 194"/>
                    <a:gd name="T77" fmla="*/ 115053 h 196"/>
                    <a:gd name="T78" fmla="*/ 33849 w 194"/>
                    <a:gd name="T79" fmla="*/ 105277 h 196"/>
                    <a:gd name="T80" fmla="*/ 55103 w 194"/>
                    <a:gd name="T81" fmla="*/ 97757 h 196"/>
                    <a:gd name="T82" fmla="*/ 77932 w 194"/>
                    <a:gd name="T83" fmla="*/ 103773 h 196"/>
                    <a:gd name="T84" fmla="*/ 76358 w 194"/>
                    <a:gd name="T85" fmla="*/ 99261 h 196"/>
                    <a:gd name="T86" fmla="*/ 62975 w 194"/>
                    <a:gd name="T87" fmla="*/ 93245 h 196"/>
                    <a:gd name="T88" fmla="*/ 35424 w 194"/>
                    <a:gd name="T89" fmla="*/ 91742 h 196"/>
                    <a:gd name="T90" fmla="*/ 29126 w 194"/>
                    <a:gd name="T91" fmla="*/ 93245 h 196"/>
                    <a:gd name="T92" fmla="*/ 22829 w 194"/>
                    <a:gd name="T93" fmla="*/ 78958 h 196"/>
                    <a:gd name="T94" fmla="*/ 29126 w 194"/>
                    <a:gd name="T95" fmla="*/ 77454 h 19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94"/>
                    <a:gd name="T145" fmla="*/ 0 h 196"/>
                    <a:gd name="T146" fmla="*/ 194 w 194"/>
                    <a:gd name="T147" fmla="*/ 196 h 19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94" h="196">
                      <a:moveTo>
                        <a:pt x="37" y="103"/>
                      </a:moveTo>
                      <a:lnTo>
                        <a:pt x="16" y="93"/>
                      </a:lnTo>
                      <a:lnTo>
                        <a:pt x="0" y="76"/>
                      </a:lnTo>
                      <a:lnTo>
                        <a:pt x="8" y="66"/>
                      </a:lnTo>
                      <a:lnTo>
                        <a:pt x="25" y="35"/>
                      </a:lnTo>
                      <a:lnTo>
                        <a:pt x="25" y="33"/>
                      </a:lnTo>
                      <a:lnTo>
                        <a:pt x="82" y="16"/>
                      </a:lnTo>
                      <a:lnTo>
                        <a:pt x="117" y="10"/>
                      </a:lnTo>
                      <a:lnTo>
                        <a:pt x="169" y="16"/>
                      </a:lnTo>
                      <a:lnTo>
                        <a:pt x="181" y="6"/>
                      </a:lnTo>
                      <a:lnTo>
                        <a:pt x="186" y="0"/>
                      </a:lnTo>
                      <a:lnTo>
                        <a:pt x="194" y="14"/>
                      </a:lnTo>
                      <a:lnTo>
                        <a:pt x="182" y="37"/>
                      </a:lnTo>
                      <a:lnTo>
                        <a:pt x="146" y="29"/>
                      </a:lnTo>
                      <a:lnTo>
                        <a:pt x="111" y="41"/>
                      </a:lnTo>
                      <a:lnTo>
                        <a:pt x="128" y="56"/>
                      </a:lnTo>
                      <a:lnTo>
                        <a:pt x="113" y="56"/>
                      </a:lnTo>
                      <a:lnTo>
                        <a:pt x="117" y="64"/>
                      </a:lnTo>
                      <a:lnTo>
                        <a:pt x="103" y="60"/>
                      </a:lnTo>
                      <a:lnTo>
                        <a:pt x="109" y="68"/>
                      </a:lnTo>
                      <a:lnTo>
                        <a:pt x="87" y="45"/>
                      </a:lnTo>
                      <a:lnTo>
                        <a:pt x="80" y="50"/>
                      </a:lnTo>
                      <a:lnTo>
                        <a:pt x="93" y="81"/>
                      </a:lnTo>
                      <a:lnTo>
                        <a:pt x="99" y="99"/>
                      </a:lnTo>
                      <a:lnTo>
                        <a:pt x="87" y="91"/>
                      </a:lnTo>
                      <a:lnTo>
                        <a:pt x="91" y="105"/>
                      </a:lnTo>
                      <a:lnTo>
                        <a:pt x="86" y="109"/>
                      </a:lnTo>
                      <a:lnTo>
                        <a:pt x="128" y="136"/>
                      </a:lnTo>
                      <a:lnTo>
                        <a:pt x="126" y="149"/>
                      </a:lnTo>
                      <a:lnTo>
                        <a:pt x="111" y="142"/>
                      </a:lnTo>
                      <a:lnTo>
                        <a:pt x="101" y="145"/>
                      </a:lnTo>
                      <a:lnTo>
                        <a:pt x="111" y="163"/>
                      </a:lnTo>
                      <a:lnTo>
                        <a:pt x="91" y="163"/>
                      </a:lnTo>
                      <a:lnTo>
                        <a:pt x="103" y="196"/>
                      </a:lnTo>
                      <a:lnTo>
                        <a:pt x="87" y="188"/>
                      </a:lnTo>
                      <a:lnTo>
                        <a:pt x="82" y="196"/>
                      </a:lnTo>
                      <a:lnTo>
                        <a:pt x="66" y="178"/>
                      </a:lnTo>
                      <a:lnTo>
                        <a:pt x="62" y="186"/>
                      </a:lnTo>
                      <a:lnTo>
                        <a:pt x="45" y="153"/>
                      </a:lnTo>
                      <a:lnTo>
                        <a:pt x="43" y="140"/>
                      </a:lnTo>
                      <a:lnTo>
                        <a:pt x="70" y="130"/>
                      </a:lnTo>
                      <a:lnTo>
                        <a:pt x="99" y="138"/>
                      </a:lnTo>
                      <a:lnTo>
                        <a:pt x="97" y="132"/>
                      </a:lnTo>
                      <a:lnTo>
                        <a:pt x="80" y="124"/>
                      </a:lnTo>
                      <a:lnTo>
                        <a:pt x="45" y="122"/>
                      </a:lnTo>
                      <a:lnTo>
                        <a:pt x="37" y="124"/>
                      </a:lnTo>
                      <a:lnTo>
                        <a:pt x="29" y="105"/>
                      </a:lnTo>
                      <a:lnTo>
                        <a:pt x="37" y="10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7" name="Freeform 347"/>
                <p:cNvSpPr>
                  <a:spLocks/>
                </p:cNvSpPr>
                <p:nvPr/>
              </p:nvSpPr>
              <p:spPr bwMode="auto">
                <a:xfrm>
                  <a:off x="4944416" y="2381586"/>
                  <a:ext cx="72806" cy="12430"/>
                </a:xfrm>
                <a:custGeom>
                  <a:avLst/>
                  <a:gdLst>
                    <a:gd name="T0" fmla="*/ 56259 w 88"/>
                    <a:gd name="T1" fmla="*/ 5888 h 19"/>
                    <a:gd name="T2" fmla="*/ 14892 w 88"/>
                    <a:gd name="T3" fmla="*/ 0 h 19"/>
                    <a:gd name="T4" fmla="*/ 3309 w 88"/>
                    <a:gd name="T5" fmla="*/ 0 h 19"/>
                    <a:gd name="T6" fmla="*/ 0 w 88"/>
                    <a:gd name="T7" fmla="*/ 5888 h 19"/>
                    <a:gd name="T8" fmla="*/ 25648 w 88"/>
                    <a:gd name="T9" fmla="*/ 9813 h 19"/>
                    <a:gd name="T10" fmla="*/ 51295 w 88"/>
                    <a:gd name="T11" fmla="*/ 12430 h 19"/>
                    <a:gd name="T12" fmla="*/ 72806 w 88"/>
                    <a:gd name="T13" fmla="*/ 7196 h 19"/>
                    <a:gd name="T14" fmla="*/ 56259 w 88"/>
                    <a:gd name="T15" fmla="*/ 5888 h 1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8"/>
                    <a:gd name="T25" fmla="*/ 0 h 19"/>
                    <a:gd name="T26" fmla="*/ 88 w 88"/>
                    <a:gd name="T27" fmla="*/ 19 h 1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8" h="19">
                      <a:moveTo>
                        <a:pt x="68" y="9"/>
                      </a:moveTo>
                      <a:lnTo>
                        <a:pt x="18" y="0"/>
                      </a:lnTo>
                      <a:lnTo>
                        <a:pt x="4" y="0"/>
                      </a:lnTo>
                      <a:lnTo>
                        <a:pt x="0" y="9"/>
                      </a:lnTo>
                      <a:lnTo>
                        <a:pt x="31" y="15"/>
                      </a:lnTo>
                      <a:lnTo>
                        <a:pt x="62" y="19"/>
                      </a:lnTo>
                      <a:lnTo>
                        <a:pt x="88" y="11"/>
                      </a:lnTo>
                      <a:lnTo>
                        <a:pt x="68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8" name="Freeform 348"/>
                <p:cNvSpPr>
                  <a:spLocks/>
                </p:cNvSpPr>
                <p:nvPr/>
              </p:nvSpPr>
              <p:spPr bwMode="auto">
                <a:xfrm>
                  <a:off x="4923107" y="2280368"/>
                  <a:ext cx="42618" cy="24861"/>
                </a:xfrm>
                <a:custGeom>
                  <a:avLst/>
                  <a:gdLst>
                    <a:gd name="T0" fmla="*/ 42618 w 51"/>
                    <a:gd name="T1" fmla="*/ 23440 h 35"/>
                    <a:gd name="T2" fmla="*/ 19220 w 51"/>
                    <a:gd name="T3" fmla="*/ 6393 h 35"/>
                    <a:gd name="T4" fmla="*/ 0 w 51"/>
                    <a:gd name="T5" fmla="*/ 0 h 35"/>
                    <a:gd name="T6" fmla="*/ 20891 w 51"/>
                    <a:gd name="T7" fmla="*/ 12075 h 35"/>
                    <a:gd name="T8" fmla="*/ 40947 w 51"/>
                    <a:gd name="T9" fmla="*/ 24861 h 35"/>
                    <a:gd name="T10" fmla="*/ 42618 w 51"/>
                    <a:gd name="T11" fmla="*/ 23440 h 3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1"/>
                    <a:gd name="T19" fmla="*/ 0 h 35"/>
                    <a:gd name="T20" fmla="*/ 51 w 51"/>
                    <a:gd name="T21" fmla="*/ 35 h 3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1" h="35">
                      <a:moveTo>
                        <a:pt x="51" y="33"/>
                      </a:moveTo>
                      <a:lnTo>
                        <a:pt x="23" y="9"/>
                      </a:lnTo>
                      <a:lnTo>
                        <a:pt x="0" y="0"/>
                      </a:lnTo>
                      <a:lnTo>
                        <a:pt x="25" y="17"/>
                      </a:lnTo>
                      <a:lnTo>
                        <a:pt x="49" y="35"/>
                      </a:lnTo>
                      <a:lnTo>
                        <a:pt x="51" y="3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59" name="Freeform 349"/>
                <p:cNvSpPr>
                  <a:spLocks/>
                </p:cNvSpPr>
                <p:nvPr/>
              </p:nvSpPr>
              <p:spPr bwMode="auto">
                <a:xfrm>
                  <a:off x="4994138" y="2275041"/>
                  <a:ext cx="15982" cy="0"/>
                </a:xfrm>
                <a:custGeom>
                  <a:avLst/>
                  <a:gdLst>
                    <a:gd name="T0" fmla="*/ 15982 w 20"/>
                    <a:gd name="T1" fmla="*/ 0 h 8"/>
                    <a:gd name="T2" fmla="*/ 6393 w 20"/>
                    <a:gd name="T3" fmla="*/ 0 h 8"/>
                    <a:gd name="T4" fmla="*/ 0 w 20"/>
                    <a:gd name="T5" fmla="*/ 0 h 8"/>
                    <a:gd name="T6" fmla="*/ 14384 w 20"/>
                    <a:gd name="T7" fmla="*/ 0 h 8"/>
                    <a:gd name="T8" fmla="*/ 15982 w 20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0"/>
                    <a:gd name="T16" fmla="*/ 0 h 8"/>
                    <a:gd name="T17" fmla="*/ 20 w 20"/>
                    <a:gd name="T18" fmla="*/ 0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0" h="8">
                      <a:moveTo>
                        <a:pt x="20" y="8"/>
                      </a:moveTo>
                      <a:lnTo>
                        <a:pt x="8" y="4"/>
                      </a:lnTo>
                      <a:lnTo>
                        <a:pt x="0" y="0"/>
                      </a:lnTo>
                      <a:lnTo>
                        <a:pt x="18" y="4"/>
                      </a:lnTo>
                      <a:lnTo>
                        <a:pt x="20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0" name="Freeform 350"/>
                <p:cNvSpPr>
                  <a:spLocks/>
                </p:cNvSpPr>
                <p:nvPr/>
              </p:nvSpPr>
              <p:spPr bwMode="auto">
                <a:xfrm>
                  <a:off x="4864508" y="2298125"/>
                  <a:ext cx="7103" cy="7103"/>
                </a:xfrm>
                <a:custGeom>
                  <a:avLst/>
                  <a:gdLst>
                    <a:gd name="T0" fmla="*/ 0 w 9"/>
                    <a:gd name="T1" fmla="*/ 0 h 10"/>
                    <a:gd name="T2" fmla="*/ 7103 w 9"/>
                    <a:gd name="T3" fmla="*/ 5682 h 10"/>
                    <a:gd name="T4" fmla="*/ 1578 w 9"/>
                    <a:gd name="T5" fmla="*/ 7103 h 10"/>
                    <a:gd name="T6" fmla="*/ 0 w 9"/>
                    <a:gd name="T7" fmla="*/ 0 h 1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0"/>
                    <a:gd name="T14" fmla="*/ 9 w 9"/>
                    <a:gd name="T15" fmla="*/ 10 h 1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0">
                      <a:moveTo>
                        <a:pt x="0" y="0"/>
                      </a:moveTo>
                      <a:lnTo>
                        <a:pt x="9" y="8"/>
                      </a:lnTo>
                      <a:lnTo>
                        <a:pt x="2" y="1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1" name="Freeform 351"/>
                <p:cNvSpPr>
                  <a:spLocks/>
                </p:cNvSpPr>
                <p:nvPr/>
              </p:nvSpPr>
              <p:spPr bwMode="auto">
                <a:xfrm>
                  <a:off x="4994138" y="2292798"/>
                  <a:ext cx="8879" cy="5327"/>
                </a:xfrm>
                <a:custGeom>
                  <a:avLst/>
                  <a:gdLst>
                    <a:gd name="T0" fmla="*/ 8879 w 8"/>
                    <a:gd name="T1" fmla="*/ 0 h 10"/>
                    <a:gd name="T2" fmla="*/ 6659 w 8"/>
                    <a:gd name="T3" fmla="*/ 5327 h 10"/>
                    <a:gd name="T4" fmla="*/ 0 w 8"/>
                    <a:gd name="T5" fmla="*/ 2131 h 10"/>
                    <a:gd name="T6" fmla="*/ 8879 w 8"/>
                    <a:gd name="T7" fmla="*/ 0 h 1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0"/>
                    <a:gd name="T14" fmla="*/ 8 w 8"/>
                    <a:gd name="T15" fmla="*/ 10 h 1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0">
                      <a:moveTo>
                        <a:pt x="8" y="0"/>
                      </a:moveTo>
                      <a:lnTo>
                        <a:pt x="6" y="10"/>
                      </a:lnTo>
                      <a:lnTo>
                        <a:pt x="0" y="4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2" name="Freeform 352"/>
                <p:cNvSpPr>
                  <a:spLocks/>
                </p:cNvSpPr>
                <p:nvPr/>
              </p:nvSpPr>
              <p:spPr bwMode="auto">
                <a:xfrm>
                  <a:off x="4525339" y="2056623"/>
                  <a:ext cx="282345" cy="253933"/>
                </a:xfrm>
                <a:custGeom>
                  <a:avLst/>
                  <a:gdLst>
                    <a:gd name="T0" fmla="*/ 121447 w 365"/>
                    <a:gd name="T1" fmla="*/ 0 h 339"/>
                    <a:gd name="T2" fmla="*/ 82770 w 365"/>
                    <a:gd name="T3" fmla="*/ 1498 h 339"/>
                    <a:gd name="T4" fmla="*/ 78128 w 365"/>
                    <a:gd name="T5" fmla="*/ 8989 h 339"/>
                    <a:gd name="T6" fmla="*/ 55695 w 365"/>
                    <a:gd name="T7" fmla="*/ 15730 h 339"/>
                    <a:gd name="T8" fmla="*/ 31715 w 365"/>
                    <a:gd name="T9" fmla="*/ 15730 h 339"/>
                    <a:gd name="T10" fmla="*/ 4641 w 365"/>
                    <a:gd name="T11" fmla="*/ 27715 h 339"/>
                    <a:gd name="T12" fmla="*/ 0 w 365"/>
                    <a:gd name="T13" fmla="*/ 50936 h 339"/>
                    <a:gd name="T14" fmla="*/ 1547 w 365"/>
                    <a:gd name="T15" fmla="*/ 68165 h 339"/>
                    <a:gd name="T16" fmla="*/ 18565 w 365"/>
                    <a:gd name="T17" fmla="*/ 88390 h 339"/>
                    <a:gd name="T18" fmla="*/ 72714 w 365"/>
                    <a:gd name="T19" fmla="*/ 80150 h 339"/>
                    <a:gd name="T20" fmla="*/ 111391 w 365"/>
                    <a:gd name="T21" fmla="*/ 128090 h 339"/>
                    <a:gd name="T22" fmla="*/ 138465 w 365"/>
                    <a:gd name="T23" fmla="*/ 149813 h 339"/>
                    <a:gd name="T24" fmla="*/ 157804 w 365"/>
                    <a:gd name="T25" fmla="*/ 158802 h 339"/>
                    <a:gd name="T26" fmla="*/ 199575 w 365"/>
                    <a:gd name="T27" fmla="*/ 182772 h 339"/>
                    <a:gd name="T28" fmla="*/ 228197 w 365"/>
                    <a:gd name="T29" fmla="*/ 222472 h 339"/>
                    <a:gd name="T30" fmla="*/ 229744 w 365"/>
                    <a:gd name="T31" fmla="*/ 253933 h 339"/>
                    <a:gd name="T32" fmla="*/ 249082 w 365"/>
                    <a:gd name="T33" fmla="*/ 225469 h 339"/>
                    <a:gd name="T34" fmla="*/ 240573 w 365"/>
                    <a:gd name="T35" fmla="*/ 205993 h 339"/>
                    <a:gd name="T36" fmla="*/ 259912 w 365"/>
                    <a:gd name="T37" fmla="*/ 185768 h 339"/>
                    <a:gd name="T38" fmla="*/ 282345 w 365"/>
                    <a:gd name="T39" fmla="*/ 187266 h 339"/>
                    <a:gd name="T40" fmla="*/ 220461 w 365"/>
                    <a:gd name="T41" fmla="*/ 154307 h 339"/>
                    <a:gd name="T42" fmla="*/ 216593 w 365"/>
                    <a:gd name="T43" fmla="*/ 140824 h 339"/>
                    <a:gd name="T44" fmla="*/ 174048 w 365"/>
                    <a:gd name="T45" fmla="*/ 114607 h 339"/>
                    <a:gd name="T46" fmla="*/ 138465 w 365"/>
                    <a:gd name="T47" fmla="*/ 83146 h 339"/>
                    <a:gd name="T48" fmla="*/ 126088 w 365"/>
                    <a:gd name="T49" fmla="*/ 46442 h 339"/>
                    <a:gd name="T50" fmla="*/ 159351 w 365"/>
                    <a:gd name="T51" fmla="*/ 38202 h 339"/>
                    <a:gd name="T52" fmla="*/ 157804 w 365"/>
                    <a:gd name="T53" fmla="*/ 11985 h 339"/>
                    <a:gd name="T54" fmla="*/ 133824 w 365"/>
                    <a:gd name="T55" fmla="*/ 83146 h 339"/>
                    <a:gd name="T56" fmla="*/ 132277 w 365"/>
                    <a:gd name="T57" fmla="*/ 84644 h 339"/>
                    <a:gd name="T58" fmla="*/ 135371 w 365"/>
                    <a:gd name="T59" fmla="*/ 83146 h 339"/>
                    <a:gd name="T60" fmla="*/ 140012 w 365"/>
                    <a:gd name="T61" fmla="*/ 146817 h 339"/>
                    <a:gd name="T62" fmla="*/ 140012 w 365"/>
                    <a:gd name="T63" fmla="*/ 146817 h 33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65"/>
                    <a:gd name="T97" fmla="*/ 0 h 339"/>
                    <a:gd name="T98" fmla="*/ 365 w 365"/>
                    <a:gd name="T99" fmla="*/ 339 h 339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65" h="339">
                      <a:moveTo>
                        <a:pt x="204" y="16"/>
                      </a:moveTo>
                      <a:lnTo>
                        <a:pt x="157" y="0"/>
                      </a:lnTo>
                      <a:lnTo>
                        <a:pt x="125" y="4"/>
                      </a:lnTo>
                      <a:lnTo>
                        <a:pt x="107" y="2"/>
                      </a:lnTo>
                      <a:lnTo>
                        <a:pt x="107" y="4"/>
                      </a:lnTo>
                      <a:lnTo>
                        <a:pt x="101" y="12"/>
                      </a:lnTo>
                      <a:lnTo>
                        <a:pt x="94" y="21"/>
                      </a:lnTo>
                      <a:lnTo>
                        <a:pt x="72" y="21"/>
                      </a:lnTo>
                      <a:lnTo>
                        <a:pt x="61" y="37"/>
                      </a:lnTo>
                      <a:lnTo>
                        <a:pt x="41" y="21"/>
                      </a:lnTo>
                      <a:lnTo>
                        <a:pt x="24" y="35"/>
                      </a:lnTo>
                      <a:lnTo>
                        <a:pt x="6" y="37"/>
                      </a:lnTo>
                      <a:lnTo>
                        <a:pt x="4" y="53"/>
                      </a:lnTo>
                      <a:lnTo>
                        <a:pt x="0" y="68"/>
                      </a:lnTo>
                      <a:lnTo>
                        <a:pt x="2" y="78"/>
                      </a:lnTo>
                      <a:lnTo>
                        <a:pt x="2" y="91"/>
                      </a:lnTo>
                      <a:lnTo>
                        <a:pt x="24" y="103"/>
                      </a:lnTo>
                      <a:lnTo>
                        <a:pt x="24" y="118"/>
                      </a:lnTo>
                      <a:lnTo>
                        <a:pt x="53" y="97"/>
                      </a:lnTo>
                      <a:lnTo>
                        <a:pt x="94" y="107"/>
                      </a:lnTo>
                      <a:lnTo>
                        <a:pt x="115" y="146"/>
                      </a:lnTo>
                      <a:lnTo>
                        <a:pt x="144" y="171"/>
                      </a:lnTo>
                      <a:lnTo>
                        <a:pt x="171" y="196"/>
                      </a:lnTo>
                      <a:lnTo>
                        <a:pt x="179" y="200"/>
                      </a:lnTo>
                      <a:lnTo>
                        <a:pt x="181" y="200"/>
                      </a:lnTo>
                      <a:lnTo>
                        <a:pt x="204" y="212"/>
                      </a:lnTo>
                      <a:lnTo>
                        <a:pt x="241" y="237"/>
                      </a:lnTo>
                      <a:lnTo>
                        <a:pt x="258" y="244"/>
                      </a:lnTo>
                      <a:lnTo>
                        <a:pt x="276" y="258"/>
                      </a:lnTo>
                      <a:lnTo>
                        <a:pt x="295" y="297"/>
                      </a:lnTo>
                      <a:lnTo>
                        <a:pt x="283" y="330"/>
                      </a:lnTo>
                      <a:lnTo>
                        <a:pt x="297" y="339"/>
                      </a:lnTo>
                      <a:lnTo>
                        <a:pt x="311" y="314"/>
                      </a:lnTo>
                      <a:lnTo>
                        <a:pt x="322" y="301"/>
                      </a:lnTo>
                      <a:lnTo>
                        <a:pt x="328" y="291"/>
                      </a:lnTo>
                      <a:lnTo>
                        <a:pt x="311" y="275"/>
                      </a:lnTo>
                      <a:lnTo>
                        <a:pt x="318" y="243"/>
                      </a:lnTo>
                      <a:lnTo>
                        <a:pt x="336" y="248"/>
                      </a:lnTo>
                      <a:lnTo>
                        <a:pt x="359" y="266"/>
                      </a:lnTo>
                      <a:lnTo>
                        <a:pt x="365" y="250"/>
                      </a:lnTo>
                      <a:lnTo>
                        <a:pt x="326" y="227"/>
                      </a:lnTo>
                      <a:lnTo>
                        <a:pt x="285" y="206"/>
                      </a:lnTo>
                      <a:lnTo>
                        <a:pt x="291" y="194"/>
                      </a:lnTo>
                      <a:lnTo>
                        <a:pt x="280" y="188"/>
                      </a:lnTo>
                      <a:lnTo>
                        <a:pt x="241" y="177"/>
                      </a:lnTo>
                      <a:lnTo>
                        <a:pt x="225" y="153"/>
                      </a:lnTo>
                      <a:lnTo>
                        <a:pt x="210" y="128"/>
                      </a:lnTo>
                      <a:lnTo>
                        <a:pt x="179" y="111"/>
                      </a:lnTo>
                      <a:lnTo>
                        <a:pt x="167" y="80"/>
                      </a:lnTo>
                      <a:lnTo>
                        <a:pt x="163" y="62"/>
                      </a:lnTo>
                      <a:lnTo>
                        <a:pt x="189" y="47"/>
                      </a:lnTo>
                      <a:lnTo>
                        <a:pt x="206" y="51"/>
                      </a:lnTo>
                      <a:lnTo>
                        <a:pt x="200" y="27"/>
                      </a:lnTo>
                      <a:lnTo>
                        <a:pt x="204" y="16"/>
                      </a:lnTo>
                      <a:lnTo>
                        <a:pt x="175" y="111"/>
                      </a:lnTo>
                      <a:lnTo>
                        <a:pt x="173" y="111"/>
                      </a:lnTo>
                      <a:lnTo>
                        <a:pt x="171" y="111"/>
                      </a:lnTo>
                      <a:lnTo>
                        <a:pt x="171" y="113"/>
                      </a:lnTo>
                      <a:lnTo>
                        <a:pt x="173" y="113"/>
                      </a:lnTo>
                      <a:lnTo>
                        <a:pt x="175" y="111"/>
                      </a:lnTo>
                      <a:lnTo>
                        <a:pt x="204" y="16"/>
                      </a:lnTo>
                      <a:lnTo>
                        <a:pt x="181" y="196"/>
                      </a:lnTo>
                      <a:lnTo>
                        <a:pt x="183" y="196"/>
                      </a:lnTo>
                      <a:lnTo>
                        <a:pt x="181" y="196"/>
                      </a:lnTo>
                      <a:lnTo>
                        <a:pt x="204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3" name="Freeform 353"/>
                <p:cNvSpPr>
                  <a:spLocks/>
                </p:cNvSpPr>
                <p:nvPr/>
              </p:nvSpPr>
              <p:spPr bwMode="auto">
                <a:xfrm>
                  <a:off x="4525339" y="2056623"/>
                  <a:ext cx="282345" cy="253933"/>
                </a:xfrm>
                <a:custGeom>
                  <a:avLst/>
                  <a:gdLst>
                    <a:gd name="T0" fmla="*/ 157804 w 365"/>
                    <a:gd name="T1" fmla="*/ 11985 h 339"/>
                    <a:gd name="T2" fmla="*/ 121447 w 365"/>
                    <a:gd name="T3" fmla="*/ 0 h 339"/>
                    <a:gd name="T4" fmla="*/ 96693 w 365"/>
                    <a:gd name="T5" fmla="*/ 2996 h 339"/>
                    <a:gd name="T6" fmla="*/ 82770 w 365"/>
                    <a:gd name="T7" fmla="*/ 1498 h 339"/>
                    <a:gd name="T8" fmla="*/ 82770 w 365"/>
                    <a:gd name="T9" fmla="*/ 2996 h 339"/>
                    <a:gd name="T10" fmla="*/ 78128 w 365"/>
                    <a:gd name="T11" fmla="*/ 8989 h 339"/>
                    <a:gd name="T12" fmla="*/ 72714 w 365"/>
                    <a:gd name="T13" fmla="*/ 15730 h 339"/>
                    <a:gd name="T14" fmla="*/ 55695 w 365"/>
                    <a:gd name="T15" fmla="*/ 15730 h 339"/>
                    <a:gd name="T16" fmla="*/ 47186 w 365"/>
                    <a:gd name="T17" fmla="*/ 27715 h 339"/>
                    <a:gd name="T18" fmla="*/ 31715 w 365"/>
                    <a:gd name="T19" fmla="*/ 15730 h 339"/>
                    <a:gd name="T20" fmla="*/ 18565 w 365"/>
                    <a:gd name="T21" fmla="*/ 26217 h 339"/>
                    <a:gd name="T22" fmla="*/ 4641 w 365"/>
                    <a:gd name="T23" fmla="*/ 27715 h 339"/>
                    <a:gd name="T24" fmla="*/ 3094 w 365"/>
                    <a:gd name="T25" fmla="*/ 39700 h 339"/>
                    <a:gd name="T26" fmla="*/ 0 w 365"/>
                    <a:gd name="T27" fmla="*/ 50936 h 339"/>
                    <a:gd name="T28" fmla="*/ 1547 w 365"/>
                    <a:gd name="T29" fmla="*/ 58427 h 339"/>
                    <a:gd name="T30" fmla="*/ 1547 w 365"/>
                    <a:gd name="T31" fmla="*/ 68165 h 339"/>
                    <a:gd name="T32" fmla="*/ 18565 w 365"/>
                    <a:gd name="T33" fmla="*/ 77154 h 339"/>
                    <a:gd name="T34" fmla="*/ 18565 w 365"/>
                    <a:gd name="T35" fmla="*/ 88390 h 339"/>
                    <a:gd name="T36" fmla="*/ 40998 w 365"/>
                    <a:gd name="T37" fmla="*/ 72659 h 339"/>
                    <a:gd name="T38" fmla="*/ 72714 w 365"/>
                    <a:gd name="T39" fmla="*/ 80150 h 339"/>
                    <a:gd name="T40" fmla="*/ 88958 w 365"/>
                    <a:gd name="T41" fmla="*/ 109363 h 339"/>
                    <a:gd name="T42" fmla="*/ 111391 w 365"/>
                    <a:gd name="T43" fmla="*/ 128090 h 339"/>
                    <a:gd name="T44" fmla="*/ 132277 w 365"/>
                    <a:gd name="T45" fmla="*/ 146817 h 339"/>
                    <a:gd name="T46" fmla="*/ 138465 w 365"/>
                    <a:gd name="T47" fmla="*/ 149813 h 339"/>
                    <a:gd name="T48" fmla="*/ 140012 w 365"/>
                    <a:gd name="T49" fmla="*/ 149813 h 339"/>
                    <a:gd name="T50" fmla="*/ 157804 w 365"/>
                    <a:gd name="T51" fmla="*/ 158802 h 339"/>
                    <a:gd name="T52" fmla="*/ 186425 w 365"/>
                    <a:gd name="T53" fmla="*/ 177528 h 339"/>
                    <a:gd name="T54" fmla="*/ 199575 w 365"/>
                    <a:gd name="T55" fmla="*/ 182772 h 339"/>
                    <a:gd name="T56" fmla="*/ 213499 w 365"/>
                    <a:gd name="T57" fmla="*/ 193259 h 339"/>
                    <a:gd name="T58" fmla="*/ 228197 w 365"/>
                    <a:gd name="T59" fmla="*/ 222472 h 339"/>
                    <a:gd name="T60" fmla="*/ 218914 w 365"/>
                    <a:gd name="T61" fmla="*/ 247191 h 339"/>
                    <a:gd name="T62" fmla="*/ 229744 w 365"/>
                    <a:gd name="T63" fmla="*/ 253933 h 339"/>
                    <a:gd name="T64" fmla="*/ 240573 w 365"/>
                    <a:gd name="T65" fmla="*/ 235206 h 339"/>
                    <a:gd name="T66" fmla="*/ 249082 w 365"/>
                    <a:gd name="T67" fmla="*/ 225469 h 339"/>
                    <a:gd name="T68" fmla="*/ 253724 w 365"/>
                    <a:gd name="T69" fmla="*/ 217978 h 339"/>
                    <a:gd name="T70" fmla="*/ 240573 w 365"/>
                    <a:gd name="T71" fmla="*/ 205993 h 339"/>
                    <a:gd name="T72" fmla="*/ 245988 w 365"/>
                    <a:gd name="T73" fmla="*/ 182023 h 339"/>
                    <a:gd name="T74" fmla="*/ 259912 w 365"/>
                    <a:gd name="T75" fmla="*/ 185768 h 339"/>
                    <a:gd name="T76" fmla="*/ 277704 w 365"/>
                    <a:gd name="T77" fmla="*/ 199251 h 339"/>
                    <a:gd name="T78" fmla="*/ 282345 w 365"/>
                    <a:gd name="T79" fmla="*/ 187266 h 339"/>
                    <a:gd name="T80" fmla="*/ 252177 w 365"/>
                    <a:gd name="T81" fmla="*/ 170038 h 339"/>
                    <a:gd name="T82" fmla="*/ 220461 w 365"/>
                    <a:gd name="T83" fmla="*/ 154307 h 339"/>
                    <a:gd name="T84" fmla="*/ 225102 w 365"/>
                    <a:gd name="T85" fmla="*/ 145319 h 339"/>
                    <a:gd name="T86" fmla="*/ 216593 w 365"/>
                    <a:gd name="T87" fmla="*/ 140824 h 339"/>
                    <a:gd name="T88" fmla="*/ 186425 w 365"/>
                    <a:gd name="T89" fmla="*/ 132584 h 339"/>
                    <a:gd name="T90" fmla="*/ 174048 w 365"/>
                    <a:gd name="T91" fmla="*/ 114607 h 339"/>
                    <a:gd name="T92" fmla="*/ 162445 w 365"/>
                    <a:gd name="T93" fmla="*/ 95880 h 339"/>
                    <a:gd name="T94" fmla="*/ 138465 w 365"/>
                    <a:gd name="T95" fmla="*/ 83146 h 339"/>
                    <a:gd name="T96" fmla="*/ 129183 w 365"/>
                    <a:gd name="T97" fmla="*/ 59925 h 339"/>
                    <a:gd name="T98" fmla="*/ 126088 w 365"/>
                    <a:gd name="T99" fmla="*/ 46442 h 339"/>
                    <a:gd name="T100" fmla="*/ 146201 w 365"/>
                    <a:gd name="T101" fmla="*/ 35206 h 339"/>
                    <a:gd name="T102" fmla="*/ 159351 w 365"/>
                    <a:gd name="T103" fmla="*/ 38202 h 339"/>
                    <a:gd name="T104" fmla="*/ 154710 w 365"/>
                    <a:gd name="T105" fmla="*/ 20225 h 339"/>
                    <a:gd name="T106" fmla="*/ 157804 w 365"/>
                    <a:gd name="T107" fmla="*/ 11985 h 339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365"/>
                    <a:gd name="T163" fmla="*/ 0 h 339"/>
                    <a:gd name="T164" fmla="*/ 365 w 365"/>
                    <a:gd name="T165" fmla="*/ 339 h 339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365" h="339">
                      <a:moveTo>
                        <a:pt x="204" y="16"/>
                      </a:moveTo>
                      <a:lnTo>
                        <a:pt x="157" y="0"/>
                      </a:lnTo>
                      <a:lnTo>
                        <a:pt x="125" y="4"/>
                      </a:lnTo>
                      <a:lnTo>
                        <a:pt x="107" y="2"/>
                      </a:lnTo>
                      <a:lnTo>
                        <a:pt x="107" y="4"/>
                      </a:lnTo>
                      <a:lnTo>
                        <a:pt x="101" y="12"/>
                      </a:lnTo>
                      <a:lnTo>
                        <a:pt x="94" y="21"/>
                      </a:lnTo>
                      <a:lnTo>
                        <a:pt x="72" y="21"/>
                      </a:lnTo>
                      <a:lnTo>
                        <a:pt x="61" y="37"/>
                      </a:lnTo>
                      <a:lnTo>
                        <a:pt x="41" y="21"/>
                      </a:lnTo>
                      <a:lnTo>
                        <a:pt x="24" y="35"/>
                      </a:lnTo>
                      <a:lnTo>
                        <a:pt x="6" y="37"/>
                      </a:lnTo>
                      <a:lnTo>
                        <a:pt x="4" y="53"/>
                      </a:lnTo>
                      <a:lnTo>
                        <a:pt x="0" y="68"/>
                      </a:lnTo>
                      <a:lnTo>
                        <a:pt x="2" y="78"/>
                      </a:lnTo>
                      <a:lnTo>
                        <a:pt x="2" y="91"/>
                      </a:lnTo>
                      <a:lnTo>
                        <a:pt x="24" y="103"/>
                      </a:lnTo>
                      <a:lnTo>
                        <a:pt x="24" y="118"/>
                      </a:lnTo>
                      <a:lnTo>
                        <a:pt x="53" y="97"/>
                      </a:lnTo>
                      <a:lnTo>
                        <a:pt x="94" y="107"/>
                      </a:lnTo>
                      <a:lnTo>
                        <a:pt x="115" y="146"/>
                      </a:lnTo>
                      <a:lnTo>
                        <a:pt x="144" y="171"/>
                      </a:lnTo>
                      <a:lnTo>
                        <a:pt x="171" y="196"/>
                      </a:lnTo>
                      <a:lnTo>
                        <a:pt x="179" y="200"/>
                      </a:lnTo>
                      <a:lnTo>
                        <a:pt x="181" y="200"/>
                      </a:lnTo>
                      <a:lnTo>
                        <a:pt x="204" y="212"/>
                      </a:lnTo>
                      <a:lnTo>
                        <a:pt x="241" y="237"/>
                      </a:lnTo>
                      <a:lnTo>
                        <a:pt x="258" y="244"/>
                      </a:lnTo>
                      <a:lnTo>
                        <a:pt x="276" y="258"/>
                      </a:lnTo>
                      <a:lnTo>
                        <a:pt x="295" y="297"/>
                      </a:lnTo>
                      <a:lnTo>
                        <a:pt x="283" y="330"/>
                      </a:lnTo>
                      <a:lnTo>
                        <a:pt x="297" y="339"/>
                      </a:lnTo>
                      <a:lnTo>
                        <a:pt x="311" y="314"/>
                      </a:lnTo>
                      <a:lnTo>
                        <a:pt x="322" y="301"/>
                      </a:lnTo>
                      <a:lnTo>
                        <a:pt x="328" y="291"/>
                      </a:lnTo>
                      <a:lnTo>
                        <a:pt x="311" y="275"/>
                      </a:lnTo>
                      <a:lnTo>
                        <a:pt x="318" y="243"/>
                      </a:lnTo>
                      <a:lnTo>
                        <a:pt x="336" y="248"/>
                      </a:lnTo>
                      <a:lnTo>
                        <a:pt x="359" y="266"/>
                      </a:lnTo>
                      <a:lnTo>
                        <a:pt x="365" y="250"/>
                      </a:lnTo>
                      <a:lnTo>
                        <a:pt x="326" y="227"/>
                      </a:lnTo>
                      <a:lnTo>
                        <a:pt x="285" y="206"/>
                      </a:lnTo>
                      <a:lnTo>
                        <a:pt x="291" y="194"/>
                      </a:lnTo>
                      <a:lnTo>
                        <a:pt x="280" y="188"/>
                      </a:lnTo>
                      <a:lnTo>
                        <a:pt x="241" y="177"/>
                      </a:lnTo>
                      <a:lnTo>
                        <a:pt x="225" y="153"/>
                      </a:lnTo>
                      <a:lnTo>
                        <a:pt x="210" y="128"/>
                      </a:lnTo>
                      <a:lnTo>
                        <a:pt x="179" y="111"/>
                      </a:lnTo>
                      <a:lnTo>
                        <a:pt x="167" y="80"/>
                      </a:lnTo>
                      <a:lnTo>
                        <a:pt x="163" y="62"/>
                      </a:lnTo>
                      <a:lnTo>
                        <a:pt x="189" y="47"/>
                      </a:lnTo>
                      <a:lnTo>
                        <a:pt x="206" y="51"/>
                      </a:lnTo>
                      <a:lnTo>
                        <a:pt x="200" y="27"/>
                      </a:lnTo>
                      <a:lnTo>
                        <a:pt x="204" y="1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4" name="Freeform 354"/>
                <p:cNvSpPr>
                  <a:spLocks/>
                </p:cNvSpPr>
                <p:nvPr/>
              </p:nvSpPr>
              <p:spPr bwMode="auto">
                <a:xfrm>
                  <a:off x="4654969" y="2145411"/>
                  <a:ext cx="7103" cy="0"/>
                </a:xfrm>
                <a:custGeom>
                  <a:avLst/>
                  <a:gdLst>
                    <a:gd name="T0" fmla="*/ 7103 w 4"/>
                    <a:gd name="T1" fmla="*/ 0 h 2"/>
                    <a:gd name="T2" fmla="*/ 3552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3552 w 4"/>
                    <a:gd name="T9" fmla="*/ 0 h 2"/>
                    <a:gd name="T10" fmla="*/ 7103 w 4"/>
                    <a:gd name="T11" fmla="*/ 0 h 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2"/>
                    <a:gd name="T20" fmla="*/ 4 w 4"/>
                    <a:gd name="T21" fmla="*/ 0 h 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5" name="Freeform 355"/>
                <p:cNvSpPr>
                  <a:spLocks/>
                </p:cNvSpPr>
                <p:nvPr/>
              </p:nvSpPr>
              <p:spPr bwMode="auto">
                <a:xfrm>
                  <a:off x="4662072" y="2204011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6" name="Freeform 356"/>
                <p:cNvSpPr>
                  <a:spLocks/>
                </p:cNvSpPr>
                <p:nvPr/>
              </p:nvSpPr>
              <p:spPr bwMode="auto">
                <a:xfrm>
                  <a:off x="4670951" y="2298125"/>
                  <a:ext cx="71030" cy="47945"/>
                </a:xfrm>
                <a:custGeom>
                  <a:avLst/>
                  <a:gdLst>
                    <a:gd name="T0" fmla="*/ 61411 w 96"/>
                    <a:gd name="T1" fmla="*/ 29566 h 60"/>
                    <a:gd name="T2" fmla="*/ 62891 w 96"/>
                    <a:gd name="T3" fmla="*/ 47945 h 60"/>
                    <a:gd name="T4" fmla="*/ 34035 w 96"/>
                    <a:gd name="T5" fmla="*/ 35160 h 60"/>
                    <a:gd name="T6" fmla="*/ 5179 w 96"/>
                    <a:gd name="T7" fmla="*/ 21575 h 60"/>
                    <a:gd name="T8" fmla="*/ 0 w 96"/>
                    <a:gd name="T9" fmla="*/ 7991 h 60"/>
                    <a:gd name="T10" fmla="*/ 19977 w 96"/>
                    <a:gd name="T11" fmla="*/ 4795 h 60"/>
                    <a:gd name="T12" fmla="*/ 45874 w 96"/>
                    <a:gd name="T13" fmla="*/ 3196 h 60"/>
                    <a:gd name="T14" fmla="*/ 71030 w 96"/>
                    <a:gd name="T15" fmla="*/ 0 h 60"/>
                    <a:gd name="T16" fmla="*/ 61411 w 96"/>
                    <a:gd name="T17" fmla="*/ 29566 h 6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6"/>
                    <a:gd name="T28" fmla="*/ 0 h 60"/>
                    <a:gd name="T29" fmla="*/ 96 w 96"/>
                    <a:gd name="T30" fmla="*/ 60 h 6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6" h="60">
                      <a:moveTo>
                        <a:pt x="83" y="37"/>
                      </a:moveTo>
                      <a:lnTo>
                        <a:pt x="85" y="60"/>
                      </a:lnTo>
                      <a:lnTo>
                        <a:pt x="46" y="44"/>
                      </a:lnTo>
                      <a:lnTo>
                        <a:pt x="7" y="27"/>
                      </a:lnTo>
                      <a:lnTo>
                        <a:pt x="0" y="10"/>
                      </a:lnTo>
                      <a:lnTo>
                        <a:pt x="27" y="6"/>
                      </a:lnTo>
                      <a:lnTo>
                        <a:pt x="62" y="4"/>
                      </a:lnTo>
                      <a:lnTo>
                        <a:pt x="96" y="0"/>
                      </a:lnTo>
                      <a:lnTo>
                        <a:pt x="83" y="3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7" name="Freeform 357"/>
                <p:cNvSpPr>
                  <a:spLocks/>
                </p:cNvSpPr>
                <p:nvPr/>
              </p:nvSpPr>
              <p:spPr bwMode="auto">
                <a:xfrm>
                  <a:off x="4562630" y="2216441"/>
                  <a:ext cx="35515" cy="71030"/>
                </a:xfrm>
                <a:custGeom>
                  <a:avLst/>
                  <a:gdLst>
                    <a:gd name="T0" fmla="*/ 19178 w 50"/>
                    <a:gd name="T1" fmla="*/ 59981 h 90"/>
                    <a:gd name="T2" fmla="*/ 10654 w 50"/>
                    <a:gd name="T3" fmla="*/ 71030 h 90"/>
                    <a:gd name="T4" fmla="*/ 5682 w 50"/>
                    <a:gd name="T5" fmla="*/ 53667 h 90"/>
                    <a:gd name="T6" fmla="*/ 2841 w 50"/>
                    <a:gd name="T7" fmla="*/ 32358 h 90"/>
                    <a:gd name="T8" fmla="*/ 0 w 50"/>
                    <a:gd name="T9" fmla="*/ 11049 h 90"/>
                    <a:gd name="T10" fmla="*/ 22019 w 50"/>
                    <a:gd name="T11" fmla="*/ 0 h 90"/>
                    <a:gd name="T12" fmla="*/ 35515 w 50"/>
                    <a:gd name="T13" fmla="*/ 22098 h 90"/>
                    <a:gd name="T14" fmla="*/ 31964 w 50"/>
                    <a:gd name="T15" fmla="*/ 58402 h 90"/>
                    <a:gd name="T16" fmla="*/ 19178 w 50"/>
                    <a:gd name="T17" fmla="*/ 59981 h 9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0"/>
                    <a:gd name="T28" fmla="*/ 0 h 90"/>
                    <a:gd name="T29" fmla="*/ 50 w 50"/>
                    <a:gd name="T30" fmla="*/ 90 h 9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0" h="90">
                      <a:moveTo>
                        <a:pt x="27" y="76"/>
                      </a:moveTo>
                      <a:lnTo>
                        <a:pt x="15" y="90"/>
                      </a:lnTo>
                      <a:lnTo>
                        <a:pt x="8" y="68"/>
                      </a:lnTo>
                      <a:lnTo>
                        <a:pt x="4" y="41"/>
                      </a:lnTo>
                      <a:lnTo>
                        <a:pt x="0" y="14"/>
                      </a:lnTo>
                      <a:lnTo>
                        <a:pt x="31" y="0"/>
                      </a:lnTo>
                      <a:lnTo>
                        <a:pt x="50" y="28"/>
                      </a:lnTo>
                      <a:lnTo>
                        <a:pt x="45" y="74"/>
                      </a:lnTo>
                      <a:lnTo>
                        <a:pt x="27" y="7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8" name="Freeform 358"/>
                <p:cNvSpPr>
                  <a:spLocks/>
                </p:cNvSpPr>
                <p:nvPr/>
              </p:nvSpPr>
              <p:spPr bwMode="auto">
                <a:xfrm>
                  <a:off x="4532442" y="2145411"/>
                  <a:ext cx="7103" cy="5327"/>
                </a:xfrm>
                <a:custGeom>
                  <a:avLst/>
                  <a:gdLst>
                    <a:gd name="T0" fmla="*/ 0 w 7103"/>
                    <a:gd name="T1" fmla="*/ 0 h 2"/>
                    <a:gd name="T2" fmla="*/ 0 w 7103"/>
                    <a:gd name="T3" fmla="*/ 5327 h 2"/>
                    <a:gd name="T4" fmla="*/ 0 w 7103"/>
                    <a:gd name="T5" fmla="*/ 0 h 2"/>
                    <a:gd name="T6" fmla="*/ 0 60000 65536"/>
                    <a:gd name="T7" fmla="*/ 0 60000 65536"/>
                    <a:gd name="T8" fmla="*/ 0 60000 65536"/>
                    <a:gd name="T9" fmla="*/ 0 w 7103"/>
                    <a:gd name="T10" fmla="*/ 0 h 2"/>
                    <a:gd name="T11" fmla="*/ 7103 w 7103"/>
                    <a:gd name="T12" fmla="*/ 2 h 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710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69" name="Freeform 359"/>
                <p:cNvSpPr>
                  <a:spLocks/>
                </p:cNvSpPr>
                <p:nvPr/>
              </p:nvSpPr>
              <p:spPr bwMode="auto">
                <a:xfrm>
                  <a:off x="5003016" y="2198683"/>
                  <a:ext cx="461695" cy="170472"/>
                </a:xfrm>
                <a:custGeom>
                  <a:avLst/>
                  <a:gdLst>
                    <a:gd name="T0" fmla="*/ 308842 w 589"/>
                    <a:gd name="T1" fmla="*/ 143167 h 231"/>
                    <a:gd name="T2" fmla="*/ 262594 w 589"/>
                    <a:gd name="T3" fmla="*/ 149071 h 231"/>
                    <a:gd name="T4" fmla="*/ 250836 w 589"/>
                    <a:gd name="T5" fmla="*/ 170472 h 231"/>
                    <a:gd name="T6" fmla="*/ 249268 w 589"/>
                    <a:gd name="T7" fmla="*/ 163092 h 231"/>
                    <a:gd name="T8" fmla="*/ 238294 w 589"/>
                    <a:gd name="T9" fmla="*/ 147595 h 231"/>
                    <a:gd name="T10" fmla="*/ 203804 w 589"/>
                    <a:gd name="T11" fmla="*/ 153499 h 231"/>
                    <a:gd name="T12" fmla="*/ 158340 w 589"/>
                    <a:gd name="T13" fmla="*/ 159402 h 231"/>
                    <a:gd name="T14" fmla="*/ 112876 w 589"/>
                    <a:gd name="T15" fmla="*/ 154975 h 231"/>
                    <a:gd name="T16" fmla="*/ 79170 w 589"/>
                    <a:gd name="T17" fmla="*/ 153499 h 231"/>
                    <a:gd name="T18" fmla="*/ 51735 w 589"/>
                    <a:gd name="T19" fmla="*/ 147595 h 231"/>
                    <a:gd name="T20" fmla="*/ 54870 w 589"/>
                    <a:gd name="T21" fmla="*/ 140215 h 231"/>
                    <a:gd name="T22" fmla="*/ 38409 w 589"/>
                    <a:gd name="T23" fmla="*/ 132097 h 231"/>
                    <a:gd name="T24" fmla="*/ 29003 w 589"/>
                    <a:gd name="T25" fmla="*/ 115862 h 231"/>
                    <a:gd name="T26" fmla="*/ 4703 w 589"/>
                    <a:gd name="T27" fmla="*/ 95937 h 231"/>
                    <a:gd name="T28" fmla="*/ 19597 w 589"/>
                    <a:gd name="T29" fmla="*/ 100364 h 231"/>
                    <a:gd name="T30" fmla="*/ 14893 w 589"/>
                    <a:gd name="T31" fmla="*/ 84867 h 231"/>
                    <a:gd name="T32" fmla="*/ 0 w 589"/>
                    <a:gd name="T33" fmla="*/ 68632 h 231"/>
                    <a:gd name="T34" fmla="*/ 25867 w 589"/>
                    <a:gd name="T35" fmla="*/ 45754 h 231"/>
                    <a:gd name="T36" fmla="*/ 62709 w 589"/>
                    <a:gd name="T37" fmla="*/ 42065 h 231"/>
                    <a:gd name="T38" fmla="*/ 74467 w 589"/>
                    <a:gd name="T39" fmla="*/ 33209 h 231"/>
                    <a:gd name="T40" fmla="*/ 108173 w 589"/>
                    <a:gd name="T41" fmla="*/ 24353 h 231"/>
                    <a:gd name="T42" fmla="*/ 163827 w 589"/>
                    <a:gd name="T43" fmla="*/ 2952 h 231"/>
                    <a:gd name="T44" fmla="*/ 203804 w 589"/>
                    <a:gd name="T45" fmla="*/ 1476 h 231"/>
                    <a:gd name="T46" fmla="*/ 231239 w 589"/>
                    <a:gd name="T47" fmla="*/ 14759 h 231"/>
                    <a:gd name="T48" fmla="*/ 293165 w 589"/>
                    <a:gd name="T49" fmla="*/ 27305 h 231"/>
                    <a:gd name="T50" fmla="*/ 360577 w 589"/>
                    <a:gd name="T51" fmla="*/ 13284 h 231"/>
                    <a:gd name="T52" fmla="*/ 406041 w 589"/>
                    <a:gd name="T53" fmla="*/ 21401 h 231"/>
                    <a:gd name="T54" fmla="*/ 427205 w 589"/>
                    <a:gd name="T55" fmla="*/ 54610 h 231"/>
                    <a:gd name="T56" fmla="*/ 437395 w 589"/>
                    <a:gd name="T57" fmla="*/ 71583 h 231"/>
                    <a:gd name="T58" fmla="*/ 446802 w 589"/>
                    <a:gd name="T59" fmla="*/ 114386 h 231"/>
                    <a:gd name="T60" fmla="*/ 448369 w 589"/>
                    <a:gd name="T61" fmla="*/ 135787 h 231"/>
                    <a:gd name="T62" fmla="*/ 409176 w 589"/>
                    <a:gd name="T63" fmla="*/ 132097 h 231"/>
                    <a:gd name="T64" fmla="*/ 395067 w 589"/>
                    <a:gd name="T65" fmla="*/ 133573 h 231"/>
                    <a:gd name="T66" fmla="*/ 346467 w 589"/>
                    <a:gd name="T67" fmla="*/ 143167 h 231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589"/>
                    <a:gd name="T103" fmla="*/ 0 h 231"/>
                    <a:gd name="T104" fmla="*/ 589 w 589"/>
                    <a:gd name="T105" fmla="*/ 231 h 231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589" h="231">
                      <a:moveTo>
                        <a:pt x="442" y="194"/>
                      </a:moveTo>
                      <a:lnTo>
                        <a:pt x="394" y="194"/>
                      </a:lnTo>
                      <a:lnTo>
                        <a:pt x="347" y="198"/>
                      </a:lnTo>
                      <a:lnTo>
                        <a:pt x="335" y="202"/>
                      </a:lnTo>
                      <a:lnTo>
                        <a:pt x="334" y="217"/>
                      </a:lnTo>
                      <a:lnTo>
                        <a:pt x="320" y="231"/>
                      </a:lnTo>
                      <a:lnTo>
                        <a:pt x="318" y="229"/>
                      </a:lnTo>
                      <a:lnTo>
                        <a:pt x="318" y="221"/>
                      </a:lnTo>
                      <a:lnTo>
                        <a:pt x="318" y="192"/>
                      </a:lnTo>
                      <a:lnTo>
                        <a:pt x="304" y="200"/>
                      </a:lnTo>
                      <a:lnTo>
                        <a:pt x="283" y="198"/>
                      </a:lnTo>
                      <a:lnTo>
                        <a:pt x="260" y="208"/>
                      </a:lnTo>
                      <a:lnTo>
                        <a:pt x="227" y="223"/>
                      </a:lnTo>
                      <a:lnTo>
                        <a:pt x="202" y="216"/>
                      </a:lnTo>
                      <a:lnTo>
                        <a:pt x="151" y="194"/>
                      </a:lnTo>
                      <a:lnTo>
                        <a:pt x="144" y="210"/>
                      </a:lnTo>
                      <a:lnTo>
                        <a:pt x="130" y="217"/>
                      </a:lnTo>
                      <a:lnTo>
                        <a:pt x="101" y="208"/>
                      </a:lnTo>
                      <a:lnTo>
                        <a:pt x="83" y="198"/>
                      </a:lnTo>
                      <a:lnTo>
                        <a:pt x="66" y="200"/>
                      </a:lnTo>
                      <a:lnTo>
                        <a:pt x="50" y="200"/>
                      </a:lnTo>
                      <a:lnTo>
                        <a:pt x="70" y="190"/>
                      </a:lnTo>
                      <a:lnTo>
                        <a:pt x="45" y="186"/>
                      </a:lnTo>
                      <a:lnTo>
                        <a:pt x="49" y="179"/>
                      </a:lnTo>
                      <a:lnTo>
                        <a:pt x="33" y="163"/>
                      </a:lnTo>
                      <a:lnTo>
                        <a:pt x="37" y="157"/>
                      </a:lnTo>
                      <a:lnTo>
                        <a:pt x="12" y="144"/>
                      </a:lnTo>
                      <a:lnTo>
                        <a:pt x="6" y="130"/>
                      </a:lnTo>
                      <a:lnTo>
                        <a:pt x="16" y="132"/>
                      </a:lnTo>
                      <a:lnTo>
                        <a:pt x="25" y="136"/>
                      </a:lnTo>
                      <a:lnTo>
                        <a:pt x="19" y="122"/>
                      </a:lnTo>
                      <a:lnTo>
                        <a:pt x="19" y="115"/>
                      </a:lnTo>
                      <a:lnTo>
                        <a:pt x="16" y="95"/>
                      </a:lnTo>
                      <a:lnTo>
                        <a:pt x="0" y="93"/>
                      </a:lnTo>
                      <a:lnTo>
                        <a:pt x="2" y="66"/>
                      </a:lnTo>
                      <a:lnTo>
                        <a:pt x="33" y="62"/>
                      </a:lnTo>
                      <a:lnTo>
                        <a:pt x="43" y="55"/>
                      </a:lnTo>
                      <a:lnTo>
                        <a:pt x="80" y="57"/>
                      </a:lnTo>
                      <a:lnTo>
                        <a:pt x="103" y="47"/>
                      </a:lnTo>
                      <a:lnTo>
                        <a:pt x="95" y="45"/>
                      </a:lnTo>
                      <a:lnTo>
                        <a:pt x="80" y="31"/>
                      </a:lnTo>
                      <a:lnTo>
                        <a:pt x="138" y="33"/>
                      </a:lnTo>
                      <a:lnTo>
                        <a:pt x="180" y="8"/>
                      </a:lnTo>
                      <a:lnTo>
                        <a:pt x="209" y="4"/>
                      </a:lnTo>
                      <a:lnTo>
                        <a:pt x="240" y="0"/>
                      </a:lnTo>
                      <a:lnTo>
                        <a:pt x="260" y="2"/>
                      </a:lnTo>
                      <a:lnTo>
                        <a:pt x="281" y="12"/>
                      </a:lnTo>
                      <a:lnTo>
                        <a:pt x="295" y="20"/>
                      </a:lnTo>
                      <a:lnTo>
                        <a:pt x="334" y="29"/>
                      </a:lnTo>
                      <a:lnTo>
                        <a:pt x="374" y="37"/>
                      </a:lnTo>
                      <a:lnTo>
                        <a:pt x="413" y="39"/>
                      </a:lnTo>
                      <a:lnTo>
                        <a:pt x="460" y="18"/>
                      </a:lnTo>
                      <a:lnTo>
                        <a:pt x="500" y="14"/>
                      </a:lnTo>
                      <a:lnTo>
                        <a:pt x="518" y="29"/>
                      </a:lnTo>
                      <a:lnTo>
                        <a:pt x="531" y="53"/>
                      </a:lnTo>
                      <a:lnTo>
                        <a:pt x="545" y="74"/>
                      </a:lnTo>
                      <a:lnTo>
                        <a:pt x="572" y="86"/>
                      </a:lnTo>
                      <a:lnTo>
                        <a:pt x="558" y="97"/>
                      </a:lnTo>
                      <a:lnTo>
                        <a:pt x="562" y="117"/>
                      </a:lnTo>
                      <a:lnTo>
                        <a:pt x="570" y="155"/>
                      </a:lnTo>
                      <a:lnTo>
                        <a:pt x="589" y="183"/>
                      </a:lnTo>
                      <a:lnTo>
                        <a:pt x="572" y="184"/>
                      </a:lnTo>
                      <a:lnTo>
                        <a:pt x="562" y="177"/>
                      </a:lnTo>
                      <a:lnTo>
                        <a:pt x="522" y="179"/>
                      </a:lnTo>
                      <a:lnTo>
                        <a:pt x="514" y="184"/>
                      </a:lnTo>
                      <a:lnTo>
                        <a:pt x="504" y="181"/>
                      </a:lnTo>
                      <a:lnTo>
                        <a:pt x="473" y="188"/>
                      </a:lnTo>
                      <a:lnTo>
                        <a:pt x="442" y="19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0" name="Freeform 360"/>
                <p:cNvSpPr>
                  <a:spLocks/>
                </p:cNvSpPr>
                <p:nvPr/>
              </p:nvSpPr>
              <p:spPr bwMode="auto">
                <a:xfrm>
                  <a:off x="4987035" y="2198683"/>
                  <a:ext cx="72806" cy="53273"/>
                </a:xfrm>
                <a:custGeom>
                  <a:avLst/>
                  <a:gdLst>
                    <a:gd name="T0" fmla="*/ 8090 w 90"/>
                    <a:gd name="T1" fmla="*/ 1567 h 68"/>
                    <a:gd name="T2" fmla="*/ 3236 w 90"/>
                    <a:gd name="T3" fmla="*/ 7834 h 68"/>
                    <a:gd name="T4" fmla="*/ 9707 w 90"/>
                    <a:gd name="T5" fmla="*/ 18802 h 68"/>
                    <a:gd name="T6" fmla="*/ 0 w 90"/>
                    <a:gd name="T7" fmla="*/ 36821 h 68"/>
                    <a:gd name="T8" fmla="*/ 16179 w 90"/>
                    <a:gd name="T9" fmla="*/ 39955 h 68"/>
                    <a:gd name="T10" fmla="*/ 6472 w 90"/>
                    <a:gd name="T11" fmla="*/ 53273 h 68"/>
                    <a:gd name="T12" fmla="*/ 34785 w 90"/>
                    <a:gd name="T13" fmla="*/ 33687 h 68"/>
                    <a:gd name="T14" fmla="*/ 72806 w 90"/>
                    <a:gd name="T15" fmla="*/ 27420 h 68"/>
                    <a:gd name="T16" fmla="*/ 61481 w 90"/>
                    <a:gd name="T17" fmla="*/ 18802 h 68"/>
                    <a:gd name="T18" fmla="*/ 44493 w 90"/>
                    <a:gd name="T19" fmla="*/ 0 h 68"/>
                    <a:gd name="T20" fmla="*/ 8090 w 90"/>
                    <a:gd name="T21" fmla="*/ 1567 h 6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90"/>
                    <a:gd name="T34" fmla="*/ 0 h 68"/>
                    <a:gd name="T35" fmla="*/ 90 w 90"/>
                    <a:gd name="T36" fmla="*/ 68 h 6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90" h="68">
                      <a:moveTo>
                        <a:pt x="10" y="2"/>
                      </a:moveTo>
                      <a:lnTo>
                        <a:pt x="4" y="10"/>
                      </a:lnTo>
                      <a:lnTo>
                        <a:pt x="12" y="24"/>
                      </a:lnTo>
                      <a:lnTo>
                        <a:pt x="0" y="47"/>
                      </a:lnTo>
                      <a:lnTo>
                        <a:pt x="20" y="51"/>
                      </a:lnTo>
                      <a:lnTo>
                        <a:pt x="8" y="68"/>
                      </a:lnTo>
                      <a:lnTo>
                        <a:pt x="43" y="43"/>
                      </a:lnTo>
                      <a:lnTo>
                        <a:pt x="90" y="35"/>
                      </a:lnTo>
                      <a:lnTo>
                        <a:pt x="76" y="24"/>
                      </a:lnTo>
                      <a:lnTo>
                        <a:pt x="55" y="0"/>
                      </a:lnTo>
                      <a:lnTo>
                        <a:pt x="10" y="2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1" name="Freeform 361"/>
                <p:cNvSpPr>
                  <a:spLocks/>
                </p:cNvSpPr>
                <p:nvPr/>
              </p:nvSpPr>
              <p:spPr bwMode="auto">
                <a:xfrm>
                  <a:off x="4878714" y="1813345"/>
                  <a:ext cx="202436" cy="118976"/>
                </a:xfrm>
                <a:custGeom>
                  <a:avLst/>
                  <a:gdLst>
                    <a:gd name="T0" fmla="*/ 202436 w 260"/>
                    <a:gd name="T1" fmla="*/ 64566 h 164"/>
                    <a:gd name="T2" fmla="*/ 193093 w 260"/>
                    <a:gd name="T3" fmla="*/ 72546 h 164"/>
                    <a:gd name="T4" fmla="*/ 199322 w 260"/>
                    <a:gd name="T5" fmla="*/ 96487 h 164"/>
                    <a:gd name="T6" fmla="*/ 172071 w 260"/>
                    <a:gd name="T7" fmla="*/ 109545 h 164"/>
                    <a:gd name="T8" fmla="*/ 173628 w 260"/>
                    <a:gd name="T9" fmla="*/ 118976 h 164"/>
                    <a:gd name="T10" fmla="*/ 134698 w 260"/>
                    <a:gd name="T11" fmla="*/ 112447 h 164"/>
                    <a:gd name="T12" fmla="*/ 94989 w 260"/>
                    <a:gd name="T13" fmla="*/ 106643 h 164"/>
                    <a:gd name="T14" fmla="*/ 56059 w 260"/>
                    <a:gd name="T15" fmla="*/ 105192 h 164"/>
                    <a:gd name="T16" fmla="*/ 16351 w 260"/>
                    <a:gd name="T17" fmla="*/ 105192 h 164"/>
                    <a:gd name="T18" fmla="*/ 4672 w 260"/>
                    <a:gd name="T19" fmla="*/ 96487 h 164"/>
                    <a:gd name="T20" fmla="*/ 17908 w 260"/>
                    <a:gd name="T21" fmla="*/ 79801 h 164"/>
                    <a:gd name="T22" fmla="*/ 0 w 260"/>
                    <a:gd name="T23" fmla="*/ 46430 h 164"/>
                    <a:gd name="T24" fmla="*/ 33480 w 260"/>
                    <a:gd name="T25" fmla="*/ 23940 h 164"/>
                    <a:gd name="T26" fmla="*/ 67738 w 260"/>
                    <a:gd name="T27" fmla="*/ 3627 h 164"/>
                    <a:gd name="T28" fmla="*/ 98104 w 260"/>
                    <a:gd name="T29" fmla="*/ 0 h 164"/>
                    <a:gd name="T30" fmla="*/ 133141 w 260"/>
                    <a:gd name="T31" fmla="*/ 5078 h 164"/>
                    <a:gd name="T32" fmla="*/ 167399 w 260"/>
                    <a:gd name="T33" fmla="*/ 10882 h 164"/>
                    <a:gd name="T34" fmla="*/ 172071 w 260"/>
                    <a:gd name="T35" fmla="*/ 42077 h 164"/>
                    <a:gd name="T36" fmla="*/ 202436 w 260"/>
                    <a:gd name="T37" fmla="*/ 64566 h 16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60"/>
                    <a:gd name="T58" fmla="*/ 0 h 164"/>
                    <a:gd name="T59" fmla="*/ 260 w 260"/>
                    <a:gd name="T60" fmla="*/ 164 h 16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60" h="164">
                      <a:moveTo>
                        <a:pt x="260" y="89"/>
                      </a:moveTo>
                      <a:lnTo>
                        <a:pt x="248" y="100"/>
                      </a:lnTo>
                      <a:lnTo>
                        <a:pt x="256" y="133"/>
                      </a:lnTo>
                      <a:lnTo>
                        <a:pt x="221" y="151"/>
                      </a:lnTo>
                      <a:lnTo>
                        <a:pt x="223" y="164"/>
                      </a:lnTo>
                      <a:lnTo>
                        <a:pt x="173" y="155"/>
                      </a:lnTo>
                      <a:lnTo>
                        <a:pt x="122" y="147"/>
                      </a:lnTo>
                      <a:lnTo>
                        <a:pt x="72" y="145"/>
                      </a:lnTo>
                      <a:lnTo>
                        <a:pt x="21" y="145"/>
                      </a:lnTo>
                      <a:lnTo>
                        <a:pt x="6" y="133"/>
                      </a:lnTo>
                      <a:lnTo>
                        <a:pt x="23" y="110"/>
                      </a:lnTo>
                      <a:lnTo>
                        <a:pt x="0" y="64"/>
                      </a:lnTo>
                      <a:lnTo>
                        <a:pt x="43" y="33"/>
                      </a:lnTo>
                      <a:lnTo>
                        <a:pt x="87" y="5"/>
                      </a:lnTo>
                      <a:lnTo>
                        <a:pt x="126" y="0"/>
                      </a:lnTo>
                      <a:lnTo>
                        <a:pt x="171" y="7"/>
                      </a:lnTo>
                      <a:lnTo>
                        <a:pt x="215" y="15"/>
                      </a:lnTo>
                      <a:lnTo>
                        <a:pt x="221" y="58"/>
                      </a:lnTo>
                      <a:lnTo>
                        <a:pt x="260" y="8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2" name="Freeform 362"/>
                <p:cNvSpPr>
                  <a:spLocks/>
                </p:cNvSpPr>
                <p:nvPr/>
              </p:nvSpPr>
              <p:spPr bwMode="auto">
                <a:xfrm>
                  <a:off x="4539545" y="1783157"/>
                  <a:ext cx="58600" cy="60376"/>
                </a:xfrm>
                <a:custGeom>
                  <a:avLst/>
                  <a:gdLst>
                    <a:gd name="T0" fmla="*/ 31885 w 68"/>
                    <a:gd name="T1" fmla="*/ 54741 h 75"/>
                    <a:gd name="T2" fmla="*/ 30162 w 68"/>
                    <a:gd name="T3" fmla="*/ 60376 h 75"/>
                    <a:gd name="T4" fmla="*/ 11203 w 68"/>
                    <a:gd name="T5" fmla="*/ 57156 h 75"/>
                    <a:gd name="T6" fmla="*/ 6032 w 68"/>
                    <a:gd name="T7" fmla="*/ 53131 h 75"/>
                    <a:gd name="T8" fmla="*/ 1724 w 68"/>
                    <a:gd name="T9" fmla="*/ 38641 h 75"/>
                    <a:gd name="T10" fmla="*/ 0 w 68"/>
                    <a:gd name="T11" fmla="*/ 10465 h 75"/>
                    <a:gd name="T12" fmla="*/ 12926 w 68"/>
                    <a:gd name="T13" fmla="*/ 7245 h 75"/>
                    <a:gd name="T14" fmla="*/ 18097 w 68"/>
                    <a:gd name="T15" fmla="*/ 10465 h 75"/>
                    <a:gd name="T16" fmla="*/ 19821 w 68"/>
                    <a:gd name="T17" fmla="*/ 4025 h 75"/>
                    <a:gd name="T18" fmla="*/ 37918 w 68"/>
                    <a:gd name="T19" fmla="*/ 0 h 75"/>
                    <a:gd name="T20" fmla="*/ 44812 w 68"/>
                    <a:gd name="T21" fmla="*/ 10465 h 75"/>
                    <a:gd name="T22" fmla="*/ 58600 w 68"/>
                    <a:gd name="T23" fmla="*/ 10465 h 75"/>
                    <a:gd name="T24" fmla="*/ 51706 w 68"/>
                    <a:gd name="T25" fmla="*/ 23345 h 75"/>
                    <a:gd name="T26" fmla="*/ 34471 w 68"/>
                    <a:gd name="T27" fmla="*/ 35421 h 75"/>
                    <a:gd name="T28" fmla="*/ 34471 w 68"/>
                    <a:gd name="T29" fmla="*/ 38641 h 75"/>
                    <a:gd name="T30" fmla="*/ 31885 w 68"/>
                    <a:gd name="T31" fmla="*/ 54741 h 75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68"/>
                    <a:gd name="T49" fmla="*/ 0 h 75"/>
                    <a:gd name="T50" fmla="*/ 68 w 68"/>
                    <a:gd name="T51" fmla="*/ 75 h 75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68" h="75">
                      <a:moveTo>
                        <a:pt x="37" y="68"/>
                      </a:moveTo>
                      <a:lnTo>
                        <a:pt x="35" y="75"/>
                      </a:lnTo>
                      <a:lnTo>
                        <a:pt x="13" y="71"/>
                      </a:lnTo>
                      <a:lnTo>
                        <a:pt x="7" y="66"/>
                      </a:lnTo>
                      <a:lnTo>
                        <a:pt x="2" y="48"/>
                      </a:lnTo>
                      <a:lnTo>
                        <a:pt x="0" y="13"/>
                      </a:lnTo>
                      <a:lnTo>
                        <a:pt x="15" y="9"/>
                      </a:lnTo>
                      <a:lnTo>
                        <a:pt x="21" y="13"/>
                      </a:lnTo>
                      <a:lnTo>
                        <a:pt x="23" y="5"/>
                      </a:lnTo>
                      <a:lnTo>
                        <a:pt x="44" y="0"/>
                      </a:lnTo>
                      <a:lnTo>
                        <a:pt x="52" y="13"/>
                      </a:lnTo>
                      <a:lnTo>
                        <a:pt x="68" y="13"/>
                      </a:lnTo>
                      <a:lnTo>
                        <a:pt x="60" y="29"/>
                      </a:lnTo>
                      <a:lnTo>
                        <a:pt x="40" y="44"/>
                      </a:lnTo>
                      <a:lnTo>
                        <a:pt x="40" y="48"/>
                      </a:lnTo>
                      <a:lnTo>
                        <a:pt x="37" y="6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3" name="Freeform 363"/>
                <p:cNvSpPr>
                  <a:spLocks/>
                </p:cNvSpPr>
                <p:nvPr/>
              </p:nvSpPr>
              <p:spPr bwMode="auto">
                <a:xfrm>
                  <a:off x="4605248" y="1808017"/>
                  <a:ext cx="28412" cy="28412"/>
                </a:xfrm>
                <a:custGeom>
                  <a:avLst/>
                  <a:gdLst>
                    <a:gd name="T0" fmla="*/ 28412 w 41"/>
                    <a:gd name="T1" fmla="*/ 8447 h 37"/>
                    <a:gd name="T2" fmla="*/ 27026 w 41"/>
                    <a:gd name="T3" fmla="*/ 3839 h 37"/>
                    <a:gd name="T4" fmla="*/ 18710 w 41"/>
                    <a:gd name="T5" fmla="*/ 0 h 37"/>
                    <a:gd name="T6" fmla="*/ 17324 w 41"/>
                    <a:gd name="T7" fmla="*/ 8447 h 37"/>
                    <a:gd name="T8" fmla="*/ 11088 w 41"/>
                    <a:gd name="T9" fmla="*/ 6911 h 37"/>
                    <a:gd name="T10" fmla="*/ 2772 w 41"/>
                    <a:gd name="T11" fmla="*/ 3072 h 37"/>
                    <a:gd name="T12" fmla="*/ 0 w 41"/>
                    <a:gd name="T13" fmla="*/ 8447 h 37"/>
                    <a:gd name="T14" fmla="*/ 0 w 41"/>
                    <a:gd name="T15" fmla="*/ 14590 h 37"/>
                    <a:gd name="T16" fmla="*/ 14552 w 41"/>
                    <a:gd name="T17" fmla="*/ 28412 h 37"/>
                    <a:gd name="T18" fmla="*/ 21482 w 41"/>
                    <a:gd name="T19" fmla="*/ 23805 h 37"/>
                    <a:gd name="T20" fmla="*/ 21482 w 41"/>
                    <a:gd name="T21" fmla="*/ 17662 h 37"/>
                    <a:gd name="T22" fmla="*/ 28412 w 41"/>
                    <a:gd name="T23" fmla="*/ 8447 h 3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1"/>
                    <a:gd name="T37" fmla="*/ 0 h 37"/>
                    <a:gd name="T38" fmla="*/ 41 w 41"/>
                    <a:gd name="T39" fmla="*/ 37 h 37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1" h="37">
                      <a:moveTo>
                        <a:pt x="41" y="11"/>
                      </a:moveTo>
                      <a:lnTo>
                        <a:pt x="39" y="5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16" y="9"/>
                      </a:lnTo>
                      <a:lnTo>
                        <a:pt x="4" y="4"/>
                      </a:lnTo>
                      <a:lnTo>
                        <a:pt x="0" y="11"/>
                      </a:lnTo>
                      <a:lnTo>
                        <a:pt x="0" y="19"/>
                      </a:lnTo>
                      <a:lnTo>
                        <a:pt x="21" y="37"/>
                      </a:lnTo>
                      <a:lnTo>
                        <a:pt x="31" y="31"/>
                      </a:lnTo>
                      <a:lnTo>
                        <a:pt x="31" y="23"/>
                      </a:lnTo>
                      <a:lnTo>
                        <a:pt x="41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4" name="Freeform 364"/>
                <p:cNvSpPr>
                  <a:spLocks/>
                </p:cNvSpPr>
                <p:nvPr/>
              </p:nvSpPr>
              <p:spPr bwMode="auto">
                <a:xfrm>
                  <a:off x="4546648" y="1765399"/>
                  <a:ext cx="44394" cy="30188"/>
                </a:xfrm>
                <a:custGeom>
                  <a:avLst/>
                  <a:gdLst>
                    <a:gd name="T0" fmla="*/ 36467 w 56"/>
                    <a:gd name="T1" fmla="*/ 19861 h 38"/>
                    <a:gd name="T2" fmla="*/ 3964 w 56"/>
                    <a:gd name="T3" fmla="*/ 21449 h 38"/>
                    <a:gd name="T4" fmla="*/ 0 w 56"/>
                    <a:gd name="T5" fmla="*/ 30188 h 38"/>
                    <a:gd name="T6" fmla="*/ 793 w 56"/>
                    <a:gd name="T7" fmla="*/ 16683 h 38"/>
                    <a:gd name="T8" fmla="*/ 22990 w 56"/>
                    <a:gd name="T9" fmla="*/ 13505 h 38"/>
                    <a:gd name="T10" fmla="*/ 44394 w 56"/>
                    <a:gd name="T11" fmla="*/ 0 h 38"/>
                    <a:gd name="T12" fmla="*/ 36467 w 56"/>
                    <a:gd name="T13" fmla="*/ 19861 h 3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6"/>
                    <a:gd name="T22" fmla="*/ 0 h 38"/>
                    <a:gd name="T23" fmla="*/ 56 w 56"/>
                    <a:gd name="T24" fmla="*/ 38 h 3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6" h="38">
                      <a:moveTo>
                        <a:pt x="46" y="25"/>
                      </a:moveTo>
                      <a:lnTo>
                        <a:pt x="5" y="27"/>
                      </a:lnTo>
                      <a:lnTo>
                        <a:pt x="0" y="38"/>
                      </a:lnTo>
                      <a:lnTo>
                        <a:pt x="1" y="21"/>
                      </a:lnTo>
                      <a:lnTo>
                        <a:pt x="29" y="17"/>
                      </a:lnTo>
                      <a:lnTo>
                        <a:pt x="56" y="0"/>
                      </a:lnTo>
                      <a:lnTo>
                        <a:pt x="46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5" name="Freeform 365"/>
                <p:cNvSpPr>
                  <a:spLocks/>
                </p:cNvSpPr>
                <p:nvPr/>
              </p:nvSpPr>
              <p:spPr bwMode="auto">
                <a:xfrm>
                  <a:off x="4576836" y="1825775"/>
                  <a:ext cx="21309" cy="10655"/>
                </a:xfrm>
                <a:custGeom>
                  <a:avLst/>
                  <a:gdLst>
                    <a:gd name="T0" fmla="*/ 21309 w 29"/>
                    <a:gd name="T1" fmla="*/ 3996 h 16"/>
                    <a:gd name="T2" fmla="*/ 14696 w 29"/>
                    <a:gd name="T3" fmla="*/ 0 h 16"/>
                    <a:gd name="T4" fmla="*/ 0 w 29"/>
                    <a:gd name="T5" fmla="*/ 1332 h 16"/>
                    <a:gd name="T6" fmla="*/ 16165 w 29"/>
                    <a:gd name="T7" fmla="*/ 10655 h 16"/>
                    <a:gd name="T8" fmla="*/ 21309 w 29"/>
                    <a:gd name="T9" fmla="*/ 3996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9"/>
                    <a:gd name="T16" fmla="*/ 0 h 16"/>
                    <a:gd name="T17" fmla="*/ 29 w 29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9" h="16">
                      <a:moveTo>
                        <a:pt x="29" y="6"/>
                      </a:moveTo>
                      <a:lnTo>
                        <a:pt x="20" y="0"/>
                      </a:lnTo>
                      <a:lnTo>
                        <a:pt x="0" y="2"/>
                      </a:lnTo>
                      <a:lnTo>
                        <a:pt x="22" y="16"/>
                      </a:lnTo>
                      <a:lnTo>
                        <a:pt x="29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6" name="Freeform 366"/>
                <p:cNvSpPr>
                  <a:spLocks/>
                </p:cNvSpPr>
                <p:nvPr/>
              </p:nvSpPr>
              <p:spPr bwMode="auto">
                <a:xfrm>
                  <a:off x="4626557" y="1836429"/>
                  <a:ext cx="7103" cy="12430"/>
                </a:xfrm>
                <a:custGeom>
                  <a:avLst/>
                  <a:gdLst>
                    <a:gd name="T0" fmla="*/ 7103 w 8"/>
                    <a:gd name="T1" fmla="*/ 6215 h 8"/>
                    <a:gd name="T2" fmla="*/ 1776 w 8"/>
                    <a:gd name="T3" fmla="*/ 0 h 8"/>
                    <a:gd name="T4" fmla="*/ 0 w 8"/>
                    <a:gd name="T5" fmla="*/ 12430 h 8"/>
                    <a:gd name="T6" fmla="*/ 7103 w 8"/>
                    <a:gd name="T7" fmla="*/ 6215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8" y="4"/>
                      </a:moveTo>
                      <a:lnTo>
                        <a:pt x="2" y="0"/>
                      </a:lnTo>
                      <a:lnTo>
                        <a:pt x="0" y="8"/>
                      </a:lnTo>
                      <a:lnTo>
                        <a:pt x="8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7" name="Freeform 367"/>
                <p:cNvSpPr>
                  <a:spLocks/>
                </p:cNvSpPr>
                <p:nvPr/>
              </p:nvSpPr>
              <p:spPr bwMode="auto">
                <a:xfrm>
                  <a:off x="4857405" y="1719230"/>
                  <a:ext cx="101218" cy="40842"/>
                </a:xfrm>
                <a:custGeom>
                  <a:avLst/>
                  <a:gdLst>
                    <a:gd name="T0" fmla="*/ 101218 w 126"/>
                    <a:gd name="T1" fmla="*/ 25350 h 58"/>
                    <a:gd name="T2" fmla="*/ 93185 w 126"/>
                    <a:gd name="T3" fmla="*/ 2113 h 58"/>
                    <a:gd name="T4" fmla="*/ 38559 w 126"/>
                    <a:gd name="T5" fmla="*/ 0 h 58"/>
                    <a:gd name="T6" fmla="*/ 0 w 126"/>
                    <a:gd name="T7" fmla="*/ 9154 h 58"/>
                    <a:gd name="T8" fmla="*/ 3213 w 126"/>
                    <a:gd name="T9" fmla="*/ 17604 h 58"/>
                    <a:gd name="T10" fmla="*/ 16870 w 126"/>
                    <a:gd name="T11" fmla="*/ 30984 h 58"/>
                    <a:gd name="T12" fmla="*/ 24903 w 126"/>
                    <a:gd name="T13" fmla="*/ 30984 h 58"/>
                    <a:gd name="T14" fmla="*/ 57839 w 126"/>
                    <a:gd name="T15" fmla="*/ 36617 h 58"/>
                    <a:gd name="T16" fmla="*/ 89972 w 126"/>
                    <a:gd name="T17" fmla="*/ 40842 h 58"/>
                    <a:gd name="T18" fmla="*/ 101218 w 126"/>
                    <a:gd name="T19" fmla="*/ 25350 h 5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26"/>
                    <a:gd name="T31" fmla="*/ 0 h 58"/>
                    <a:gd name="T32" fmla="*/ 126 w 126"/>
                    <a:gd name="T33" fmla="*/ 58 h 5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26" h="58">
                      <a:moveTo>
                        <a:pt x="126" y="36"/>
                      </a:moveTo>
                      <a:lnTo>
                        <a:pt x="116" y="3"/>
                      </a:lnTo>
                      <a:lnTo>
                        <a:pt x="48" y="0"/>
                      </a:lnTo>
                      <a:lnTo>
                        <a:pt x="0" y="13"/>
                      </a:lnTo>
                      <a:lnTo>
                        <a:pt x="4" y="25"/>
                      </a:lnTo>
                      <a:lnTo>
                        <a:pt x="21" y="44"/>
                      </a:lnTo>
                      <a:lnTo>
                        <a:pt x="31" y="44"/>
                      </a:lnTo>
                      <a:lnTo>
                        <a:pt x="72" y="52"/>
                      </a:lnTo>
                      <a:lnTo>
                        <a:pt x="112" y="58"/>
                      </a:lnTo>
                      <a:lnTo>
                        <a:pt x="126" y="3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8" name="Freeform 368"/>
                <p:cNvSpPr>
                  <a:spLocks/>
                </p:cNvSpPr>
                <p:nvPr/>
              </p:nvSpPr>
              <p:spPr bwMode="auto">
                <a:xfrm>
                  <a:off x="4821890" y="1754745"/>
                  <a:ext cx="158042" cy="58600"/>
                </a:xfrm>
                <a:custGeom>
                  <a:avLst/>
                  <a:gdLst>
                    <a:gd name="T0" fmla="*/ 80586 w 202"/>
                    <a:gd name="T1" fmla="*/ 39986 h 85"/>
                    <a:gd name="T2" fmla="*/ 43031 w 202"/>
                    <a:gd name="T3" fmla="*/ 44122 h 85"/>
                    <a:gd name="T4" fmla="*/ 6259 w 202"/>
                    <a:gd name="T5" fmla="*/ 48259 h 85"/>
                    <a:gd name="T6" fmla="*/ 0 w 202"/>
                    <a:gd name="T7" fmla="*/ 49638 h 85"/>
                    <a:gd name="T8" fmla="*/ 9389 w 202"/>
                    <a:gd name="T9" fmla="*/ 17235 h 85"/>
                    <a:gd name="T10" fmla="*/ 28948 w 202"/>
                    <a:gd name="T11" fmla="*/ 15856 h 85"/>
                    <a:gd name="T12" fmla="*/ 56332 w 202"/>
                    <a:gd name="T13" fmla="*/ 32402 h 85"/>
                    <a:gd name="T14" fmla="*/ 68850 w 202"/>
                    <a:gd name="T15" fmla="*/ 22751 h 85"/>
                    <a:gd name="T16" fmla="*/ 65720 w 202"/>
                    <a:gd name="T17" fmla="*/ 0 h 85"/>
                    <a:gd name="T18" fmla="*/ 97798 w 202"/>
                    <a:gd name="T19" fmla="*/ 5515 h 85"/>
                    <a:gd name="T20" fmla="*/ 129094 w 202"/>
                    <a:gd name="T21" fmla="*/ 9652 h 85"/>
                    <a:gd name="T22" fmla="*/ 143177 w 202"/>
                    <a:gd name="T23" fmla="*/ 26887 h 85"/>
                    <a:gd name="T24" fmla="*/ 158042 w 202"/>
                    <a:gd name="T25" fmla="*/ 55153 h 85"/>
                    <a:gd name="T26" fmla="*/ 127529 w 202"/>
                    <a:gd name="T27" fmla="*/ 58600 h 85"/>
                    <a:gd name="T28" fmla="*/ 80586 w 202"/>
                    <a:gd name="T29" fmla="*/ 39986 h 8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02"/>
                    <a:gd name="T46" fmla="*/ 0 h 85"/>
                    <a:gd name="T47" fmla="*/ 202 w 202"/>
                    <a:gd name="T48" fmla="*/ 85 h 8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02" h="85">
                      <a:moveTo>
                        <a:pt x="103" y="58"/>
                      </a:moveTo>
                      <a:lnTo>
                        <a:pt x="55" y="64"/>
                      </a:lnTo>
                      <a:lnTo>
                        <a:pt x="8" y="70"/>
                      </a:lnTo>
                      <a:lnTo>
                        <a:pt x="0" y="72"/>
                      </a:lnTo>
                      <a:lnTo>
                        <a:pt x="12" y="25"/>
                      </a:lnTo>
                      <a:lnTo>
                        <a:pt x="37" y="23"/>
                      </a:lnTo>
                      <a:lnTo>
                        <a:pt x="72" y="47"/>
                      </a:lnTo>
                      <a:lnTo>
                        <a:pt x="88" y="33"/>
                      </a:lnTo>
                      <a:lnTo>
                        <a:pt x="84" y="0"/>
                      </a:lnTo>
                      <a:lnTo>
                        <a:pt x="125" y="8"/>
                      </a:lnTo>
                      <a:lnTo>
                        <a:pt x="165" y="14"/>
                      </a:lnTo>
                      <a:lnTo>
                        <a:pt x="183" y="39"/>
                      </a:lnTo>
                      <a:lnTo>
                        <a:pt x="202" y="80"/>
                      </a:lnTo>
                      <a:lnTo>
                        <a:pt x="163" y="85"/>
                      </a:lnTo>
                      <a:lnTo>
                        <a:pt x="103" y="5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79" name="Freeform 369"/>
                <p:cNvSpPr>
                  <a:spLocks/>
                </p:cNvSpPr>
                <p:nvPr/>
              </p:nvSpPr>
              <p:spPr bwMode="auto">
                <a:xfrm>
                  <a:off x="4821890" y="1795587"/>
                  <a:ext cx="122527" cy="65703"/>
                </a:xfrm>
                <a:custGeom>
                  <a:avLst/>
                  <a:gdLst>
                    <a:gd name="T0" fmla="*/ 4510 w 163"/>
                    <a:gd name="T1" fmla="*/ 45839 h 86"/>
                    <a:gd name="T2" fmla="*/ 0 w 163"/>
                    <a:gd name="T3" fmla="*/ 10696 h 86"/>
                    <a:gd name="T4" fmla="*/ 6014 w 163"/>
                    <a:gd name="T5" fmla="*/ 9168 h 86"/>
                    <a:gd name="T6" fmla="*/ 41343 w 163"/>
                    <a:gd name="T7" fmla="*/ 4584 h 86"/>
                    <a:gd name="T8" fmla="*/ 77425 w 163"/>
                    <a:gd name="T9" fmla="*/ 0 h 86"/>
                    <a:gd name="T10" fmla="*/ 122527 w 163"/>
                    <a:gd name="T11" fmla="*/ 20628 h 86"/>
                    <a:gd name="T12" fmla="*/ 89452 w 163"/>
                    <a:gd name="T13" fmla="*/ 42019 h 86"/>
                    <a:gd name="T14" fmla="*/ 57129 w 163"/>
                    <a:gd name="T15" fmla="*/ 65703 h 86"/>
                    <a:gd name="T16" fmla="*/ 38337 w 163"/>
                    <a:gd name="T17" fmla="*/ 64175 h 86"/>
                    <a:gd name="T18" fmla="*/ 36833 w 163"/>
                    <a:gd name="T19" fmla="*/ 51951 h 86"/>
                    <a:gd name="T20" fmla="*/ 18041 w 163"/>
                    <a:gd name="T21" fmla="*/ 48895 h 86"/>
                    <a:gd name="T22" fmla="*/ 4510 w 163"/>
                    <a:gd name="T23" fmla="*/ 45839 h 8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3"/>
                    <a:gd name="T37" fmla="*/ 0 h 86"/>
                    <a:gd name="T38" fmla="*/ 163 w 163"/>
                    <a:gd name="T39" fmla="*/ 86 h 8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3" h="86">
                      <a:moveTo>
                        <a:pt x="6" y="60"/>
                      </a:moveTo>
                      <a:lnTo>
                        <a:pt x="0" y="14"/>
                      </a:lnTo>
                      <a:lnTo>
                        <a:pt x="8" y="12"/>
                      </a:lnTo>
                      <a:lnTo>
                        <a:pt x="55" y="6"/>
                      </a:lnTo>
                      <a:lnTo>
                        <a:pt x="103" y="0"/>
                      </a:lnTo>
                      <a:lnTo>
                        <a:pt x="163" y="27"/>
                      </a:lnTo>
                      <a:lnTo>
                        <a:pt x="119" y="55"/>
                      </a:lnTo>
                      <a:lnTo>
                        <a:pt x="76" y="86"/>
                      </a:lnTo>
                      <a:lnTo>
                        <a:pt x="51" y="84"/>
                      </a:lnTo>
                      <a:lnTo>
                        <a:pt x="49" y="68"/>
                      </a:lnTo>
                      <a:lnTo>
                        <a:pt x="24" y="64"/>
                      </a:lnTo>
                      <a:lnTo>
                        <a:pt x="6" y="6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0" name="Freeform 370"/>
                <p:cNvSpPr>
                  <a:spLocks/>
                </p:cNvSpPr>
                <p:nvPr/>
              </p:nvSpPr>
              <p:spPr bwMode="auto">
                <a:xfrm>
                  <a:off x="4438327" y="1879047"/>
                  <a:ext cx="87012" cy="76357"/>
                </a:xfrm>
                <a:custGeom>
                  <a:avLst/>
                  <a:gdLst>
                    <a:gd name="T0" fmla="*/ 65259 w 108"/>
                    <a:gd name="T1" fmla="*/ 43403 h 95"/>
                    <a:gd name="T2" fmla="*/ 84595 w 108"/>
                    <a:gd name="T3" fmla="*/ 32150 h 95"/>
                    <a:gd name="T4" fmla="*/ 78150 w 108"/>
                    <a:gd name="T5" fmla="*/ 21701 h 95"/>
                    <a:gd name="T6" fmla="*/ 87012 w 108"/>
                    <a:gd name="T7" fmla="*/ 2411 h 95"/>
                    <a:gd name="T8" fmla="*/ 59619 w 108"/>
                    <a:gd name="T9" fmla="*/ 0 h 95"/>
                    <a:gd name="T10" fmla="*/ 29810 w 108"/>
                    <a:gd name="T11" fmla="*/ 18486 h 95"/>
                    <a:gd name="T12" fmla="*/ 8057 w 108"/>
                    <a:gd name="T13" fmla="*/ 48225 h 95"/>
                    <a:gd name="T14" fmla="*/ 0 w 108"/>
                    <a:gd name="T15" fmla="*/ 58674 h 95"/>
                    <a:gd name="T16" fmla="*/ 20142 w 108"/>
                    <a:gd name="T17" fmla="*/ 58674 h 95"/>
                    <a:gd name="T18" fmla="*/ 49951 w 108"/>
                    <a:gd name="T19" fmla="*/ 60282 h 95"/>
                    <a:gd name="T20" fmla="*/ 54785 w 108"/>
                    <a:gd name="T21" fmla="*/ 69927 h 95"/>
                    <a:gd name="T22" fmla="*/ 62036 w 108"/>
                    <a:gd name="T23" fmla="*/ 76357 h 95"/>
                    <a:gd name="T24" fmla="*/ 65259 w 108"/>
                    <a:gd name="T25" fmla="*/ 43403 h 9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8"/>
                    <a:gd name="T40" fmla="*/ 0 h 95"/>
                    <a:gd name="T41" fmla="*/ 108 w 108"/>
                    <a:gd name="T42" fmla="*/ 95 h 9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8" h="95">
                      <a:moveTo>
                        <a:pt x="81" y="54"/>
                      </a:moveTo>
                      <a:lnTo>
                        <a:pt x="105" y="40"/>
                      </a:lnTo>
                      <a:lnTo>
                        <a:pt x="97" y="27"/>
                      </a:lnTo>
                      <a:lnTo>
                        <a:pt x="108" y="3"/>
                      </a:lnTo>
                      <a:lnTo>
                        <a:pt x="74" y="0"/>
                      </a:lnTo>
                      <a:lnTo>
                        <a:pt x="37" y="23"/>
                      </a:lnTo>
                      <a:lnTo>
                        <a:pt x="10" y="60"/>
                      </a:lnTo>
                      <a:lnTo>
                        <a:pt x="0" y="73"/>
                      </a:lnTo>
                      <a:lnTo>
                        <a:pt x="25" y="73"/>
                      </a:lnTo>
                      <a:lnTo>
                        <a:pt x="62" y="75"/>
                      </a:lnTo>
                      <a:lnTo>
                        <a:pt x="68" y="87"/>
                      </a:lnTo>
                      <a:lnTo>
                        <a:pt x="77" y="95"/>
                      </a:lnTo>
                      <a:lnTo>
                        <a:pt x="81" y="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1" name="Freeform 371"/>
                <p:cNvSpPr>
                  <a:spLocks/>
                </p:cNvSpPr>
                <p:nvPr/>
              </p:nvSpPr>
              <p:spPr bwMode="auto">
                <a:xfrm>
                  <a:off x="4685157" y="1848860"/>
                  <a:ext cx="223745" cy="154491"/>
                </a:xfrm>
                <a:custGeom>
                  <a:avLst/>
                  <a:gdLst>
                    <a:gd name="T0" fmla="*/ 91636 w 293"/>
                    <a:gd name="T1" fmla="*/ 7500 h 206"/>
                    <a:gd name="T2" fmla="*/ 87818 w 293"/>
                    <a:gd name="T3" fmla="*/ 0 h 206"/>
                    <a:gd name="T4" fmla="*/ 59564 w 293"/>
                    <a:gd name="T5" fmla="*/ 1500 h 206"/>
                    <a:gd name="T6" fmla="*/ 29782 w 293"/>
                    <a:gd name="T7" fmla="*/ 11999 h 206"/>
                    <a:gd name="T8" fmla="*/ 0 w 293"/>
                    <a:gd name="T9" fmla="*/ 17249 h 206"/>
                    <a:gd name="T10" fmla="*/ 9164 w 293"/>
                    <a:gd name="T11" fmla="*/ 26248 h 206"/>
                    <a:gd name="T12" fmla="*/ 1527 w 293"/>
                    <a:gd name="T13" fmla="*/ 27748 h 206"/>
                    <a:gd name="T14" fmla="*/ 4582 w 293"/>
                    <a:gd name="T15" fmla="*/ 52497 h 206"/>
                    <a:gd name="T16" fmla="*/ 16800 w 293"/>
                    <a:gd name="T17" fmla="*/ 83245 h 206"/>
                    <a:gd name="T18" fmla="*/ 20618 w 293"/>
                    <a:gd name="T19" fmla="*/ 104994 h 206"/>
                    <a:gd name="T20" fmla="*/ 23673 w 293"/>
                    <a:gd name="T21" fmla="*/ 103494 h 206"/>
                    <a:gd name="T22" fmla="*/ 53454 w 293"/>
                    <a:gd name="T23" fmla="*/ 114743 h 206"/>
                    <a:gd name="T24" fmla="*/ 59564 w 293"/>
                    <a:gd name="T25" fmla="*/ 122243 h 206"/>
                    <a:gd name="T26" fmla="*/ 71018 w 293"/>
                    <a:gd name="T27" fmla="*/ 120743 h 206"/>
                    <a:gd name="T28" fmla="*/ 86291 w 293"/>
                    <a:gd name="T29" fmla="*/ 120743 h 206"/>
                    <a:gd name="T30" fmla="*/ 113782 w 293"/>
                    <a:gd name="T31" fmla="*/ 140992 h 206"/>
                    <a:gd name="T32" fmla="*/ 137454 w 293"/>
                    <a:gd name="T33" fmla="*/ 142492 h 206"/>
                    <a:gd name="T34" fmla="*/ 143563 w 293"/>
                    <a:gd name="T35" fmla="*/ 146991 h 206"/>
                    <a:gd name="T36" fmla="*/ 162654 w 293"/>
                    <a:gd name="T37" fmla="*/ 145492 h 206"/>
                    <a:gd name="T38" fmla="*/ 197018 w 293"/>
                    <a:gd name="T39" fmla="*/ 154491 h 206"/>
                    <a:gd name="T40" fmla="*/ 201600 w 293"/>
                    <a:gd name="T41" fmla="*/ 145492 h 206"/>
                    <a:gd name="T42" fmla="*/ 220690 w 293"/>
                    <a:gd name="T43" fmla="*/ 117743 h 206"/>
                    <a:gd name="T44" fmla="*/ 223745 w 293"/>
                    <a:gd name="T45" fmla="*/ 103494 h 206"/>
                    <a:gd name="T46" fmla="*/ 211527 w 293"/>
                    <a:gd name="T47" fmla="*/ 74246 h 206"/>
                    <a:gd name="T48" fmla="*/ 200072 w 293"/>
                    <a:gd name="T49" fmla="*/ 65246 h 206"/>
                    <a:gd name="T50" fmla="*/ 213054 w 293"/>
                    <a:gd name="T51" fmla="*/ 47997 h 206"/>
                    <a:gd name="T52" fmla="*/ 195491 w 293"/>
                    <a:gd name="T53" fmla="*/ 13499 h 206"/>
                    <a:gd name="T54" fmla="*/ 155781 w 293"/>
                    <a:gd name="T55" fmla="*/ 10499 h 206"/>
                    <a:gd name="T56" fmla="*/ 113782 w 293"/>
                    <a:gd name="T57" fmla="*/ 6000 h 206"/>
                    <a:gd name="T58" fmla="*/ 91636 w 293"/>
                    <a:gd name="T59" fmla="*/ 7500 h 20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93"/>
                    <a:gd name="T91" fmla="*/ 0 h 206"/>
                    <a:gd name="T92" fmla="*/ 293 w 293"/>
                    <a:gd name="T93" fmla="*/ 206 h 20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93" h="206">
                      <a:moveTo>
                        <a:pt x="120" y="10"/>
                      </a:moveTo>
                      <a:lnTo>
                        <a:pt x="115" y="0"/>
                      </a:lnTo>
                      <a:lnTo>
                        <a:pt x="78" y="2"/>
                      </a:lnTo>
                      <a:lnTo>
                        <a:pt x="39" y="16"/>
                      </a:lnTo>
                      <a:lnTo>
                        <a:pt x="0" y="23"/>
                      </a:lnTo>
                      <a:lnTo>
                        <a:pt x="12" y="35"/>
                      </a:lnTo>
                      <a:lnTo>
                        <a:pt x="2" y="37"/>
                      </a:lnTo>
                      <a:lnTo>
                        <a:pt x="6" y="70"/>
                      </a:lnTo>
                      <a:lnTo>
                        <a:pt x="22" y="111"/>
                      </a:lnTo>
                      <a:lnTo>
                        <a:pt x="27" y="140"/>
                      </a:lnTo>
                      <a:lnTo>
                        <a:pt x="31" y="138"/>
                      </a:lnTo>
                      <a:lnTo>
                        <a:pt x="70" y="153"/>
                      </a:lnTo>
                      <a:lnTo>
                        <a:pt x="78" y="163"/>
                      </a:lnTo>
                      <a:lnTo>
                        <a:pt x="93" y="161"/>
                      </a:lnTo>
                      <a:lnTo>
                        <a:pt x="113" y="161"/>
                      </a:lnTo>
                      <a:lnTo>
                        <a:pt x="149" y="188"/>
                      </a:lnTo>
                      <a:lnTo>
                        <a:pt x="180" y="190"/>
                      </a:lnTo>
                      <a:lnTo>
                        <a:pt x="188" y="196"/>
                      </a:lnTo>
                      <a:lnTo>
                        <a:pt x="213" y="194"/>
                      </a:lnTo>
                      <a:lnTo>
                        <a:pt x="258" y="206"/>
                      </a:lnTo>
                      <a:lnTo>
                        <a:pt x="264" y="194"/>
                      </a:lnTo>
                      <a:lnTo>
                        <a:pt x="289" y="157"/>
                      </a:lnTo>
                      <a:lnTo>
                        <a:pt x="293" y="138"/>
                      </a:lnTo>
                      <a:lnTo>
                        <a:pt x="277" y="99"/>
                      </a:lnTo>
                      <a:lnTo>
                        <a:pt x="262" y="87"/>
                      </a:lnTo>
                      <a:lnTo>
                        <a:pt x="279" y="64"/>
                      </a:lnTo>
                      <a:lnTo>
                        <a:pt x="256" y="18"/>
                      </a:lnTo>
                      <a:lnTo>
                        <a:pt x="204" y="14"/>
                      </a:lnTo>
                      <a:lnTo>
                        <a:pt x="149" y="8"/>
                      </a:lnTo>
                      <a:lnTo>
                        <a:pt x="120" y="1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2" name="Freeform 372"/>
                <p:cNvSpPr>
                  <a:spLocks/>
                </p:cNvSpPr>
                <p:nvPr/>
              </p:nvSpPr>
              <p:spPr bwMode="auto">
                <a:xfrm>
                  <a:off x="4836096" y="2021108"/>
                  <a:ext cx="223745" cy="129630"/>
                </a:xfrm>
                <a:custGeom>
                  <a:avLst/>
                  <a:gdLst>
                    <a:gd name="T0" fmla="*/ 205035 w 287"/>
                    <a:gd name="T1" fmla="*/ 104467 h 170"/>
                    <a:gd name="T2" fmla="*/ 201916 w 287"/>
                    <a:gd name="T3" fmla="*/ 126580 h 170"/>
                    <a:gd name="T4" fmla="*/ 156699 w 287"/>
                    <a:gd name="T5" fmla="*/ 118192 h 170"/>
                    <a:gd name="T6" fmla="*/ 120838 w 287"/>
                    <a:gd name="T7" fmla="*/ 129630 h 170"/>
                    <a:gd name="T8" fmla="*/ 93552 w 287"/>
                    <a:gd name="T9" fmla="*/ 125055 h 170"/>
                    <a:gd name="T10" fmla="*/ 67825 w 287"/>
                    <a:gd name="T11" fmla="*/ 121242 h 170"/>
                    <a:gd name="T12" fmla="*/ 61588 w 287"/>
                    <a:gd name="T13" fmla="*/ 113617 h 170"/>
                    <a:gd name="T14" fmla="*/ 60029 w 287"/>
                    <a:gd name="T15" fmla="*/ 104467 h 170"/>
                    <a:gd name="T16" fmla="*/ 51454 w 287"/>
                    <a:gd name="T17" fmla="*/ 101416 h 170"/>
                    <a:gd name="T18" fmla="*/ 45217 w 287"/>
                    <a:gd name="T19" fmla="*/ 100654 h 170"/>
                    <a:gd name="T20" fmla="*/ 34302 w 287"/>
                    <a:gd name="T21" fmla="*/ 94554 h 170"/>
                    <a:gd name="T22" fmla="*/ 0 w 287"/>
                    <a:gd name="T23" fmla="*/ 60240 h 170"/>
                    <a:gd name="T24" fmla="*/ 13253 w 287"/>
                    <a:gd name="T25" fmla="*/ 55665 h 170"/>
                    <a:gd name="T26" fmla="*/ 31184 w 287"/>
                    <a:gd name="T27" fmla="*/ 30501 h 170"/>
                    <a:gd name="T28" fmla="*/ 54572 w 287"/>
                    <a:gd name="T29" fmla="*/ 8388 h 170"/>
                    <a:gd name="T30" fmla="*/ 55352 w 287"/>
                    <a:gd name="T31" fmla="*/ 6863 h 170"/>
                    <a:gd name="T32" fmla="*/ 99789 w 287"/>
                    <a:gd name="T33" fmla="*/ 11438 h 170"/>
                    <a:gd name="T34" fmla="*/ 138769 w 287"/>
                    <a:gd name="T35" fmla="*/ 0 h 170"/>
                    <a:gd name="T36" fmla="*/ 140328 w 287"/>
                    <a:gd name="T37" fmla="*/ 0 h 170"/>
                    <a:gd name="T38" fmla="*/ 156699 w 287"/>
                    <a:gd name="T39" fmla="*/ 16013 h 170"/>
                    <a:gd name="T40" fmla="*/ 175410 w 287"/>
                    <a:gd name="T41" fmla="*/ 33551 h 170"/>
                    <a:gd name="T42" fmla="*/ 182426 w 287"/>
                    <a:gd name="T43" fmla="*/ 57190 h 170"/>
                    <a:gd name="T44" fmla="*/ 188663 w 287"/>
                    <a:gd name="T45" fmla="*/ 80828 h 170"/>
                    <a:gd name="T46" fmla="*/ 208153 w 287"/>
                    <a:gd name="T47" fmla="*/ 80828 h 170"/>
                    <a:gd name="T48" fmla="*/ 222186 w 287"/>
                    <a:gd name="T49" fmla="*/ 85403 h 170"/>
                    <a:gd name="T50" fmla="*/ 223745 w 287"/>
                    <a:gd name="T51" fmla="*/ 91504 h 170"/>
                    <a:gd name="T52" fmla="*/ 212831 w 287"/>
                    <a:gd name="T53" fmla="*/ 97604 h 170"/>
                    <a:gd name="T54" fmla="*/ 209712 w 287"/>
                    <a:gd name="T55" fmla="*/ 96079 h 170"/>
                    <a:gd name="T56" fmla="*/ 205035 w 287"/>
                    <a:gd name="T57" fmla="*/ 104467 h 17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87"/>
                    <a:gd name="T88" fmla="*/ 0 h 170"/>
                    <a:gd name="T89" fmla="*/ 287 w 287"/>
                    <a:gd name="T90" fmla="*/ 170 h 17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87" h="170">
                      <a:moveTo>
                        <a:pt x="263" y="137"/>
                      </a:moveTo>
                      <a:lnTo>
                        <a:pt x="259" y="166"/>
                      </a:lnTo>
                      <a:lnTo>
                        <a:pt x="201" y="155"/>
                      </a:lnTo>
                      <a:lnTo>
                        <a:pt x="155" y="170"/>
                      </a:lnTo>
                      <a:lnTo>
                        <a:pt x="120" y="164"/>
                      </a:lnTo>
                      <a:lnTo>
                        <a:pt x="87" y="159"/>
                      </a:lnTo>
                      <a:lnTo>
                        <a:pt x="79" y="149"/>
                      </a:lnTo>
                      <a:lnTo>
                        <a:pt x="77" y="137"/>
                      </a:lnTo>
                      <a:lnTo>
                        <a:pt x="66" y="133"/>
                      </a:lnTo>
                      <a:lnTo>
                        <a:pt x="58" y="132"/>
                      </a:lnTo>
                      <a:lnTo>
                        <a:pt x="44" y="124"/>
                      </a:lnTo>
                      <a:lnTo>
                        <a:pt x="0" y="79"/>
                      </a:lnTo>
                      <a:lnTo>
                        <a:pt x="17" y="73"/>
                      </a:lnTo>
                      <a:lnTo>
                        <a:pt x="40" y="40"/>
                      </a:lnTo>
                      <a:lnTo>
                        <a:pt x="70" y="11"/>
                      </a:lnTo>
                      <a:lnTo>
                        <a:pt x="71" y="9"/>
                      </a:lnTo>
                      <a:lnTo>
                        <a:pt x="128" y="15"/>
                      </a:lnTo>
                      <a:lnTo>
                        <a:pt x="178" y="0"/>
                      </a:lnTo>
                      <a:lnTo>
                        <a:pt x="180" y="0"/>
                      </a:lnTo>
                      <a:lnTo>
                        <a:pt x="201" y="21"/>
                      </a:lnTo>
                      <a:lnTo>
                        <a:pt x="225" y="44"/>
                      </a:lnTo>
                      <a:lnTo>
                        <a:pt x="234" y="75"/>
                      </a:lnTo>
                      <a:lnTo>
                        <a:pt x="242" y="106"/>
                      </a:lnTo>
                      <a:lnTo>
                        <a:pt x="267" y="106"/>
                      </a:lnTo>
                      <a:lnTo>
                        <a:pt x="285" y="112"/>
                      </a:lnTo>
                      <a:lnTo>
                        <a:pt x="287" y="120"/>
                      </a:lnTo>
                      <a:lnTo>
                        <a:pt x="273" y="128"/>
                      </a:lnTo>
                      <a:lnTo>
                        <a:pt x="269" y="126"/>
                      </a:lnTo>
                      <a:lnTo>
                        <a:pt x="263" y="137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3" name="Freeform 373"/>
                <p:cNvSpPr>
                  <a:spLocks/>
                </p:cNvSpPr>
                <p:nvPr/>
              </p:nvSpPr>
              <p:spPr bwMode="auto">
                <a:xfrm>
                  <a:off x="4640763" y="1950078"/>
                  <a:ext cx="152715" cy="63927"/>
                </a:xfrm>
                <a:custGeom>
                  <a:avLst/>
                  <a:gdLst>
                    <a:gd name="T0" fmla="*/ 124521 w 195"/>
                    <a:gd name="T1" fmla="*/ 17957 h 89"/>
                    <a:gd name="T2" fmla="*/ 152715 w 195"/>
                    <a:gd name="T3" fmla="*/ 37351 h 89"/>
                    <a:gd name="T4" fmla="*/ 151932 w 195"/>
                    <a:gd name="T5" fmla="*/ 40224 h 89"/>
                    <a:gd name="T6" fmla="*/ 144100 w 195"/>
                    <a:gd name="T7" fmla="*/ 44533 h 89"/>
                    <a:gd name="T8" fmla="*/ 137835 w 195"/>
                    <a:gd name="T9" fmla="*/ 47407 h 89"/>
                    <a:gd name="T10" fmla="*/ 137835 w 195"/>
                    <a:gd name="T11" fmla="*/ 50280 h 89"/>
                    <a:gd name="T12" fmla="*/ 130004 w 195"/>
                    <a:gd name="T13" fmla="*/ 56744 h 89"/>
                    <a:gd name="T14" fmla="*/ 118256 w 195"/>
                    <a:gd name="T15" fmla="*/ 59617 h 89"/>
                    <a:gd name="T16" fmla="*/ 110425 w 195"/>
                    <a:gd name="T17" fmla="*/ 59617 h 89"/>
                    <a:gd name="T18" fmla="*/ 102593 w 195"/>
                    <a:gd name="T19" fmla="*/ 58181 h 89"/>
                    <a:gd name="T20" fmla="*/ 65002 w 195"/>
                    <a:gd name="T21" fmla="*/ 53871 h 89"/>
                    <a:gd name="T22" fmla="*/ 51688 w 195"/>
                    <a:gd name="T23" fmla="*/ 63927 h 89"/>
                    <a:gd name="T24" fmla="*/ 39158 w 195"/>
                    <a:gd name="T25" fmla="*/ 58181 h 89"/>
                    <a:gd name="T26" fmla="*/ 5482 w 195"/>
                    <a:gd name="T27" fmla="*/ 30886 h 89"/>
                    <a:gd name="T28" fmla="*/ 0 w 195"/>
                    <a:gd name="T29" fmla="*/ 20830 h 89"/>
                    <a:gd name="T30" fmla="*/ 51688 w 195"/>
                    <a:gd name="T31" fmla="*/ 0 h 89"/>
                    <a:gd name="T32" fmla="*/ 57170 w 195"/>
                    <a:gd name="T33" fmla="*/ 2873 h 89"/>
                    <a:gd name="T34" fmla="*/ 60303 w 195"/>
                    <a:gd name="T35" fmla="*/ 1437 h 89"/>
                    <a:gd name="T36" fmla="*/ 90846 w 195"/>
                    <a:gd name="T37" fmla="*/ 12211 h 89"/>
                    <a:gd name="T38" fmla="*/ 97111 w 195"/>
                    <a:gd name="T39" fmla="*/ 19394 h 89"/>
                    <a:gd name="T40" fmla="*/ 108858 w 195"/>
                    <a:gd name="T41" fmla="*/ 17957 h 89"/>
                    <a:gd name="T42" fmla="*/ 124521 w 195"/>
                    <a:gd name="T43" fmla="*/ 17957 h 89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95"/>
                    <a:gd name="T67" fmla="*/ 0 h 89"/>
                    <a:gd name="T68" fmla="*/ 195 w 195"/>
                    <a:gd name="T69" fmla="*/ 89 h 89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95" h="89">
                      <a:moveTo>
                        <a:pt x="159" y="25"/>
                      </a:moveTo>
                      <a:lnTo>
                        <a:pt x="195" y="52"/>
                      </a:lnTo>
                      <a:lnTo>
                        <a:pt x="194" y="56"/>
                      </a:lnTo>
                      <a:lnTo>
                        <a:pt x="184" y="62"/>
                      </a:lnTo>
                      <a:lnTo>
                        <a:pt x="176" y="66"/>
                      </a:lnTo>
                      <a:lnTo>
                        <a:pt x="176" y="70"/>
                      </a:lnTo>
                      <a:lnTo>
                        <a:pt x="166" y="79"/>
                      </a:lnTo>
                      <a:lnTo>
                        <a:pt x="151" y="83"/>
                      </a:lnTo>
                      <a:lnTo>
                        <a:pt x="141" y="83"/>
                      </a:lnTo>
                      <a:lnTo>
                        <a:pt x="131" y="81"/>
                      </a:lnTo>
                      <a:lnTo>
                        <a:pt x="83" y="75"/>
                      </a:lnTo>
                      <a:lnTo>
                        <a:pt x="66" y="89"/>
                      </a:lnTo>
                      <a:lnTo>
                        <a:pt x="50" y="81"/>
                      </a:lnTo>
                      <a:lnTo>
                        <a:pt x="7" y="43"/>
                      </a:lnTo>
                      <a:lnTo>
                        <a:pt x="0" y="29"/>
                      </a:lnTo>
                      <a:lnTo>
                        <a:pt x="66" y="0"/>
                      </a:lnTo>
                      <a:lnTo>
                        <a:pt x="73" y="4"/>
                      </a:lnTo>
                      <a:lnTo>
                        <a:pt x="77" y="2"/>
                      </a:lnTo>
                      <a:lnTo>
                        <a:pt x="116" y="17"/>
                      </a:lnTo>
                      <a:lnTo>
                        <a:pt x="124" y="27"/>
                      </a:lnTo>
                      <a:lnTo>
                        <a:pt x="139" y="25"/>
                      </a:lnTo>
                      <a:lnTo>
                        <a:pt x="159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4" name="Freeform 374"/>
                <p:cNvSpPr>
                  <a:spLocks/>
                </p:cNvSpPr>
                <p:nvPr/>
              </p:nvSpPr>
              <p:spPr bwMode="auto">
                <a:xfrm>
                  <a:off x="4424121" y="1937647"/>
                  <a:ext cx="79909" cy="47945"/>
                </a:xfrm>
                <a:custGeom>
                  <a:avLst/>
                  <a:gdLst>
                    <a:gd name="T0" fmla="*/ 17339 w 106"/>
                    <a:gd name="T1" fmla="*/ 0 h 66"/>
                    <a:gd name="T2" fmla="*/ 0 w 106"/>
                    <a:gd name="T3" fmla="*/ 7264 h 66"/>
                    <a:gd name="T4" fmla="*/ 8292 w 106"/>
                    <a:gd name="T5" fmla="*/ 17435 h 66"/>
                    <a:gd name="T6" fmla="*/ 37693 w 106"/>
                    <a:gd name="T7" fmla="*/ 34143 h 66"/>
                    <a:gd name="T8" fmla="*/ 48247 w 106"/>
                    <a:gd name="T9" fmla="*/ 34143 h 66"/>
                    <a:gd name="T10" fmla="*/ 49755 w 106"/>
                    <a:gd name="T11" fmla="*/ 37048 h 66"/>
                    <a:gd name="T12" fmla="*/ 71617 w 106"/>
                    <a:gd name="T13" fmla="*/ 47945 h 66"/>
                    <a:gd name="T14" fmla="*/ 73124 w 106"/>
                    <a:gd name="T15" fmla="*/ 47945 h 66"/>
                    <a:gd name="T16" fmla="*/ 73124 w 106"/>
                    <a:gd name="T17" fmla="*/ 43586 h 66"/>
                    <a:gd name="T18" fmla="*/ 78401 w 106"/>
                    <a:gd name="T19" fmla="*/ 32690 h 66"/>
                    <a:gd name="T20" fmla="*/ 79909 w 106"/>
                    <a:gd name="T21" fmla="*/ 18887 h 66"/>
                    <a:gd name="T22" fmla="*/ 75386 w 106"/>
                    <a:gd name="T23" fmla="*/ 15982 h 66"/>
                    <a:gd name="T24" fmla="*/ 68601 w 106"/>
                    <a:gd name="T25" fmla="*/ 10170 h 66"/>
                    <a:gd name="T26" fmla="*/ 64078 w 106"/>
                    <a:gd name="T27" fmla="*/ 1453 h 66"/>
                    <a:gd name="T28" fmla="*/ 36185 w 106"/>
                    <a:gd name="T29" fmla="*/ 0 h 66"/>
                    <a:gd name="T30" fmla="*/ 17339 w 106"/>
                    <a:gd name="T31" fmla="*/ 0 h 6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6"/>
                    <a:gd name="T49" fmla="*/ 0 h 66"/>
                    <a:gd name="T50" fmla="*/ 106 w 106"/>
                    <a:gd name="T51" fmla="*/ 66 h 6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6" h="66">
                      <a:moveTo>
                        <a:pt x="23" y="0"/>
                      </a:moveTo>
                      <a:lnTo>
                        <a:pt x="0" y="10"/>
                      </a:lnTo>
                      <a:lnTo>
                        <a:pt x="11" y="24"/>
                      </a:lnTo>
                      <a:lnTo>
                        <a:pt x="50" y="47"/>
                      </a:lnTo>
                      <a:lnTo>
                        <a:pt x="64" y="47"/>
                      </a:lnTo>
                      <a:lnTo>
                        <a:pt x="66" y="51"/>
                      </a:lnTo>
                      <a:lnTo>
                        <a:pt x="95" y="66"/>
                      </a:lnTo>
                      <a:lnTo>
                        <a:pt x="97" y="66"/>
                      </a:lnTo>
                      <a:lnTo>
                        <a:pt x="97" y="60"/>
                      </a:lnTo>
                      <a:lnTo>
                        <a:pt x="104" y="45"/>
                      </a:lnTo>
                      <a:lnTo>
                        <a:pt x="106" y="26"/>
                      </a:lnTo>
                      <a:lnTo>
                        <a:pt x="100" y="22"/>
                      </a:lnTo>
                      <a:lnTo>
                        <a:pt x="91" y="14"/>
                      </a:lnTo>
                      <a:lnTo>
                        <a:pt x="85" y="2"/>
                      </a:lnTo>
                      <a:lnTo>
                        <a:pt x="48" y="0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5" name="Freeform 375"/>
                <p:cNvSpPr>
                  <a:spLocks/>
                </p:cNvSpPr>
                <p:nvPr/>
              </p:nvSpPr>
              <p:spPr bwMode="auto">
                <a:xfrm>
                  <a:off x="4496927" y="1836429"/>
                  <a:ext cx="202436" cy="207763"/>
                </a:xfrm>
                <a:custGeom>
                  <a:avLst/>
                  <a:gdLst>
                    <a:gd name="T0" fmla="*/ 49027 w 256"/>
                    <a:gd name="T1" fmla="*/ 38391 h 276"/>
                    <a:gd name="T2" fmla="*/ 52191 w 256"/>
                    <a:gd name="T3" fmla="*/ 39897 h 276"/>
                    <a:gd name="T4" fmla="*/ 52191 w 256"/>
                    <a:gd name="T5" fmla="*/ 35380 h 276"/>
                    <a:gd name="T6" fmla="*/ 61680 w 256"/>
                    <a:gd name="T7" fmla="*/ 29358 h 276"/>
                    <a:gd name="T8" fmla="*/ 76704 w 256"/>
                    <a:gd name="T9" fmla="*/ 36885 h 276"/>
                    <a:gd name="T10" fmla="*/ 69587 w 256"/>
                    <a:gd name="T11" fmla="*/ 27852 h 276"/>
                    <a:gd name="T12" fmla="*/ 61680 w 256"/>
                    <a:gd name="T13" fmla="*/ 18066 h 276"/>
                    <a:gd name="T14" fmla="*/ 60098 w 256"/>
                    <a:gd name="T15" fmla="*/ 15055 h 276"/>
                    <a:gd name="T16" fmla="*/ 55354 w 256"/>
                    <a:gd name="T17" fmla="*/ 0 h 276"/>
                    <a:gd name="T18" fmla="*/ 72750 w 256"/>
                    <a:gd name="T19" fmla="*/ 3011 h 276"/>
                    <a:gd name="T20" fmla="*/ 78286 w 256"/>
                    <a:gd name="T21" fmla="*/ 3011 h 276"/>
                    <a:gd name="T22" fmla="*/ 81449 w 256"/>
                    <a:gd name="T23" fmla="*/ 12044 h 276"/>
                    <a:gd name="T24" fmla="*/ 105963 w 256"/>
                    <a:gd name="T25" fmla="*/ 15055 h 276"/>
                    <a:gd name="T26" fmla="*/ 105963 w 256"/>
                    <a:gd name="T27" fmla="*/ 21830 h 276"/>
                    <a:gd name="T28" fmla="*/ 112289 w 256"/>
                    <a:gd name="T29" fmla="*/ 26347 h 276"/>
                    <a:gd name="T30" fmla="*/ 144710 w 256"/>
                    <a:gd name="T31" fmla="*/ 13550 h 276"/>
                    <a:gd name="T32" fmla="*/ 143129 w 256"/>
                    <a:gd name="T33" fmla="*/ 15055 h 276"/>
                    <a:gd name="T34" fmla="*/ 170805 w 256"/>
                    <a:gd name="T35" fmla="*/ 23336 h 276"/>
                    <a:gd name="T36" fmla="*/ 181085 w 256"/>
                    <a:gd name="T37" fmla="*/ 23336 h 276"/>
                    <a:gd name="T38" fmla="*/ 190574 w 256"/>
                    <a:gd name="T39" fmla="*/ 32369 h 276"/>
                    <a:gd name="T40" fmla="*/ 182667 w 256"/>
                    <a:gd name="T41" fmla="*/ 33874 h 276"/>
                    <a:gd name="T42" fmla="*/ 185830 w 256"/>
                    <a:gd name="T43" fmla="*/ 58716 h 276"/>
                    <a:gd name="T44" fmla="*/ 198482 w 256"/>
                    <a:gd name="T45" fmla="*/ 89579 h 276"/>
                    <a:gd name="T46" fmla="*/ 202436 w 256"/>
                    <a:gd name="T47" fmla="*/ 111409 h 276"/>
                    <a:gd name="T48" fmla="*/ 196901 w 256"/>
                    <a:gd name="T49" fmla="*/ 108398 h 276"/>
                    <a:gd name="T50" fmla="*/ 144710 w 256"/>
                    <a:gd name="T51" fmla="*/ 130228 h 276"/>
                    <a:gd name="T52" fmla="*/ 150245 w 256"/>
                    <a:gd name="T53" fmla="*/ 140767 h 276"/>
                    <a:gd name="T54" fmla="*/ 184248 w 256"/>
                    <a:gd name="T55" fmla="*/ 169372 h 276"/>
                    <a:gd name="T56" fmla="*/ 164479 w 256"/>
                    <a:gd name="T57" fmla="*/ 185933 h 276"/>
                    <a:gd name="T58" fmla="*/ 169224 w 256"/>
                    <a:gd name="T59" fmla="*/ 200235 h 276"/>
                    <a:gd name="T60" fmla="*/ 161316 w 256"/>
                    <a:gd name="T61" fmla="*/ 203246 h 276"/>
                    <a:gd name="T62" fmla="*/ 133639 w 256"/>
                    <a:gd name="T63" fmla="*/ 203246 h 276"/>
                    <a:gd name="T64" fmla="*/ 113870 w 256"/>
                    <a:gd name="T65" fmla="*/ 203246 h 276"/>
                    <a:gd name="T66" fmla="*/ 107544 w 256"/>
                    <a:gd name="T67" fmla="*/ 207763 h 276"/>
                    <a:gd name="T68" fmla="*/ 86193 w 256"/>
                    <a:gd name="T69" fmla="*/ 204752 h 276"/>
                    <a:gd name="T70" fmla="*/ 63261 w 256"/>
                    <a:gd name="T71" fmla="*/ 200235 h 276"/>
                    <a:gd name="T72" fmla="*/ 40329 w 256"/>
                    <a:gd name="T73" fmla="*/ 203246 h 276"/>
                    <a:gd name="T74" fmla="*/ 49027 w 256"/>
                    <a:gd name="T75" fmla="*/ 164103 h 276"/>
                    <a:gd name="T76" fmla="*/ 14234 w 256"/>
                    <a:gd name="T77" fmla="*/ 152058 h 276"/>
                    <a:gd name="T78" fmla="*/ 9489 w 256"/>
                    <a:gd name="T79" fmla="*/ 150553 h 276"/>
                    <a:gd name="T80" fmla="*/ 9489 w 256"/>
                    <a:gd name="T81" fmla="*/ 147542 h 276"/>
                    <a:gd name="T82" fmla="*/ 3163 w 256"/>
                    <a:gd name="T83" fmla="*/ 131734 h 276"/>
                    <a:gd name="T84" fmla="*/ 4745 w 256"/>
                    <a:gd name="T85" fmla="*/ 117431 h 276"/>
                    <a:gd name="T86" fmla="*/ 0 w 256"/>
                    <a:gd name="T87" fmla="*/ 114420 h 276"/>
                    <a:gd name="T88" fmla="*/ 3163 w 256"/>
                    <a:gd name="T89" fmla="*/ 83557 h 276"/>
                    <a:gd name="T90" fmla="*/ 22141 w 256"/>
                    <a:gd name="T91" fmla="*/ 73018 h 276"/>
                    <a:gd name="T92" fmla="*/ 15815 w 256"/>
                    <a:gd name="T93" fmla="*/ 63232 h 276"/>
                    <a:gd name="T94" fmla="*/ 24514 w 256"/>
                    <a:gd name="T95" fmla="*/ 45166 h 276"/>
                    <a:gd name="T96" fmla="*/ 20560 w 256"/>
                    <a:gd name="T97" fmla="*/ 44413 h 276"/>
                    <a:gd name="T98" fmla="*/ 24514 w 256"/>
                    <a:gd name="T99" fmla="*/ 33874 h 276"/>
                    <a:gd name="T100" fmla="*/ 49027 w 256"/>
                    <a:gd name="T101" fmla="*/ 38391 h 27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256"/>
                    <a:gd name="T154" fmla="*/ 0 h 276"/>
                    <a:gd name="T155" fmla="*/ 256 w 256"/>
                    <a:gd name="T156" fmla="*/ 276 h 27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256" h="276">
                      <a:moveTo>
                        <a:pt x="62" y="51"/>
                      </a:moveTo>
                      <a:lnTo>
                        <a:pt x="66" y="53"/>
                      </a:lnTo>
                      <a:lnTo>
                        <a:pt x="66" y="47"/>
                      </a:lnTo>
                      <a:lnTo>
                        <a:pt x="78" y="39"/>
                      </a:lnTo>
                      <a:lnTo>
                        <a:pt x="97" y="49"/>
                      </a:lnTo>
                      <a:lnTo>
                        <a:pt x="88" y="37"/>
                      </a:lnTo>
                      <a:lnTo>
                        <a:pt x="78" y="24"/>
                      </a:lnTo>
                      <a:lnTo>
                        <a:pt x="76" y="20"/>
                      </a:lnTo>
                      <a:lnTo>
                        <a:pt x="70" y="0"/>
                      </a:lnTo>
                      <a:lnTo>
                        <a:pt x="92" y="4"/>
                      </a:lnTo>
                      <a:lnTo>
                        <a:pt x="99" y="4"/>
                      </a:lnTo>
                      <a:lnTo>
                        <a:pt x="103" y="16"/>
                      </a:lnTo>
                      <a:lnTo>
                        <a:pt x="134" y="20"/>
                      </a:lnTo>
                      <a:lnTo>
                        <a:pt x="134" y="29"/>
                      </a:lnTo>
                      <a:lnTo>
                        <a:pt x="142" y="35"/>
                      </a:lnTo>
                      <a:lnTo>
                        <a:pt x="183" y="18"/>
                      </a:lnTo>
                      <a:lnTo>
                        <a:pt x="181" y="20"/>
                      </a:lnTo>
                      <a:lnTo>
                        <a:pt x="216" y="31"/>
                      </a:lnTo>
                      <a:lnTo>
                        <a:pt x="229" y="31"/>
                      </a:lnTo>
                      <a:lnTo>
                        <a:pt x="241" y="43"/>
                      </a:lnTo>
                      <a:lnTo>
                        <a:pt x="231" y="45"/>
                      </a:lnTo>
                      <a:lnTo>
                        <a:pt x="235" y="78"/>
                      </a:lnTo>
                      <a:lnTo>
                        <a:pt x="251" y="119"/>
                      </a:lnTo>
                      <a:lnTo>
                        <a:pt x="256" y="148"/>
                      </a:lnTo>
                      <a:lnTo>
                        <a:pt x="249" y="144"/>
                      </a:lnTo>
                      <a:lnTo>
                        <a:pt x="183" y="173"/>
                      </a:lnTo>
                      <a:lnTo>
                        <a:pt x="190" y="187"/>
                      </a:lnTo>
                      <a:lnTo>
                        <a:pt x="233" y="225"/>
                      </a:lnTo>
                      <a:lnTo>
                        <a:pt x="208" y="247"/>
                      </a:lnTo>
                      <a:lnTo>
                        <a:pt x="214" y="266"/>
                      </a:lnTo>
                      <a:lnTo>
                        <a:pt x="204" y="270"/>
                      </a:lnTo>
                      <a:lnTo>
                        <a:pt x="169" y="270"/>
                      </a:lnTo>
                      <a:lnTo>
                        <a:pt x="144" y="270"/>
                      </a:lnTo>
                      <a:lnTo>
                        <a:pt x="136" y="276"/>
                      </a:lnTo>
                      <a:lnTo>
                        <a:pt x="109" y="272"/>
                      </a:lnTo>
                      <a:lnTo>
                        <a:pt x="80" y="266"/>
                      </a:lnTo>
                      <a:lnTo>
                        <a:pt x="51" y="270"/>
                      </a:lnTo>
                      <a:lnTo>
                        <a:pt x="62" y="218"/>
                      </a:lnTo>
                      <a:lnTo>
                        <a:pt x="18" y="202"/>
                      </a:lnTo>
                      <a:lnTo>
                        <a:pt x="12" y="200"/>
                      </a:lnTo>
                      <a:lnTo>
                        <a:pt x="12" y="196"/>
                      </a:lnTo>
                      <a:lnTo>
                        <a:pt x="4" y="175"/>
                      </a:lnTo>
                      <a:lnTo>
                        <a:pt x="6" y="156"/>
                      </a:lnTo>
                      <a:lnTo>
                        <a:pt x="0" y="152"/>
                      </a:lnTo>
                      <a:lnTo>
                        <a:pt x="4" y="111"/>
                      </a:lnTo>
                      <a:lnTo>
                        <a:pt x="28" y="97"/>
                      </a:lnTo>
                      <a:lnTo>
                        <a:pt x="20" y="84"/>
                      </a:lnTo>
                      <a:lnTo>
                        <a:pt x="31" y="60"/>
                      </a:lnTo>
                      <a:lnTo>
                        <a:pt x="26" y="59"/>
                      </a:lnTo>
                      <a:lnTo>
                        <a:pt x="31" y="45"/>
                      </a:lnTo>
                      <a:lnTo>
                        <a:pt x="62" y="51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6" name="Freeform 376"/>
                <p:cNvSpPr>
                  <a:spLocks/>
                </p:cNvSpPr>
                <p:nvPr/>
              </p:nvSpPr>
              <p:spPr bwMode="auto">
                <a:xfrm>
                  <a:off x="4654969" y="1848860"/>
                  <a:ext cx="7103" cy="5327"/>
                </a:xfrm>
                <a:custGeom>
                  <a:avLst/>
                  <a:gdLst>
                    <a:gd name="T0" fmla="*/ 0 w 18"/>
                    <a:gd name="T1" fmla="*/ 5327 h 8"/>
                    <a:gd name="T2" fmla="*/ 7103 w 18"/>
                    <a:gd name="T3" fmla="*/ 5327 h 8"/>
                    <a:gd name="T4" fmla="*/ 3946 w 18"/>
                    <a:gd name="T5" fmla="*/ 0 h 8"/>
                    <a:gd name="T6" fmla="*/ 0 w 18"/>
                    <a:gd name="T7" fmla="*/ 532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8"/>
                    <a:gd name="T14" fmla="*/ 18 w 1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8">
                      <a:moveTo>
                        <a:pt x="0" y="8"/>
                      </a:moveTo>
                      <a:lnTo>
                        <a:pt x="18" y="8"/>
                      </a:lnTo>
                      <a:lnTo>
                        <a:pt x="1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7" name="Freeform 377"/>
                <p:cNvSpPr>
                  <a:spLocks/>
                </p:cNvSpPr>
                <p:nvPr/>
              </p:nvSpPr>
              <p:spPr bwMode="auto">
                <a:xfrm>
                  <a:off x="4496927" y="1967835"/>
                  <a:ext cx="7103" cy="23085"/>
                </a:xfrm>
                <a:custGeom>
                  <a:avLst/>
                  <a:gdLst>
                    <a:gd name="T0" fmla="*/ 3315 w 15"/>
                    <a:gd name="T1" fmla="*/ 0 h 25"/>
                    <a:gd name="T2" fmla="*/ 0 w 15"/>
                    <a:gd name="T3" fmla="*/ 13851 h 25"/>
                    <a:gd name="T4" fmla="*/ 0 w 15"/>
                    <a:gd name="T5" fmla="*/ 19391 h 25"/>
                    <a:gd name="T6" fmla="*/ 7103 w 15"/>
                    <a:gd name="T7" fmla="*/ 23085 h 25"/>
                    <a:gd name="T8" fmla="*/ 7103 w 15"/>
                    <a:gd name="T9" fmla="*/ 19391 h 25"/>
                    <a:gd name="T10" fmla="*/ 3315 w 15"/>
                    <a:gd name="T11" fmla="*/ 0 h 2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"/>
                    <a:gd name="T19" fmla="*/ 0 h 25"/>
                    <a:gd name="T20" fmla="*/ 15 w 15"/>
                    <a:gd name="T21" fmla="*/ 25 h 2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" h="25">
                      <a:moveTo>
                        <a:pt x="7" y="0"/>
                      </a:moveTo>
                      <a:lnTo>
                        <a:pt x="0" y="15"/>
                      </a:lnTo>
                      <a:lnTo>
                        <a:pt x="0" y="21"/>
                      </a:lnTo>
                      <a:lnTo>
                        <a:pt x="15" y="25"/>
                      </a:lnTo>
                      <a:lnTo>
                        <a:pt x="15" y="21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8" name="Freeform 378"/>
                <p:cNvSpPr>
                  <a:spLocks/>
                </p:cNvSpPr>
                <p:nvPr/>
              </p:nvSpPr>
              <p:spPr bwMode="auto">
                <a:xfrm>
                  <a:off x="4979932" y="2008678"/>
                  <a:ext cx="101218" cy="101218"/>
                </a:xfrm>
                <a:custGeom>
                  <a:avLst/>
                  <a:gdLst>
                    <a:gd name="T0" fmla="*/ 19465 w 130"/>
                    <a:gd name="T1" fmla="*/ 0 h 134"/>
                    <a:gd name="T2" fmla="*/ 0 w 130"/>
                    <a:gd name="T3" fmla="*/ 16618 h 134"/>
                    <a:gd name="T4" fmla="*/ 1557 w 130"/>
                    <a:gd name="T5" fmla="*/ 16618 h 134"/>
                    <a:gd name="T6" fmla="*/ 17908 w 130"/>
                    <a:gd name="T7" fmla="*/ 32480 h 134"/>
                    <a:gd name="T8" fmla="*/ 36594 w 130"/>
                    <a:gd name="T9" fmla="*/ 49854 h 134"/>
                    <a:gd name="T10" fmla="*/ 43602 w 130"/>
                    <a:gd name="T11" fmla="*/ 73270 h 134"/>
                    <a:gd name="T12" fmla="*/ 49830 w 130"/>
                    <a:gd name="T13" fmla="*/ 96686 h 134"/>
                    <a:gd name="T14" fmla="*/ 69295 w 130"/>
                    <a:gd name="T15" fmla="*/ 96686 h 134"/>
                    <a:gd name="T16" fmla="*/ 83310 w 130"/>
                    <a:gd name="T17" fmla="*/ 101218 h 134"/>
                    <a:gd name="T18" fmla="*/ 81753 w 130"/>
                    <a:gd name="T19" fmla="*/ 88377 h 134"/>
                    <a:gd name="T20" fmla="*/ 101218 w 130"/>
                    <a:gd name="T21" fmla="*/ 68738 h 134"/>
                    <a:gd name="T22" fmla="*/ 83310 w 130"/>
                    <a:gd name="T23" fmla="*/ 52875 h 134"/>
                    <a:gd name="T24" fmla="*/ 64624 w 130"/>
                    <a:gd name="T25" fmla="*/ 37013 h 134"/>
                    <a:gd name="T26" fmla="*/ 45159 w 130"/>
                    <a:gd name="T27" fmla="*/ 19639 h 134"/>
                    <a:gd name="T28" fmla="*/ 27251 w 130"/>
                    <a:gd name="T29" fmla="*/ 3021 h 134"/>
                    <a:gd name="T30" fmla="*/ 19465 w 130"/>
                    <a:gd name="T31" fmla="*/ 0 h 13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0"/>
                    <a:gd name="T49" fmla="*/ 0 h 134"/>
                    <a:gd name="T50" fmla="*/ 130 w 130"/>
                    <a:gd name="T51" fmla="*/ 134 h 13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0" h="134">
                      <a:moveTo>
                        <a:pt x="25" y="0"/>
                      </a:moveTo>
                      <a:lnTo>
                        <a:pt x="0" y="22"/>
                      </a:lnTo>
                      <a:lnTo>
                        <a:pt x="2" y="22"/>
                      </a:lnTo>
                      <a:lnTo>
                        <a:pt x="23" y="43"/>
                      </a:lnTo>
                      <a:lnTo>
                        <a:pt x="47" y="66"/>
                      </a:lnTo>
                      <a:lnTo>
                        <a:pt x="56" y="97"/>
                      </a:lnTo>
                      <a:lnTo>
                        <a:pt x="64" y="128"/>
                      </a:lnTo>
                      <a:lnTo>
                        <a:pt x="89" y="128"/>
                      </a:lnTo>
                      <a:lnTo>
                        <a:pt x="107" y="134"/>
                      </a:lnTo>
                      <a:lnTo>
                        <a:pt x="105" y="117"/>
                      </a:lnTo>
                      <a:lnTo>
                        <a:pt x="130" y="91"/>
                      </a:lnTo>
                      <a:lnTo>
                        <a:pt x="107" y="70"/>
                      </a:lnTo>
                      <a:lnTo>
                        <a:pt x="83" y="49"/>
                      </a:lnTo>
                      <a:lnTo>
                        <a:pt x="58" y="26"/>
                      </a:lnTo>
                      <a:lnTo>
                        <a:pt x="35" y="4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89" name="Freeform 379"/>
                <p:cNvSpPr>
                  <a:spLocks/>
                </p:cNvSpPr>
                <p:nvPr/>
              </p:nvSpPr>
              <p:spPr bwMode="auto">
                <a:xfrm>
                  <a:off x="4468515" y="1435109"/>
                  <a:ext cx="475901" cy="324963"/>
                </a:xfrm>
                <a:custGeom>
                  <a:avLst/>
                  <a:gdLst>
                    <a:gd name="T0" fmla="*/ 272943 w 612"/>
                    <a:gd name="T1" fmla="*/ 40433 h 434"/>
                    <a:gd name="T2" fmla="*/ 265167 w 612"/>
                    <a:gd name="T3" fmla="*/ 35941 h 434"/>
                    <a:gd name="T4" fmla="*/ 258946 w 612"/>
                    <a:gd name="T5" fmla="*/ 40433 h 434"/>
                    <a:gd name="T6" fmla="*/ 237951 w 612"/>
                    <a:gd name="T7" fmla="*/ 38936 h 434"/>
                    <a:gd name="T8" fmla="*/ 230174 w 612"/>
                    <a:gd name="T9" fmla="*/ 56157 h 434"/>
                    <a:gd name="T10" fmla="*/ 227064 w 612"/>
                    <a:gd name="T11" fmla="*/ 66640 h 434"/>
                    <a:gd name="T12" fmla="*/ 206068 w 612"/>
                    <a:gd name="T13" fmla="*/ 72630 h 434"/>
                    <a:gd name="T14" fmla="*/ 194404 w 612"/>
                    <a:gd name="T15" fmla="*/ 72630 h 434"/>
                    <a:gd name="T16" fmla="*/ 192849 w 612"/>
                    <a:gd name="T17" fmla="*/ 82364 h 434"/>
                    <a:gd name="T18" fmla="*/ 181962 w 612"/>
                    <a:gd name="T19" fmla="*/ 86856 h 434"/>
                    <a:gd name="T20" fmla="*/ 177296 w 612"/>
                    <a:gd name="T21" fmla="*/ 97339 h 434"/>
                    <a:gd name="T22" fmla="*/ 154746 w 612"/>
                    <a:gd name="T23" fmla="*/ 108571 h 434"/>
                    <a:gd name="T24" fmla="*/ 165632 w 612"/>
                    <a:gd name="T25" fmla="*/ 116058 h 434"/>
                    <a:gd name="T26" fmla="*/ 143081 w 612"/>
                    <a:gd name="T27" fmla="*/ 134777 h 434"/>
                    <a:gd name="T28" fmla="*/ 125196 w 612"/>
                    <a:gd name="T29" fmla="*/ 149004 h 434"/>
                    <a:gd name="T30" fmla="*/ 127529 w 612"/>
                    <a:gd name="T31" fmla="*/ 156491 h 434"/>
                    <a:gd name="T32" fmla="*/ 97980 w 612"/>
                    <a:gd name="T33" fmla="*/ 172215 h 434"/>
                    <a:gd name="T34" fmla="*/ 111199 w 612"/>
                    <a:gd name="T35" fmla="*/ 175210 h 434"/>
                    <a:gd name="T36" fmla="*/ 103423 w 612"/>
                    <a:gd name="T37" fmla="*/ 187191 h 434"/>
                    <a:gd name="T38" fmla="*/ 77762 w 612"/>
                    <a:gd name="T39" fmla="*/ 187191 h 434"/>
                    <a:gd name="T40" fmla="*/ 64542 w 612"/>
                    <a:gd name="T41" fmla="*/ 199920 h 434"/>
                    <a:gd name="T42" fmla="*/ 37326 w 612"/>
                    <a:gd name="T43" fmla="*/ 198422 h 434"/>
                    <a:gd name="T44" fmla="*/ 52878 w 612"/>
                    <a:gd name="T45" fmla="*/ 204412 h 434"/>
                    <a:gd name="T46" fmla="*/ 38881 w 612"/>
                    <a:gd name="T47" fmla="*/ 216392 h 434"/>
                    <a:gd name="T48" fmla="*/ 25661 w 612"/>
                    <a:gd name="T49" fmla="*/ 216392 h 434"/>
                    <a:gd name="T50" fmla="*/ 6999 w 612"/>
                    <a:gd name="T51" fmla="*/ 221634 h 434"/>
                    <a:gd name="T52" fmla="*/ 28772 w 612"/>
                    <a:gd name="T53" fmla="*/ 227624 h 434"/>
                    <a:gd name="T54" fmla="*/ 3110 w 612"/>
                    <a:gd name="T55" fmla="*/ 239604 h 434"/>
                    <a:gd name="T56" fmla="*/ 29549 w 612"/>
                    <a:gd name="T57" fmla="*/ 241850 h 434"/>
                    <a:gd name="T58" fmla="*/ 48212 w 612"/>
                    <a:gd name="T59" fmla="*/ 246343 h 434"/>
                    <a:gd name="T60" fmla="*/ 0 w 612"/>
                    <a:gd name="T61" fmla="*/ 249338 h 434"/>
                    <a:gd name="T62" fmla="*/ 0 w 612"/>
                    <a:gd name="T63" fmla="*/ 256826 h 434"/>
                    <a:gd name="T64" fmla="*/ 3110 w 612"/>
                    <a:gd name="T65" fmla="*/ 269555 h 434"/>
                    <a:gd name="T66" fmla="*/ 27217 w 612"/>
                    <a:gd name="T67" fmla="*/ 264313 h 434"/>
                    <a:gd name="T68" fmla="*/ 28772 w 612"/>
                    <a:gd name="T69" fmla="*/ 264313 h 434"/>
                    <a:gd name="T70" fmla="*/ 8554 w 612"/>
                    <a:gd name="T71" fmla="*/ 284530 h 434"/>
                    <a:gd name="T72" fmla="*/ 25661 w 612"/>
                    <a:gd name="T73" fmla="*/ 287525 h 434"/>
                    <a:gd name="T74" fmla="*/ 14775 w 612"/>
                    <a:gd name="T75" fmla="*/ 301751 h 434"/>
                    <a:gd name="T76" fmla="*/ 62987 w 612"/>
                    <a:gd name="T77" fmla="*/ 324963 h 434"/>
                    <a:gd name="T78" fmla="*/ 112754 w 612"/>
                    <a:gd name="T79" fmla="*/ 283032 h 434"/>
                    <a:gd name="T80" fmla="*/ 135305 w 612"/>
                    <a:gd name="T81" fmla="*/ 301751 h 434"/>
                    <a:gd name="T82" fmla="*/ 150857 w 612"/>
                    <a:gd name="T83" fmla="*/ 247840 h 434"/>
                    <a:gd name="T84" fmla="*/ 141526 w 612"/>
                    <a:gd name="T85" fmla="*/ 205910 h 434"/>
                    <a:gd name="T86" fmla="*/ 177296 w 612"/>
                    <a:gd name="T87" fmla="*/ 168472 h 434"/>
                    <a:gd name="T88" fmla="*/ 178852 w 612"/>
                    <a:gd name="T89" fmla="*/ 119053 h 434"/>
                    <a:gd name="T90" fmla="*/ 216955 w 612"/>
                    <a:gd name="T91" fmla="*/ 74876 h 434"/>
                    <a:gd name="T92" fmla="*/ 278387 w 612"/>
                    <a:gd name="T93" fmla="*/ 60650 h 434"/>
                    <a:gd name="T94" fmla="*/ 298605 w 612"/>
                    <a:gd name="T95" fmla="*/ 40433 h 434"/>
                    <a:gd name="T96" fmla="*/ 366257 w 612"/>
                    <a:gd name="T97" fmla="*/ 56157 h 434"/>
                    <a:gd name="T98" fmla="*/ 411359 w 612"/>
                    <a:gd name="T99" fmla="*/ 23212 h 434"/>
                    <a:gd name="T100" fmla="*/ 462682 w 612"/>
                    <a:gd name="T101" fmla="*/ 35941 h 434"/>
                    <a:gd name="T102" fmla="*/ 464237 w 612"/>
                    <a:gd name="T103" fmla="*/ 28453 h 434"/>
                    <a:gd name="T104" fmla="*/ 475901 w 612"/>
                    <a:gd name="T105" fmla="*/ 17222 h 434"/>
                    <a:gd name="T106" fmla="*/ 424578 w 612"/>
                    <a:gd name="T107" fmla="*/ 8236 h 434"/>
                    <a:gd name="T108" fmla="*/ 419135 w 612"/>
                    <a:gd name="T109" fmla="*/ 8236 h 434"/>
                    <a:gd name="T110" fmla="*/ 402028 w 612"/>
                    <a:gd name="T111" fmla="*/ 3744 h 434"/>
                    <a:gd name="T112" fmla="*/ 361591 w 612"/>
                    <a:gd name="T113" fmla="*/ 21714 h 434"/>
                    <a:gd name="T114" fmla="*/ 350705 w 612"/>
                    <a:gd name="T115" fmla="*/ 3744 h 434"/>
                    <a:gd name="T116" fmla="*/ 314934 w 612"/>
                    <a:gd name="T117" fmla="*/ 21714 h 434"/>
                    <a:gd name="T118" fmla="*/ 308714 w 612"/>
                    <a:gd name="T119" fmla="*/ 23212 h 434"/>
                    <a:gd name="T120" fmla="*/ 279942 w 612"/>
                    <a:gd name="T121" fmla="*/ 32946 h 43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12"/>
                    <a:gd name="T184" fmla="*/ 0 h 434"/>
                    <a:gd name="T185" fmla="*/ 612 w 612"/>
                    <a:gd name="T186" fmla="*/ 434 h 43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12" h="434">
                      <a:moveTo>
                        <a:pt x="360" y="44"/>
                      </a:moveTo>
                      <a:lnTo>
                        <a:pt x="360" y="46"/>
                      </a:lnTo>
                      <a:lnTo>
                        <a:pt x="351" y="54"/>
                      </a:lnTo>
                      <a:lnTo>
                        <a:pt x="351" y="35"/>
                      </a:lnTo>
                      <a:lnTo>
                        <a:pt x="349" y="46"/>
                      </a:lnTo>
                      <a:lnTo>
                        <a:pt x="341" y="48"/>
                      </a:lnTo>
                      <a:lnTo>
                        <a:pt x="337" y="38"/>
                      </a:lnTo>
                      <a:lnTo>
                        <a:pt x="331" y="46"/>
                      </a:lnTo>
                      <a:lnTo>
                        <a:pt x="333" y="54"/>
                      </a:lnTo>
                      <a:lnTo>
                        <a:pt x="316" y="50"/>
                      </a:lnTo>
                      <a:lnTo>
                        <a:pt x="318" y="56"/>
                      </a:lnTo>
                      <a:lnTo>
                        <a:pt x="306" y="52"/>
                      </a:lnTo>
                      <a:lnTo>
                        <a:pt x="300" y="62"/>
                      </a:lnTo>
                      <a:lnTo>
                        <a:pt x="300" y="73"/>
                      </a:lnTo>
                      <a:lnTo>
                        <a:pt x="296" y="75"/>
                      </a:lnTo>
                      <a:lnTo>
                        <a:pt x="269" y="81"/>
                      </a:lnTo>
                      <a:lnTo>
                        <a:pt x="296" y="83"/>
                      </a:lnTo>
                      <a:lnTo>
                        <a:pt x="292" y="89"/>
                      </a:lnTo>
                      <a:lnTo>
                        <a:pt x="273" y="89"/>
                      </a:lnTo>
                      <a:lnTo>
                        <a:pt x="269" y="91"/>
                      </a:lnTo>
                      <a:lnTo>
                        <a:pt x="265" y="97"/>
                      </a:lnTo>
                      <a:lnTo>
                        <a:pt x="265" y="100"/>
                      </a:lnTo>
                      <a:lnTo>
                        <a:pt x="258" y="93"/>
                      </a:lnTo>
                      <a:lnTo>
                        <a:pt x="250" y="97"/>
                      </a:lnTo>
                      <a:lnTo>
                        <a:pt x="232" y="110"/>
                      </a:lnTo>
                      <a:lnTo>
                        <a:pt x="256" y="106"/>
                      </a:lnTo>
                      <a:lnTo>
                        <a:pt x="248" y="110"/>
                      </a:lnTo>
                      <a:lnTo>
                        <a:pt x="252" y="116"/>
                      </a:lnTo>
                      <a:lnTo>
                        <a:pt x="250" y="118"/>
                      </a:lnTo>
                      <a:lnTo>
                        <a:pt x="234" y="116"/>
                      </a:lnTo>
                      <a:lnTo>
                        <a:pt x="232" y="122"/>
                      </a:lnTo>
                      <a:lnTo>
                        <a:pt x="252" y="128"/>
                      </a:lnTo>
                      <a:lnTo>
                        <a:pt x="228" y="130"/>
                      </a:lnTo>
                      <a:lnTo>
                        <a:pt x="209" y="135"/>
                      </a:lnTo>
                      <a:lnTo>
                        <a:pt x="197" y="145"/>
                      </a:lnTo>
                      <a:lnTo>
                        <a:pt x="199" y="145"/>
                      </a:lnTo>
                      <a:lnTo>
                        <a:pt x="192" y="153"/>
                      </a:lnTo>
                      <a:lnTo>
                        <a:pt x="197" y="155"/>
                      </a:lnTo>
                      <a:lnTo>
                        <a:pt x="213" y="155"/>
                      </a:lnTo>
                      <a:lnTo>
                        <a:pt x="190" y="162"/>
                      </a:lnTo>
                      <a:lnTo>
                        <a:pt x="182" y="172"/>
                      </a:lnTo>
                      <a:lnTo>
                        <a:pt x="184" y="180"/>
                      </a:lnTo>
                      <a:lnTo>
                        <a:pt x="184" y="186"/>
                      </a:lnTo>
                      <a:lnTo>
                        <a:pt x="190" y="190"/>
                      </a:lnTo>
                      <a:lnTo>
                        <a:pt x="161" y="199"/>
                      </a:lnTo>
                      <a:lnTo>
                        <a:pt x="159" y="201"/>
                      </a:lnTo>
                      <a:lnTo>
                        <a:pt x="170" y="197"/>
                      </a:lnTo>
                      <a:lnTo>
                        <a:pt x="164" y="209"/>
                      </a:lnTo>
                      <a:lnTo>
                        <a:pt x="151" y="213"/>
                      </a:lnTo>
                      <a:lnTo>
                        <a:pt x="141" y="217"/>
                      </a:lnTo>
                      <a:lnTo>
                        <a:pt x="126" y="230"/>
                      </a:lnTo>
                      <a:lnTo>
                        <a:pt x="118" y="240"/>
                      </a:lnTo>
                      <a:lnTo>
                        <a:pt x="130" y="246"/>
                      </a:lnTo>
                      <a:lnTo>
                        <a:pt x="143" y="234"/>
                      </a:lnTo>
                      <a:lnTo>
                        <a:pt x="155" y="230"/>
                      </a:lnTo>
                      <a:lnTo>
                        <a:pt x="153" y="240"/>
                      </a:lnTo>
                      <a:lnTo>
                        <a:pt x="133" y="250"/>
                      </a:lnTo>
                      <a:lnTo>
                        <a:pt x="122" y="250"/>
                      </a:lnTo>
                      <a:lnTo>
                        <a:pt x="102" y="246"/>
                      </a:lnTo>
                      <a:lnTo>
                        <a:pt x="100" y="250"/>
                      </a:lnTo>
                      <a:lnTo>
                        <a:pt x="87" y="257"/>
                      </a:lnTo>
                      <a:lnTo>
                        <a:pt x="81" y="263"/>
                      </a:lnTo>
                      <a:lnTo>
                        <a:pt x="83" y="267"/>
                      </a:lnTo>
                      <a:lnTo>
                        <a:pt x="75" y="265"/>
                      </a:lnTo>
                      <a:lnTo>
                        <a:pt x="83" y="273"/>
                      </a:lnTo>
                      <a:lnTo>
                        <a:pt x="48" y="265"/>
                      </a:lnTo>
                      <a:lnTo>
                        <a:pt x="46" y="273"/>
                      </a:lnTo>
                      <a:lnTo>
                        <a:pt x="58" y="273"/>
                      </a:lnTo>
                      <a:lnTo>
                        <a:pt x="68" y="273"/>
                      </a:lnTo>
                      <a:lnTo>
                        <a:pt x="56" y="277"/>
                      </a:lnTo>
                      <a:lnTo>
                        <a:pt x="35" y="281"/>
                      </a:lnTo>
                      <a:lnTo>
                        <a:pt x="50" y="289"/>
                      </a:lnTo>
                      <a:lnTo>
                        <a:pt x="48" y="292"/>
                      </a:lnTo>
                      <a:lnTo>
                        <a:pt x="33" y="285"/>
                      </a:lnTo>
                      <a:lnTo>
                        <a:pt x="33" y="289"/>
                      </a:lnTo>
                      <a:lnTo>
                        <a:pt x="19" y="290"/>
                      </a:lnTo>
                      <a:lnTo>
                        <a:pt x="23" y="294"/>
                      </a:lnTo>
                      <a:lnTo>
                        <a:pt x="9" y="296"/>
                      </a:lnTo>
                      <a:lnTo>
                        <a:pt x="2" y="294"/>
                      </a:lnTo>
                      <a:lnTo>
                        <a:pt x="0" y="302"/>
                      </a:lnTo>
                      <a:lnTo>
                        <a:pt x="37" y="304"/>
                      </a:lnTo>
                      <a:lnTo>
                        <a:pt x="0" y="306"/>
                      </a:lnTo>
                      <a:lnTo>
                        <a:pt x="11" y="318"/>
                      </a:lnTo>
                      <a:lnTo>
                        <a:pt x="4" y="320"/>
                      </a:lnTo>
                      <a:lnTo>
                        <a:pt x="6" y="320"/>
                      </a:lnTo>
                      <a:lnTo>
                        <a:pt x="2" y="327"/>
                      </a:lnTo>
                      <a:lnTo>
                        <a:pt x="38" y="323"/>
                      </a:lnTo>
                      <a:lnTo>
                        <a:pt x="56" y="321"/>
                      </a:lnTo>
                      <a:lnTo>
                        <a:pt x="60" y="320"/>
                      </a:lnTo>
                      <a:lnTo>
                        <a:pt x="62" y="329"/>
                      </a:lnTo>
                      <a:lnTo>
                        <a:pt x="54" y="333"/>
                      </a:lnTo>
                      <a:lnTo>
                        <a:pt x="35" y="329"/>
                      </a:lnTo>
                      <a:lnTo>
                        <a:pt x="0" y="333"/>
                      </a:lnTo>
                      <a:lnTo>
                        <a:pt x="6" y="339"/>
                      </a:lnTo>
                      <a:lnTo>
                        <a:pt x="6" y="341"/>
                      </a:lnTo>
                      <a:lnTo>
                        <a:pt x="0" y="343"/>
                      </a:lnTo>
                      <a:lnTo>
                        <a:pt x="17" y="345"/>
                      </a:lnTo>
                      <a:lnTo>
                        <a:pt x="11" y="353"/>
                      </a:lnTo>
                      <a:lnTo>
                        <a:pt x="4" y="360"/>
                      </a:lnTo>
                      <a:lnTo>
                        <a:pt x="17" y="358"/>
                      </a:lnTo>
                      <a:lnTo>
                        <a:pt x="21" y="366"/>
                      </a:lnTo>
                      <a:lnTo>
                        <a:pt x="35" y="353"/>
                      </a:lnTo>
                      <a:lnTo>
                        <a:pt x="46" y="351"/>
                      </a:lnTo>
                      <a:lnTo>
                        <a:pt x="38" y="362"/>
                      </a:lnTo>
                      <a:lnTo>
                        <a:pt x="37" y="353"/>
                      </a:lnTo>
                      <a:lnTo>
                        <a:pt x="23" y="374"/>
                      </a:lnTo>
                      <a:lnTo>
                        <a:pt x="27" y="376"/>
                      </a:lnTo>
                      <a:lnTo>
                        <a:pt x="11" y="380"/>
                      </a:lnTo>
                      <a:lnTo>
                        <a:pt x="9" y="391"/>
                      </a:lnTo>
                      <a:lnTo>
                        <a:pt x="23" y="387"/>
                      </a:lnTo>
                      <a:lnTo>
                        <a:pt x="33" y="384"/>
                      </a:lnTo>
                      <a:lnTo>
                        <a:pt x="33" y="391"/>
                      </a:lnTo>
                      <a:lnTo>
                        <a:pt x="31" y="401"/>
                      </a:lnTo>
                      <a:lnTo>
                        <a:pt x="19" y="403"/>
                      </a:lnTo>
                      <a:lnTo>
                        <a:pt x="21" y="420"/>
                      </a:lnTo>
                      <a:lnTo>
                        <a:pt x="44" y="432"/>
                      </a:lnTo>
                      <a:lnTo>
                        <a:pt x="81" y="434"/>
                      </a:lnTo>
                      <a:lnTo>
                        <a:pt x="124" y="399"/>
                      </a:lnTo>
                      <a:lnTo>
                        <a:pt x="143" y="397"/>
                      </a:lnTo>
                      <a:lnTo>
                        <a:pt x="145" y="378"/>
                      </a:lnTo>
                      <a:lnTo>
                        <a:pt x="153" y="372"/>
                      </a:lnTo>
                      <a:lnTo>
                        <a:pt x="161" y="395"/>
                      </a:lnTo>
                      <a:lnTo>
                        <a:pt x="174" y="403"/>
                      </a:lnTo>
                      <a:lnTo>
                        <a:pt x="190" y="370"/>
                      </a:lnTo>
                      <a:lnTo>
                        <a:pt x="194" y="339"/>
                      </a:lnTo>
                      <a:lnTo>
                        <a:pt x="194" y="331"/>
                      </a:lnTo>
                      <a:lnTo>
                        <a:pt x="205" y="320"/>
                      </a:lnTo>
                      <a:lnTo>
                        <a:pt x="184" y="308"/>
                      </a:lnTo>
                      <a:lnTo>
                        <a:pt x="182" y="275"/>
                      </a:lnTo>
                      <a:lnTo>
                        <a:pt x="182" y="240"/>
                      </a:lnTo>
                      <a:lnTo>
                        <a:pt x="205" y="226"/>
                      </a:lnTo>
                      <a:lnTo>
                        <a:pt x="228" y="225"/>
                      </a:lnTo>
                      <a:lnTo>
                        <a:pt x="215" y="209"/>
                      </a:lnTo>
                      <a:lnTo>
                        <a:pt x="234" y="168"/>
                      </a:lnTo>
                      <a:lnTo>
                        <a:pt x="230" y="159"/>
                      </a:lnTo>
                      <a:lnTo>
                        <a:pt x="254" y="153"/>
                      </a:lnTo>
                      <a:lnTo>
                        <a:pt x="265" y="133"/>
                      </a:lnTo>
                      <a:lnTo>
                        <a:pt x="279" y="100"/>
                      </a:lnTo>
                      <a:lnTo>
                        <a:pt x="312" y="93"/>
                      </a:lnTo>
                      <a:lnTo>
                        <a:pt x="314" y="79"/>
                      </a:lnTo>
                      <a:lnTo>
                        <a:pt x="358" y="81"/>
                      </a:lnTo>
                      <a:lnTo>
                        <a:pt x="354" y="64"/>
                      </a:lnTo>
                      <a:lnTo>
                        <a:pt x="366" y="64"/>
                      </a:lnTo>
                      <a:lnTo>
                        <a:pt x="384" y="54"/>
                      </a:lnTo>
                      <a:lnTo>
                        <a:pt x="411" y="69"/>
                      </a:lnTo>
                      <a:lnTo>
                        <a:pt x="440" y="75"/>
                      </a:lnTo>
                      <a:lnTo>
                        <a:pt x="471" y="75"/>
                      </a:lnTo>
                      <a:lnTo>
                        <a:pt x="486" y="69"/>
                      </a:lnTo>
                      <a:lnTo>
                        <a:pt x="494" y="44"/>
                      </a:lnTo>
                      <a:lnTo>
                        <a:pt x="529" y="31"/>
                      </a:lnTo>
                      <a:lnTo>
                        <a:pt x="570" y="42"/>
                      </a:lnTo>
                      <a:lnTo>
                        <a:pt x="572" y="64"/>
                      </a:lnTo>
                      <a:lnTo>
                        <a:pt x="595" y="48"/>
                      </a:lnTo>
                      <a:lnTo>
                        <a:pt x="612" y="48"/>
                      </a:lnTo>
                      <a:lnTo>
                        <a:pt x="612" y="38"/>
                      </a:lnTo>
                      <a:lnTo>
                        <a:pt x="597" y="38"/>
                      </a:lnTo>
                      <a:lnTo>
                        <a:pt x="583" y="38"/>
                      </a:lnTo>
                      <a:lnTo>
                        <a:pt x="564" y="29"/>
                      </a:lnTo>
                      <a:lnTo>
                        <a:pt x="612" y="23"/>
                      </a:lnTo>
                      <a:lnTo>
                        <a:pt x="587" y="11"/>
                      </a:lnTo>
                      <a:lnTo>
                        <a:pt x="564" y="7"/>
                      </a:lnTo>
                      <a:lnTo>
                        <a:pt x="546" y="11"/>
                      </a:lnTo>
                      <a:lnTo>
                        <a:pt x="544" y="27"/>
                      </a:lnTo>
                      <a:lnTo>
                        <a:pt x="541" y="17"/>
                      </a:lnTo>
                      <a:lnTo>
                        <a:pt x="539" y="11"/>
                      </a:lnTo>
                      <a:lnTo>
                        <a:pt x="537" y="11"/>
                      </a:lnTo>
                      <a:lnTo>
                        <a:pt x="533" y="0"/>
                      </a:lnTo>
                      <a:lnTo>
                        <a:pt x="517" y="5"/>
                      </a:lnTo>
                      <a:lnTo>
                        <a:pt x="502" y="21"/>
                      </a:lnTo>
                      <a:lnTo>
                        <a:pt x="494" y="5"/>
                      </a:lnTo>
                      <a:lnTo>
                        <a:pt x="465" y="29"/>
                      </a:lnTo>
                      <a:lnTo>
                        <a:pt x="477" y="9"/>
                      </a:lnTo>
                      <a:lnTo>
                        <a:pt x="471" y="7"/>
                      </a:lnTo>
                      <a:lnTo>
                        <a:pt x="451" y="5"/>
                      </a:lnTo>
                      <a:lnTo>
                        <a:pt x="451" y="11"/>
                      </a:lnTo>
                      <a:lnTo>
                        <a:pt x="424" y="29"/>
                      </a:lnTo>
                      <a:lnTo>
                        <a:pt x="405" y="29"/>
                      </a:lnTo>
                      <a:lnTo>
                        <a:pt x="409" y="25"/>
                      </a:lnTo>
                      <a:lnTo>
                        <a:pt x="382" y="27"/>
                      </a:lnTo>
                      <a:lnTo>
                        <a:pt x="397" y="31"/>
                      </a:lnTo>
                      <a:lnTo>
                        <a:pt x="393" y="38"/>
                      </a:lnTo>
                      <a:lnTo>
                        <a:pt x="378" y="36"/>
                      </a:lnTo>
                      <a:lnTo>
                        <a:pt x="360" y="4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0" name="Freeform 380"/>
                <p:cNvSpPr>
                  <a:spLocks/>
                </p:cNvSpPr>
                <p:nvPr/>
              </p:nvSpPr>
              <p:spPr bwMode="auto">
                <a:xfrm>
                  <a:off x="4539545" y="1232673"/>
                  <a:ext cx="181127" cy="78133"/>
                </a:xfrm>
                <a:custGeom>
                  <a:avLst/>
                  <a:gdLst>
                    <a:gd name="T0" fmla="*/ 44487 w 228"/>
                    <a:gd name="T1" fmla="*/ 6444 h 97"/>
                    <a:gd name="T2" fmla="*/ 19860 w 228"/>
                    <a:gd name="T3" fmla="*/ 6444 h 97"/>
                    <a:gd name="T4" fmla="*/ 0 w 228"/>
                    <a:gd name="T5" fmla="*/ 8055 h 97"/>
                    <a:gd name="T6" fmla="*/ 3178 w 228"/>
                    <a:gd name="T7" fmla="*/ 16915 h 97"/>
                    <a:gd name="T8" fmla="*/ 18272 w 228"/>
                    <a:gd name="T9" fmla="*/ 15304 h 97"/>
                    <a:gd name="T10" fmla="*/ 19860 w 228"/>
                    <a:gd name="T11" fmla="*/ 21748 h 97"/>
                    <a:gd name="T12" fmla="*/ 7150 w 228"/>
                    <a:gd name="T13" fmla="*/ 23359 h 97"/>
                    <a:gd name="T14" fmla="*/ 29393 w 228"/>
                    <a:gd name="T15" fmla="*/ 34636 h 97"/>
                    <a:gd name="T16" fmla="*/ 49254 w 228"/>
                    <a:gd name="T17" fmla="*/ 40275 h 97"/>
                    <a:gd name="T18" fmla="*/ 61170 w 228"/>
                    <a:gd name="T19" fmla="*/ 34636 h 97"/>
                    <a:gd name="T20" fmla="*/ 73881 w 228"/>
                    <a:gd name="T21" fmla="*/ 28192 h 97"/>
                    <a:gd name="T22" fmla="*/ 75470 w 228"/>
                    <a:gd name="T23" fmla="*/ 33025 h 97"/>
                    <a:gd name="T24" fmla="*/ 96919 w 228"/>
                    <a:gd name="T25" fmla="*/ 29803 h 97"/>
                    <a:gd name="T26" fmla="*/ 98508 w 228"/>
                    <a:gd name="T27" fmla="*/ 35442 h 97"/>
                    <a:gd name="T28" fmla="*/ 54815 w 228"/>
                    <a:gd name="T29" fmla="*/ 43497 h 97"/>
                    <a:gd name="T30" fmla="*/ 50843 w 228"/>
                    <a:gd name="T31" fmla="*/ 48330 h 97"/>
                    <a:gd name="T32" fmla="*/ 103274 w 228"/>
                    <a:gd name="T33" fmla="*/ 48330 h 97"/>
                    <a:gd name="T34" fmla="*/ 82619 w 228"/>
                    <a:gd name="T35" fmla="*/ 51552 h 97"/>
                    <a:gd name="T36" fmla="*/ 90564 w 228"/>
                    <a:gd name="T37" fmla="*/ 54774 h 97"/>
                    <a:gd name="T38" fmla="*/ 59581 w 228"/>
                    <a:gd name="T39" fmla="*/ 57996 h 97"/>
                    <a:gd name="T40" fmla="*/ 93741 w 228"/>
                    <a:gd name="T41" fmla="*/ 68467 h 97"/>
                    <a:gd name="T42" fmla="*/ 107246 w 228"/>
                    <a:gd name="T43" fmla="*/ 78133 h 97"/>
                    <a:gd name="T44" fmla="*/ 112013 w 228"/>
                    <a:gd name="T45" fmla="*/ 73300 h 97"/>
                    <a:gd name="T46" fmla="*/ 127901 w 228"/>
                    <a:gd name="T47" fmla="*/ 56385 h 97"/>
                    <a:gd name="T48" fmla="*/ 136640 w 228"/>
                    <a:gd name="T49" fmla="*/ 43497 h 97"/>
                    <a:gd name="T50" fmla="*/ 141406 w 228"/>
                    <a:gd name="T51" fmla="*/ 37053 h 97"/>
                    <a:gd name="T52" fmla="*/ 181127 w 228"/>
                    <a:gd name="T53" fmla="*/ 28192 h 97"/>
                    <a:gd name="T54" fmla="*/ 135051 w 228"/>
                    <a:gd name="T55" fmla="*/ 18526 h 97"/>
                    <a:gd name="T56" fmla="*/ 130284 w 228"/>
                    <a:gd name="T57" fmla="*/ 10471 h 97"/>
                    <a:gd name="T58" fmla="*/ 116779 w 228"/>
                    <a:gd name="T59" fmla="*/ 12082 h 97"/>
                    <a:gd name="T60" fmla="*/ 115190 w 228"/>
                    <a:gd name="T61" fmla="*/ 8055 h 97"/>
                    <a:gd name="T62" fmla="*/ 90564 w 228"/>
                    <a:gd name="T63" fmla="*/ 0 h 97"/>
                    <a:gd name="T64" fmla="*/ 93741 w 228"/>
                    <a:gd name="T65" fmla="*/ 24970 h 97"/>
                    <a:gd name="T66" fmla="*/ 64348 w 228"/>
                    <a:gd name="T67" fmla="*/ 4833 h 97"/>
                    <a:gd name="T68" fmla="*/ 52432 w 228"/>
                    <a:gd name="T69" fmla="*/ 12082 h 97"/>
                    <a:gd name="T70" fmla="*/ 38132 w 228"/>
                    <a:gd name="T71" fmla="*/ 9666 h 97"/>
                    <a:gd name="T72" fmla="*/ 44487 w 228"/>
                    <a:gd name="T73" fmla="*/ 6444 h 97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28"/>
                    <a:gd name="T112" fmla="*/ 0 h 97"/>
                    <a:gd name="T113" fmla="*/ 228 w 228"/>
                    <a:gd name="T114" fmla="*/ 97 h 97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28" h="97">
                      <a:moveTo>
                        <a:pt x="56" y="8"/>
                      </a:moveTo>
                      <a:lnTo>
                        <a:pt x="25" y="8"/>
                      </a:lnTo>
                      <a:lnTo>
                        <a:pt x="0" y="10"/>
                      </a:lnTo>
                      <a:lnTo>
                        <a:pt x="4" y="21"/>
                      </a:lnTo>
                      <a:lnTo>
                        <a:pt x="23" y="19"/>
                      </a:lnTo>
                      <a:lnTo>
                        <a:pt x="25" y="27"/>
                      </a:lnTo>
                      <a:lnTo>
                        <a:pt x="9" y="29"/>
                      </a:lnTo>
                      <a:lnTo>
                        <a:pt x="37" y="43"/>
                      </a:lnTo>
                      <a:lnTo>
                        <a:pt x="62" y="50"/>
                      </a:lnTo>
                      <a:lnTo>
                        <a:pt x="77" y="43"/>
                      </a:lnTo>
                      <a:lnTo>
                        <a:pt x="93" y="35"/>
                      </a:lnTo>
                      <a:lnTo>
                        <a:pt x="95" y="41"/>
                      </a:lnTo>
                      <a:lnTo>
                        <a:pt x="122" y="37"/>
                      </a:lnTo>
                      <a:lnTo>
                        <a:pt x="124" y="44"/>
                      </a:lnTo>
                      <a:lnTo>
                        <a:pt x="69" y="54"/>
                      </a:lnTo>
                      <a:lnTo>
                        <a:pt x="64" y="60"/>
                      </a:lnTo>
                      <a:lnTo>
                        <a:pt x="130" y="60"/>
                      </a:lnTo>
                      <a:lnTo>
                        <a:pt x="104" y="64"/>
                      </a:lnTo>
                      <a:lnTo>
                        <a:pt x="114" y="68"/>
                      </a:lnTo>
                      <a:lnTo>
                        <a:pt x="75" y="72"/>
                      </a:lnTo>
                      <a:lnTo>
                        <a:pt x="118" y="85"/>
                      </a:lnTo>
                      <a:lnTo>
                        <a:pt x="135" y="97"/>
                      </a:lnTo>
                      <a:lnTo>
                        <a:pt x="141" y="91"/>
                      </a:lnTo>
                      <a:lnTo>
                        <a:pt x="161" y="70"/>
                      </a:lnTo>
                      <a:lnTo>
                        <a:pt x="172" y="54"/>
                      </a:lnTo>
                      <a:lnTo>
                        <a:pt x="178" y="46"/>
                      </a:lnTo>
                      <a:lnTo>
                        <a:pt x="228" y="35"/>
                      </a:lnTo>
                      <a:lnTo>
                        <a:pt x="170" y="23"/>
                      </a:lnTo>
                      <a:lnTo>
                        <a:pt x="164" y="13"/>
                      </a:lnTo>
                      <a:lnTo>
                        <a:pt x="147" y="15"/>
                      </a:lnTo>
                      <a:lnTo>
                        <a:pt x="145" y="10"/>
                      </a:lnTo>
                      <a:lnTo>
                        <a:pt x="114" y="0"/>
                      </a:lnTo>
                      <a:lnTo>
                        <a:pt x="118" y="31"/>
                      </a:lnTo>
                      <a:lnTo>
                        <a:pt x="81" y="6"/>
                      </a:lnTo>
                      <a:lnTo>
                        <a:pt x="66" y="15"/>
                      </a:lnTo>
                      <a:lnTo>
                        <a:pt x="48" y="12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1" name="Freeform 381"/>
                <p:cNvSpPr>
                  <a:spLocks/>
                </p:cNvSpPr>
                <p:nvPr/>
              </p:nvSpPr>
              <p:spPr bwMode="auto">
                <a:xfrm>
                  <a:off x="4662072" y="1227346"/>
                  <a:ext cx="145612" cy="23085"/>
                </a:xfrm>
                <a:custGeom>
                  <a:avLst/>
                  <a:gdLst>
                    <a:gd name="T0" fmla="*/ 63609 w 190"/>
                    <a:gd name="T1" fmla="*/ 6368 h 29"/>
                    <a:gd name="T2" fmla="*/ 25291 w 190"/>
                    <a:gd name="T3" fmla="*/ 1592 h 29"/>
                    <a:gd name="T4" fmla="*/ 14561 w 190"/>
                    <a:gd name="T5" fmla="*/ 4776 h 29"/>
                    <a:gd name="T6" fmla="*/ 0 w 190"/>
                    <a:gd name="T7" fmla="*/ 6368 h 29"/>
                    <a:gd name="T8" fmla="*/ 1533 w 190"/>
                    <a:gd name="T9" fmla="*/ 11144 h 29"/>
                    <a:gd name="T10" fmla="*/ 59011 w 190"/>
                    <a:gd name="T11" fmla="*/ 14329 h 29"/>
                    <a:gd name="T12" fmla="*/ 31422 w 190"/>
                    <a:gd name="T13" fmla="*/ 18309 h 29"/>
                    <a:gd name="T14" fmla="*/ 75872 w 190"/>
                    <a:gd name="T15" fmla="*/ 23085 h 29"/>
                    <a:gd name="T16" fmla="*/ 124920 w 190"/>
                    <a:gd name="T17" fmla="*/ 21493 h 29"/>
                    <a:gd name="T18" fmla="*/ 145612 w 190"/>
                    <a:gd name="T19" fmla="*/ 9552 h 29"/>
                    <a:gd name="T20" fmla="*/ 133350 w 190"/>
                    <a:gd name="T21" fmla="*/ 4776 h 29"/>
                    <a:gd name="T22" fmla="*/ 87367 w 190"/>
                    <a:gd name="T23" fmla="*/ 3184 h 29"/>
                    <a:gd name="T24" fmla="*/ 80470 w 190"/>
                    <a:gd name="T25" fmla="*/ 3184 h 29"/>
                    <a:gd name="T26" fmla="*/ 71273 w 190"/>
                    <a:gd name="T27" fmla="*/ 0 h 29"/>
                    <a:gd name="T28" fmla="*/ 66675 w 190"/>
                    <a:gd name="T29" fmla="*/ 3184 h 29"/>
                    <a:gd name="T30" fmla="*/ 63609 w 190"/>
                    <a:gd name="T31" fmla="*/ 6368 h 2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90"/>
                    <a:gd name="T49" fmla="*/ 0 h 29"/>
                    <a:gd name="T50" fmla="*/ 190 w 190"/>
                    <a:gd name="T51" fmla="*/ 29 h 29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90" h="29">
                      <a:moveTo>
                        <a:pt x="83" y="8"/>
                      </a:moveTo>
                      <a:lnTo>
                        <a:pt x="33" y="2"/>
                      </a:lnTo>
                      <a:lnTo>
                        <a:pt x="19" y="6"/>
                      </a:lnTo>
                      <a:lnTo>
                        <a:pt x="0" y="8"/>
                      </a:lnTo>
                      <a:lnTo>
                        <a:pt x="2" y="14"/>
                      </a:lnTo>
                      <a:lnTo>
                        <a:pt x="77" y="18"/>
                      </a:lnTo>
                      <a:lnTo>
                        <a:pt x="41" y="23"/>
                      </a:lnTo>
                      <a:lnTo>
                        <a:pt x="99" y="29"/>
                      </a:lnTo>
                      <a:lnTo>
                        <a:pt x="163" y="27"/>
                      </a:lnTo>
                      <a:lnTo>
                        <a:pt x="190" y="12"/>
                      </a:lnTo>
                      <a:lnTo>
                        <a:pt x="174" y="6"/>
                      </a:lnTo>
                      <a:lnTo>
                        <a:pt x="114" y="4"/>
                      </a:lnTo>
                      <a:lnTo>
                        <a:pt x="105" y="4"/>
                      </a:lnTo>
                      <a:lnTo>
                        <a:pt x="93" y="0"/>
                      </a:lnTo>
                      <a:lnTo>
                        <a:pt x="87" y="4"/>
                      </a:lnTo>
                      <a:lnTo>
                        <a:pt x="83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2" name="Freeform 382"/>
                <p:cNvSpPr>
                  <a:spLocks/>
                </p:cNvSpPr>
                <p:nvPr/>
              </p:nvSpPr>
              <p:spPr bwMode="auto">
                <a:xfrm>
                  <a:off x="4713569" y="1275291"/>
                  <a:ext cx="72806" cy="10655"/>
                </a:xfrm>
                <a:custGeom>
                  <a:avLst/>
                  <a:gdLst>
                    <a:gd name="T0" fmla="*/ 54404 w 91"/>
                    <a:gd name="T1" fmla="*/ 10655 h 20"/>
                    <a:gd name="T2" fmla="*/ 30403 w 91"/>
                    <a:gd name="T3" fmla="*/ 10655 h 20"/>
                    <a:gd name="T4" fmla="*/ 7201 w 91"/>
                    <a:gd name="T5" fmla="*/ 10655 h 20"/>
                    <a:gd name="T6" fmla="*/ 13601 w 91"/>
                    <a:gd name="T7" fmla="*/ 4262 h 20"/>
                    <a:gd name="T8" fmla="*/ 0 w 91"/>
                    <a:gd name="T9" fmla="*/ 1066 h 20"/>
                    <a:gd name="T10" fmla="*/ 43204 w 91"/>
                    <a:gd name="T11" fmla="*/ 0 h 20"/>
                    <a:gd name="T12" fmla="*/ 72806 w 91"/>
                    <a:gd name="T13" fmla="*/ 6393 h 20"/>
                    <a:gd name="T14" fmla="*/ 54404 w 91"/>
                    <a:gd name="T15" fmla="*/ 10655 h 2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91"/>
                    <a:gd name="T25" fmla="*/ 0 h 20"/>
                    <a:gd name="T26" fmla="*/ 91 w 91"/>
                    <a:gd name="T27" fmla="*/ 20 h 2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91" h="20">
                      <a:moveTo>
                        <a:pt x="68" y="20"/>
                      </a:moveTo>
                      <a:lnTo>
                        <a:pt x="38" y="20"/>
                      </a:lnTo>
                      <a:lnTo>
                        <a:pt x="9" y="20"/>
                      </a:lnTo>
                      <a:lnTo>
                        <a:pt x="17" y="8"/>
                      </a:lnTo>
                      <a:lnTo>
                        <a:pt x="0" y="2"/>
                      </a:lnTo>
                      <a:lnTo>
                        <a:pt x="54" y="0"/>
                      </a:lnTo>
                      <a:lnTo>
                        <a:pt x="91" y="12"/>
                      </a:lnTo>
                      <a:lnTo>
                        <a:pt x="68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3" name="Freeform 383"/>
                <p:cNvSpPr>
                  <a:spLocks/>
                </p:cNvSpPr>
                <p:nvPr/>
              </p:nvSpPr>
              <p:spPr bwMode="auto">
                <a:xfrm>
                  <a:off x="4654969" y="1481278"/>
                  <a:ext cx="30188" cy="12430"/>
                </a:xfrm>
                <a:custGeom>
                  <a:avLst/>
                  <a:gdLst>
                    <a:gd name="T0" fmla="*/ 17529 w 31"/>
                    <a:gd name="T1" fmla="*/ 0 h 18"/>
                    <a:gd name="T2" fmla="*/ 5843 w 31"/>
                    <a:gd name="T3" fmla="*/ 11049 h 18"/>
                    <a:gd name="T4" fmla="*/ 0 w 31"/>
                    <a:gd name="T5" fmla="*/ 12430 h 18"/>
                    <a:gd name="T6" fmla="*/ 11686 w 31"/>
                    <a:gd name="T7" fmla="*/ 11049 h 18"/>
                    <a:gd name="T8" fmla="*/ 17529 w 31"/>
                    <a:gd name="T9" fmla="*/ 12430 h 18"/>
                    <a:gd name="T10" fmla="*/ 30188 w 31"/>
                    <a:gd name="T11" fmla="*/ 2762 h 18"/>
                    <a:gd name="T12" fmla="*/ 19476 w 31"/>
                    <a:gd name="T13" fmla="*/ 5524 h 18"/>
                    <a:gd name="T14" fmla="*/ 17529 w 31"/>
                    <a:gd name="T15" fmla="*/ 0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1"/>
                    <a:gd name="T25" fmla="*/ 0 h 18"/>
                    <a:gd name="T26" fmla="*/ 31 w 31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1" h="18">
                      <a:moveTo>
                        <a:pt x="18" y="0"/>
                      </a:moveTo>
                      <a:lnTo>
                        <a:pt x="6" y="16"/>
                      </a:lnTo>
                      <a:lnTo>
                        <a:pt x="0" y="18"/>
                      </a:lnTo>
                      <a:lnTo>
                        <a:pt x="12" y="16"/>
                      </a:lnTo>
                      <a:lnTo>
                        <a:pt x="18" y="18"/>
                      </a:lnTo>
                      <a:lnTo>
                        <a:pt x="31" y="4"/>
                      </a:lnTo>
                      <a:lnTo>
                        <a:pt x="20" y="8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4" name="Freeform 384"/>
                <p:cNvSpPr>
                  <a:spLocks/>
                </p:cNvSpPr>
                <p:nvPr/>
              </p:nvSpPr>
              <p:spPr bwMode="auto">
                <a:xfrm>
                  <a:off x="4756187" y="1452866"/>
                  <a:ext cx="253932" cy="253933"/>
                </a:xfrm>
                <a:custGeom>
                  <a:avLst/>
                  <a:gdLst>
                    <a:gd name="T0" fmla="*/ 212924 w 322"/>
                    <a:gd name="T1" fmla="*/ 136330 h 339"/>
                    <a:gd name="T2" fmla="*/ 205038 w 322"/>
                    <a:gd name="T3" fmla="*/ 127341 h 339"/>
                    <a:gd name="T4" fmla="*/ 205038 w 322"/>
                    <a:gd name="T5" fmla="*/ 105618 h 339"/>
                    <a:gd name="T6" fmla="*/ 179014 w 322"/>
                    <a:gd name="T7" fmla="*/ 77903 h 339"/>
                    <a:gd name="T8" fmla="*/ 190843 w 322"/>
                    <a:gd name="T9" fmla="*/ 60674 h 339"/>
                    <a:gd name="T10" fmla="*/ 162453 w 322"/>
                    <a:gd name="T11" fmla="*/ 44944 h 339"/>
                    <a:gd name="T12" fmla="*/ 160876 w 322"/>
                    <a:gd name="T13" fmla="*/ 28464 h 339"/>
                    <a:gd name="T14" fmla="*/ 162453 w 322"/>
                    <a:gd name="T15" fmla="*/ 24719 h 339"/>
                    <a:gd name="T16" fmla="*/ 160876 w 322"/>
                    <a:gd name="T17" fmla="*/ 8240 h 339"/>
                    <a:gd name="T18" fmla="*/ 128543 w 322"/>
                    <a:gd name="T19" fmla="*/ 0 h 339"/>
                    <a:gd name="T20" fmla="*/ 100942 w 322"/>
                    <a:gd name="T21" fmla="*/ 9738 h 339"/>
                    <a:gd name="T22" fmla="*/ 94633 w 322"/>
                    <a:gd name="T23" fmla="*/ 28464 h 339"/>
                    <a:gd name="T24" fmla="*/ 82804 w 322"/>
                    <a:gd name="T25" fmla="*/ 32959 h 339"/>
                    <a:gd name="T26" fmla="*/ 58357 w 322"/>
                    <a:gd name="T27" fmla="*/ 32959 h 339"/>
                    <a:gd name="T28" fmla="*/ 35487 w 322"/>
                    <a:gd name="T29" fmla="*/ 28464 h 339"/>
                    <a:gd name="T30" fmla="*/ 14195 w 322"/>
                    <a:gd name="T31" fmla="*/ 17228 h 339"/>
                    <a:gd name="T32" fmla="*/ 0 w 322"/>
                    <a:gd name="T33" fmla="*/ 24719 h 339"/>
                    <a:gd name="T34" fmla="*/ 56780 w 322"/>
                    <a:gd name="T35" fmla="*/ 46442 h 339"/>
                    <a:gd name="T36" fmla="*/ 76495 w 322"/>
                    <a:gd name="T37" fmla="*/ 79401 h 339"/>
                    <a:gd name="T38" fmla="*/ 87536 w 322"/>
                    <a:gd name="T39" fmla="*/ 102622 h 339"/>
                    <a:gd name="T40" fmla="*/ 94633 w 322"/>
                    <a:gd name="T41" fmla="*/ 101124 h 339"/>
                    <a:gd name="T42" fmla="*/ 105674 w 322"/>
                    <a:gd name="T43" fmla="*/ 108614 h 339"/>
                    <a:gd name="T44" fmla="*/ 110405 w 322"/>
                    <a:gd name="T45" fmla="*/ 125843 h 339"/>
                    <a:gd name="T46" fmla="*/ 74918 w 322"/>
                    <a:gd name="T47" fmla="*/ 152060 h 339"/>
                    <a:gd name="T48" fmla="*/ 61511 w 322"/>
                    <a:gd name="T49" fmla="*/ 165543 h 339"/>
                    <a:gd name="T50" fmla="*/ 44162 w 322"/>
                    <a:gd name="T51" fmla="*/ 172285 h 339"/>
                    <a:gd name="T52" fmla="*/ 48894 w 322"/>
                    <a:gd name="T53" fmla="*/ 201498 h 339"/>
                    <a:gd name="T54" fmla="*/ 55203 w 322"/>
                    <a:gd name="T55" fmla="*/ 233708 h 339"/>
                    <a:gd name="T56" fmla="*/ 78072 w 322"/>
                    <a:gd name="T57" fmla="*/ 241199 h 339"/>
                    <a:gd name="T58" fmla="*/ 78072 w 322"/>
                    <a:gd name="T59" fmla="*/ 244944 h 339"/>
                    <a:gd name="T60" fmla="*/ 87536 w 322"/>
                    <a:gd name="T61" fmla="*/ 243446 h 339"/>
                    <a:gd name="T62" fmla="*/ 94633 w 322"/>
                    <a:gd name="T63" fmla="*/ 253933 h 339"/>
                    <a:gd name="T64" fmla="*/ 100942 w 322"/>
                    <a:gd name="T65" fmla="*/ 250937 h 339"/>
                    <a:gd name="T66" fmla="*/ 152990 w 322"/>
                    <a:gd name="T67" fmla="*/ 241199 h 339"/>
                    <a:gd name="T68" fmla="*/ 163242 w 322"/>
                    <a:gd name="T69" fmla="*/ 236705 h 339"/>
                    <a:gd name="T70" fmla="*/ 190843 w 322"/>
                    <a:gd name="T71" fmla="*/ 236705 h 339"/>
                    <a:gd name="T72" fmla="*/ 206615 w 322"/>
                    <a:gd name="T73" fmla="*/ 221723 h 339"/>
                    <a:gd name="T74" fmla="*/ 223176 w 322"/>
                    <a:gd name="T75" fmla="*/ 205993 h 339"/>
                    <a:gd name="T76" fmla="*/ 238160 w 322"/>
                    <a:gd name="T77" fmla="*/ 191761 h 339"/>
                    <a:gd name="T78" fmla="*/ 253932 w 322"/>
                    <a:gd name="T79" fmla="*/ 176779 h 339"/>
                    <a:gd name="T80" fmla="*/ 215290 w 322"/>
                    <a:gd name="T81" fmla="*/ 155056 h 339"/>
                    <a:gd name="T82" fmla="*/ 226331 w 322"/>
                    <a:gd name="T83" fmla="*/ 147566 h 339"/>
                    <a:gd name="T84" fmla="*/ 212924 w 322"/>
                    <a:gd name="T85" fmla="*/ 136330 h 33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322"/>
                    <a:gd name="T130" fmla="*/ 0 h 339"/>
                    <a:gd name="T131" fmla="*/ 322 w 322"/>
                    <a:gd name="T132" fmla="*/ 339 h 33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322" h="339">
                      <a:moveTo>
                        <a:pt x="270" y="182"/>
                      </a:moveTo>
                      <a:lnTo>
                        <a:pt x="260" y="170"/>
                      </a:lnTo>
                      <a:lnTo>
                        <a:pt x="260" y="141"/>
                      </a:lnTo>
                      <a:lnTo>
                        <a:pt x="227" y="104"/>
                      </a:lnTo>
                      <a:lnTo>
                        <a:pt x="242" y="81"/>
                      </a:lnTo>
                      <a:lnTo>
                        <a:pt x="206" y="60"/>
                      </a:lnTo>
                      <a:lnTo>
                        <a:pt x="204" y="38"/>
                      </a:lnTo>
                      <a:lnTo>
                        <a:pt x="206" y="33"/>
                      </a:lnTo>
                      <a:lnTo>
                        <a:pt x="204" y="11"/>
                      </a:lnTo>
                      <a:lnTo>
                        <a:pt x="163" y="0"/>
                      </a:lnTo>
                      <a:lnTo>
                        <a:pt x="128" y="13"/>
                      </a:lnTo>
                      <a:lnTo>
                        <a:pt x="120" y="38"/>
                      </a:lnTo>
                      <a:lnTo>
                        <a:pt x="105" y="44"/>
                      </a:lnTo>
                      <a:lnTo>
                        <a:pt x="74" y="44"/>
                      </a:lnTo>
                      <a:lnTo>
                        <a:pt x="45" y="38"/>
                      </a:lnTo>
                      <a:lnTo>
                        <a:pt x="18" y="23"/>
                      </a:lnTo>
                      <a:lnTo>
                        <a:pt x="0" y="33"/>
                      </a:lnTo>
                      <a:lnTo>
                        <a:pt x="72" y="62"/>
                      </a:lnTo>
                      <a:lnTo>
                        <a:pt x="97" y="106"/>
                      </a:lnTo>
                      <a:lnTo>
                        <a:pt x="111" y="137"/>
                      </a:lnTo>
                      <a:lnTo>
                        <a:pt x="120" y="135"/>
                      </a:lnTo>
                      <a:lnTo>
                        <a:pt x="134" y="145"/>
                      </a:lnTo>
                      <a:lnTo>
                        <a:pt x="140" y="168"/>
                      </a:lnTo>
                      <a:lnTo>
                        <a:pt x="95" y="203"/>
                      </a:lnTo>
                      <a:lnTo>
                        <a:pt x="78" y="221"/>
                      </a:lnTo>
                      <a:lnTo>
                        <a:pt x="56" y="230"/>
                      </a:lnTo>
                      <a:lnTo>
                        <a:pt x="62" y="269"/>
                      </a:lnTo>
                      <a:lnTo>
                        <a:pt x="70" y="312"/>
                      </a:lnTo>
                      <a:lnTo>
                        <a:pt x="99" y="322"/>
                      </a:lnTo>
                      <a:lnTo>
                        <a:pt x="99" y="327"/>
                      </a:lnTo>
                      <a:lnTo>
                        <a:pt x="111" y="325"/>
                      </a:lnTo>
                      <a:lnTo>
                        <a:pt x="120" y="339"/>
                      </a:lnTo>
                      <a:lnTo>
                        <a:pt x="128" y="335"/>
                      </a:lnTo>
                      <a:lnTo>
                        <a:pt x="194" y="322"/>
                      </a:lnTo>
                      <a:lnTo>
                        <a:pt x="207" y="316"/>
                      </a:lnTo>
                      <a:lnTo>
                        <a:pt x="242" y="316"/>
                      </a:lnTo>
                      <a:lnTo>
                        <a:pt x="262" y="296"/>
                      </a:lnTo>
                      <a:lnTo>
                        <a:pt x="283" y="275"/>
                      </a:lnTo>
                      <a:lnTo>
                        <a:pt x="302" y="256"/>
                      </a:lnTo>
                      <a:lnTo>
                        <a:pt x="322" y="236"/>
                      </a:lnTo>
                      <a:lnTo>
                        <a:pt x="273" y="207"/>
                      </a:lnTo>
                      <a:lnTo>
                        <a:pt x="287" y="197"/>
                      </a:lnTo>
                      <a:lnTo>
                        <a:pt x="270" y="18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5" name="Freeform 385"/>
                <p:cNvSpPr>
                  <a:spLocks/>
                </p:cNvSpPr>
                <p:nvPr/>
              </p:nvSpPr>
              <p:spPr bwMode="auto">
                <a:xfrm>
                  <a:off x="4583939" y="2049520"/>
                  <a:ext cx="0" cy="7103"/>
                </a:xfrm>
                <a:custGeom>
                  <a:avLst/>
                  <a:gdLst>
                    <a:gd name="T0" fmla="*/ 0 w 4"/>
                    <a:gd name="T1" fmla="*/ 0 h 7"/>
                    <a:gd name="T2" fmla="*/ 0 w 4"/>
                    <a:gd name="T3" fmla="*/ 7103 h 7"/>
                    <a:gd name="T4" fmla="*/ 0 w 4"/>
                    <a:gd name="T5" fmla="*/ 7103 h 7"/>
                    <a:gd name="T6" fmla="*/ 0 w 4"/>
                    <a:gd name="T7" fmla="*/ 0 h 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7"/>
                    <a:gd name="T14" fmla="*/ 0 w 4"/>
                    <a:gd name="T15" fmla="*/ 7 h 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7">
                      <a:moveTo>
                        <a:pt x="2" y="0"/>
                      </a:moveTo>
                      <a:lnTo>
                        <a:pt x="0" y="7"/>
                      </a:lnTo>
                      <a:lnTo>
                        <a:pt x="4" y="7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6" name="Freeform 386"/>
                <p:cNvSpPr>
                  <a:spLocks/>
                </p:cNvSpPr>
                <p:nvPr/>
              </p:nvSpPr>
              <p:spPr bwMode="auto">
                <a:xfrm>
                  <a:off x="4583939" y="2003350"/>
                  <a:ext cx="172248" cy="71030"/>
                </a:xfrm>
                <a:custGeom>
                  <a:avLst/>
                  <a:gdLst>
                    <a:gd name="T0" fmla="*/ 60478 w 225"/>
                    <a:gd name="T1" fmla="*/ 57133 h 92"/>
                    <a:gd name="T2" fmla="*/ 35981 w 225"/>
                    <a:gd name="T3" fmla="*/ 60221 h 92"/>
                    <a:gd name="T4" fmla="*/ 22201 w 225"/>
                    <a:gd name="T5" fmla="*/ 58677 h 92"/>
                    <a:gd name="T6" fmla="*/ 4593 w 225"/>
                    <a:gd name="T7" fmla="*/ 54045 h 92"/>
                    <a:gd name="T8" fmla="*/ 1531 w 225"/>
                    <a:gd name="T9" fmla="*/ 54045 h 92"/>
                    <a:gd name="T10" fmla="*/ 1531 w 225"/>
                    <a:gd name="T11" fmla="*/ 50956 h 92"/>
                    <a:gd name="T12" fmla="*/ 0 w 225"/>
                    <a:gd name="T13" fmla="*/ 48640 h 92"/>
                    <a:gd name="T14" fmla="*/ 0 w 225"/>
                    <a:gd name="T15" fmla="*/ 40919 h 92"/>
                    <a:gd name="T16" fmla="*/ 16076 w 225"/>
                    <a:gd name="T17" fmla="*/ 44008 h 92"/>
                    <a:gd name="T18" fmla="*/ 20670 w 225"/>
                    <a:gd name="T19" fmla="*/ 44008 h 92"/>
                    <a:gd name="T20" fmla="*/ 26794 w 225"/>
                    <a:gd name="T21" fmla="*/ 39375 h 92"/>
                    <a:gd name="T22" fmla="*/ 45933 w 225"/>
                    <a:gd name="T23" fmla="*/ 39375 h 92"/>
                    <a:gd name="T24" fmla="*/ 72727 w 225"/>
                    <a:gd name="T25" fmla="*/ 39375 h 92"/>
                    <a:gd name="T26" fmla="*/ 80382 w 225"/>
                    <a:gd name="T27" fmla="*/ 36287 h 92"/>
                    <a:gd name="T28" fmla="*/ 75789 w 225"/>
                    <a:gd name="T29" fmla="*/ 21618 h 92"/>
                    <a:gd name="T30" fmla="*/ 94928 w 225"/>
                    <a:gd name="T31" fmla="*/ 4632 h 92"/>
                    <a:gd name="T32" fmla="*/ 107177 w 225"/>
                    <a:gd name="T33" fmla="*/ 10809 h 92"/>
                    <a:gd name="T34" fmla="*/ 120191 w 225"/>
                    <a:gd name="T35" fmla="*/ 0 h 92"/>
                    <a:gd name="T36" fmla="*/ 156937 w 225"/>
                    <a:gd name="T37" fmla="*/ 4632 h 92"/>
                    <a:gd name="T38" fmla="*/ 172248 w 225"/>
                    <a:gd name="T39" fmla="*/ 25478 h 92"/>
                    <a:gd name="T40" fmla="*/ 163061 w 225"/>
                    <a:gd name="T41" fmla="*/ 36287 h 92"/>
                    <a:gd name="T42" fmla="*/ 161530 w 225"/>
                    <a:gd name="T43" fmla="*/ 37831 h 92"/>
                    <a:gd name="T44" fmla="*/ 153109 w 225"/>
                    <a:gd name="T45" fmla="*/ 57133 h 92"/>
                    <a:gd name="T46" fmla="*/ 151578 w 225"/>
                    <a:gd name="T47" fmla="*/ 58677 h 92"/>
                    <a:gd name="T48" fmla="*/ 105645 w 225"/>
                    <a:gd name="T49" fmla="*/ 71030 h 92"/>
                    <a:gd name="T50" fmla="*/ 96459 w 225"/>
                    <a:gd name="T51" fmla="*/ 69486 h 92"/>
                    <a:gd name="T52" fmla="*/ 60478 w 225"/>
                    <a:gd name="T53" fmla="*/ 57133 h 92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225"/>
                    <a:gd name="T82" fmla="*/ 0 h 92"/>
                    <a:gd name="T83" fmla="*/ 225 w 225"/>
                    <a:gd name="T84" fmla="*/ 92 h 92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225" h="92">
                      <a:moveTo>
                        <a:pt x="79" y="74"/>
                      </a:moveTo>
                      <a:lnTo>
                        <a:pt x="47" y="78"/>
                      </a:lnTo>
                      <a:lnTo>
                        <a:pt x="29" y="76"/>
                      </a:lnTo>
                      <a:lnTo>
                        <a:pt x="6" y="70"/>
                      </a:lnTo>
                      <a:lnTo>
                        <a:pt x="2" y="70"/>
                      </a:lnTo>
                      <a:lnTo>
                        <a:pt x="2" y="66"/>
                      </a:lnTo>
                      <a:lnTo>
                        <a:pt x="0" y="63"/>
                      </a:lnTo>
                      <a:lnTo>
                        <a:pt x="0" y="53"/>
                      </a:lnTo>
                      <a:lnTo>
                        <a:pt x="21" y="57"/>
                      </a:lnTo>
                      <a:lnTo>
                        <a:pt x="27" y="57"/>
                      </a:lnTo>
                      <a:lnTo>
                        <a:pt x="35" y="51"/>
                      </a:lnTo>
                      <a:lnTo>
                        <a:pt x="60" y="51"/>
                      </a:lnTo>
                      <a:lnTo>
                        <a:pt x="95" y="51"/>
                      </a:lnTo>
                      <a:lnTo>
                        <a:pt x="105" y="47"/>
                      </a:lnTo>
                      <a:lnTo>
                        <a:pt x="99" y="28"/>
                      </a:lnTo>
                      <a:lnTo>
                        <a:pt x="124" y="6"/>
                      </a:lnTo>
                      <a:lnTo>
                        <a:pt x="140" y="14"/>
                      </a:lnTo>
                      <a:lnTo>
                        <a:pt x="157" y="0"/>
                      </a:lnTo>
                      <a:lnTo>
                        <a:pt x="205" y="6"/>
                      </a:lnTo>
                      <a:lnTo>
                        <a:pt x="225" y="33"/>
                      </a:lnTo>
                      <a:lnTo>
                        <a:pt x="213" y="47"/>
                      </a:lnTo>
                      <a:lnTo>
                        <a:pt x="211" y="49"/>
                      </a:lnTo>
                      <a:lnTo>
                        <a:pt x="200" y="74"/>
                      </a:lnTo>
                      <a:lnTo>
                        <a:pt x="198" y="76"/>
                      </a:lnTo>
                      <a:lnTo>
                        <a:pt x="138" y="92"/>
                      </a:lnTo>
                      <a:lnTo>
                        <a:pt x="126" y="90"/>
                      </a:lnTo>
                      <a:lnTo>
                        <a:pt x="79" y="74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7" name="Freeform 387"/>
                <p:cNvSpPr>
                  <a:spLocks/>
                </p:cNvSpPr>
                <p:nvPr/>
              </p:nvSpPr>
              <p:spPr bwMode="auto">
                <a:xfrm>
                  <a:off x="4734878" y="2102793"/>
                  <a:ext cx="94115" cy="78133"/>
                </a:xfrm>
                <a:custGeom>
                  <a:avLst/>
                  <a:gdLst>
                    <a:gd name="T0" fmla="*/ 84704 w 120"/>
                    <a:gd name="T1" fmla="*/ 10830 h 101"/>
                    <a:gd name="T2" fmla="*/ 84704 w 120"/>
                    <a:gd name="T3" fmla="*/ 15472 h 101"/>
                    <a:gd name="T4" fmla="*/ 83919 w 120"/>
                    <a:gd name="T5" fmla="*/ 19340 h 101"/>
                    <a:gd name="T6" fmla="*/ 79213 w 120"/>
                    <a:gd name="T7" fmla="*/ 23981 h 101"/>
                    <a:gd name="T8" fmla="*/ 80782 w 120"/>
                    <a:gd name="T9" fmla="*/ 25529 h 101"/>
                    <a:gd name="T10" fmla="*/ 83919 w 120"/>
                    <a:gd name="T11" fmla="*/ 30170 h 101"/>
                    <a:gd name="T12" fmla="*/ 94115 w 120"/>
                    <a:gd name="T13" fmla="*/ 36359 h 101"/>
                    <a:gd name="T14" fmla="*/ 86272 w 120"/>
                    <a:gd name="T15" fmla="*/ 39453 h 101"/>
                    <a:gd name="T16" fmla="*/ 92546 w 120"/>
                    <a:gd name="T17" fmla="*/ 43321 h 101"/>
                    <a:gd name="T18" fmla="*/ 92546 w 120"/>
                    <a:gd name="T19" fmla="*/ 49510 h 101"/>
                    <a:gd name="T20" fmla="*/ 79213 w 120"/>
                    <a:gd name="T21" fmla="*/ 52604 h 101"/>
                    <a:gd name="T22" fmla="*/ 84704 w 120"/>
                    <a:gd name="T23" fmla="*/ 57246 h 101"/>
                    <a:gd name="T24" fmla="*/ 82351 w 120"/>
                    <a:gd name="T25" fmla="*/ 60340 h 101"/>
                    <a:gd name="T26" fmla="*/ 77645 w 120"/>
                    <a:gd name="T27" fmla="*/ 57246 h 101"/>
                    <a:gd name="T28" fmla="*/ 71371 w 120"/>
                    <a:gd name="T29" fmla="*/ 66529 h 101"/>
                    <a:gd name="T30" fmla="*/ 68233 w 120"/>
                    <a:gd name="T31" fmla="*/ 67303 h 101"/>
                    <a:gd name="T32" fmla="*/ 74508 w 120"/>
                    <a:gd name="T33" fmla="*/ 76586 h 101"/>
                    <a:gd name="T34" fmla="*/ 68233 w 120"/>
                    <a:gd name="T35" fmla="*/ 78133 h 101"/>
                    <a:gd name="T36" fmla="*/ 63528 w 120"/>
                    <a:gd name="T37" fmla="*/ 76586 h 101"/>
                    <a:gd name="T38" fmla="*/ 56469 w 120"/>
                    <a:gd name="T39" fmla="*/ 70397 h 101"/>
                    <a:gd name="T40" fmla="*/ 50195 w 120"/>
                    <a:gd name="T41" fmla="*/ 67303 h 101"/>
                    <a:gd name="T42" fmla="*/ 50195 w 120"/>
                    <a:gd name="T43" fmla="*/ 66529 h 101"/>
                    <a:gd name="T44" fmla="*/ 39215 w 120"/>
                    <a:gd name="T45" fmla="*/ 57246 h 101"/>
                    <a:gd name="T46" fmla="*/ 37646 w 120"/>
                    <a:gd name="T47" fmla="*/ 52604 h 101"/>
                    <a:gd name="T48" fmla="*/ 32156 w 120"/>
                    <a:gd name="T49" fmla="*/ 49510 h 101"/>
                    <a:gd name="T50" fmla="*/ 13333 w 120"/>
                    <a:gd name="T51" fmla="*/ 33265 h 101"/>
                    <a:gd name="T52" fmla="*/ 13333 w 120"/>
                    <a:gd name="T53" fmla="*/ 31717 h 101"/>
                    <a:gd name="T54" fmla="*/ 10196 w 120"/>
                    <a:gd name="T55" fmla="*/ 30170 h 101"/>
                    <a:gd name="T56" fmla="*/ 6274 w 120"/>
                    <a:gd name="T57" fmla="*/ 17793 h 101"/>
                    <a:gd name="T58" fmla="*/ 0 w 120"/>
                    <a:gd name="T59" fmla="*/ 13925 h 101"/>
                    <a:gd name="T60" fmla="*/ 0 w 120"/>
                    <a:gd name="T61" fmla="*/ 1547 h 101"/>
                    <a:gd name="T62" fmla="*/ 6274 w 120"/>
                    <a:gd name="T63" fmla="*/ 1547 h 101"/>
                    <a:gd name="T64" fmla="*/ 11764 w 120"/>
                    <a:gd name="T65" fmla="*/ 7736 h 101"/>
                    <a:gd name="T66" fmla="*/ 18039 w 120"/>
                    <a:gd name="T67" fmla="*/ 0 h 101"/>
                    <a:gd name="T68" fmla="*/ 25882 w 120"/>
                    <a:gd name="T69" fmla="*/ 0 h 101"/>
                    <a:gd name="T70" fmla="*/ 32156 w 120"/>
                    <a:gd name="T71" fmla="*/ 3094 h 101"/>
                    <a:gd name="T72" fmla="*/ 48626 w 120"/>
                    <a:gd name="T73" fmla="*/ 6189 h 101"/>
                    <a:gd name="T74" fmla="*/ 51763 w 120"/>
                    <a:gd name="T75" fmla="*/ 3094 h 101"/>
                    <a:gd name="T76" fmla="*/ 56469 w 120"/>
                    <a:gd name="T77" fmla="*/ 6189 h 101"/>
                    <a:gd name="T78" fmla="*/ 58038 w 120"/>
                    <a:gd name="T79" fmla="*/ 3094 h 101"/>
                    <a:gd name="T80" fmla="*/ 63528 w 120"/>
                    <a:gd name="T81" fmla="*/ 6189 h 101"/>
                    <a:gd name="T82" fmla="*/ 66665 w 120"/>
                    <a:gd name="T83" fmla="*/ 4642 h 101"/>
                    <a:gd name="T84" fmla="*/ 72939 w 120"/>
                    <a:gd name="T85" fmla="*/ 10830 h 101"/>
                    <a:gd name="T86" fmla="*/ 77645 w 120"/>
                    <a:gd name="T87" fmla="*/ 10830 h 101"/>
                    <a:gd name="T88" fmla="*/ 84704 w 120"/>
                    <a:gd name="T89" fmla="*/ 10830 h 101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20"/>
                    <a:gd name="T136" fmla="*/ 0 h 101"/>
                    <a:gd name="T137" fmla="*/ 120 w 120"/>
                    <a:gd name="T138" fmla="*/ 101 h 101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20" h="101">
                      <a:moveTo>
                        <a:pt x="108" y="14"/>
                      </a:moveTo>
                      <a:lnTo>
                        <a:pt x="108" y="20"/>
                      </a:lnTo>
                      <a:lnTo>
                        <a:pt x="107" y="25"/>
                      </a:lnTo>
                      <a:lnTo>
                        <a:pt x="101" y="31"/>
                      </a:lnTo>
                      <a:lnTo>
                        <a:pt x="103" y="33"/>
                      </a:lnTo>
                      <a:lnTo>
                        <a:pt x="107" y="39"/>
                      </a:lnTo>
                      <a:lnTo>
                        <a:pt x="120" y="47"/>
                      </a:lnTo>
                      <a:lnTo>
                        <a:pt x="110" y="51"/>
                      </a:lnTo>
                      <a:lnTo>
                        <a:pt x="118" y="56"/>
                      </a:lnTo>
                      <a:lnTo>
                        <a:pt x="118" y="64"/>
                      </a:lnTo>
                      <a:lnTo>
                        <a:pt x="101" y="68"/>
                      </a:lnTo>
                      <a:lnTo>
                        <a:pt x="108" y="74"/>
                      </a:lnTo>
                      <a:lnTo>
                        <a:pt x="105" y="78"/>
                      </a:lnTo>
                      <a:lnTo>
                        <a:pt x="99" y="74"/>
                      </a:lnTo>
                      <a:lnTo>
                        <a:pt x="91" y="86"/>
                      </a:lnTo>
                      <a:lnTo>
                        <a:pt x="87" y="87"/>
                      </a:lnTo>
                      <a:lnTo>
                        <a:pt x="95" y="99"/>
                      </a:lnTo>
                      <a:lnTo>
                        <a:pt x="87" y="101"/>
                      </a:lnTo>
                      <a:lnTo>
                        <a:pt x="81" y="99"/>
                      </a:lnTo>
                      <a:lnTo>
                        <a:pt x="72" y="91"/>
                      </a:lnTo>
                      <a:lnTo>
                        <a:pt x="64" y="87"/>
                      </a:lnTo>
                      <a:lnTo>
                        <a:pt x="64" y="86"/>
                      </a:lnTo>
                      <a:lnTo>
                        <a:pt x="50" y="74"/>
                      </a:lnTo>
                      <a:lnTo>
                        <a:pt x="48" y="68"/>
                      </a:lnTo>
                      <a:lnTo>
                        <a:pt x="41" y="64"/>
                      </a:lnTo>
                      <a:lnTo>
                        <a:pt x="17" y="43"/>
                      </a:lnTo>
                      <a:lnTo>
                        <a:pt x="17" y="41"/>
                      </a:lnTo>
                      <a:lnTo>
                        <a:pt x="13" y="39"/>
                      </a:lnTo>
                      <a:lnTo>
                        <a:pt x="8" y="23"/>
                      </a:lnTo>
                      <a:lnTo>
                        <a:pt x="0" y="18"/>
                      </a:lnTo>
                      <a:lnTo>
                        <a:pt x="0" y="2"/>
                      </a:lnTo>
                      <a:lnTo>
                        <a:pt x="8" y="2"/>
                      </a:lnTo>
                      <a:lnTo>
                        <a:pt x="15" y="10"/>
                      </a:lnTo>
                      <a:lnTo>
                        <a:pt x="23" y="0"/>
                      </a:lnTo>
                      <a:lnTo>
                        <a:pt x="33" y="0"/>
                      </a:lnTo>
                      <a:lnTo>
                        <a:pt x="41" y="4"/>
                      </a:lnTo>
                      <a:lnTo>
                        <a:pt x="62" y="8"/>
                      </a:lnTo>
                      <a:lnTo>
                        <a:pt x="66" y="4"/>
                      </a:lnTo>
                      <a:lnTo>
                        <a:pt x="72" y="8"/>
                      </a:lnTo>
                      <a:lnTo>
                        <a:pt x="74" y="4"/>
                      </a:lnTo>
                      <a:lnTo>
                        <a:pt x="81" y="8"/>
                      </a:lnTo>
                      <a:lnTo>
                        <a:pt x="85" y="6"/>
                      </a:lnTo>
                      <a:lnTo>
                        <a:pt x="93" y="14"/>
                      </a:lnTo>
                      <a:lnTo>
                        <a:pt x="99" y="14"/>
                      </a:lnTo>
                      <a:lnTo>
                        <a:pt x="108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8" name="Freeform 388"/>
                <p:cNvSpPr>
                  <a:spLocks/>
                </p:cNvSpPr>
                <p:nvPr/>
              </p:nvSpPr>
              <p:spPr bwMode="auto">
                <a:xfrm>
                  <a:off x="4685157" y="2067277"/>
                  <a:ext cx="136733" cy="101218"/>
                </a:xfrm>
                <a:custGeom>
                  <a:avLst/>
                  <a:gdLst>
                    <a:gd name="T0" fmla="*/ 128089 w 174"/>
                    <a:gd name="T1" fmla="*/ 47284 h 137"/>
                    <a:gd name="T2" fmla="*/ 136733 w 174"/>
                    <a:gd name="T3" fmla="*/ 38419 h 137"/>
                    <a:gd name="T4" fmla="*/ 129661 w 174"/>
                    <a:gd name="T5" fmla="*/ 35463 h 137"/>
                    <a:gd name="T6" fmla="*/ 129661 w 174"/>
                    <a:gd name="T7" fmla="*/ 31030 h 137"/>
                    <a:gd name="T8" fmla="*/ 118659 w 174"/>
                    <a:gd name="T9" fmla="*/ 19948 h 137"/>
                    <a:gd name="T10" fmla="*/ 63652 w 174"/>
                    <a:gd name="T11" fmla="*/ 0 h 137"/>
                    <a:gd name="T12" fmla="*/ 59722 w 174"/>
                    <a:gd name="T13" fmla="*/ 2955 h 137"/>
                    <a:gd name="T14" fmla="*/ 53436 w 174"/>
                    <a:gd name="T15" fmla="*/ 5911 h 137"/>
                    <a:gd name="T16" fmla="*/ 42434 w 174"/>
                    <a:gd name="T17" fmla="*/ 9605 h 137"/>
                    <a:gd name="T18" fmla="*/ 45578 w 174"/>
                    <a:gd name="T19" fmla="*/ 16993 h 137"/>
                    <a:gd name="T20" fmla="*/ 44006 w 174"/>
                    <a:gd name="T21" fmla="*/ 21426 h 137"/>
                    <a:gd name="T22" fmla="*/ 36148 w 174"/>
                    <a:gd name="T23" fmla="*/ 27336 h 137"/>
                    <a:gd name="T24" fmla="*/ 32219 w 174"/>
                    <a:gd name="T25" fmla="*/ 31030 h 137"/>
                    <a:gd name="T26" fmla="*/ 25932 w 174"/>
                    <a:gd name="T27" fmla="*/ 30292 h 137"/>
                    <a:gd name="T28" fmla="*/ 21217 w 174"/>
                    <a:gd name="T29" fmla="*/ 27336 h 137"/>
                    <a:gd name="T30" fmla="*/ 6287 w 174"/>
                    <a:gd name="T31" fmla="*/ 31030 h 137"/>
                    <a:gd name="T32" fmla="*/ 4715 w 174"/>
                    <a:gd name="T33" fmla="*/ 36941 h 137"/>
                    <a:gd name="T34" fmla="*/ 16502 w 174"/>
                    <a:gd name="T35" fmla="*/ 39896 h 137"/>
                    <a:gd name="T36" fmla="*/ 40863 w 174"/>
                    <a:gd name="T37" fmla="*/ 73143 h 137"/>
                    <a:gd name="T38" fmla="*/ 92727 w 174"/>
                    <a:gd name="T39" fmla="*/ 100479 h 137"/>
                    <a:gd name="T40" fmla="*/ 100585 w 174"/>
                    <a:gd name="T41" fmla="*/ 101218 h 137"/>
                    <a:gd name="T42" fmla="*/ 89584 w 174"/>
                    <a:gd name="T43" fmla="*/ 91613 h 137"/>
                    <a:gd name="T44" fmla="*/ 82511 w 174"/>
                    <a:gd name="T45" fmla="*/ 84225 h 137"/>
                    <a:gd name="T46" fmla="*/ 63652 w 174"/>
                    <a:gd name="T47" fmla="*/ 67232 h 137"/>
                    <a:gd name="T48" fmla="*/ 56579 w 174"/>
                    <a:gd name="T49" fmla="*/ 53934 h 137"/>
                    <a:gd name="T50" fmla="*/ 50293 w 174"/>
                    <a:gd name="T51" fmla="*/ 38419 h 137"/>
                    <a:gd name="T52" fmla="*/ 62080 w 174"/>
                    <a:gd name="T53" fmla="*/ 44329 h 137"/>
                    <a:gd name="T54" fmla="*/ 76225 w 174"/>
                    <a:gd name="T55" fmla="*/ 36941 h 137"/>
                    <a:gd name="T56" fmla="*/ 99014 w 174"/>
                    <a:gd name="T57" fmla="*/ 42851 h 137"/>
                    <a:gd name="T58" fmla="*/ 106872 w 174"/>
                    <a:gd name="T59" fmla="*/ 42851 h 137"/>
                    <a:gd name="T60" fmla="*/ 113944 w 174"/>
                    <a:gd name="T61" fmla="*/ 42851 h 137"/>
                    <a:gd name="T62" fmla="*/ 123374 w 174"/>
                    <a:gd name="T63" fmla="*/ 47284 h 13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74"/>
                    <a:gd name="T97" fmla="*/ 0 h 137"/>
                    <a:gd name="T98" fmla="*/ 174 w 174"/>
                    <a:gd name="T99" fmla="*/ 137 h 13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74" h="137">
                      <a:moveTo>
                        <a:pt x="157" y="64"/>
                      </a:moveTo>
                      <a:lnTo>
                        <a:pt x="163" y="64"/>
                      </a:lnTo>
                      <a:lnTo>
                        <a:pt x="165" y="54"/>
                      </a:lnTo>
                      <a:lnTo>
                        <a:pt x="174" y="52"/>
                      </a:lnTo>
                      <a:lnTo>
                        <a:pt x="174" y="50"/>
                      </a:lnTo>
                      <a:lnTo>
                        <a:pt x="165" y="48"/>
                      </a:lnTo>
                      <a:lnTo>
                        <a:pt x="161" y="44"/>
                      </a:lnTo>
                      <a:lnTo>
                        <a:pt x="165" y="42"/>
                      </a:lnTo>
                      <a:lnTo>
                        <a:pt x="161" y="41"/>
                      </a:lnTo>
                      <a:lnTo>
                        <a:pt x="151" y="27"/>
                      </a:lnTo>
                      <a:lnTo>
                        <a:pt x="109" y="23"/>
                      </a:lnTo>
                      <a:lnTo>
                        <a:pt x="81" y="0"/>
                      </a:lnTo>
                      <a:lnTo>
                        <a:pt x="79" y="4"/>
                      </a:lnTo>
                      <a:lnTo>
                        <a:pt x="76" y="4"/>
                      </a:lnTo>
                      <a:lnTo>
                        <a:pt x="76" y="8"/>
                      </a:lnTo>
                      <a:lnTo>
                        <a:pt x="68" y="8"/>
                      </a:lnTo>
                      <a:lnTo>
                        <a:pt x="64" y="11"/>
                      </a:lnTo>
                      <a:lnTo>
                        <a:pt x="54" y="13"/>
                      </a:lnTo>
                      <a:lnTo>
                        <a:pt x="56" y="19"/>
                      </a:lnTo>
                      <a:lnTo>
                        <a:pt x="58" y="23"/>
                      </a:lnTo>
                      <a:lnTo>
                        <a:pt x="62" y="29"/>
                      </a:lnTo>
                      <a:lnTo>
                        <a:pt x="56" y="29"/>
                      </a:lnTo>
                      <a:lnTo>
                        <a:pt x="46" y="33"/>
                      </a:lnTo>
                      <a:lnTo>
                        <a:pt x="46" y="37"/>
                      </a:lnTo>
                      <a:lnTo>
                        <a:pt x="48" y="42"/>
                      </a:lnTo>
                      <a:lnTo>
                        <a:pt x="41" y="42"/>
                      </a:lnTo>
                      <a:lnTo>
                        <a:pt x="35" y="39"/>
                      </a:lnTo>
                      <a:lnTo>
                        <a:pt x="33" y="41"/>
                      </a:lnTo>
                      <a:lnTo>
                        <a:pt x="31" y="41"/>
                      </a:lnTo>
                      <a:lnTo>
                        <a:pt x="27" y="37"/>
                      </a:lnTo>
                      <a:lnTo>
                        <a:pt x="21" y="42"/>
                      </a:lnTo>
                      <a:lnTo>
                        <a:pt x="8" y="42"/>
                      </a:lnTo>
                      <a:lnTo>
                        <a:pt x="0" y="39"/>
                      </a:lnTo>
                      <a:lnTo>
                        <a:pt x="6" y="50"/>
                      </a:lnTo>
                      <a:lnTo>
                        <a:pt x="14" y="62"/>
                      </a:lnTo>
                      <a:lnTo>
                        <a:pt x="21" y="54"/>
                      </a:lnTo>
                      <a:lnTo>
                        <a:pt x="45" y="91"/>
                      </a:lnTo>
                      <a:lnTo>
                        <a:pt x="52" y="99"/>
                      </a:lnTo>
                      <a:lnTo>
                        <a:pt x="81" y="116"/>
                      </a:lnTo>
                      <a:lnTo>
                        <a:pt x="118" y="136"/>
                      </a:lnTo>
                      <a:lnTo>
                        <a:pt x="126" y="137"/>
                      </a:lnTo>
                      <a:lnTo>
                        <a:pt x="128" y="137"/>
                      </a:lnTo>
                      <a:lnTo>
                        <a:pt x="128" y="136"/>
                      </a:lnTo>
                      <a:lnTo>
                        <a:pt x="114" y="124"/>
                      </a:lnTo>
                      <a:lnTo>
                        <a:pt x="112" y="118"/>
                      </a:lnTo>
                      <a:lnTo>
                        <a:pt x="105" y="114"/>
                      </a:lnTo>
                      <a:lnTo>
                        <a:pt x="81" y="93"/>
                      </a:lnTo>
                      <a:lnTo>
                        <a:pt x="81" y="91"/>
                      </a:lnTo>
                      <a:lnTo>
                        <a:pt x="77" y="89"/>
                      </a:lnTo>
                      <a:lnTo>
                        <a:pt x="72" y="73"/>
                      </a:lnTo>
                      <a:lnTo>
                        <a:pt x="64" y="68"/>
                      </a:lnTo>
                      <a:lnTo>
                        <a:pt x="64" y="52"/>
                      </a:lnTo>
                      <a:lnTo>
                        <a:pt x="72" y="52"/>
                      </a:lnTo>
                      <a:lnTo>
                        <a:pt x="79" y="60"/>
                      </a:lnTo>
                      <a:lnTo>
                        <a:pt x="87" y="50"/>
                      </a:lnTo>
                      <a:lnTo>
                        <a:pt x="97" y="50"/>
                      </a:lnTo>
                      <a:lnTo>
                        <a:pt x="105" y="54"/>
                      </a:lnTo>
                      <a:lnTo>
                        <a:pt x="126" y="58"/>
                      </a:lnTo>
                      <a:lnTo>
                        <a:pt x="130" y="54"/>
                      </a:lnTo>
                      <a:lnTo>
                        <a:pt x="136" y="58"/>
                      </a:lnTo>
                      <a:lnTo>
                        <a:pt x="138" y="54"/>
                      </a:lnTo>
                      <a:lnTo>
                        <a:pt x="145" y="58"/>
                      </a:lnTo>
                      <a:lnTo>
                        <a:pt x="149" y="56"/>
                      </a:lnTo>
                      <a:lnTo>
                        <a:pt x="157" y="6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399" name="Freeform 389"/>
                <p:cNvSpPr>
                  <a:spLocks/>
                </p:cNvSpPr>
                <p:nvPr/>
              </p:nvSpPr>
              <p:spPr bwMode="auto">
                <a:xfrm>
                  <a:off x="4763290" y="2168495"/>
                  <a:ext cx="44394" cy="17758"/>
                </a:xfrm>
                <a:custGeom>
                  <a:avLst/>
                  <a:gdLst>
                    <a:gd name="T0" fmla="*/ 44394 w 46"/>
                    <a:gd name="T1" fmla="*/ 17758 h 20"/>
                    <a:gd name="T2" fmla="*/ 44394 w 46"/>
                    <a:gd name="T3" fmla="*/ 12431 h 20"/>
                    <a:gd name="T4" fmla="*/ 38603 w 46"/>
                    <a:gd name="T5" fmla="*/ 10655 h 20"/>
                    <a:gd name="T6" fmla="*/ 29918 w 46"/>
                    <a:gd name="T7" fmla="*/ 3552 h 20"/>
                    <a:gd name="T8" fmla="*/ 22197 w 46"/>
                    <a:gd name="T9" fmla="*/ 0 h 20"/>
                    <a:gd name="T10" fmla="*/ 20267 w 46"/>
                    <a:gd name="T11" fmla="*/ 1776 h 20"/>
                    <a:gd name="T12" fmla="*/ 0 w 46"/>
                    <a:gd name="T13" fmla="*/ 0 h 20"/>
                    <a:gd name="T14" fmla="*/ 44394 w 46"/>
                    <a:gd name="T15" fmla="*/ 17758 h 2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6"/>
                    <a:gd name="T25" fmla="*/ 0 h 20"/>
                    <a:gd name="T26" fmla="*/ 46 w 46"/>
                    <a:gd name="T27" fmla="*/ 20 h 2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6" h="20">
                      <a:moveTo>
                        <a:pt x="46" y="20"/>
                      </a:moveTo>
                      <a:lnTo>
                        <a:pt x="46" y="14"/>
                      </a:lnTo>
                      <a:lnTo>
                        <a:pt x="40" y="12"/>
                      </a:lnTo>
                      <a:lnTo>
                        <a:pt x="31" y="4"/>
                      </a:lnTo>
                      <a:lnTo>
                        <a:pt x="23" y="0"/>
                      </a:lnTo>
                      <a:lnTo>
                        <a:pt x="21" y="2"/>
                      </a:lnTo>
                      <a:lnTo>
                        <a:pt x="0" y="0"/>
                      </a:lnTo>
                      <a:lnTo>
                        <a:pt x="46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0" name="Freeform 390"/>
                <p:cNvSpPr>
                  <a:spLocks/>
                </p:cNvSpPr>
                <p:nvPr/>
              </p:nvSpPr>
              <p:spPr bwMode="auto">
                <a:xfrm>
                  <a:off x="4251873" y="1942975"/>
                  <a:ext cx="294775" cy="243278"/>
                </a:xfrm>
                <a:custGeom>
                  <a:avLst/>
                  <a:gdLst>
                    <a:gd name="T0" fmla="*/ 289316 w 378"/>
                    <a:gd name="T1" fmla="*/ 193414 h 322"/>
                    <a:gd name="T2" fmla="*/ 289316 w 378"/>
                    <a:gd name="T3" fmla="*/ 204746 h 322"/>
                    <a:gd name="T4" fmla="*/ 286197 w 378"/>
                    <a:gd name="T5" fmla="*/ 204746 h 322"/>
                    <a:gd name="T6" fmla="*/ 286197 w 378"/>
                    <a:gd name="T7" fmla="*/ 206257 h 322"/>
                    <a:gd name="T8" fmla="*/ 262022 w 378"/>
                    <a:gd name="T9" fmla="*/ 224390 h 322"/>
                    <a:gd name="T10" fmla="*/ 230049 w 378"/>
                    <a:gd name="T11" fmla="*/ 215324 h 322"/>
                    <a:gd name="T12" fmla="*/ 222251 w 378"/>
                    <a:gd name="T13" fmla="*/ 212302 h 322"/>
                    <a:gd name="T14" fmla="*/ 219912 w 378"/>
                    <a:gd name="T15" fmla="*/ 215324 h 322"/>
                    <a:gd name="T16" fmla="*/ 199636 w 378"/>
                    <a:gd name="T17" fmla="*/ 213813 h 322"/>
                    <a:gd name="T18" fmla="*/ 184819 w 378"/>
                    <a:gd name="T19" fmla="*/ 224390 h 322"/>
                    <a:gd name="T20" fmla="*/ 187939 w 378"/>
                    <a:gd name="T21" fmla="*/ 243278 h 322"/>
                    <a:gd name="T22" fmla="*/ 152846 w 378"/>
                    <a:gd name="T23" fmla="*/ 241767 h 322"/>
                    <a:gd name="T24" fmla="*/ 152846 w 378"/>
                    <a:gd name="T25" fmla="*/ 237234 h 322"/>
                    <a:gd name="T26" fmla="*/ 145828 w 378"/>
                    <a:gd name="T27" fmla="*/ 238745 h 322"/>
                    <a:gd name="T28" fmla="*/ 80322 w 378"/>
                    <a:gd name="T29" fmla="*/ 224390 h 322"/>
                    <a:gd name="T30" fmla="*/ 68625 w 378"/>
                    <a:gd name="T31" fmla="*/ 215324 h 322"/>
                    <a:gd name="T32" fmla="*/ 77203 w 378"/>
                    <a:gd name="T33" fmla="*/ 200969 h 322"/>
                    <a:gd name="T34" fmla="*/ 80322 w 378"/>
                    <a:gd name="T35" fmla="*/ 179059 h 322"/>
                    <a:gd name="T36" fmla="*/ 83442 w 378"/>
                    <a:gd name="T37" fmla="*/ 156393 h 322"/>
                    <a:gd name="T38" fmla="*/ 95919 w 378"/>
                    <a:gd name="T39" fmla="*/ 168481 h 322"/>
                    <a:gd name="T40" fmla="*/ 83442 w 378"/>
                    <a:gd name="T41" fmla="*/ 148082 h 322"/>
                    <a:gd name="T42" fmla="*/ 85001 w 378"/>
                    <a:gd name="T43" fmla="*/ 139016 h 322"/>
                    <a:gd name="T44" fmla="*/ 73304 w 378"/>
                    <a:gd name="T45" fmla="*/ 130705 h 322"/>
                    <a:gd name="T46" fmla="*/ 63946 w 378"/>
                    <a:gd name="T47" fmla="*/ 111062 h 322"/>
                    <a:gd name="T48" fmla="*/ 65506 w 378"/>
                    <a:gd name="T49" fmla="*/ 107284 h 322"/>
                    <a:gd name="T50" fmla="*/ 53028 w 378"/>
                    <a:gd name="T51" fmla="*/ 102751 h 322"/>
                    <a:gd name="T52" fmla="*/ 38212 w 378"/>
                    <a:gd name="T53" fmla="*/ 98218 h 322"/>
                    <a:gd name="T54" fmla="*/ 18716 w 378"/>
                    <a:gd name="T55" fmla="*/ 89152 h 322"/>
                    <a:gd name="T56" fmla="*/ 6239 w 378"/>
                    <a:gd name="T57" fmla="*/ 84618 h 322"/>
                    <a:gd name="T58" fmla="*/ 7798 w 378"/>
                    <a:gd name="T59" fmla="*/ 79330 h 322"/>
                    <a:gd name="T60" fmla="*/ 12477 w 378"/>
                    <a:gd name="T61" fmla="*/ 77819 h 322"/>
                    <a:gd name="T62" fmla="*/ 0 w 378"/>
                    <a:gd name="T63" fmla="*/ 76308 h 322"/>
                    <a:gd name="T64" fmla="*/ 28854 w 378"/>
                    <a:gd name="T65" fmla="*/ 64219 h 322"/>
                    <a:gd name="T66" fmla="*/ 46010 w 378"/>
                    <a:gd name="T67" fmla="*/ 67241 h 322"/>
                    <a:gd name="T68" fmla="*/ 74084 w 378"/>
                    <a:gd name="T69" fmla="*/ 68752 h 322"/>
                    <a:gd name="T70" fmla="*/ 68625 w 378"/>
                    <a:gd name="T71" fmla="*/ 40798 h 322"/>
                    <a:gd name="T72" fmla="*/ 75643 w 378"/>
                    <a:gd name="T73" fmla="*/ 39287 h 322"/>
                    <a:gd name="T74" fmla="*/ 83442 w 378"/>
                    <a:gd name="T75" fmla="*/ 46842 h 322"/>
                    <a:gd name="T76" fmla="*/ 120094 w 378"/>
                    <a:gd name="T77" fmla="*/ 45331 h 322"/>
                    <a:gd name="T78" fmla="*/ 112295 w 378"/>
                    <a:gd name="T79" fmla="*/ 43820 h 322"/>
                    <a:gd name="T80" fmla="*/ 144268 w 378"/>
                    <a:gd name="T81" fmla="*/ 26443 h 322"/>
                    <a:gd name="T82" fmla="*/ 147388 w 378"/>
                    <a:gd name="T83" fmla="*/ 9066 h 322"/>
                    <a:gd name="T84" fmla="*/ 168443 w 378"/>
                    <a:gd name="T85" fmla="*/ 0 h 322"/>
                    <a:gd name="T86" fmla="*/ 177021 w 378"/>
                    <a:gd name="T87" fmla="*/ 10577 h 322"/>
                    <a:gd name="T88" fmla="*/ 207434 w 378"/>
                    <a:gd name="T89" fmla="*/ 27954 h 322"/>
                    <a:gd name="T90" fmla="*/ 218352 w 378"/>
                    <a:gd name="T91" fmla="*/ 27954 h 322"/>
                    <a:gd name="T92" fmla="*/ 219912 w 378"/>
                    <a:gd name="T93" fmla="*/ 30976 h 322"/>
                    <a:gd name="T94" fmla="*/ 242527 w 378"/>
                    <a:gd name="T95" fmla="*/ 42309 h 322"/>
                    <a:gd name="T96" fmla="*/ 244086 w 378"/>
                    <a:gd name="T97" fmla="*/ 42309 h 322"/>
                    <a:gd name="T98" fmla="*/ 255784 w 378"/>
                    <a:gd name="T99" fmla="*/ 45331 h 322"/>
                    <a:gd name="T100" fmla="*/ 260463 w 378"/>
                    <a:gd name="T101" fmla="*/ 46842 h 322"/>
                    <a:gd name="T102" fmla="*/ 294775 w 378"/>
                    <a:gd name="T103" fmla="*/ 58931 h 322"/>
                    <a:gd name="T104" fmla="*/ 286197 w 378"/>
                    <a:gd name="T105" fmla="*/ 98218 h 322"/>
                    <a:gd name="T106" fmla="*/ 278399 w 378"/>
                    <a:gd name="T107" fmla="*/ 102751 h 322"/>
                    <a:gd name="T108" fmla="*/ 272160 w 378"/>
                    <a:gd name="T109" fmla="*/ 105773 h 322"/>
                    <a:gd name="T110" fmla="*/ 252664 w 378"/>
                    <a:gd name="T111" fmla="*/ 134483 h 322"/>
                    <a:gd name="T112" fmla="*/ 262022 w 378"/>
                    <a:gd name="T113" fmla="*/ 129194 h 322"/>
                    <a:gd name="T114" fmla="*/ 275279 w 378"/>
                    <a:gd name="T115" fmla="*/ 143549 h 322"/>
                    <a:gd name="T116" fmla="*/ 273720 w 378"/>
                    <a:gd name="T117" fmla="*/ 155637 h 322"/>
                    <a:gd name="T118" fmla="*/ 270600 w 378"/>
                    <a:gd name="T119" fmla="*/ 166970 h 322"/>
                    <a:gd name="T120" fmla="*/ 272160 w 378"/>
                    <a:gd name="T121" fmla="*/ 174526 h 322"/>
                    <a:gd name="T122" fmla="*/ 272160 w 378"/>
                    <a:gd name="T123" fmla="*/ 184347 h 322"/>
                    <a:gd name="T124" fmla="*/ 289316 w 378"/>
                    <a:gd name="T125" fmla="*/ 193414 h 32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78"/>
                    <a:gd name="T190" fmla="*/ 0 h 322"/>
                    <a:gd name="T191" fmla="*/ 378 w 378"/>
                    <a:gd name="T192" fmla="*/ 322 h 32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78" h="322">
                      <a:moveTo>
                        <a:pt x="371" y="256"/>
                      </a:moveTo>
                      <a:lnTo>
                        <a:pt x="371" y="271"/>
                      </a:lnTo>
                      <a:lnTo>
                        <a:pt x="367" y="271"/>
                      </a:lnTo>
                      <a:lnTo>
                        <a:pt x="367" y="273"/>
                      </a:lnTo>
                      <a:lnTo>
                        <a:pt x="336" y="297"/>
                      </a:lnTo>
                      <a:lnTo>
                        <a:pt x="295" y="285"/>
                      </a:lnTo>
                      <a:lnTo>
                        <a:pt x="285" y="281"/>
                      </a:lnTo>
                      <a:lnTo>
                        <a:pt x="282" y="285"/>
                      </a:lnTo>
                      <a:lnTo>
                        <a:pt x="256" y="283"/>
                      </a:lnTo>
                      <a:lnTo>
                        <a:pt x="237" y="297"/>
                      </a:lnTo>
                      <a:lnTo>
                        <a:pt x="241" y="322"/>
                      </a:lnTo>
                      <a:lnTo>
                        <a:pt x="196" y="320"/>
                      </a:lnTo>
                      <a:lnTo>
                        <a:pt x="196" y="314"/>
                      </a:lnTo>
                      <a:lnTo>
                        <a:pt x="187" y="316"/>
                      </a:lnTo>
                      <a:lnTo>
                        <a:pt x="103" y="297"/>
                      </a:lnTo>
                      <a:lnTo>
                        <a:pt x="88" y="285"/>
                      </a:lnTo>
                      <a:lnTo>
                        <a:pt x="99" y="266"/>
                      </a:lnTo>
                      <a:lnTo>
                        <a:pt x="103" y="237"/>
                      </a:lnTo>
                      <a:lnTo>
                        <a:pt x="107" y="207"/>
                      </a:lnTo>
                      <a:lnTo>
                        <a:pt x="123" y="223"/>
                      </a:lnTo>
                      <a:lnTo>
                        <a:pt x="107" y="196"/>
                      </a:lnTo>
                      <a:lnTo>
                        <a:pt x="109" y="184"/>
                      </a:lnTo>
                      <a:lnTo>
                        <a:pt x="94" y="173"/>
                      </a:lnTo>
                      <a:lnTo>
                        <a:pt x="82" y="147"/>
                      </a:lnTo>
                      <a:lnTo>
                        <a:pt x="84" y="142"/>
                      </a:lnTo>
                      <a:lnTo>
                        <a:pt x="68" y="136"/>
                      </a:lnTo>
                      <a:lnTo>
                        <a:pt x="49" y="130"/>
                      </a:lnTo>
                      <a:lnTo>
                        <a:pt x="24" y="118"/>
                      </a:lnTo>
                      <a:lnTo>
                        <a:pt x="8" y="112"/>
                      </a:lnTo>
                      <a:lnTo>
                        <a:pt x="10" y="105"/>
                      </a:lnTo>
                      <a:lnTo>
                        <a:pt x="16" y="103"/>
                      </a:lnTo>
                      <a:lnTo>
                        <a:pt x="0" y="101"/>
                      </a:lnTo>
                      <a:lnTo>
                        <a:pt x="37" y="85"/>
                      </a:lnTo>
                      <a:lnTo>
                        <a:pt x="59" y="89"/>
                      </a:lnTo>
                      <a:lnTo>
                        <a:pt x="95" y="91"/>
                      </a:lnTo>
                      <a:lnTo>
                        <a:pt x="88" y="54"/>
                      </a:lnTo>
                      <a:lnTo>
                        <a:pt x="97" y="52"/>
                      </a:lnTo>
                      <a:lnTo>
                        <a:pt x="107" y="62"/>
                      </a:lnTo>
                      <a:lnTo>
                        <a:pt x="154" y="60"/>
                      </a:lnTo>
                      <a:lnTo>
                        <a:pt x="144" y="58"/>
                      </a:lnTo>
                      <a:lnTo>
                        <a:pt x="185" y="35"/>
                      </a:lnTo>
                      <a:lnTo>
                        <a:pt x="189" y="12"/>
                      </a:lnTo>
                      <a:lnTo>
                        <a:pt x="216" y="0"/>
                      </a:lnTo>
                      <a:lnTo>
                        <a:pt x="227" y="14"/>
                      </a:lnTo>
                      <a:lnTo>
                        <a:pt x="266" y="37"/>
                      </a:lnTo>
                      <a:lnTo>
                        <a:pt x="280" y="37"/>
                      </a:lnTo>
                      <a:lnTo>
                        <a:pt x="282" y="41"/>
                      </a:lnTo>
                      <a:lnTo>
                        <a:pt x="311" y="56"/>
                      </a:lnTo>
                      <a:lnTo>
                        <a:pt x="313" y="56"/>
                      </a:lnTo>
                      <a:lnTo>
                        <a:pt x="328" y="60"/>
                      </a:lnTo>
                      <a:lnTo>
                        <a:pt x="334" y="62"/>
                      </a:lnTo>
                      <a:lnTo>
                        <a:pt x="378" y="78"/>
                      </a:lnTo>
                      <a:lnTo>
                        <a:pt x="367" y="130"/>
                      </a:lnTo>
                      <a:lnTo>
                        <a:pt x="357" y="136"/>
                      </a:lnTo>
                      <a:lnTo>
                        <a:pt x="349" y="140"/>
                      </a:lnTo>
                      <a:lnTo>
                        <a:pt x="324" y="178"/>
                      </a:lnTo>
                      <a:lnTo>
                        <a:pt x="336" y="171"/>
                      </a:lnTo>
                      <a:lnTo>
                        <a:pt x="353" y="190"/>
                      </a:lnTo>
                      <a:lnTo>
                        <a:pt x="351" y="206"/>
                      </a:lnTo>
                      <a:lnTo>
                        <a:pt x="347" y="221"/>
                      </a:lnTo>
                      <a:lnTo>
                        <a:pt x="349" y="231"/>
                      </a:lnTo>
                      <a:lnTo>
                        <a:pt x="349" y="244"/>
                      </a:lnTo>
                      <a:lnTo>
                        <a:pt x="371" y="256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1" name="Freeform 391"/>
                <p:cNvSpPr>
                  <a:spLocks/>
                </p:cNvSpPr>
                <p:nvPr/>
              </p:nvSpPr>
              <p:spPr bwMode="auto">
                <a:xfrm>
                  <a:off x="4569733" y="2173823"/>
                  <a:ext cx="21309" cy="35515"/>
                </a:xfrm>
                <a:custGeom>
                  <a:avLst/>
                  <a:gdLst>
                    <a:gd name="T0" fmla="*/ 14995 w 27"/>
                    <a:gd name="T1" fmla="*/ 35515 h 51"/>
                    <a:gd name="T2" fmla="*/ 3946 w 27"/>
                    <a:gd name="T3" fmla="*/ 29944 h 51"/>
                    <a:gd name="T4" fmla="*/ 0 w 27"/>
                    <a:gd name="T5" fmla="*/ 15320 h 51"/>
                    <a:gd name="T6" fmla="*/ 14995 w 27"/>
                    <a:gd name="T7" fmla="*/ 0 h 51"/>
                    <a:gd name="T8" fmla="*/ 21309 w 27"/>
                    <a:gd name="T9" fmla="*/ 15320 h 51"/>
                    <a:gd name="T10" fmla="*/ 14995 w 27"/>
                    <a:gd name="T11" fmla="*/ 35515 h 5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51"/>
                    <a:gd name="T20" fmla="*/ 27 w 27"/>
                    <a:gd name="T21" fmla="*/ 51 h 5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51">
                      <a:moveTo>
                        <a:pt x="19" y="51"/>
                      </a:moveTo>
                      <a:lnTo>
                        <a:pt x="5" y="43"/>
                      </a:lnTo>
                      <a:lnTo>
                        <a:pt x="0" y="22"/>
                      </a:lnTo>
                      <a:lnTo>
                        <a:pt x="19" y="0"/>
                      </a:lnTo>
                      <a:lnTo>
                        <a:pt x="27" y="22"/>
                      </a:lnTo>
                      <a:lnTo>
                        <a:pt x="19" y="5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2" name="Freeform 392"/>
                <p:cNvSpPr>
                  <a:spLocks/>
                </p:cNvSpPr>
                <p:nvPr/>
              </p:nvSpPr>
              <p:spPr bwMode="auto">
                <a:xfrm>
                  <a:off x="4741981" y="2014005"/>
                  <a:ext cx="152715" cy="71030"/>
                </a:xfrm>
                <a:custGeom>
                  <a:avLst/>
                  <a:gdLst>
                    <a:gd name="T0" fmla="*/ 63112 w 196"/>
                    <a:gd name="T1" fmla="*/ 71030 h 95"/>
                    <a:gd name="T2" fmla="*/ 30387 w 196"/>
                    <a:gd name="T3" fmla="*/ 68039 h 95"/>
                    <a:gd name="T4" fmla="*/ 8571 w 196"/>
                    <a:gd name="T5" fmla="*/ 50843 h 95"/>
                    <a:gd name="T6" fmla="*/ 1558 w 196"/>
                    <a:gd name="T7" fmla="*/ 46356 h 95"/>
                    <a:gd name="T8" fmla="*/ 0 w 196"/>
                    <a:gd name="T9" fmla="*/ 43366 h 95"/>
                    <a:gd name="T10" fmla="*/ 1558 w 196"/>
                    <a:gd name="T11" fmla="*/ 41870 h 95"/>
                    <a:gd name="T12" fmla="*/ 10129 w 196"/>
                    <a:gd name="T13" fmla="*/ 23178 h 95"/>
                    <a:gd name="T14" fmla="*/ 11687 w 196"/>
                    <a:gd name="T15" fmla="*/ 21683 h 95"/>
                    <a:gd name="T16" fmla="*/ 21037 w 196"/>
                    <a:gd name="T17" fmla="*/ 11215 h 95"/>
                    <a:gd name="T18" fmla="*/ 27271 w 196"/>
                    <a:gd name="T19" fmla="*/ 15701 h 95"/>
                    <a:gd name="T20" fmla="*/ 56879 w 196"/>
                    <a:gd name="T21" fmla="*/ 15701 h 95"/>
                    <a:gd name="T22" fmla="*/ 95057 w 196"/>
                    <a:gd name="T23" fmla="*/ 0 h 95"/>
                    <a:gd name="T24" fmla="*/ 134015 w 196"/>
                    <a:gd name="T25" fmla="*/ 1495 h 95"/>
                    <a:gd name="T26" fmla="*/ 152715 w 196"/>
                    <a:gd name="T27" fmla="*/ 14206 h 95"/>
                    <a:gd name="T28" fmla="*/ 129340 w 196"/>
                    <a:gd name="T29" fmla="*/ 35889 h 95"/>
                    <a:gd name="T30" fmla="*/ 111420 w 196"/>
                    <a:gd name="T31" fmla="*/ 60562 h 95"/>
                    <a:gd name="T32" fmla="*/ 98174 w 196"/>
                    <a:gd name="T33" fmla="*/ 65049 h 95"/>
                    <a:gd name="T34" fmla="*/ 63112 w 196"/>
                    <a:gd name="T35" fmla="*/ 71030 h 9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96"/>
                    <a:gd name="T55" fmla="*/ 0 h 95"/>
                    <a:gd name="T56" fmla="*/ 196 w 196"/>
                    <a:gd name="T57" fmla="*/ 95 h 9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96" h="95">
                      <a:moveTo>
                        <a:pt x="81" y="95"/>
                      </a:moveTo>
                      <a:lnTo>
                        <a:pt x="39" y="91"/>
                      </a:lnTo>
                      <a:lnTo>
                        <a:pt x="11" y="68"/>
                      </a:lnTo>
                      <a:lnTo>
                        <a:pt x="2" y="62"/>
                      </a:lnTo>
                      <a:lnTo>
                        <a:pt x="0" y="58"/>
                      </a:lnTo>
                      <a:lnTo>
                        <a:pt x="2" y="56"/>
                      </a:lnTo>
                      <a:lnTo>
                        <a:pt x="13" y="31"/>
                      </a:lnTo>
                      <a:lnTo>
                        <a:pt x="15" y="29"/>
                      </a:lnTo>
                      <a:lnTo>
                        <a:pt x="27" y="15"/>
                      </a:lnTo>
                      <a:lnTo>
                        <a:pt x="35" y="21"/>
                      </a:lnTo>
                      <a:lnTo>
                        <a:pt x="73" y="21"/>
                      </a:lnTo>
                      <a:lnTo>
                        <a:pt x="122" y="0"/>
                      </a:lnTo>
                      <a:lnTo>
                        <a:pt x="172" y="2"/>
                      </a:lnTo>
                      <a:lnTo>
                        <a:pt x="196" y="19"/>
                      </a:lnTo>
                      <a:lnTo>
                        <a:pt x="166" y="48"/>
                      </a:lnTo>
                      <a:lnTo>
                        <a:pt x="143" y="81"/>
                      </a:lnTo>
                      <a:lnTo>
                        <a:pt x="126" y="87"/>
                      </a:lnTo>
                      <a:lnTo>
                        <a:pt x="81" y="9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3" name="Freeform 393"/>
                <p:cNvSpPr>
                  <a:spLocks/>
                </p:cNvSpPr>
                <p:nvPr/>
              </p:nvSpPr>
              <p:spPr bwMode="auto">
                <a:xfrm>
                  <a:off x="4662072" y="2204011"/>
                  <a:ext cx="0" cy="0"/>
                </a:xfrm>
                <a:custGeom>
                  <a:avLst/>
                  <a:gdLst>
                    <a:gd name="T0" fmla="*/ 0 w 2"/>
                    <a:gd name="T1" fmla="*/ 0 w 2"/>
                    <a:gd name="T2" fmla="*/ 0 w 2"/>
                    <a:gd name="T3" fmla="*/ 0 60000 65536"/>
                    <a:gd name="T4" fmla="*/ 0 60000 65536"/>
                    <a:gd name="T5" fmla="*/ 0 60000 65536"/>
                    <a:gd name="T6" fmla="*/ 0 w 2"/>
                    <a:gd name="T7" fmla="*/ 2 w 2"/>
                  </a:gdLst>
                  <a:ahLst/>
                  <a:cxnLst>
                    <a:cxn ang="T3">
                      <a:pos x="T0" y="0"/>
                    </a:cxn>
                    <a:cxn ang="T4">
                      <a:pos x="T1" y="0"/>
                    </a:cxn>
                    <a:cxn ang="T5">
                      <a:pos x="T2" y="0"/>
                    </a:cxn>
                  </a:cxnLst>
                  <a:rect l="T6" t="0" r="T7" b="0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4" name="Freeform 394"/>
                <p:cNvSpPr>
                  <a:spLocks/>
                </p:cNvSpPr>
                <p:nvPr/>
              </p:nvSpPr>
              <p:spPr bwMode="auto">
                <a:xfrm>
                  <a:off x="4916004" y="1285946"/>
                  <a:ext cx="3118220" cy="918065"/>
                </a:xfrm>
                <a:custGeom>
                  <a:avLst/>
                  <a:gdLst>
                    <a:gd name="T0" fmla="*/ 2689279 w 3991"/>
                    <a:gd name="T1" fmla="*/ 197634 h 1231"/>
                    <a:gd name="T2" fmla="*/ 2436915 w 3991"/>
                    <a:gd name="T3" fmla="*/ 154378 h 1231"/>
                    <a:gd name="T4" fmla="*/ 2200178 w 3991"/>
                    <a:gd name="T5" fmla="*/ 129767 h 1231"/>
                    <a:gd name="T6" fmla="*/ 2024382 w 3991"/>
                    <a:gd name="T7" fmla="*/ 111122 h 1231"/>
                    <a:gd name="T8" fmla="*/ 1959533 w 3991"/>
                    <a:gd name="T9" fmla="*/ 132750 h 1231"/>
                    <a:gd name="T10" fmla="*/ 1774362 w 3991"/>
                    <a:gd name="T11" fmla="*/ 118580 h 1231"/>
                    <a:gd name="T12" fmla="*/ 1475119 w 3991"/>
                    <a:gd name="T13" fmla="*/ 80545 h 1231"/>
                    <a:gd name="T14" fmla="*/ 1446210 w 3991"/>
                    <a:gd name="T15" fmla="*/ 47730 h 1231"/>
                    <a:gd name="T16" fmla="*/ 1288385 w 3991"/>
                    <a:gd name="T17" fmla="*/ 23119 h 1231"/>
                    <a:gd name="T18" fmla="*/ 1162594 w 3991"/>
                    <a:gd name="T19" fmla="*/ 27594 h 1231"/>
                    <a:gd name="T20" fmla="*/ 988361 w 3991"/>
                    <a:gd name="T21" fmla="*/ 64884 h 1231"/>
                    <a:gd name="T22" fmla="*/ 934450 w 3991"/>
                    <a:gd name="T23" fmla="*/ 115597 h 1231"/>
                    <a:gd name="T24" fmla="*/ 986798 w 3991"/>
                    <a:gd name="T25" fmla="*/ 131259 h 1231"/>
                    <a:gd name="T26" fmla="*/ 846162 w 3991"/>
                    <a:gd name="T27" fmla="*/ 137225 h 1231"/>
                    <a:gd name="T28" fmla="*/ 908667 w 3991"/>
                    <a:gd name="T29" fmla="*/ 190922 h 1231"/>
                    <a:gd name="T30" fmla="*/ 896166 w 3991"/>
                    <a:gd name="T31" fmla="*/ 226720 h 1231"/>
                    <a:gd name="T32" fmla="*/ 846162 w 3991"/>
                    <a:gd name="T33" fmla="*/ 243873 h 1231"/>
                    <a:gd name="T34" fmla="*/ 708651 w 3991"/>
                    <a:gd name="T35" fmla="*/ 105156 h 1231"/>
                    <a:gd name="T36" fmla="*/ 768812 w 3991"/>
                    <a:gd name="T37" fmla="*/ 197634 h 1231"/>
                    <a:gd name="T38" fmla="*/ 594579 w 3991"/>
                    <a:gd name="T39" fmla="*/ 211058 h 1231"/>
                    <a:gd name="T40" fmla="*/ 490665 w 3991"/>
                    <a:gd name="T41" fmla="*/ 195396 h 1231"/>
                    <a:gd name="T42" fmla="*/ 321120 w 3991"/>
                    <a:gd name="T43" fmla="*/ 231194 h 1231"/>
                    <a:gd name="T44" fmla="*/ 299243 w 3991"/>
                    <a:gd name="T45" fmla="*/ 257297 h 1231"/>
                    <a:gd name="T46" fmla="*/ 216424 w 3991"/>
                    <a:gd name="T47" fmla="*/ 316214 h 1231"/>
                    <a:gd name="T48" fmla="*/ 89070 w 3991"/>
                    <a:gd name="T49" fmla="*/ 243873 h 1231"/>
                    <a:gd name="T50" fmla="*/ 78131 w 3991"/>
                    <a:gd name="T51" fmla="*/ 192413 h 1231"/>
                    <a:gd name="T52" fmla="*/ 19533 w 3991"/>
                    <a:gd name="T53" fmla="*/ 181972 h 1231"/>
                    <a:gd name="T54" fmla="*/ 64849 w 3991"/>
                    <a:gd name="T55" fmla="*/ 316214 h 1231"/>
                    <a:gd name="T56" fmla="*/ 46879 w 3991"/>
                    <a:gd name="T57" fmla="*/ 409438 h 1231"/>
                    <a:gd name="T58" fmla="*/ 96883 w 3991"/>
                    <a:gd name="T59" fmla="*/ 530255 h 1231"/>
                    <a:gd name="T60" fmla="*/ 252364 w 3991"/>
                    <a:gd name="T61" fmla="*/ 656293 h 1231"/>
                    <a:gd name="T62" fmla="*/ 342215 w 3991"/>
                    <a:gd name="T63" fmla="*/ 777857 h 1231"/>
                    <a:gd name="T64" fmla="*/ 343778 w 3991"/>
                    <a:gd name="T65" fmla="*/ 838266 h 1231"/>
                    <a:gd name="T66" fmla="*/ 617237 w 3991"/>
                    <a:gd name="T67" fmla="*/ 918065 h 1231"/>
                    <a:gd name="T68" fmla="*/ 599267 w 3991"/>
                    <a:gd name="T69" fmla="*/ 790535 h 1231"/>
                    <a:gd name="T70" fmla="*/ 579734 w 3991"/>
                    <a:gd name="T71" fmla="*/ 643615 h 1231"/>
                    <a:gd name="T72" fmla="*/ 796158 w 3991"/>
                    <a:gd name="T73" fmla="*/ 624224 h 1231"/>
                    <a:gd name="T74" fmla="*/ 970391 w 3991"/>
                    <a:gd name="T75" fmla="*/ 542188 h 1231"/>
                    <a:gd name="T76" fmla="*/ 1146186 w 3991"/>
                    <a:gd name="T77" fmla="*/ 579477 h 1231"/>
                    <a:gd name="T78" fmla="*/ 1386831 w 3991"/>
                    <a:gd name="T79" fmla="*/ 692837 h 1231"/>
                    <a:gd name="T80" fmla="*/ 1596222 w 3991"/>
                    <a:gd name="T81" fmla="*/ 680904 h 1231"/>
                    <a:gd name="T82" fmla="*/ 1800145 w 3991"/>
                    <a:gd name="T83" fmla="*/ 682396 h 1231"/>
                    <a:gd name="T84" fmla="*/ 2090012 w 3991"/>
                    <a:gd name="T85" fmla="*/ 689854 h 1231"/>
                    <a:gd name="T86" fmla="*/ 2172832 w 3991"/>
                    <a:gd name="T87" fmla="*/ 595885 h 1231"/>
                    <a:gd name="T88" fmla="*/ 2448635 w 3991"/>
                    <a:gd name="T89" fmla="*/ 719685 h 1231"/>
                    <a:gd name="T90" fmla="*/ 2554893 w 3991"/>
                    <a:gd name="T91" fmla="*/ 858402 h 1231"/>
                    <a:gd name="T92" fmla="*/ 2600210 w 3991"/>
                    <a:gd name="T93" fmla="*/ 885996 h 1231"/>
                    <a:gd name="T94" fmla="*/ 2661933 w 3991"/>
                    <a:gd name="T95" fmla="*/ 711482 h 1231"/>
                    <a:gd name="T96" fmla="*/ 2508015 w 3991"/>
                    <a:gd name="T97" fmla="*/ 569782 h 1231"/>
                    <a:gd name="T98" fmla="*/ 2438478 w 3991"/>
                    <a:gd name="T99" fmla="*/ 511611 h 1231"/>
                    <a:gd name="T100" fmla="*/ 2535361 w 3991"/>
                    <a:gd name="T101" fmla="*/ 434794 h 1231"/>
                    <a:gd name="T102" fmla="*/ 2695530 w 3991"/>
                    <a:gd name="T103" fmla="*/ 440761 h 1231"/>
                    <a:gd name="T104" fmla="*/ 2769755 w 3991"/>
                    <a:gd name="T105" fmla="*/ 396013 h 1231"/>
                    <a:gd name="T106" fmla="*/ 2816633 w 3991"/>
                    <a:gd name="T107" fmla="*/ 358724 h 1231"/>
                    <a:gd name="T108" fmla="*/ 2818196 w 3991"/>
                    <a:gd name="T109" fmla="*/ 503407 h 1231"/>
                    <a:gd name="T110" fmla="*/ 2992429 w 3991"/>
                    <a:gd name="T111" fmla="*/ 601105 h 1231"/>
                    <a:gd name="T112" fmla="*/ 2992429 w 3991"/>
                    <a:gd name="T113" fmla="*/ 525035 h 1231"/>
                    <a:gd name="T114" fmla="*/ 2911953 w 3991"/>
                    <a:gd name="T115" fmla="*/ 425099 h 1231"/>
                    <a:gd name="T116" fmla="*/ 3027588 w 3991"/>
                    <a:gd name="T117" fmla="*/ 391539 h 1231"/>
                    <a:gd name="T118" fmla="*/ 3097125 w 3991"/>
                    <a:gd name="T119" fmla="*/ 342317 h 1231"/>
                    <a:gd name="T120" fmla="*/ 2960395 w 3991"/>
                    <a:gd name="T121" fmla="*/ 245364 h 123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991"/>
                    <a:gd name="T184" fmla="*/ 0 h 1231"/>
                    <a:gd name="T185" fmla="*/ 3991 w 3991"/>
                    <a:gd name="T186" fmla="*/ 1231 h 1231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991" h="1231">
                      <a:moveTo>
                        <a:pt x="3690" y="262"/>
                      </a:moveTo>
                      <a:lnTo>
                        <a:pt x="3615" y="246"/>
                      </a:lnTo>
                      <a:lnTo>
                        <a:pt x="3539" y="232"/>
                      </a:lnTo>
                      <a:lnTo>
                        <a:pt x="3473" y="231"/>
                      </a:lnTo>
                      <a:lnTo>
                        <a:pt x="3411" y="227"/>
                      </a:lnTo>
                      <a:lnTo>
                        <a:pt x="3433" y="240"/>
                      </a:lnTo>
                      <a:lnTo>
                        <a:pt x="3469" y="262"/>
                      </a:lnTo>
                      <a:lnTo>
                        <a:pt x="3466" y="267"/>
                      </a:lnTo>
                      <a:lnTo>
                        <a:pt x="3442" y="265"/>
                      </a:lnTo>
                      <a:lnTo>
                        <a:pt x="3407" y="254"/>
                      </a:lnTo>
                      <a:lnTo>
                        <a:pt x="3394" y="254"/>
                      </a:lnTo>
                      <a:lnTo>
                        <a:pt x="3357" y="234"/>
                      </a:lnTo>
                      <a:lnTo>
                        <a:pt x="3330" y="244"/>
                      </a:lnTo>
                      <a:lnTo>
                        <a:pt x="3229" y="238"/>
                      </a:lnTo>
                      <a:lnTo>
                        <a:pt x="3227" y="254"/>
                      </a:lnTo>
                      <a:lnTo>
                        <a:pt x="3194" y="240"/>
                      </a:lnTo>
                      <a:lnTo>
                        <a:pt x="3155" y="231"/>
                      </a:lnTo>
                      <a:lnTo>
                        <a:pt x="3119" y="207"/>
                      </a:lnTo>
                      <a:lnTo>
                        <a:pt x="3058" y="196"/>
                      </a:lnTo>
                      <a:lnTo>
                        <a:pt x="2998" y="200"/>
                      </a:lnTo>
                      <a:lnTo>
                        <a:pt x="2938" y="201"/>
                      </a:lnTo>
                      <a:lnTo>
                        <a:pt x="2923" y="198"/>
                      </a:lnTo>
                      <a:lnTo>
                        <a:pt x="2878" y="186"/>
                      </a:lnTo>
                      <a:lnTo>
                        <a:pt x="2863" y="190"/>
                      </a:lnTo>
                      <a:lnTo>
                        <a:pt x="2865" y="182"/>
                      </a:lnTo>
                      <a:lnTo>
                        <a:pt x="2847" y="180"/>
                      </a:lnTo>
                      <a:lnTo>
                        <a:pt x="2816" y="174"/>
                      </a:lnTo>
                      <a:lnTo>
                        <a:pt x="2834" y="170"/>
                      </a:lnTo>
                      <a:lnTo>
                        <a:pt x="2777" y="157"/>
                      </a:lnTo>
                      <a:lnTo>
                        <a:pt x="2743" y="165"/>
                      </a:lnTo>
                      <a:lnTo>
                        <a:pt x="2735" y="165"/>
                      </a:lnTo>
                      <a:lnTo>
                        <a:pt x="2739" y="157"/>
                      </a:lnTo>
                      <a:lnTo>
                        <a:pt x="2737" y="155"/>
                      </a:lnTo>
                      <a:lnTo>
                        <a:pt x="2653" y="149"/>
                      </a:lnTo>
                      <a:lnTo>
                        <a:pt x="2572" y="141"/>
                      </a:lnTo>
                      <a:lnTo>
                        <a:pt x="2591" y="149"/>
                      </a:lnTo>
                      <a:lnTo>
                        <a:pt x="2556" y="157"/>
                      </a:lnTo>
                      <a:lnTo>
                        <a:pt x="2570" y="159"/>
                      </a:lnTo>
                      <a:lnTo>
                        <a:pt x="2580" y="161"/>
                      </a:lnTo>
                      <a:lnTo>
                        <a:pt x="2591" y="170"/>
                      </a:lnTo>
                      <a:lnTo>
                        <a:pt x="2605" y="182"/>
                      </a:lnTo>
                      <a:lnTo>
                        <a:pt x="2562" y="180"/>
                      </a:lnTo>
                      <a:lnTo>
                        <a:pt x="2572" y="186"/>
                      </a:lnTo>
                      <a:lnTo>
                        <a:pt x="2576" y="194"/>
                      </a:lnTo>
                      <a:lnTo>
                        <a:pt x="2508" y="178"/>
                      </a:lnTo>
                      <a:lnTo>
                        <a:pt x="2487" y="186"/>
                      </a:lnTo>
                      <a:lnTo>
                        <a:pt x="2428" y="174"/>
                      </a:lnTo>
                      <a:lnTo>
                        <a:pt x="2419" y="170"/>
                      </a:lnTo>
                      <a:lnTo>
                        <a:pt x="2432" y="190"/>
                      </a:lnTo>
                      <a:lnTo>
                        <a:pt x="2427" y="205"/>
                      </a:lnTo>
                      <a:lnTo>
                        <a:pt x="2388" y="194"/>
                      </a:lnTo>
                      <a:lnTo>
                        <a:pt x="2341" y="174"/>
                      </a:lnTo>
                      <a:lnTo>
                        <a:pt x="2287" y="155"/>
                      </a:lnTo>
                      <a:lnTo>
                        <a:pt x="2271" y="159"/>
                      </a:lnTo>
                      <a:lnTo>
                        <a:pt x="2312" y="186"/>
                      </a:lnTo>
                      <a:lnTo>
                        <a:pt x="2256" y="155"/>
                      </a:lnTo>
                      <a:lnTo>
                        <a:pt x="2167" y="145"/>
                      </a:lnTo>
                      <a:lnTo>
                        <a:pt x="2078" y="136"/>
                      </a:lnTo>
                      <a:lnTo>
                        <a:pt x="2029" y="124"/>
                      </a:lnTo>
                      <a:lnTo>
                        <a:pt x="2035" y="118"/>
                      </a:lnTo>
                      <a:lnTo>
                        <a:pt x="1998" y="118"/>
                      </a:lnTo>
                      <a:lnTo>
                        <a:pt x="1915" y="120"/>
                      </a:lnTo>
                      <a:lnTo>
                        <a:pt x="1888" y="108"/>
                      </a:lnTo>
                      <a:lnTo>
                        <a:pt x="1851" y="108"/>
                      </a:lnTo>
                      <a:lnTo>
                        <a:pt x="1851" y="104"/>
                      </a:lnTo>
                      <a:lnTo>
                        <a:pt x="1812" y="110"/>
                      </a:lnTo>
                      <a:lnTo>
                        <a:pt x="1847" y="114"/>
                      </a:lnTo>
                      <a:lnTo>
                        <a:pt x="1804" y="128"/>
                      </a:lnTo>
                      <a:lnTo>
                        <a:pt x="1758" y="134"/>
                      </a:lnTo>
                      <a:lnTo>
                        <a:pt x="1760" y="126"/>
                      </a:lnTo>
                      <a:lnTo>
                        <a:pt x="1806" y="97"/>
                      </a:lnTo>
                      <a:lnTo>
                        <a:pt x="1851" y="64"/>
                      </a:lnTo>
                      <a:lnTo>
                        <a:pt x="1830" y="58"/>
                      </a:lnTo>
                      <a:lnTo>
                        <a:pt x="1810" y="50"/>
                      </a:lnTo>
                      <a:lnTo>
                        <a:pt x="1843" y="58"/>
                      </a:lnTo>
                      <a:lnTo>
                        <a:pt x="1814" y="41"/>
                      </a:lnTo>
                      <a:lnTo>
                        <a:pt x="1808" y="42"/>
                      </a:lnTo>
                      <a:lnTo>
                        <a:pt x="1791" y="41"/>
                      </a:lnTo>
                      <a:lnTo>
                        <a:pt x="1754" y="29"/>
                      </a:lnTo>
                      <a:lnTo>
                        <a:pt x="1676" y="29"/>
                      </a:lnTo>
                      <a:lnTo>
                        <a:pt x="1649" y="31"/>
                      </a:lnTo>
                      <a:lnTo>
                        <a:pt x="1645" y="17"/>
                      </a:lnTo>
                      <a:lnTo>
                        <a:pt x="1612" y="15"/>
                      </a:lnTo>
                      <a:lnTo>
                        <a:pt x="1574" y="15"/>
                      </a:lnTo>
                      <a:lnTo>
                        <a:pt x="1603" y="6"/>
                      </a:lnTo>
                      <a:lnTo>
                        <a:pt x="1545" y="0"/>
                      </a:lnTo>
                      <a:lnTo>
                        <a:pt x="1508" y="19"/>
                      </a:lnTo>
                      <a:lnTo>
                        <a:pt x="1523" y="31"/>
                      </a:lnTo>
                      <a:lnTo>
                        <a:pt x="1545" y="33"/>
                      </a:lnTo>
                      <a:lnTo>
                        <a:pt x="1488" y="37"/>
                      </a:lnTo>
                      <a:lnTo>
                        <a:pt x="1508" y="42"/>
                      </a:lnTo>
                      <a:lnTo>
                        <a:pt x="1469" y="44"/>
                      </a:lnTo>
                      <a:lnTo>
                        <a:pt x="1434" y="46"/>
                      </a:lnTo>
                      <a:lnTo>
                        <a:pt x="1364" y="46"/>
                      </a:lnTo>
                      <a:lnTo>
                        <a:pt x="1393" y="48"/>
                      </a:lnTo>
                      <a:lnTo>
                        <a:pt x="1339" y="58"/>
                      </a:lnTo>
                      <a:lnTo>
                        <a:pt x="1285" y="68"/>
                      </a:lnTo>
                      <a:lnTo>
                        <a:pt x="1267" y="72"/>
                      </a:lnTo>
                      <a:lnTo>
                        <a:pt x="1265" y="87"/>
                      </a:lnTo>
                      <a:lnTo>
                        <a:pt x="1246" y="85"/>
                      </a:lnTo>
                      <a:lnTo>
                        <a:pt x="1281" y="95"/>
                      </a:lnTo>
                      <a:lnTo>
                        <a:pt x="1258" y="97"/>
                      </a:lnTo>
                      <a:lnTo>
                        <a:pt x="1287" y="104"/>
                      </a:lnTo>
                      <a:lnTo>
                        <a:pt x="1287" y="108"/>
                      </a:lnTo>
                      <a:lnTo>
                        <a:pt x="1223" y="114"/>
                      </a:lnTo>
                      <a:lnTo>
                        <a:pt x="1157" y="120"/>
                      </a:lnTo>
                      <a:lnTo>
                        <a:pt x="1167" y="134"/>
                      </a:lnTo>
                      <a:lnTo>
                        <a:pt x="1196" y="155"/>
                      </a:lnTo>
                      <a:lnTo>
                        <a:pt x="1229" y="163"/>
                      </a:lnTo>
                      <a:lnTo>
                        <a:pt x="1273" y="178"/>
                      </a:lnTo>
                      <a:lnTo>
                        <a:pt x="1296" y="207"/>
                      </a:lnTo>
                      <a:lnTo>
                        <a:pt x="1302" y="217"/>
                      </a:lnTo>
                      <a:lnTo>
                        <a:pt x="1291" y="219"/>
                      </a:lnTo>
                      <a:lnTo>
                        <a:pt x="1269" y="198"/>
                      </a:lnTo>
                      <a:lnTo>
                        <a:pt x="1263" y="209"/>
                      </a:lnTo>
                      <a:lnTo>
                        <a:pt x="1250" y="190"/>
                      </a:lnTo>
                      <a:lnTo>
                        <a:pt x="1263" y="176"/>
                      </a:lnTo>
                      <a:lnTo>
                        <a:pt x="1211" y="170"/>
                      </a:lnTo>
                      <a:lnTo>
                        <a:pt x="1157" y="155"/>
                      </a:lnTo>
                      <a:lnTo>
                        <a:pt x="1114" y="161"/>
                      </a:lnTo>
                      <a:lnTo>
                        <a:pt x="1136" y="170"/>
                      </a:lnTo>
                      <a:lnTo>
                        <a:pt x="1085" y="168"/>
                      </a:lnTo>
                      <a:lnTo>
                        <a:pt x="1099" y="180"/>
                      </a:lnTo>
                      <a:lnTo>
                        <a:pt x="1157" y="190"/>
                      </a:lnTo>
                      <a:lnTo>
                        <a:pt x="1168" y="198"/>
                      </a:lnTo>
                      <a:lnTo>
                        <a:pt x="1083" y="184"/>
                      </a:lnTo>
                      <a:lnTo>
                        <a:pt x="1054" y="143"/>
                      </a:lnTo>
                      <a:lnTo>
                        <a:pt x="1035" y="141"/>
                      </a:lnTo>
                      <a:lnTo>
                        <a:pt x="1056" y="163"/>
                      </a:lnTo>
                      <a:lnTo>
                        <a:pt x="1033" y="176"/>
                      </a:lnTo>
                      <a:lnTo>
                        <a:pt x="1042" y="190"/>
                      </a:lnTo>
                      <a:lnTo>
                        <a:pt x="1077" y="211"/>
                      </a:lnTo>
                      <a:lnTo>
                        <a:pt x="1075" y="236"/>
                      </a:lnTo>
                      <a:lnTo>
                        <a:pt x="1099" y="258"/>
                      </a:lnTo>
                      <a:lnTo>
                        <a:pt x="1163" y="256"/>
                      </a:lnTo>
                      <a:lnTo>
                        <a:pt x="1196" y="265"/>
                      </a:lnTo>
                      <a:lnTo>
                        <a:pt x="1209" y="287"/>
                      </a:lnTo>
                      <a:lnTo>
                        <a:pt x="1221" y="300"/>
                      </a:lnTo>
                      <a:lnTo>
                        <a:pt x="1256" y="308"/>
                      </a:lnTo>
                      <a:lnTo>
                        <a:pt x="1203" y="300"/>
                      </a:lnTo>
                      <a:lnTo>
                        <a:pt x="1184" y="271"/>
                      </a:lnTo>
                      <a:lnTo>
                        <a:pt x="1165" y="262"/>
                      </a:lnTo>
                      <a:lnTo>
                        <a:pt x="1120" y="269"/>
                      </a:lnTo>
                      <a:lnTo>
                        <a:pt x="1147" y="304"/>
                      </a:lnTo>
                      <a:lnTo>
                        <a:pt x="1124" y="337"/>
                      </a:lnTo>
                      <a:lnTo>
                        <a:pt x="1114" y="343"/>
                      </a:lnTo>
                      <a:lnTo>
                        <a:pt x="1099" y="349"/>
                      </a:lnTo>
                      <a:lnTo>
                        <a:pt x="1029" y="339"/>
                      </a:lnTo>
                      <a:lnTo>
                        <a:pt x="1021" y="333"/>
                      </a:lnTo>
                      <a:lnTo>
                        <a:pt x="1066" y="335"/>
                      </a:lnTo>
                      <a:lnTo>
                        <a:pt x="1058" y="339"/>
                      </a:lnTo>
                      <a:lnTo>
                        <a:pt x="1089" y="335"/>
                      </a:lnTo>
                      <a:lnTo>
                        <a:pt x="1083" y="327"/>
                      </a:lnTo>
                      <a:lnTo>
                        <a:pt x="1105" y="295"/>
                      </a:lnTo>
                      <a:lnTo>
                        <a:pt x="1105" y="279"/>
                      </a:lnTo>
                      <a:lnTo>
                        <a:pt x="1062" y="254"/>
                      </a:lnTo>
                      <a:lnTo>
                        <a:pt x="1042" y="223"/>
                      </a:lnTo>
                      <a:lnTo>
                        <a:pt x="1023" y="194"/>
                      </a:lnTo>
                      <a:lnTo>
                        <a:pt x="998" y="180"/>
                      </a:lnTo>
                      <a:lnTo>
                        <a:pt x="998" y="151"/>
                      </a:lnTo>
                      <a:lnTo>
                        <a:pt x="959" y="137"/>
                      </a:lnTo>
                      <a:lnTo>
                        <a:pt x="907" y="141"/>
                      </a:lnTo>
                      <a:lnTo>
                        <a:pt x="901" y="182"/>
                      </a:lnTo>
                      <a:lnTo>
                        <a:pt x="882" y="198"/>
                      </a:lnTo>
                      <a:lnTo>
                        <a:pt x="889" y="205"/>
                      </a:lnTo>
                      <a:lnTo>
                        <a:pt x="905" y="205"/>
                      </a:lnTo>
                      <a:lnTo>
                        <a:pt x="911" y="227"/>
                      </a:lnTo>
                      <a:lnTo>
                        <a:pt x="918" y="240"/>
                      </a:lnTo>
                      <a:lnTo>
                        <a:pt x="951" y="248"/>
                      </a:lnTo>
                      <a:lnTo>
                        <a:pt x="973" y="263"/>
                      </a:lnTo>
                      <a:lnTo>
                        <a:pt x="984" y="265"/>
                      </a:lnTo>
                      <a:lnTo>
                        <a:pt x="975" y="285"/>
                      </a:lnTo>
                      <a:lnTo>
                        <a:pt x="936" y="265"/>
                      </a:lnTo>
                      <a:lnTo>
                        <a:pt x="876" y="250"/>
                      </a:lnTo>
                      <a:lnTo>
                        <a:pt x="820" y="242"/>
                      </a:lnTo>
                      <a:lnTo>
                        <a:pt x="765" y="232"/>
                      </a:lnTo>
                      <a:lnTo>
                        <a:pt x="754" y="242"/>
                      </a:lnTo>
                      <a:lnTo>
                        <a:pt x="783" y="263"/>
                      </a:lnTo>
                      <a:lnTo>
                        <a:pt x="763" y="273"/>
                      </a:lnTo>
                      <a:lnTo>
                        <a:pt x="761" y="283"/>
                      </a:lnTo>
                      <a:lnTo>
                        <a:pt x="746" y="279"/>
                      </a:lnTo>
                      <a:lnTo>
                        <a:pt x="740" y="263"/>
                      </a:lnTo>
                      <a:lnTo>
                        <a:pt x="705" y="269"/>
                      </a:lnTo>
                      <a:lnTo>
                        <a:pt x="676" y="273"/>
                      </a:lnTo>
                      <a:lnTo>
                        <a:pt x="647" y="285"/>
                      </a:lnTo>
                      <a:lnTo>
                        <a:pt x="606" y="283"/>
                      </a:lnTo>
                      <a:lnTo>
                        <a:pt x="618" y="277"/>
                      </a:lnTo>
                      <a:lnTo>
                        <a:pt x="608" y="265"/>
                      </a:lnTo>
                      <a:lnTo>
                        <a:pt x="628" y="262"/>
                      </a:lnTo>
                      <a:lnTo>
                        <a:pt x="583" y="275"/>
                      </a:lnTo>
                      <a:lnTo>
                        <a:pt x="579" y="279"/>
                      </a:lnTo>
                      <a:lnTo>
                        <a:pt x="529" y="289"/>
                      </a:lnTo>
                      <a:lnTo>
                        <a:pt x="502" y="298"/>
                      </a:lnTo>
                      <a:lnTo>
                        <a:pt x="504" y="304"/>
                      </a:lnTo>
                      <a:lnTo>
                        <a:pt x="480" y="308"/>
                      </a:lnTo>
                      <a:lnTo>
                        <a:pt x="480" y="329"/>
                      </a:lnTo>
                      <a:lnTo>
                        <a:pt x="440" y="329"/>
                      </a:lnTo>
                      <a:lnTo>
                        <a:pt x="411" y="310"/>
                      </a:lnTo>
                      <a:lnTo>
                        <a:pt x="449" y="296"/>
                      </a:lnTo>
                      <a:lnTo>
                        <a:pt x="405" y="275"/>
                      </a:lnTo>
                      <a:lnTo>
                        <a:pt x="354" y="271"/>
                      </a:lnTo>
                      <a:lnTo>
                        <a:pt x="383" y="285"/>
                      </a:lnTo>
                      <a:lnTo>
                        <a:pt x="395" y="320"/>
                      </a:lnTo>
                      <a:lnTo>
                        <a:pt x="407" y="343"/>
                      </a:lnTo>
                      <a:lnTo>
                        <a:pt x="407" y="358"/>
                      </a:lnTo>
                      <a:lnTo>
                        <a:pt x="393" y="358"/>
                      </a:lnTo>
                      <a:lnTo>
                        <a:pt x="383" y="345"/>
                      </a:lnTo>
                      <a:lnTo>
                        <a:pt x="354" y="341"/>
                      </a:lnTo>
                      <a:lnTo>
                        <a:pt x="329" y="360"/>
                      </a:lnTo>
                      <a:lnTo>
                        <a:pt x="304" y="378"/>
                      </a:lnTo>
                      <a:lnTo>
                        <a:pt x="329" y="407"/>
                      </a:lnTo>
                      <a:lnTo>
                        <a:pt x="271" y="399"/>
                      </a:lnTo>
                      <a:lnTo>
                        <a:pt x="232" y="386"/>
                      </a:lnTo>
                      <a:lnTo>
                        <a:pt x="234" y="401"/>
                      </a:lnTo>
                      <a:lnTo>
                        <a:pt x="261" y="413"/>
                      </a:lnTo>
                      <a:lnTo>
                        <a:pt x="277" y="424"/>
                      </a:lnTo>
                      <a:lnTo>
                        <a:pt x="242" y="428"/>
                      </a:lnTo>
                      <a:lnTo>
                        <a:pt x="190" y="403"/>
                      </a:lnTo>
                      <a:lnTo>
                        <a:pt x="174" y="376"/>
                      </a:lnTo>
                      <a:lnTo>
                        <a:pt x="172" y="364"/>
                      </a:lnTo>
                      <a:lnTo>
                        <a:pt x="176" y="364"/>
                      </a:lnTo>
                      <a:lnTo>
                        <a:pt x="141" y="349"/>
                      </a:lnTo>
                      <a:lnTo>
                        <a:pt x="128" y="341"/>
                      </a:lnTo>
                      <a:lnTo>
                        <a:pt x="95" y="322"/>
                      </a:lnTo>
                      <a:lnTo>
                        <a:pt x="114" y="327"/>
                      </a:lnTo>
                      <a:lnTo>
                        <a:pt x="184" y="341"/>
                      </a:lnTo>
                      <a:lnTo>
                        <a:pt x="252" y="357"/>
                      </a:lnTo>
                      <a:lnTo>
                        <a:pt x="318" y="341"/>
                      </a:lnTo>
                      <a:lnTo>
                        <a:pt x="323" y="318"/>
                      </a:lnTo>
                      <a:lnTo>
                        <a:pt x="298" y="300"/>
                      </a:lnTo>
                      <a:lnTo>
                        <a:pt x="226" y="277"/>
                      </a:lnTo>
                      <a:lnTo>
                        <a:pt x="153" y="254"/>
                      </a:lnTo>
                      <a:lnTo>
                        <a:pt x="112" y="256"/>
                      </a:lnTo>
                      <a:lnTo>
                        <a:pt x="100" y="258"/>
                      </a:lnTo>
                      <a:lnTo>
                        <a:pt x="108" y="248"/>
                      </a:lnTo>
                      <a:lnTo>
                        <a:pt x="93" y="250"/>
                      </a:lnTo>
                      <a:lnTo>
                        <a:pt x="73" y="238"/>
                      </a:lnTo>
                      <a:lnTo>
                        <a:pt x="97" y="236"/>
                      </a:lnTo>
                      <a:lnTo>
                        <a:pt x="66" y="231"/>
                      </a:lnTo>
                      <a:lnTo>
                        <a:pt x="56" y="238"/>
                      </a:lnTo>
                      <a:lnTo>
                        <a:pt x="42" y="234"/>
                      </a:lnTo>
                      <a:lnTo>
                        <a:pt x="42" y="244"/>
                      </a:lnTo>
                      <a:lnTo>
                        <a:pt x="25" y="244"/>
                      </a:lnTo>
                      <a:lnTo>
                        <a:pt x="2" y="260"/>
                      </a:lnTo>
                      <a:lnTo>
                        <a:pt x="0" y="265"/>
                      </a:lnTo>
                      <a:lnTo>
                        <a:pt x="2" y="287"/>
                      </a:lnTo>
                      <a:lnTo>
                        <a:pt x="38" y="308"/>
                      </a:lnTo>
                      <a:lnTo>
                        <a:pt x="23" y="331"/>
                      </a:lnTo>
                      <a:lnTo>
                        <a:pt x="56" y="368"/>
                      </a:lnTo>
                      <a:lnTo>
                        <a:pt x="56" y="397"/>
                      </a:lnTo>
                      <a:lnTo>
                        <a:pt x="66" y="409"/>
                      </a:lnTo>
                      <a:lnTo>
                        <a:pt x="83" y="424"/>
                      </a:lnTo>
                      <a:lnTo>
                        <a:pt x="69" y="434"/>
                      </a:lnTo>
                      <a:lnTo>
                        <a:pt x="118" y="463"/>
                      </a:lnTo>
                      <a:lnTo>
                        <a:pt x="98" y="483"/>
                      </a:lnTo>
                      <a:lnTo>
                        <a:pt x="79" y="502"/>
                      </a:lnTo>
                      <a:lnTo>
                        <a:pt x="58" y="523"/>
                      </a:lnTo>
                      <a:lnTo>
                        <a:pt x="38" y="543"/>
                      </a:lnTo>
                      <a:lnTo>
                        <a:pt x="58" y="543"/>
                      </a:lnTo>
                      <a:lnTo>
                        <a:pt x="54" y="543"/>
                      </a:lnTo>
                      <a:lnTo>
                        <a:pt x="60" y="549"/>
                      </a:lnTo>
                      <a:lnTo>
                        <a:pt x="106" y="564"/>
                      </a:lnTo>
                      <a:lnTo>
                        <a:pt x="77" y="562"/>
                      </a:lnTo>
                      <a:lnTo>
                        <a:pt x="54" y="574"/>
                      </a:lnTo>
                      <a:lnTo>
                        <a:pt x="46" y="583"/>
                      </a:lnTo>
                      <a:lnTo>
                        <a:pt x="56" y="616"/>
                      </a:lnTo>
                      <a:lnTo>
                        <a:pt x="42" y="638"/>
                      </a:lnTo>
                      <a:lnTo>
                        <a:pt x="60" y="663"/>
                      </a:lnTo>
                      <a:lnTo>
                        <a:pt x="79" y="704"/>
                      </a:lnTo>
                      <a:lnTo>
                        <a:pt x="124" y="711"/>
                      </a:lnTo>
                      <a:lnTo>
                        <a:pt x="168" y="719"/>
                      </a:lnTo>
                      <a:lnTo>
                        <a:pt x="174" y="762"/>
                      </a:lnTo>
                      <a:lnTo>
                        <a:pt x="213" y="793"/>
                      </a:lnTo>
                      <a:lnTo>
                        <a:pt x="201" y="804"/>
                      </a:lnTo>
                      <a:lnTo>
                        <a:pt x="209" y="837"/>
                      </a:lnTo>
                      <a:lnTo>
                        <a:pt x="232" y="830"/>
                      </a:lnTo>
                      <a:lnTo>
                        <a:pt x="281" y="835"/>
                      </a:lnTo>
                      <a:lnTo>
                        <a:pt x="285" y="847"/>
                      </a:lnTo>
                      <a:lnTo>
                        <a:pt x="323" y="880"/>
                      </a:lnTo>
                      <a:lnTo>
                        <a:pt x="362" y="913"/>
                      </a:lnTo>
                      <a:lnTo>
                        <a:pt x="381" y="909"/>
                      </a:lnTo>
                      <a:lnTo>
                        <a:pt x="426" y="923"/>
                      </a:lnTo>
                      <a:lnTo>
                        <a:pt x="471" y="936"/>
                      </a:lnTo>
                      <a:lnTo>
                        <a:pt x="490" y="991"/>
                      </a:lnTo>
                      <a:lnTo>
                        <a:pt x="465" y="1000"/>
                      </a:lnTo>
                      <a:lnTo>
                        <a:pt x="455" y="1022"/>
                      </a:lnTo>
                      <a:lnTo>
                        <a:pt x="461" y="1029"/>
                      </a:lnTo>
                      <a:lnTo>
                        <a:pt x="438" y="1043"/>
                      </a:lnTo>
                      <a:lnTo>
                        <a:pt x="422" y="1047"/>
                      </a:lnTo>
                      <a:lnTo>
                        <a:pt x="447" y="1066"/>
                      </a:lnTo>
                      <a:lnTo>
                        <a:pt x="438" y="1064"/>
                      </a:lnTo>
                      <a:lnTo>
                        <a:pt x="434" y="1076"/>
                      </a:lnTo>
                      <a:lnTo>
                        <a:pt x="430" y="1068"/>
                      </a:lnTo>
                      <a:lnTo>
                        <a:pt x="428" y="1089"/>
                      </a:lnTo>
                      <a:lnTo>
                        <a:pt x="401" y="1093"/>
                      </a:lnTo>
                      <a:lnTo>
                        <a:pt x="395" y="1101"/>
                      </a:lnTo>
                      <a:lnTo>
                        <a:pt x="440" y="1124"/>
                      </a:lnTo>
                      <a:lnTo>
                        <a:pt x="486" y="1148"/>
                      </a:lnTo>
                      <a:lnTo>
                        <a:pt x="488" y="1146"/>
                      </a:lnTo>
                      <a:lnTo>
                        <a:pt x="523" y="1148"/>
                      </a:lnTo>
                      <a:lnTo>
                        <a:pt x="556" y="1150"/>
                      </a:lnTo>
                      <a:lnTo>
                        <a:pt x="602" y="1169"/>
                      </a:lnTo>
                      <a:lnTo>
                        <a:pt x="649" y="1186"/>
                      </a:lnTo>
                      <a:lnTo>
                        <a:pt x="694" y="1204"/>
                      </a:lnTo>
                      <a:lnTo>
                        <a:pt x="740" y="1223"/>
                      </a:lnTo>
                      <a:lnTo>
                        <a:pt x="790" y="1231"/>
                      </a:lnTo>
                      <a:lnTo>
                        <a:pt x="765" y="1204"/>
                      </a:lnTo>
                      <a:lnTo>
                        <a:pt x="738" y="1175"/>
                      </a:lnTo>
                      <a:lnTo>
                        <a:pt x="734" y="1150"/>
                      </a:lnTo>
                      <a:lnTo>
                        <a:pt x="732" y="1159"/>
                      </a:lnTo>
                      <a:lnTo>
                        <a:pt x="715" y="1130"/>
                      </a:lnTo>
                      <a:lnTo>
                        <a:pt x="705" y="1120"/>
                      </a:lnTo>
                      <a:lnTo>
                        <a:pt x="721" y="1084"/>
                      </a:lnTo>
                      <a:lnTo>
                        <a:pt x="752" y="1070"/>
                      </a:lnTo>
                      <a:lnTo>
                        <a:pt x="767" y="1060"/>
                      </a:lnTo>
                      <a:lnTo>
                        <a:pt x="765" y="1053"/>
                      </a:lnTo>
                      <a:lnTo>
                        <a:pt x="740" y="1016"/>
                      </a:lnTo>
                      <a:lnTo>
                        <a:pt x="705" y="989"/>
                      </a:lnTo>
                      <a:lnTo>
                        <a:pt x="670" y="960"/>
                      </a:lnTo>
                      <a:lnTo>
                        <a:pt x="676" y="919"/>
                      </a:lnTo>
                      <a:lnTo>
                        <a:pt x="678" y="878"/>
                      </a:lnTo>
                      <a:lnTo>
                        <a:pt x="715" y="894"/>
                      </a:lnTo>
                      <a:lnTo>
                        <a:pt x="721" y="878"/>
                      </a:lnTo>
                      <a:lnTo>
                        <a:pt x="742" y="863"/>
                      </a:lnTo>
                      <a:lnTo>
                        <a:pt x="765" y="845"/>
                      </a:lnTo>
                      <a:lnTo>
                        <a:pt x="808" y="843"/>
                      </a:lnTo>
                      <a:lnTo>
                        <a:pt x="847" y="863"/>
                      </a:lnTo>
                      <a:lnTo>
                        <a:pt x="887" y="880"/>
                      </a:lnTo>
                      <a:lnTo>
                        <a:pt x="932" y="878"/>
                      </a:lnTo>
                      <a:lnTo>
                        <a:pt x="988" y="876"/>
                      </a:lnTo>
                      <a:lnTo>
                        <a:pt x="1046" y="886"/>
                      </a:lnTo>
                      <a:lnTo>
                        <a:pt x="1052" y="874"/>
                      </a:lnTo>
                      <a:lnTo>
                        <a:pt x="1019" y="837"/>
                      </a:lnTo>
                      <a:lnTo>
                        <a:pt x="1033" y="797"/>
                      </a:lnTo>
                      <a:lnTo>
                        <a:pt x="1060" y="797"/>
                      </a:lnTo>
                      <a:lnTo>
                        <a:pt x="1025" y="779"/>
                      </a:lnTo>
                      <a:lnTo>
                        <a:pt x="1062" y="773"/>
                      </a:lnTo>
                      <a:lnTo>
                        <a:pt x="1101" y="768"/>
                      </a:lnTo>
                      <a:lnTo>
                        <a:pt x="1136" y="758"/>
                      </a:lnTo>
                      <a:lnTo>
                        <a:pt x="1172" y="746"/>
                      </a:lnTo>
                      <a:lnTo>
                        <a:pt x="1207" y="737"/>
                      </a:lnTo>
                      <a:lnTo>
                        <a:pt x="1242" y="727"/>
                      </a:lnTo>
                      <a:lnTo>
                        <a:pt x="1269" y="725"/>
                      </a:lnTo>
                      <a:lnTo>
                        <a:pt x="1289" y="748"/>
                      </a:lnTo>
                      <a:lnTo>
                        <a:pt x="1347" y="768"/>
                      </a:lnTo>
                      <a:lnTo>
                        <a:pt x="1368" y="779"/>
                      </a:lnTo>
                      <a:lnTo>
                        <a:pt x="1391" y="783"/>
                      </a:lnTo>
                      <a:lnTo>
                        <a:pt x="1428" y="768"/>
                      </a:lnTo>
                      <a:lnTo>
                        <a:pt x="1465" y="754"/>
                      </a:lnTo>
                      <a:lnTo>
                        <a:pt x="1473" y="760"/>
                      </a:lnTo>
                      <a:lnTo>
                        <a:pt x="1467" y="777"/>
                      </a:lnTo>
                      <a:lnTo>
                        <a:pt x="1508" y="804"/>
                      </a:lnTo>
                      <a:lnTo>
                        <a:pt x="1546" y="832"/>
                      </a:lnTo>
                      <a:lnTo>
                        <a:pt x="1587" y="859"/>
                      </a:lnTo>
                      <a:lnTo>
                        <a:pt x="1628" y="886"/>
                      </a:lnTo>
                      <a:lnTo>
                        <a:pt x="1634" y="878"/>
                      </a:lnTo>
                      <a:lnTo>
                        <a:pt x="1657" y="886"/>
                      </a:lnTo>
                      <a:lnTo>
                        <a:pt x="1694" y="880"/>
                      </a:lnTo>
                      <a:lnTo>
                        <a:pt x="1735" y="903"/>
                      </a:lnTo>
                      <a:lnTo>
                        <a:pt x="1775" y="929"/>
                      </a:lnTo>
                      <a:lnTo>
                        <a:pt x="1814" y="919"/>
                      </a:lnTo>
                      <a:lnTo>
                        <a:pt x="1849" y="956"/>
                      </a:lnTo>
                      <a:lnTo>
                        <a:pt x="1870" y="952"/>
                      </a:lnTo>
                      <a:lnTo>
                        <a:pt x="1886" y="940"/>
                      </a:lnTo>
                      <a:lnTo>
                        <a:pt x="1913" y="929"/>
                      </a:lnTo>
                      <a:lnTo>
                        <a:pt x="1942" y="911"/>
                      </a:lnTo>
                      <a:lnTo>
                        <a:pt x="1971" y="894"/>
                      </a:lnTo>
                      <a:lnTo>
                        <a:pt x="2033" y="901"/>
                      </a:lnTo>
                      <a:lnTo>
                        <a:pt x="2043" y="913"/>
                      </a:lnTo>
                      <a:lnTo>
                        <a:pt x="2087" y="921"/>
                      </a:lnTo>
                      <a:lnTo>
                        <a:pt x="2132" y="929"/>
                      </a:lnTo>
                      <a:lnTo>
                        <a:pt x="2155" y="911"/>
                      </a:lnTo>
                      <a:lnTo>
                        <a:pt x="2126" y="886"/>
                      </a:lnTo>
                      <a:lnTo>
                        <a:pt x="2134" y="847"/>
                      </a:lnTo>
                      <a:lnTo>
                        <a:pt x="2184" y="859"/>
                      </a:lnTo>
                      <a:lnTo>
                        <a:pt x="2237" y="870"/>
                      </a:lnTo>
                      <a:lnTo>
                        <a:pt x="2258" y="892"/>
                      </a:lnTo>
                      <a:lnTo>
                        <a:pt x="2304" y="915"/>
                      </a:lnTo>
                      <a:lnTo>
                        <a:pt x="2355" y="905"/>
                      </a:lnTo>
                      <a:lnTo>
                        <a:pt x="2396" y="913"/>
                      </a:lnTo>
                      <a:lnTo>
                        <a:pt x="2438" y="923"/>
                      </a:lnTo>
                      <a:lnTo>
                        <a:pt x="2454" y="936"/>
                      </a:lnTo>
                      <a:lnTo>
                        <a:pt x="2516" y="952"/>
                      </a:lnTo>
                      <a:lnTo>
                        <a:pt x="2551" y="946"/>
                      </a:lnTo>
                      <a:lnTo>
                        <a:pt x="2586" y="938"/>
                      </a:lnTo>
                      <a:lnTo>
                        <a:pt x="2618" y="913"/>
                      </a:lnTo>
                      <a:lnTo>
                        <a:pt x="2675" y="925"/>
                      </a:lnTo>
                      <a:lnTo>
                        <a:pt x="2704" y="929"/>
                      </a:lnTo>
                      <a:lnTo>
                        <a:pt x="2746" y="936"/>
                      </a:lnTo>
                      <a:lnTo>
                        <a:pt x="2768" y="911"/>
                      </a:lnTo>
                      <a:lnTo>
                        <a:pt x="2758" y="886"/>
                      </a:lnTo>
                      <a:lnTo>
                        <a:pt x="2758" y="839"/>
                      </a:lnTo>
                      <a:lnTo>
                        <a:pt x="2737" y="826"/>
                      </a:lnTo>
                      <a:lnTo>
                        <a:pt x="2723" y="820"/>
                      </a:lnTo>
                      <a:lnTo>
                        <a:pt x="2744" y="801"/>
                      </a:lnTo>
                      <a:lnTo>
                        <a:pt x="2781" y="799"/>
                      </a:lnTo>
                      <a:lnTo>
                        <a:pt x="2818" y="799"/>
                      </a:lnTo>
                      <a:lnTo>
                        <a:pt x="2896" y="822"/>
                      </a:lnTo>
                      <a:lnTo>
                        <a:pt x="2925" y="847"/>
                      </a:lnTo>
                      <a:lnTo>
                        <a:pt x="2956" y="872"/>
                      </a:lnTo>
                      <a:lnTo>
                        <a:pt x="2987" y="899"/>
                      </a:lnTo>
                      <a:lnTo>
                        <a:pt x="3016" y="925"/>
                      </a:lnTo>
                      <a:lnTo>
                        <a:pt x="3049" y="938"/>
                      </a:lnTo>
                      <a:lnTo>
                        <a:pt x="3103" y="954"/>
                      </a:lnTo>
                      <a:lnTo>
                        <a:pt x="3134" y="965"/>
                      </a:lnTo>
                      <a:lnTo>
                        <a:pt x="3173" y="1006"/>
                      </a:lnTo>
                      <a:lnTo>
                        <a:pt x="3217" y="1000"/>
                      </a:lnTo>
                      <a:lnTo>
                        <a:pt x="3264" y="985"/>
                      </a:lnTo>
                      <a:lnTo>
                        <a:pt x="3283" y="1018"/>
                      </a:lnTo>
                      <a:lnTo>
                        <a:pt x="3289" y="1060"/>
                      </a:lnTo>
                      <a:lnTo>
                        <a:pt x="3295" y="1105"/>
                      </a:lnTo>
                      <a:lnTo>
                        <a:pt x="3254" y="1099"/>
                      </a:lnTo>
                      <a:lnTo>
                        <a:pt x="3248" y="1119"/>
                      </a:lnTo>
                      <a:lnTo>
                        <a:pt x="3270" y="1151"/>
                      </a:lnTo>
                      <a:lnTo>
                        <a:pt x="3291" y="1186"/>
                      </a:lnTo>
                      <a:lnTo>
                        <a:pt x="3278" y="1194"/>
                      </a:lnTo>
                      <a:lnTo>
                        <a:pt x="3285" y="1204"/>
                      </a:lnTo>
                      <a:lnTo>
                        <a:pt x="3291" y="1210"/>
                      </a:lnTo>
                      <a:lnTo>
                        <a:pt x="3287" y="1198"/>
                      </a:lnTo>
                      <a:lnTo>
                        <a:pt x="3293" y="1198"/>
                      </a:lnTo>
                      <a:lnTo>
                        <a:pt x="3309" y="1175"/>
                      </a:lnTo>
                      <a:lnTo>
                        <a:pt x="3318" y="1171"/>
                      </a:lnTo>
                      <a:lnTo>
                        <a:pt x="3328" y="1188"/>
                      </a:lnTo>
                      <a:lnTo>
                        <a:pt x="3351" y="1190"/>
                      </a:lnTo>
                      <a:lnTo>
                        <a:pt x="3386" y="1177"/>
                      </a:lnTo>
                      <a:lnTo>
                        <a:pt x="3398" y="1151"/>
                      </a:lnTo>
                      <a:lnTo>
                        <a:pt x="3407" y="1124"/>
                      </a:lnTo>
                      <a:lnTo>
                        <a:pt x="3413" y="1089"/>
                      </a:lnTo>
                      <a:lnTo>
                        <a:pt x="3417" y="1055"/>
                      </a:lnTo>
                      <a:lnTo>
                        <a:pt x="3419" y="1020"/>
                      </a:lnTo>
                      <a:lnTo>
                        <a:pt x="3421" y="985"/>
                      </a:lnTo>
                      <a:lnTo>
                        <a:pt x="3407" y="954"/>
                      </a:lnTo>
                      <a:lnTo>
                        <a:pt x="3394" y="923"/>
                      </a:lnTo>
                      <a:lnTo>
                        <a:pt x="3374" y="901"/>
                      </a:lnTo>
                      <a:lnTo>
                        <a:pt x="3367" y="878"/>
                      </a:lnTo>
                      <a:lnTo>
                        <a:pt x="3357" y="853"/>
                      </a:lnTo>
                      <a:lnTo>
                        <a:pt x="3336" y="828"/>
                      </a:lnTo>
                      <a:lnTo>
                        <a:pt x="3303" y="808"/>
                      </a:lnTo>
                      <a:lnTo>
                        <a:pt x="3322" y="808"/>
                      </a:lnTo>
                      <a:lnTo>
                        <a:pt x="3247" y="770"/>
                      </a:lnTo>
                      <a:lnTo>
                        <a:pt x="3210" y="764"/>
                      </a:lnTo>
                      <a:lnTo>
                        <a:pt x="3219" y="781"/>
                      </a:lnTo>
                      <a:lnTo>
                        <a:pt x="3192" y="793"/>
                      </a:lnTo>
                      <a:lnTo>
                        <a:pt x="3192" y="779"/>
                      </a:lnTo>
                      <a:lnTo>
                        <a:pt x="3177" y="773"/>
                      </a:lnTo>
                      <a:lnTo>
                        <a:pt x="3173" y="781"/>
                      </a:lnTo>
                      <a:lnTo>
                        <a:pt x="3150" y="758"/>
                      </a:lnTo>
                      <a:lnTo>
                        <a:pt x="3099" y="750"/>
                      </a:lnTo>
                      <a:lnTo>
                        <a:pt x="3111" y="719"/>
                      </a:lnTo>
                      <a:lnTo>
                        <a:pt x="3121" y="686"/>
                      </a:lnTo>
                      <a:lnTo>
                        <a:pt x="3130" y="665"/>
                      </a:lnTo>
                      <a:lnTo>
                        <a:pt x="3140" y="642"/>
                      </a:lnTo>
                      <a:lnTo>
                        <a:pt x="3132" y="624"/>
                      </a:lnTo>
                      <a:lnTo>
                        <a:pt x="3144" y="593"/>
                      </a:lnTo>
                      <a:lnTo>
                        <a:pt x="3179" y="589"/>
                      </a:lnTo>
                      <a:lnTo>
                        <a:pt x="3216" y="583"/>
                      </a:lnTo>
                      <a:lnTo>
                        <a:pt x="3225" y="583"/>
                      </a:lnTo>
                      <a:lnTo>
                        <a:pt x="3239" y="589"/>
                      </a:lnTo>
                      <a:lnTo>
                        <a:pt x="3245" y="583"/>
                      </a:lnTo>
                      <a:lnTo>
                        <a:pt x="3312" y="589"/>
                      </a:lnTo>
                      <a:lnTo>
                        <a:pt x="3312" y="581"/>
                      </a:lnTo>
                      <a:lnTo>
                        <a:pt x="3309" y="576"/>
                      </a:lnTo>
                      <a:lnTo>
                        <a:pt x="3361" y="578"/>
                      </a:lnTo>
                      <a:lnTo>
                        <a:pt x="3404" y="587"/>
                      </a:lnTo>
                      <a:lnTo>
                        <a:pt x="3388" y="593"/>
                      </a:lnTo>
                      <a:lnTo>
                        <a:pt x="3400" y="603"/>
                      </a:lnTo>
                      <a:lnTo>
                        <a:pt x="3429" y="599"/>
                      </a:lnTo>
                      <a:lnTo>
                        <a:pt x="3450" y="591"/>
                      </a:lnTo>
                      <a:lnTo>
                        <a:pt x="3491" y="591"/>
                      </a:lnTo>
                      <a:lnTo>
                        <a:pt x="3485" y="585"/>
                      </a:lnTo>
                      <a:lnTo>
                        <a:pt x="3456" y="581"/>
                      </a:lnTo>
                      <a:lnTo>
                        <a:pt x="3444" y="572"/>
                      </a:lnTo>
                      <a:lnTo>
                        <a:pt x="3444" y="539"/>
                      </a:lnTo>
                      <a:lnTo>
                        <a:pt x="3442" y="504"/>
                      </a:lnTo>
                      <a:lnTo>
                        <a:pt x="3500" y="502"/>
                      </a:lnTo>
                      <a:lnTo>
                        <a:pt x="3514" y="498"/>
                      </a:lnTo>
                      <a:lnTo>
                        <a:pt x="3545" y="531"/>
                      </a:lnTo>
                      <a:lnTo>
                        <a:pt x="3549" y="527"/>
                      </a:lnTo>
                      <a:lnTo>
                        <a:pt x="3568" y="543"/>
                      </a:lnTo>
                      <a:lnTo>
                        <a:pt x="3584" y="508"/>
                      </a:lnTo>
                      <a:lnTo>
                        <a:pt x="3601" y="508"/>
                      </a:lnTo>
                      <a:lnTo>
                        <a:pt x="3570" y="479"/>
                      </a:lnTo>
                      <a:lnTo>
                        <a:pt x="3578" y="473"/>
                      </a:lnTo>
                      <a:lnTo>
                        <a:pt x="3625" y="477"/>
                      </a:lnTo>
                      <a:lnTo>
                        <a:pt x="3632" y="483"/>
                      </a:lnTo>
                      <a:lnTo>
                        <a:pt x="3605" y="481"/>
                      </a:lnTo>
                      <a:lnTo>
                        <a:pt x="3628" y="506"/>
                      </a:lnTo>
                      <a:lnTo>
                        <a:pt x="3650" y="531"/>
                      </a:lnTo>
                      <a:lnTo>
                        <a:pt x="3634" y="543"/>
                      </a:lnTo>
                      <a:lnTo>
                        <a:pt x="3628" y="570"/>
                      </a:lnTo>
                      <a:lnTo>
                        <a:pt x="3621" y="597"/>
                      </a:lnTo>
                      <a:lnTo>
                        <a:pt x="3619" y="632"/>
                      </a:lnTo>
                      <a:lnTo>
                        <a:pt x="3592" y="638"/>
                      </a:lnTo>
                      <a:lnTo>
                        <a:pt x="3603" y="649"/>
                      </a:lnTo>
                      <a:lnTo>
                        <a:pt x="3607" y="675"/>
                      </a:lnTo>
                      <a:lnTo>
                        <a:pt x="3632" y="704"/>
                      </a:lnTo>
                      <a:lnTo>
                        <a:pt x="3656" y="735"/>
                      </a:lnTo>
                      <a:lnTo>
                        <a:pt x="3700" y="771"/>
                      </a:lnTo>
                      <a:lnTo>
                        <a:pt x="3745" y="810"/>
                      </a:lnTo>
                      <a:lnTo>
                        <a:pt x="3789" y="847"/>
                      </a:lnTo>
                      <a:lnTo>
                        <a:pt x="3834" y="886"/>
                      </a:lnTo>
                      <a:lnTo>
                        <a:pt x="3844" y="863"/>
                      </a:lnTo>
                      <a:lnTo>
                        <a:pt x="3818" y="812"/>
                      </a:lnTo>
                      <a:lnTo>
                        <a:pt x="3830" y="806"/>
                      </a:lnTo>
                      <a:lnTo>
                        <a:pt x="3851" y="808"/>
                      </a:lnTo>
                      <a:lnTo>
                        <a:pt x="3846" y="802"/>
                      </a:lnTo>
                      <a:lnTo>
                        <a:pt x="3818" y="768"/>
                      </a:lnTo>
                      <a:lnTo>
                        <a:pt x="3853" y="752"/>
                      </a:lnTo>
                      <a:lnTo>
                        <a:pt x="3807" y="713"/>
                      </a:lnTo>
                      <a:lnTo>
                        <a:pt x="3807" y="694"/>
                      </a:lnTo>
                      <a:lnTo>
                        <a:pt x="3809" y="688"/>
                      </a:lnTo>
                      <a:lnTo>
                        <a:pt x="3809" y="696"/>
                      </a:lnTo>
                      <a:lnTo>
                        <a:pt x="3830" y="704"/>
                      </a:lnTo>
                      <a:lnTo>
                        <a:pt x="3807" y="678"/>
                      </a:lnTo>
                      <a:lnTo>
                        <a:pt x="3791" y="676"/>
                      </a:lnTo>
                      <a:lnTo>
                        <a:pt x="3760" y="638"/>
                      </a:lnTo>
                      <a:lnTo>
                        <a:pt x="3745" y="642"/>
                      </a:lnTo>
                      <a:lnTo>
                        <a:pt x="3718" y="630"/>
                      </a:lnTo>
                      <a:lnTo>
                        <a:pt x="3704" y="591"/>
                      </a:lnTo>
                      <a:lnTo>
                        <a:pt x="3687" y="568"/>
                      </a:lnTo>
                      <a:lnTo>
                        <a:pt x="3706" y="562"/>
                      </a:lnTo>
                      <a:lnTo>
                        <a:pt x="3727" y="570"/>
                      </a:lnTo>
                      <a:lnTo>
                        <a:pt x="3721" y="560"/>
                      </a:lnTo>
                      <a:lnTo>
                        <a:pt x="3735" y="547"/>
                      </a:lnTo>
                      <a:lnTo>
                        <a:pt x="3760" y="568"/>
                      </a:lnTo>
                      <a:lnTo>
                        <a:pt x="3762" y="552"/>
                      </a:lnTo>
                      <a:lnTo>
                        <a:pt x="3811" y="543"/>
                      </a:lnTo>
                      <a:lnTo>
                        <a:pt x="3859" y="562"/>
                      </a:lnTo>
                      <a:lnTo>
                        <a:pt x="3859" y="552"/>
                      </a:lnTo>
                      <a:lnTo>
                        <a:pt x="3873" y="529"/>
                      </a:lnTo>
                      <a:lnTo>
                        <a:pt x="3875" y="525"/>
                      </a:lnTo>
                      <a:lnTo>
                        <a:pt x="3875" y="516"/>
                      </a:lnTo>
                      <a:lnTo>
                        <a:pt x="3877" y="510"/>
                      </a:lnTo>
                      <a:lnTo>
                        <a:pt x="3906" y="492"/>
                      </a:lnTo>
                      <a:lnTo>
                        <a:pt x="3935" y="475"/>
                      </a:lnTo>
                      <a:lnTo>
                        <a:pt x="3919" y="471"/>
                      </a:lnTo>
                      <a:lnTo>
                        <a:pt x="3927" y="469"/>
                      </a:lnTo>
                      <a:lnTo>
                        <a:pt x="3989" y="483"/>
                      </a:lnTo>
                      <a:lnTo>
                        <a:pt x="3991" y="475"/>
                      </a:lnTo>
                      <a:lnTo>
                        <a:pt x="3964" y="459"/>
                      </a:lnTo>
                      <a:lnTo>
                        <a:pt x="3935" y="446"/>
                      </a:lnTo>
                      <a:lnTo>
                        <a:pt x="3919" y="440"/>
                      </a:lnTo>
                      <a:lnTo>
                        <a:pt x="3873" y="411"/>
                      </a:lnTo>
                      <a:lnTo>
                        <a:pt x="3871" y="417"/>
                      </a:lnTo>
                      <a:lnTo>
                        <a:pt x="3838" y="399"/>
                      </a:lnTo>
                      <a:lnTo>
                        <a:pt x="3857" y="403"/>
                      </a:lnTo>
                      <a:lnTo>
                        <a:pt x="3886" y="397"/>
                      </a:lnTo>
                      <a:lnTo>
                        <a:pt x="3838" y="362"/>
                      </a:lnTo>
                      <a:lnTo>
                        <a:pt x="3789" y="329"/>
                      </a:lnTo>
                      <a:lnTo>
                        <a:pt x="3739" y="295"/>
                      </a:lnTo>
                      <a:lnTo>
                        <a:pt x="3690" y="26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5" name="Freeform 395"/>
                <p:cNvSpPr>
                  <a:spLocks/>
                </p:cNvSpPr>
                <p:nvPr/>
              </p:nvSpPr>
              <p:spPr bwMode="auto">
                <a:xfrm>
                  <a:off x="785606" y="1481278"/>
                  <a:ext cx="223745" cy="118976"/>
                </a:xfrm>
                <a:custGeom>
                  <a:avLst/>
                  <a:gdLst>
                    <a:gd name="T0" fmla="*/ 223745 w 289"/>
                    <a:gd name="T1" fmla="*/ 72622 h 154"/>
                    <a:gd name="T2" fmla="*/ 217551 w 289"/>
                    <a:gd name="T3" fmla="*/ 63351 h 154"/>
                    <a:gd name="T4" fmla="*/ 205938 w 289"/>
                    <a:gd name="T5" fmla="*/ 49445 h 154"/>
                    <a:gd name="T6" fmla="*/ 193551 w 289"/>
                    <a:gd name="T7" fmla="*/ 48672 h 154"/>
                    <a:gd name="T8" fmla="*/ 195099 w 289"/>
                    <a:gd name="T9" fmla="*/ 50990 h 154"/>
                    <a:gd name="T10" fmla="*/ 187357 w 289"/>
                    <a:gd name="T11" fmla="*/ 48672 h 154"/>
                    <a:gd name="T12" fmla="*/ 168002 w 289"/>
                    <a:gd name="T13" fmla="*/ 49445 h 154"/>
                    <a:gd name="T14" fmla="*/ 153292 w 289"/>
                    <a:gd name="T15" fmla="*/ 60261 h 154"/>
                    <a:gd name="T16" fmla="*/ 151744 w 289"/>
                    <a:gd name="T17" fmla="*/ 66441 h 154"/>
                    <a:gd name="T18" fmla="*/ 142454 w 289"/>
                    <a:gd name="T19" fmla="*/ 66441 h 154"/>
                    <a:gd name="T20" fmla="*/ 150196 w 289"/>
                    <a:gd name="T21" fmla="*/ 55625 h 154"/>
                    <a:gd name="T22" fmla="*/ 166454 w 289"/>
                    <a:gd name="T23" fmla="*/ 39401 h 154"/>
                    <a:gd name="T24" fmla="*/ 166454 w 289"/>
                    <a:gd name="T25" fmla="*/ 25495 h 154"/>
                    <a:gd name="T26" fmla="*/ 148647 w 289"/>
                    <a:gd name="T27" fmla="*/ 9271 h 154"/>
                    <a:gd name="T28" fmla="*/ 148647 w 289"/>
                    <a:gd name="T29" fmla="*/ 15451 h 154"/>
                    <a:gd name="T30" fmla="*/ 137034 w 289"/>
                    <a:gd name="T31" fmla="*/ 0 h 154"/>
                    <a:gd name="T32" fmla="*/ 102195 w 289"/>
                    <a:gd name="T33" fmla="*/ 23177 h 154"/>
                    <a:gd name="T34" fmla="*/ 68904 w 289"/>
                    <a:gd name="T35" fmla="*/ 47127 h 154"/>
                    <a:gd name="T36" fmla="*/ 34839 w 289"/>
                    <a:gd name="T37" fmla="*/ 69531 h 154"/>
                    <a:gd name="T38" fmla="*/ 0 w 289"/>
                    <a:gd name="T39" fmla="*/ 91936 h 154"/>
                    <a:gd name="T40" fmla="*/ 16258 w 289"/>
                    <a:gd name="T41" fmla="*/ 78030 h 154"/>
                    <a:gd name="T42" fmla="*/ 31742 w 289"/>
                    <a:gd name="T43" fmla="*/ 71077 h 154"/>
                    <a:gd name="T44" fmla="*/ 41807 w 289"/>
                    <a:gd name="T45" fmla="*/ 69531 h 154"/>
                    <a:gd name="T46" fmla="*/ 52646 w 289"/>
                    <a:gd name="T47" fmla="*/ 64896 h 154"/>
                    <a:gd name="T48" fmla="*/ 51097 w 289"/>
                    <a:gd name="T49" fmla="*/ 69531 h 154"/>
                    <a:gd name="T50" fmla="*/ 58840 w 289"/>
                    <a:gd name="T51" fmla="*/ 67986 h 154"/>
                    <a:gd name="T52" fmla="*/ 37936 w 289"/>
                    <a:gd name="T53" fmla="*/ 76485 h 154"/>
                    <a:gd name="T54" fmla="*/ 36388 w 289"/>
                    <a:gd name="T55" fmla="*/ 87301 h 154"/>
                    <a:gd name="T56" fmla="*/ 76646 w 289"/>
                    <a:gd name="T57" fmla="*/ 87301 h 154"/>
                    <a:gd name="T58" fmla="*/ 65033 w 289"/>
                    <a:gd name="T59" fmla="*/ 105070 h 154"/>
                    <a:gd name="T60" fmla="*/ 82840 w 289"/>
                    <a:gd name="T61" fmla="*/ 111250 h 154"/>
                    <a:gd name="T62" fmla="*/ 96001 w 289"/>
                    <a:gd name="T63" fmla="*/ 112795 h 154"/>
                    <a:gd name="T64" fmla="*/ 89808 w 289"/>
                    <a:gd name="T65" fmla="*/ 118976 h 154"/>
                    <a:gd name="T66" fmla="*/ 105292 w 289"/>
                    <a:gd name="T67" fmla="*/ 114341 h 154"/>
                    <a:gd name="T68" fmla="*/ 113808 w 289"/>
                    <a:gd name="T69" fmla="*/ 111250 h 154"/>
                    <a:gd name="T70" fmla="*/ 113034 w 289"/>
                    <a:gd name="T71" fmla="*/ 106615 h 154"/>
                    <a:gd name="T72" fmla="*/ 140905 w 289"/>
                    <a:gd name="T73" fmla="*/ 93481 h 154"/>
                    <a:gd name="T74" fmla="*/ 150196 w 289"/>
                    <a:gd name="T75" fmla="*/ 88846 h 154"/>
                    <a:gd name="T76" fmla="*/ 153292 w 289"/>
                    <a:gd name="T77" fmla="*/ 81120 h 154"/>
                    <a:gd name="T78" fmla="*/ 156389 w 289"/>
                    <a:gd name="T79" fmla="*/ 87301 h 154"/>
                    <a:gd name="T80" fmla="*/ 171099 w 289"/>
                    <a:gd name="T81" fmla="*/ 85755 h 154"/>
                    <a:gd name="T82" fmla="*/ 178841 w 289"/>
                    <a:gd name="T83" fmla="*/ 81120 h 154"/>
                    <a:gd name="T84" fmla="*/ 195099 w 289"/>
                    <a:gd name="T85" fmla="*/ 81120 h 154"/>
                    <a:gd name="T86" fmla="*/ 223745 w 289"/>
                    <a:gd name="T87" fmla="*/ 72622 h 15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89"/>
                    <a:gd name="T133" fmla="*/ 0 h 154"/>
                    <a:gd name="T134" fmla="*/ 289 w 289"/>
                    <a:gd name="T135" fmla="*/ 154 h 15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89" h="154">
                      <a:moveTo>
                        <a:pt x="289" y="94"/>
                      </a:moveTo>
                      <a:lnTo>
                        <a:pt x="281" y="82"/>
                      </a:lnTo>
                      <a:lnTo>
                        <a:pt x="266" y="64"/>
                      </a:lnTo>
                      <a:lnTo>
                        <a:pt x="250" y="63"/>
                      </a:lnTo>
                      <a:lnTo>
                        <a:pt x="252" y="66"/>
                      </a:lnTo>
                      <a:lnTo>
                        <a:pt x="242" y="63"/>
                      </a:lnTo>
                      <a:lnTo>
                        <a:pt x="217" y="64"/>
                      </a:lnTo>
                      <a:lnTo>
                        <a:pt x="198" y="78"/>
                      </a:lnTo>
                      <a:lnTo>
                        <a:pt x="196" y="86"/>
                      </a:lnTo>
                      <a:lnTo>
                        <a:pt x="184" y="86"/>
                      </a:lnTo>
                      <a:lnTo>
                        <a:pt x="194" y="72"/>
                      </a:lnTo>
                      <a:lnTo>
                        <a:pt x="215" y="51"/>
                      </a:lnTo>
                      <a:lnTo>
                        <a:pt x="215" y="33"/>
                      </a:lnTo>
                      <a:lnTo>
                        <a:pt x="192" y="12"/>
                      </a:lnTo>
                      <a:lnTo>
                        <a:pt x="192" y="20"/>
                      </a:lnTo>
                      <a:lnTo>
                        <a:pt x="177" y="0"/>
                      </a:lnTo>
                      <a:lnTo>
                        <a:pt x="132" y="30"/>
                      </a:lnTo>
                      <a:lnTo>
                        <a:pt x="89" y="61"/>
                      </a:lnTo>
                      <a:lnTo>
                        <a:pt x="45" y="90"/>
                      </a:lnTo>
                      <a:lnTo>
                        <a:pt x="0" y="119"/>
                      </a:lnTo>
                      <a:lnTo>
                        <a:pt x="21" y="101"/>
                      </a:lnTo>
                      <a:lnTo>
                        <a:pt x="41" y="92"/>
                      </a:lnTo>
                      <a:lnTo>
                        <a:pt x="54" y="90"/>
                      </a:lnTo>
                      <a:lnTo>
                        <a:pt x="68" y="84"/>
                      </a:lnTo>
                      <a:lnTo>
                        <a:pt x="66" y="90"/>
                      </a:lnTo>
                      <a:lnTo>
                        <a:pt x="76" y="88"/>
                      </a:lnTo>
                      <a:lnTo>
                        <a:pt x="49" y="99"/>
                      </a:lnTo>
                      <a:lnTo>
                        <a:pt x="47" y="113"/>
                      </a:lnTo>
                      <a:lnTo>
                        <a:pt x="99" y="113"/>
                      </a:lnTo>
                      <a:lnTo>
                        <a:pt x="84" y="136"/>
                      </a:lnTo>
                      <a:lnTo>
                        <a:pt x="107" y="144"/>
                      </a:lnTo>
                      <a:lnTo>
                        <a:pt x="124" y="146"/>
                      </a:lnTo>
                      <a:lnTo>
                        <a:pt x="116" y="154"/>
                      </a:lnTo>
                      <a:lnTo>
                        <a:pt x="136" y="148"/>
                      </a:lnTo>
                      <a:lnTo>
                        <a:pt x="147" y="144"/>
                      </a:lnTo>
                      <a:lnTo>
                        <a:pt x="146" y="138"/>
                      </a:lnTo>
                      <a:lnTo>
                        <a:pt x="182" y="121"/>
                      </a:lnTo>
                      <a:lnTo>
                        <a:pt x="194" y="115"/>
                      </a:lnTo>
                      <a:lnTo>
                        <a:pt x="198" y="105"/>
                      </a:lnTo>
                      <a:lnTo>
                        <a:pt x="202" y="113"/>
                      </a:lnTo>
                      <a:lnTo>
                        <a:pt x="221" y="111"/>
                      </a:lnTo>
                      <a:lnTo>
                        <a:pt x="231" y="105"/>
                      </a:lnTo>
                      <a:lnTo>
                        <a:pt x="252" y="105"/>
                      </a:lnTo>
                      <a:lnTo>
                        <a:pt x="289" y="9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6" name="Freeform 396"/>
                <p:cNvSpPr>
                  <a:spLocks/>
                </p:cNvSpPr>
                <p:nvPr/>
              </p:nvSpPr>
              <p:spPr bwMode="auto">
                <a:xfrm>
                  <a:off x="7506826" y="1854187"/>
                  <a:ext cx="216642" cy="230848"/>
                </a:xfrm>
                <a:custGeom>
                  <a:avLst/>
                  <a:gdLst>
                    <a:gd name="T0" fmla="*/ 190925 w 278"/>
                    <a:gd name="T1" fmla="*/ 158615 h 310"/>
                    <a:gd name="T2" fmla="*/ 163650 w 278"/>
                    <a:gd name="T3" fmla="*/ 134041 h 310"/>
                    <a:gd name="T4" fmla="*/ 133258 w 278"/>
                    <a:gd name="T5" fmla="*/ 109467 h 310"/>
                    <a:gd name="T6" fmla="*/ 102866 w 278"/>
                    <a:gd name="T7" fmla="*/ 86382 h 310"/>
                    <a:gd name="T8" fmla="*/ 73253 w 278"/>
                    <a:gd name="T9" fmla="*/ 63297 h 310"/>
                    <a:gd name="T10" fmla="*/ 67019 w 278"/>
                    <a:gd name="T11" fmla="*/ 53616 h 310"/>
                    <a:gd name="T12" fmla="*/ 36627 w 278"/>
                    <a:gd name="T13" fmla="*/ 27553 h 310"/>
                    <a:gd name="T14" fmla="*/ 6234 w 278"/>
                    <a:gd name="T15" fmla="*/ 0 h 310"/>
                    <a:gd name="T16" fmla="*/ 0 w 278"/>
                    <a:gd name="T17" fmla="*/ 4468 h 310"/>
                    <a:gd name="T18" fmla="*/ 23379 w 278"/>
                    <a:gd name="T19" fmla="*/ 20106 h 310"/>
                    <a:gd name="T20" fmla="*/ 21820 w 278"/>
                    <a:gd name="T21" fmla="*/ 29042 h 310"/>
                    <a:gd name="T22" fmla="*/ 10910 w 278"/>
                    <a:gd name="T23" fmla="*/ 29042 h 310"/>
                    <a:gd name="T24" fmla="*/ 35068 w 278"/>
                    <a:gd name="T25" fmla="*/ 53616 h 310"/>
                    <a:gd name="T26" fmla="*/ 59226 w 278"/>
                    <a:gd name="T27" fmla="*/ 78190 h 310"/>
                    <a:gd name="T28" fmla="*/ 81825 w 278"/>
                    <a:gd name="T29" fmla="*/ 99786 h 310"/>
                    <a:gd name="T30" fmla="*/ 102866 w 278"/>
                    <a:gd name="T31" fmla="*/ 126594 h 310"/>
                    <a:gd name="T32" fmla="*/ 121569 w 278"/>
                    <a:gd name="T33" fmla="*/ 154147 h 310"/>
                    <a:gd name="T34" fmla="*/ 142610 w 278"/>
                    <a:gd name="T35" fmla="*/ 177232 h 310"/>
                    <a:gd name="T36" fmla="*/ 162092 w 278"/>
                    <a:gd name="T37" fmla="*/ 200317 h 310"/>
                    <a:gd name="T38" fmla="*/ 180015 w 278"/>
                    <a:gd name="T39" fmla="*/ 229359 h 310"/>
                    <a:gd name="T40" fmla="*/ 187808 w 278"/>
                    <a:gd name="T41" fmla="*/ 229359 h 310"/>
                    <a:gd name="T42" fmla="*/ 183133 w 278"/>
                    <a:gd name="T43" fmla="*/ 210742 h 310"/>
                    <a:gd name="T44" fmla="*/ 205732 w 278"/>
                    <a:gd name="T45" fmla="*/ 220423 h 310"/>
                    <a:gd name="T46" fmla="*/ 216642 w 278"/>
                    <a:gd name="T47" fmla="*/ 230848 h 310"/>
                    <a:gd name="T48" fmla="*/ 197939 w 278"/>
                    <a:gd name="T49" fmla="*/ 209253 h 310"/>
                    <a:gd name="T50" fmla="*/ 152740 w 278"/>
                    <a:gd name="T51" fmla="*/ 175742 h 310"/>
                    <a:gd name="T52" fmla="*/ 144168 w 278"/>
                    <a:gd name="T53" fmla="*/ 139998 h 310"/>
                    <a:gd name="T54" fmla="*/ 151182 w 278"/>
                    <a:gd name="T55" fmla="*/ 139998 h 310"/>
                    <a:gd name="T56" fmla="*/ 180015 w 278"/>
                    <a:gd name="T57" fmla="*/ 149679 h 310"/>
                    <a:gd name="T58" fmla="*/ 190925 w 278"/>
                    <a:gd name="T59" fmla="*/ 158615 h 310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78"/>
                    <a:gd name="T91" fmla="*/ 0 h 310"/>
                    <a:gd name="T92" fmla="*/ 278 w 278"/>
                    <a:gd name="T93" fmla="*/ 310 h 310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78" h="310">
                      <a:moveTo>
                        <a:pt x="245" y="213"/>
                      </a:moveTo>
                      <a:lnTo>
                        <a:pt x="210" y="180"/>
                      </a:lnTo>
                      <a:lnTo>
                        <a:pt x="171" y="147"/>
                      </a:lnTo>
                      <a:lnTo>
                        <a:pt x="132" y="116"/>
                      </a:lnTo>
                      <a:lnTo>
                        <a:pt x="94" y="85"/>
                      </a:lnTo>
                      <a:lnTo>
                        <a:pt x="86" y="72"/>
                      </a:lnTo>
                      <a:lnTo>
                        <a:pt x="47" y="37"/>
                      </a:lnTo>
                      <a:lnTo>
                        <a:pt x="8" y="0"/>
                      </a:lnTo>
                      <a:lnTo>
                        <a:pt x="0" y="6"/>
                      </a:lnTo>
                      <a:lnTo>
                        <a:pt x="30" y="27"/>
                      </a:lnTo>
                      <a:lnTo>
                        <a:pt x="28" y="39"/>
                      </a:lnTo>
                      <a:lnTo>
                        <a:pt x="14" y="39"/>
                      </a:lnTo>
                      <a:lnTo>
                        <a:pt x="45" y="72"/>
                      </a:lnTo>
                      <a:lnTo>
                        <a:pt x="76" y="105"/>
                      </a:lnTo>
                      <a:lnTo>
                        <a:pt x="105" y="134"/>
                      </a:lnTo>
                      <a:lnTo>
                        <a:pt x="132" y="170"/>
                      </a:lnTo>
                      <a:lnTo>
                        <a:pt x="156" y="207"/>
                      </a:lnTo>
                      <a:lnTo>
                        <a:pt x="183" y="238"/>
                      </a:lnTo>
                      <a:lnTo>
                        <a:pt x="208" y="269"/>
                      </a:lnTo>
                      <a:lnTo>
                        <a:pt x="231" y="308"/>
                      </a:lnTo>
                      <a:lnTo>
                        <a:pt x="241" y="308"/>
                      </a:lnTo>
                      <a:lnTo>
                        <a:pt x="235" y="283"/>
                      </a:lnTo>
                      <a:lnTo>
                        <a:pt x="264" y="296"/>
                      </a:lnTo>
                      <a:lnTo>
                        <a:pt x="278" y="310"/>
                      </a:lnTo>
                      <a:lnTo>
                        <a:pt x="254" y="281"/>
                      </a:lnTo>
                      <a:lnTo>
                        <a:pt x="196" y="236"/>
                      </a:lnTo>
                      <a:lnTo>
                        <a:pt x="185" y="188"/>
                      </a:lnTo>
                      <a:lnTo>
                        <a:pt x="194" y="188"/>
                      </a:lnTo>
                      <a:lnTo>
                        <a:pt x="231" y="201"/>
                      </a:lnTo>
                      <a:lnTo>
                        <a:pt x="245" y="2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7" name="Freeform 397"/>
                <p:cNvSpPr>
                  <a:spLocks/>
                </p:cNvSpPr>
                <p:nvPr/>
              </p:nvSpPr>
              <p:spPr bwMode="auto">
                <a:xfrm>
                  <a:off x="5326203" y="1303703"/>
                  <a:ext cx="223745" cy="78133"/>
                </a:xfrm>
                <a:custGeom>
                  <a:avLst/>
                  <a:gdLst>
                    <a:gd name="T0" fmla="*/ 223745 w 287"/>
                    <a:gd name="T1" fmla="*/ 5842 h 107"/>
                    <a:gd name="T2" fmla="*/ 205035 w 287"/>
                    <a:gd name="T3" fmla="*/ 16065 h 107"/>
                    <a:gd name="T4" fmla="*/ 156699 w 287"/>
                    <a:gd name="T5" fmla="*/ 27018 h 107"/>
                    <a:gd name="T6" fmla="*/ 106805 w 287"/>
                    <a:gd name="T7" fmla="*/ 38701 h 107"/>
                    <a:gd name="T8" fmla="*/ 95111 w 287"/>
                    <a:gd name="T9" fmla="*/ 39432 h 107"/>
                    <a:gd name="T10" fmla="*/ 101348 w 287"/>
                    <a:gd name="T11" fmla="*/ 43813 h 107"/>
                    <a:gd name="T12" fmla="*/ 98229 w 287"/>
                    <a:gd name="T13" fmla="*/ 46734 h 107"/>
                    <a:gd name="T14" fmla="*/ 87315 w 287"/>
                    <a:gd name="T15" fmla="*/ 49655 h 107"/>
                    <a:gd name="T16" fmla="*/ 88874 w 287"/>
                    <a:gd name="T17" fmla="*/ 52575 h 107"/>
                    <a:gd name="T18" fmla="*/ 69384 w 287"/>
                    <a:gd name="T19" fmla="*/ 51115 h 107"/>
                    <a:gd name="T20" fmla="*/ 75621 w 287"/>
                    <a:gd name="T21" fmla="*/ 58417 h 107"/>
                    <a:gd name="T22" fmla="*/ 67825 w 287"/>
                    <a:gd name="T23" fmla="*/ 61338 h 107"/>
                    <a:gd name="T24" fmla="*/ 72503 w 287"/>
                    <a:gd name="T25" fmla="*/ 69370 h 107"/>
                    <a:gd name="T26" fmla="*/ 49894 w 287"/>
                    <a:gd name="T27" fmla="*/ 64989 h 107"/>
                    <a:gd name="T28" fmla="*/ 72503 w 287"/>
                    <a:gd name="T29" fmla="*/ 70831 h 107"/>
                    <a:gd name="T30" fmla="*/ 60029 w 287"/>
                    <a:gd name="T31" fmla="*/ 72291 h 107"/>
                    <a:gd name="T32" fmla="*/ 63148 w 287"/>
                    <a:gd name="T33" fmla="*/ 78133 h 107"/>
                    <a:gd name="T34" fmla="*/ 11694 w 287"/>
                    <a:gd name="T35" fmla="*/ 73752 h 107"/>
                    <a:gd name="T36" fmla="*/ 21049 w 287"/>
                    <a:gd name="T37" fmla="*/ 69370 h 107"/>
                    <a:gd name="T38" fmla="*/ 0 w 287"/>
                    <a:gd name="T39" fmla="*/ 67910 h 107"/>
                    <a:gd name="T40" fmla="*/ 21049 w 287"/>
                    <a:gd name="T41" fmla="*/ 58417 h 107"/>
                    <a:gd name="T42" fmla="*/ 28845 w 287"/>
                    <a:gd name="T43" fmla="*/ 58417 h 107"/>
                    <a:gd name="T44" fmla="*/ 19490 w 287"/>
                    <a:gd name="T45" fmla="*/ 54036 h 107"/>
                    <a:gd name="T46" fmla="*/ 25727 w 287"/>
                    <a:gd name="T47" fmla="*/ 49655 h 107"/>
                    <a:gd name="T48" fmla="*/ 35862 w 287"/>
                    <a:gd name="T49" fmla="*/ 45273 h 107"/>
                    <a:gd name="T50" fmla="*/ 28845 w 287"/>
                    <a:gd name="T51" fmla="*/ 43813 h 107"/>
                    <a:gd name="T52" fmla="*/ 31964 w 287"/>
                    <a:gd name="T53" fmla="*/ 39432 h 107"/>
                    <a:gd name="T54" fmla="*/ 19490 w 287"/>
                    <a:gd name="T55" fmla="*/ 38701 h 107"/>
                    <a:gd name="T56" fmla="*/ 32743 w 287"/>
                    <a:gd name="T57" fmla="*/ 34320 h 107"/>
                    <a:gd name="T58" fmla="*/ 46776 w 287"/>
                    <a:gd name="T59" fmla="*/ 31399 h 107"/>
                    <a:gd name="T60" fmla="*/ 87315 w 287"/>
                    <a:gd name="T61" fmla="*/ 19716 h 107"/>
                    <a:gd name="T62" fmla="*/ 93552 w 287"/>
                    <a:gd name="T63" fmla="*/ 16065 h 107"/>
                    <a:gd name="T64" fmla="*/ 170732 w 287"/>
                    <a:gd name="T65" fmla="*/ 7302 h 107"/>
                    <a:gd name="T66" fmla="*/ 202696 w 287"/>
                    <a:gd name="T67" fmla="*/ 0 h 107"/>
                    <a:gd name="T68" fmla="*/ 223745 w 287"/>
                    <a:gd name="T69" fmla="*/ 5842 h 107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87"/>
                    <a:gd name="T106" fmla="*/ 0 h 107"/>
                    <a:gd name="T107" fmla="*/ 287 w 287"/>
                    <a:gd name="T108" fmla="*/ 107 h 107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87" h="107">
                      <a:moveTo>
                        <a:pt x="287" y="8"/>
                      </a:moveTo>
                      <a:lnTo>
                        <a:pt x="263" y="22"/>
                      </a:lnTo>
                      <a:lnTo>
                        <a:pt x="201" y="37"/>
                      </a:lnTo>
                      <a:lnTo>
                        <a:pt x="137" y="53"/>
                      </a:lnTo>
                      <a:lnTo>
                        <a:pt x="122" y="54"/>
                      </a:lnTo>
                      <a:lnTo>
                        <a:pt x="130" y="60"/>
                      </a:lnTo>
                      <a:lnTo>
                        <a:pt x="126" y="64"/>
                      </a:lnTo>
                      <a:lnTo>
                        <a:pt x="112" y="68"/>
                      </a:lnTo>
                      <a:lnTo>
                        <a:pt x="114" y="72"/>
                      </a:lnTo>
                      <a:lnTo>
                        <a:pt x="89" y="70"/>
                      </a:lnTo>
                      <a:lnTo>
                        <a:pt x="97" y="80"/>
                      </a:lnTo>
                      <a:lnTo>
                        <a:pt x="87" y="84"/>
                      </a:lnTo>
                      <a:lnTo>
                        <a:pt x="93" y="95"/>
                      </a:lnTo>
                      <a:lnTo>
                        <a:pt x="64" y="89"/>
                      </a:lnTo>
                      <a:lnTo>
                        <a:pt x="93" y="97"/>
                      </a:lnTo>
                      <a:lnTo>
                        <a:pt x="77" y="99"/>
                      </a:lnTo>
                      <a:lnTo>
                        <a:pt x="81" y="107"/>
                      </a:lnTo>
                      <a:lnTo>
                        <a:pt x="15" y="101"/>
                      </a:lnTo>
                      <a:lnTo>
                        <a:pt x="27" y="95"/>
                      </a:lnTo>
                      <a:lnTo>
                        <a:pt x="0" y="93"/>
                      </a:lnTo>
                      <a:lnTo>
                        <a:pt x="27" y="80"/>
                      </a:lnTo>
                      <a:lnTo>
                        <a:pt x="37" y="80"/>
                      </a:lnTo>
                      <a:lnTo>
                        <a:pt x="25" y="74"/>
                      </a:lnTo>
                      <a:lnTo>
                        <a:pt x="33" y="68"/>
                      </a:lnTo>
                      <a:lnTo>
                        <a:pt x="46" y="62"/>
                      </a:lnTo>
                      <a:lnTo>
                        <a:pt x="37" y="60"/>
                      </a:lnTo>
                      <a:lnTo>
                        <a:pt x="41" y="54"/>
                      </a:lnTo>
                      <a:lnTo>
                        <a:pt x="25" y="53"/>
                      </a:lnTo>
                      <a:lnTo>
                        <a:pt x="42" y="47"/>
                      </a:lnTo>
                      <a:lnTo>
                        <a:pt x="60" y="43"/>
                      </a:lnTo>
                      <a:lnTo>
                        <a:pt x="112" y="27"/>
                      </a:lnTo>
                      <a:lnTo>
                        <a:pt x="120" y="22"/>
                      </a:lnTo>
                      <a:lnTo>
                        <a:pt x="219" y="10"/>
                      </a:lnTo>
                      <a:lnTo>
                        <a:pt x="260" y="0"/>
                      </a:lnTo>
                      <a:lnTo>
                        <a:pt x="287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8" name="Freeform 398"/>
                <p:cNvSpPr>
                  <a:spLocks/>
                </p:cNvSpPr>
                <p:nvPr/>
              </p:nvSpPr>
              <p:spPr bwMode="auto">
                <a:xfrm>
                  <a:off x="5311997" y="1381836"/>
                  <a:ext cx="131406" cy="58600"/>
                </a:xfrm>
                <a:custGeom>
                  <a:avLst/>
                  <a:gdLst>
                    <a:gd name="T0" fmla="*/ 131406 w 168"/>
                    <a:gd name="T1" fmla="*/ 55776 h 83"/>
                    <a:gd name="T2" fmla="*/ 82911 w 168"/>
                    <a:gd name="T3" fmla="*/ 36713 h 83"/>
                    <a:gd name="T4" fmla="*/ 68050 w 168"/>
                    <a:gd name="T5" fmla="*/ 14827 h 83"/>
                    <a:gd name="T6" fmla="*/ 68050 w 168"/>
                    <a:gd name="T7" fmla="*/ 12002 h 83"/>
                    <a:gd name="T8" fmla="*/ 71178 w 168"/>
                    <a:gd name="T9" fmla="*/ 7766 h 83"/>
                    <a:gd name="T10" fmla="*/ 75089 w 168"/>
                    <a:gd name="T11" fmla="*/ 1412 h 83"/>
                    <a:gd name="T12" fmla="*/ 25030 w 168"/>
                    <a:gd name="T13" fmla="*/ 0 h 83"/>
                    <a:gd name="T14" fmla="*/ 17990 w 168"/>
                    <a:gd name="T15" fmla="*/ 7766 h 83"/>
                    <a:gd name="T16" fmla="*/ 11733 w 168"/>
                    <a:gd name="T17" fmla="*/ 13414 h 83"/>
                    <a:gd name="T18" fmla="*/ 19554 w 168"/>
                    <a:gd name="T19" fmla="*/ 17651 h 83"/>
                    <a:gd name="T20" fmla="*/ 10168 w 168"/>
                    <a:gd name="T21" fmla="*/ 27535 h 83"/>
                    <a:gd name="T22" fmla="*/ 0 w 168"/>
                    <a:gd name="T23" fmla="*/ 29653 h 83"/>
                    <a:gd name="T24" fmla="*/ 13297 w 168"/>
                    <a:gd name="T25" fmla="*/ 40949 h 83"/>
                    <a:gd name="T26" fmla="*/ 28158 w 168"/>
                    <a:gd name="T27" fmla="*/ 39537 h 83"/>
                    <a:gd name="T28" fmla="*/ 39109 w 168"/>
                    <a:gd name="T29" fmla="*/ 40949 h 83"/>
                    <a:gd name="T30" fmla="*/ 50059 w 168"/>
                    <a:gd name="T31" fmla="*/ 42361 h 83"/>
                    <a:gd name="T32" fmla="*/ 57099 w 168"/>
                    <a:gd name="T33" fmla="*/ 49422 h 83"/>
                    <a:gd name="T34" fmla="*/ 55535 w 168"/>
                    <a:gd name="T35" fmla="*/ 52246 h 83"/>
                    <a:gd name="T36" fmla="*/ 72743 w 168"/>
                    <a:gd name="T37" fmla="*/ 55776 h 83"/>
                    <a:gd name="T38" fmla="*/ 89168 w 168"/>
                    <a:gd name="T39" fmla="*/ 57188 h 83"/>
                    <a:gd name="T40" fmla="*/ 107158 w 168"/>
                    <a:gd name="T41" fmla="*/ 57188 h 83"/>
                    <a:gd name="T42" fmla="*/ 122802 w 168"/>
                    <a:gd name="T43" fmla="*/ 58600 h 83"/>
                    <a:gd name="T44" fmla="*/ 131406 w 168"/>
                    <a:gd name="T45" fmla="*/ 55776 h 8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68"/>
                    <a:gd name="T70" fmla="*/ 0 h 83"/>
                    <a:gd name="T71" fmla="*/ 168 w 168"/>
                    <a:gd name="T72" fmla="*/ 83 h 8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68" h="83">
                      <a:moveTo>
                        <a:pt x="168" y="79"/>
                      </a:moveTo>
                      <a:lnTo>
                        <a:pt x="106" y="52"/>
                      </a:lnTo>
                      <a:lnTo>
                        <a:pt x="87" y="21"/>
                      </a:lnTo>
                      <a:lnTo>
                        <a:pt x="87" y="17"/>
                      </a:lnTo>
                      <a:lnTo>
                        <a:pt x="91" y="11"/>
                      </a:lnTo>
                      <a:lnTo>
                        <a:pt x="96" y="2"/>
                      </a:lnTo>
                      <a:lnTo>
                        <a:pt x="32" y="0"/>
                      </a:lnTo>
                      <a:lnTo>
                        <a:pt x="23" y="11"/>
                      </a:lnTo>
                      <a:lnTo>
                        <a:pt x="15" y="19"/>
                      </a:lnTo>
                      <a:lnTo>
                        <a:pt x="25" y="25"/>
                      </a:lnTo>
                      <a:lnTo>
                        <a:pt x="13" y="39"/>
                      </a:lnTo>
                      <a:lnTo>
                        <a:pt x="0" y="42"/>
                      </a:lnTo>
                      <a:lnTo>
                        <a:pt x="17" y="58"/>
                      </a:lnTo>
                      <a:lnTo>
                        <a:pt x="36" y="56"/>
                      </a:lnTo>
                      <a:lnTo>
                        <a:pt x="50" y="58"/>
                      </a:lnTo>
                      <a:lnTo>
                        <a:pt x="64" y="60"/>
                      </a:lnTo>
                      <a:lnTo>
                        <a:pt x="73" y="70"/>
                      </a:lnTo>
                      <a:lnTo>
                        <a:pt x="71" y="74"/>
                      </a:lnTo>
                      <a:lnTo>
                        <a:pt x="93" y="79"/>
                      </a:lnTo>
                      <a:lnTo>
                        <a:pt x="114" y="81"/>
                      </a:lnTo>
                      <a:lnTo>
                        <a:pt x="137" y="81"/>
                      </a:lnTo>
                      <a:lnTo>
                        <a:pt x="157" y="83"/>
                      </a:lnTo>
                      <a:lnTo>
                        <a:pt x="168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09" name="Freeform 399"/>
                <p:cNvSpPr>
                  <a:spLocks/>
                </p:cNvSpPr>
                <p:nvPr/>
              </p:nvSpPr>
              <p:spPr bwMode="auto">
                <a:xfrm>
                  <a:off x="6762786" y="1316133"/>
                  <a:ext cx="152715" cy="30188"/>
                </a:xfrm>
                <a:custGeom>
                  <a:avLst/>
                  <a:gdLst>
                    <a:gd name="T0" fmla="*/ 152715 w 197"/>
                    <a:gd name="T1" fmla="*/ 13036 h 44"/>
                    <a:gd name="T2" fmla="*/ 56590 w 197"/>
                    <a:gd name="T3" fmla="*/ 0 h 44"/>
                    <a:gd name="T4" fmla="*/ 68993 w 197"/>
                    <a:gd name="T5" fmla="*/ 3430 h 44"/>
                    <a:gd name="T6" fmla="*/ 55039 w 197"/>
                    <a:gd name="T7" fmla="*/ 2058 h 44"/>
                    <a:gd name="T8" fmla="*/ 65892 w 197"/>
                    <a:gd name="T9" fmla="*/ 8919 h 44"/>
                    <a:gd name="T10" fmla="*/ 19380 w 197"/>
                    <a:gd name="T11" fmla="*/ 686 h 44"/>
                    <a:gd name="T12" fmla="*/ 1550 w 197"/>
                    <a:gd name="T13" fmla="*/ 6175 h 44"/>
                    <a:gd name="T14" fmla="*/ 0 w 197"/>
                    <a:gd name="T15" fmla="*/ 7547 h 44"/>
                    <a:gd name="T16" fmla="*/ 8527 w 197"/>
                    <a:gd name="T17" fmla="*/ 13036 h 44"/>
                    <a:gd name="T18" fmla="*/ 14729 w 197"/>
                    <a:gd name="T19" fmla="*/ 18524 h 44"/>
                    <a:gd name="T20" fmla="*/ 73644 w 197"/>
                    <a:gd name="T21" fmla="*/ 30188 h 44"/>
                    <a:gd name="T22" fmla="*/ 76745 w 197"/>
                    <a:gd name="T23" fmla="*/ 24699 h 44"/>
                    <a:gd name="T24" fmla="*/ 123257 w 197"/>
                    <a:gd name="T25" fmla="*/ 24699 h 44"/>
                    <a:gd name="T26" fmla="*/ 145738 w 197"/>
                    <a:gd name="T27" fmla="*/ 23327 h 44"/>
                    <a:gd name="T28" fmla="*/ 134885 w 197"/>
                    <a:gd name="T29" fmla="*/ 21269 h 44"/>
                    <a:gd name="T30" fmla="*/ 151165 w 197"/>
                    <a:gd name="T31" fmla="*/ 18524 h 44"/>
                    <a:gd name="T32" fmla="*/ 152715 w 197"/>
                    <a:gd name="T33" fmla="*/ 13036 h 4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97"/>
                    <a:gd name="T52" fmla="*/ 0 h 44"/>
                    <a:gd name="T53" fmla="*/ 197 w 197"/>
                    <a:gd name="T54" fmla="*/ 44 h 4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97" h="44">
                      <a:moveTo>
                        <a:pt x="197" y="19"/>
                      </a:moveTo>
                      <a:lnTo>
                        <a:pt x="73" y="0"/>
                      </a:lnTo>
                      <a:lnTo>
                        <a:pt x="89" y="5"/>
                      </a:lnTo>
                      <a:lnTo>
                        <a:pt x="71" y="3"/>
                      </a:lnTo>
                      <a:lnTo>
                        <a:pt x="85" y="13"/>
                      </a:lnTo>
                      <a:lnTo>
                        <a:pt x="25" y="1"/>
                      </a:lnTo>
                      <a:lnTo>
                        <a:pt x="2" y="9"/>
                      </a:lnTo>
                      <a:lnTo>
                        <a:pt x="0" y="11"/>
                      </a:lnTo>
                      <a:lnTo>
                        <a:pt x="11" y="19"/>
                      </a:lnTo>
                      <a:lnTo>
                        <a:pt x="19" y="27"/>
                      </a:lnTo>
                      <a:lnTo>
                        <a:pt x="95" y="44"/>
                      </a:lnTo>
                      <a:lnTo>
                        <a:pt x="99" y="36"/>
                      </a:lnTo>
                      <a:lnTo>
                        <a:pt x="159" y="36"/>
                      </a:lnTo>
                      <a:lnTo>
                        <a:pt x="188" y="34"/>
                      </a:lnTo>
                      <a:lnTo>
                        <a:pt x="174" y="31"/>
                      </a:lnTo>
                      <a:lnTo>
                        <a:pt x="195" y="27"/>
                      </a:lnTo>
                      <a:lnTo>
                        <a:pt x="197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0" name="Freeform 400"/>
                <p:cNvSpPr>
                  <a:spLocks/>
                </p:cNvSpPr>
                <p:nvPr/>
              </p:nvSpPr>
              <p:spPr bwMode="auto">
                <a:xfrm>
                  <a:off x="5897995" y="1232673"/>
                  <a:ext cx="122527" cy="24861"/>
                </a:xfrm>
                <a:custGeom>
                  <a:avLst/>
                  <a:gdLst>
                    <a:gd name="T0" fmla="*/ 106298 w 151"/>
                    <a:gd name="T1" fmla="*/ 6719 h 37"/>
                    <a:gd name="T2" fmla="*/ 75464 w 151"/>
                    <a:gd name="T3" fmla="*/ 2688 h 37"/>
                    <a:gd name="T4" fmla="*/ 60858 w 151"/>
                    <a:gd name="T5" fmla="*/ 6719 h 37"/>
                    <a:gd name="T6" fmla="*/ 51932 w 151"/>
                    <a:gd name="T7" fmla="*/ 0 h 37"/>
                    <a:gd name="T8" fmla="*/ 4057 w 151"/>
                    <a:gd name="T9" fmla="*/ 5375 h 37"/>
                    <a:gd name="T10" fmla="*/ 0 w 151"/>
                    <a:gd name="T11" fmla="*/ 11423 h 37"/>
                    <a:gd name="T12" fmla="*/ 15417 w 151"/>
                    <a:gd name="T13" fmla="*/ 12766 h 37"/>
                    <a:gd name="T14" fmla="*/ 40572 w 151"/>
                    <a:gd name="T15" fmla="*/ 20829 h 37"/>
                    <a:gd name="T16" fmla="*/ 122527 w 151"/>
                    <a:gd name="T17" fmla="*/ 24861 h 37"/>
                    <a:gd name="T18" fmla="*/ 114413 w 151"/>
                    <a:gd name="T19" fmla="*/ 18142 h 37"/>
                    <a:gd name="T20" fmla="*/ 106298 w 151"/>
                    <a:gd name="T21" fmla="*/ 6719 h 3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51"/>
                    <a:gd name="T34" fmla="*/ 0 h 37"/>
                    <a:gd name="T35" fmla="*/ 151 w 151"/>
                    <a:gd name="T36" fmla="*/ 37 h 3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51" h="37">
                      <a:moveTo>
                        <a:pt x="131" y="10"/>
                      </a:moveTo>
                      <a:lnTo>
                        <a:pt x="93" y="4"/>
                      </a:lnTo>
                      <a:lnTo>
                        <a:pt x="75" y="10"/>
                      </a:lnTo>
                      <a:lnTo>
                        <a:pt x="64" y="0"/>
                      </a:lnTo>
                      <a:lnTo>
                        <a:pt x="5" y="8"/>
                      </a:lnTo>
                      <a:lnTo>
                        <a:pt x="0" y="17"/>
                      </a:lnTo>
                      <a:lnTo>
                        <a:pt x="19" y="19"/>
                      </a:lnTo>
                      <a:lnTo>
                        <a:pt x="50" y="31"/>
                      </a:lnTo>
                      <a:lnTo>
                        <a:pt x="151" y="37"/>
                      </a:lnTo>
                      <a:lnTo>
                        <a:pt x="141" y="27"/>
                      </a:lnTo>
                      <a:lnTo>
                        <a:pt x="131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1" name="Freeform 401"/>
                <p:cNvSpPr>
                  <a:spLocks/>
                </p:cNvSpPr>
                <p:nvPr/>
              </p:nvSpPr>
              <p:spPr bwMode="auto">
                <a:xfrm>
                  <a:off x="6041831" y="1250430"/>
                  <a:ext cx="87012" cy="24861"/>
                </a:xfrm>
                <a:custGeom>
                  <a:avLst/>
                  <a:gdLst>
                    <a:gd name="T0" fmla="*/ 83959 w 114"/>
                    <a:gd name="T1" fmla="*/ 14553 h 41"/>
                    <a:gd name="T2" fmla="*/ 39690 w 114"/>
                    <a:gd name="T3" fmla="*/ 4851 h 41"/>
                    <a:gd name="T4" fmla="*/ 29767 w 114"/>
                    <a:gd name="T5" fmla="*/ 10915 h 41"/>
                    <a:gd name="T6" fmla="*/ 22135 w 114"/>
                    <a:gd name="T7" fmla="*/ 1213 h 41"/>
                    <a:gd name="T8" fmla="*/ 10686 w 114"/>
                    <a:gd name="T9" fmla="*/ 0 h 41"/>
                    <a:gd name="T10" fmla="*/ 16029 w 114"/>
                    <a:gd name="T11" fmla="*/ 3638 h 41"/>
                    <a:gd name="T12" fmla="*/ 0 w 114"/>
                    <a:gd name="T13" fmla="*/ 4851 h 41"/>
                    <a:gd name="T14" fmla="*/ 3053 w 114"/>
                    <a:gd name="T15" fmla="*/ 7276 h 41"/>
                    <a:gd name="T16" fmla="*/ 12212 w 114"/>
                    <a:gd name="T17" fmla="*/ 12127 h 41"/>
                    <a:gd name="T18" fmla="*/ 1527 w 114"/>
                    <a:gd name="T19" fmla="*/ 15766 h 41"/>
                    <a:gd name="T20" fmla="*/ 7633 w 114"/>
                    <a:gd name="T21" fmla="*/ 24861 h 41"/>
                    <a:gd name="T22" fmla="*/ 87012 w 114"/>
                    <a:gd name="T23" fmla="*/ 16978 h 41"/>
                    <a:gd name="T24" fmla="*/ 83959 w 114"/>
                    <a:gd name="T25" fmla="*/ 14553 h 4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14"/>
                    <a:gd name="T40" fmla="*/ 0 h 41"/>
                    <a:gd name="T41" fmla="*/ 114 w 114"/>
                    <a:gd name="T42" fmla="*/ 41 h 41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14" h="41">
                      <a:moveTo>
                        <a:pt x="110" y="24"/>
                      </a:moveTo>
                      <a:lnTo>
                        <a:pt x="52" y="8"/>
                      </a:lnTo>
                      <a:lnTo>
                        <a:pt x="39" y="18"/>
                      </a:ln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21" y="6"/>
                      </a:lnTo>
                      <a:lnTo>
                        <a:pt x="0" y="8"/>
                      </a:lnTo>
                      <a:lnTo>
                        <a:pt x="4" y="12"/>
                      </a:lnTo>
                      <a:lnTo>
                        <a:pt x="16" y="20"/>
                      </a:lnTo>
                      <a:lnTo>
                        <a:pt x="2" y="26"/>
                      </a:lnTo>
                      <a:lnTo>
                        <a:pt x="10" y="41"/>
                      </a:lnTo>
                      <a:lnTo>
                        <a:pt x="114" y="28"/>
                      </a:lnTo>
                      <a:lnTo>
                        <a:pt x="110" y="2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2" name="Freeform 402"/>
                <p:cNvSpPr>
                  <a:spLocks/>
                </p:cNvSpPr>
                <p:nvPr/>
              </p:nvSpPr>
              <p:spPr bwMode="auto">
                <a:xfrm>
                  <a:off x="5853601" y="1214915"/>
                  <a:ext cx="94115" cy="17758"/>
                </a:xfrm>
                <a:custGeom>
                  <a:avLst/>
                  <a:gdLst>
                    <a:gd name="T0" fmla="*/ 94115 w 120"/>
                    <a:gd name="T1" fmla="*/ 8493 h 23"/>
                    <a:gd name="T2" fmla="*/ 50979 w 120"/>
                    <a:gd name="T3" fmla="*/ 0 h 23"/>
                    <a:gd name="T4" fmla="*/ 3921 w 120"/>
                    <a:gd name="T5" fmla="*/ 5405 h 23"/>
                    <a:gd name="T6" fmla="*/ 16470 w 120"/>
                    <a:gd name="T7" fmla="*/ 6949 h 23"/>
                    <a:gd name="T8" fmla="*/ 13333 w 120"/>
                    <a:gd name="T9" fmla="*/ 11581 h 23"/>
                    <a:gd name="T10" fmla="*/ 0 w 120"/>
                    <a:gd name="T11" fmla="*/ 13125 h 23"/>
                    <a:gd name="T12" fmla="*/ 26666 w 120"/>
                    <a:gd name="T13" fmla="*/ 14670 h 23"/>
                    <a:gd name="T14" fmla="*/ 19607 w 120"/>
                    <a:gd name="T15" fmla="*/ 17758 h 23"/>
                    <a:gd name="T16" fmla="*/ 92546 w 120"/>
                    <a:gd name="T17" fmla="*/ 16214 h 23"/>
                    <a:gd name="T18" fmla="*/ 83135 w 120"/>
                    <a:gd name="T19" fmla="*/ 11581 h 23"/>
                    <a:gd name="T20" fmla="*/ 94115 w 120"/>
                    <a:gd name="T21" fmla="*/ 8493 h 2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20"/>
                    <a:gd name="T34" fmla="*/ 0 h 23"/>
                    <a:gd name="T35" fmla="*/ 120 w 120"/>
                    <a:gd name="T36" fmla="*/ 23 h 2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20" h="23">
                      <a:moveTo>
                        <a:pt x="120" y="11"/>
                      </a:moveTo>
                      <a:lnTo>
                        <a:pt x="65" y="0"/>
                      </a:lnTo>
                      <a:lnTo>
                        <a:pt x="5" y="7"/>
                      </a:lnTo>
                      <a:lnTo>
                        <a:pt x="21" y="9"/>
                      </a:lnTo>
                      <a:lnTo>
                        <a:pt x="17" y="15"/>
                      </a:lnTo>
                      <a:lnTo>
                        <a:pt x="0" y="17"/>
                      </a:lnTo>
                      <a:lnTo>
                        <a:pt x="34" y="19"/>
                      </a:lnTo>
                      <a:lnTo>
                        <a:pt x="25" y="23"/>
                      </a:lnTo>
                      <a:lnTo>
                        <a:pt x="118" y="21"/>
                      </a:lnTo>
                      <a:lnTo>
                        <a:pt x="106" y="15"/>
                      </a:lnTo>
                      <a:lnTo>
                        <a:pt x="120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3" name="Freeform 403"/>
                <p:cNvSpPr>
                  <a:spLocks/>
                </p:cNvSpPr>
                <p:nvPr/>
              </p:nvSpPr>
              <p:spPr bwMode="auto">
                <a:xfrm>
                  <a:off x="6929707" y="1328564"/>
                  <a:ext cx="101218" cy="17758"/>
                </a:xfrm>
                <a:custGeom>
                  <a:avLst/>
                  <a:gdLst>
                    <a:gd name="T0" fmla="*/ 101218 w 126"/>
                    <a:gd name="T1" fmla="*/ 9265 h 23"/>
                    <a:gd name="T2" fmla="*/ 23296 w 126"/>
                    <a:gd name="T3" fmla="*/ 3088 h 23"/>
                    <a:gd name="T4" fmla="*/ 0 w 126"/>
                    <a:gd name="T5" fmla="*/ 0 h 23"/>
                    <a:gd name="T6" fmla="*/ 8836 w 126"/>
                    <a:gd name="T7" fmla="*/ 7721 h 23"/>
                    <a:gd name="T8" fmla="*/ 91578 w 126"/>
                    <a:gd name="T9" fmla="*/ 17758 h 23"/>
                    <a:gd name="T10" fmla="*/ 101218 w 126"/>
                    <a:gd name="T11" fmla="*/ 9265 h 2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6"/>
                    <a:gd name="T19" fmla="*/ 0 h 23"/>
                    <a:gd name="T20" fmla="*/ 126 w 126"/>
                    <a:gd name="T21" fmla="*/ 23 h 2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6" h="23">
                      <a:moveTo>
                        <a:pt x="126" y="12"/>
                      </a:moveTo>
                      <a:lnTo>
                        <a:pt x="29" y="4"/>
                      </a:lnTo>
                      <a:lnTo>
                        <a:pt x="0" y="0"/>
                      </a:lnTo>
                      <a:lnTo>
                        <a:pt x="11" y="10"/>
                      </a:lnTo>
                      <a:lnTo>
                        <a:pt x="114" y="23"/>
                      </a:lnTo>
                      <a:lnTo>
                        <a:pt x="126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4" name="Freeform 404"/>
                <p:cNvSpPr>
                  <a:spLocks/>
                </p:cNvSpPr>
                <p:nvPr/>
              </p:nvSpPr>
              <p:spPr bwMode="auto">
                <a:xfrm>
                  <a:off x="4807684" y="1836429"/>
                  <a:ext cx="49721" cy="24861"/>
                </a:xfrm>
                <a:custGeom>
                  <a:avLst/>
                  <a:gdLst>
                    <a:gd name="T0" fmla="*/ 13633 w 62"/>
                    <a:gd name="T1" fmla="*/ 0 h 24"/>
                    <a:gd name="T2" fmla="*/ 12029 w 62"/>
                    <a:gd name="T3" fmla="*/ 8287 h 24"/>
                    <a:gd name="T4" fmla="*/ 0 w 62"/>
                    <a:gd name="T5" fmla="*/ 6215 h 24"/>
                    <a:gd name="T6" fmla="*/ 0 w 62"/>
                    <a:gd name="T7" fmla="*/ 8287 h 24"/>
                    <a:gd name="T8" fmla="*/ 3208 w 62"/>
                    <a:gd name="T9" fmla="*/ 10359 h 24"/>
                    <a:gd name="T10" fmla="*/ 0 w 62"/>
                    <a:gd name="T11" fmla="*/ 12430 h 24"/>
                    <a:gd name="T12" fmla="*/ 0 w 62"/>
                    <a:gd name="T13" fmla="*/ 18646 h 24"/>
                    <a:gd name="T14" fmla="*/ 10425 w 62"/>
                    <a:gd name="T15" fmla="*/ 20718 h 24"/>
                    <a:gd name="T16" fmla="*/ 49721 w 62"/>
                    <a:gd name="T17" fmla="*/ 24861 h 24"/>
                    <a:gd name="T18" fmla="*/ 48117 w 62"/>
                    <a:gd name="T19" fmla="*/ 8287 h 24"/>
                    <a:gd name="T20" fmla="*/ 28068 w 62"/>
                    <a:gd name="T21" fmla="*/ 4144 h 24"/>
                    <a:gd name="T22" fmla="*/ 13633 w 62"/>
                    <a:gd name="T23" fmla="*/ 0 h 2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2"/>
                    <a:gd name="T37" fmla="*/ 0 h 24"/>
                    <a:gd name="T38" fmla="*/ 62 w 62"/>
                    <a:gd name="T39" fmla="*/ 24 h 2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2" h="24">
                      <a:moveTo>
                        <a:pt x="17" y="0"/>
                      </a:moveTo>
                      <a:lnTo>
                        <a:pt x="15" y="8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4" y="10"/>
                      </a:lnTo>
                      <a:lnTo>
                        <a:pt x="0" y="12"/>
                      </a:lnTo>
                      <a:lnTo>
                        <a:pt x="0" y="18"/>
                      </a:lnTo>
                      <a:lnTo>
                        <a:pt x="13" y="20"/>
                      </a:lnTo>
                      <a:lnTo>
                        <a:pt x="62" y="24"/>
                      </a:lnTo>
                      <a:lnTo>
                        <a:pt x="60" y="8"/>
                      </a:lnTo>
                      <a:lnTo>
                        <a:pt x="35" y="4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5" name="Freeform 405"/>
                <p:cNvSpPr>
                  <a:spLocks/>
                </p:cNvSpPr>
                <p:nvPr/>
              </p:nvSpPr>
              <p:spPr bwMode="auto">
                <a:xfrm>
                  <a:off x="6887089" y="1364079"/>
                  <a:ext cx="78133" cy="17758"/>
                </a:xfrm>
                <a:custGeom>
                  <a:avLst/>
                  <a:gdLst>
                    <a:gd name="T0" fmla="*/ 78133 w 98"/>
                    <a:gd name="T1" fmla="*/ 17758 h 20"/>
                    <a:gd name="T2" fmla="*/ 0 w 98"/>
                    <a:gd name="T3" fmla="*/ 12431 h 20"/>
                    <a:gd name="T4" fmla="*/ 25513 w 98"/>
                    <a:gd name="T5" fmla="*/ 0 h 20"/>
                    <a:gd name="T6" fmla="*/ 70958 w 98"/>
                    <a:gd name="T7" fmla="*/ 14206 h 20"/>
                    <a:gd name="T8" fmla="*/ 78133 w 98"/>
                    <a:gd name="T9" fmla="*/ 17758 h 2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8"/>
                    <a:gd name="T16" fmla="*/ 0 h 20"/>
                    <a:gd name="T17" fmla="*/ 98 w 98"/>
                    <a:gd name="T18" fmla="*/ 20 h 2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8" h="20">
                      <a:moveTo>
                        <a:pt x="98" y="20"/>
                      </a:moveTo>
                      <a:lnTo>
                        <a:pt x="0" y="14"/>
                      </a:lnTo>
                      <a:lnTo>
                        <a:pt x="32" y="0"/>
                      </a:lnTo>
                      <a:lnTo>
                        <a:pt x="89" y="16"/>
                      </a:lnTo>
                      <a:lnTo>
                        <a:pt x="98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6" name="Freeform 406"/>
                <p:cNvSpPr>
                  <a:spLocks/>
                </p:cNvSpPr>
                <p:nvPr/>
              </p:nvSpPr>
              <p:spPr bwMode="auto">
                <a:xfrm>
                  <a:off x="5283585" y="1470624"/>
                  <a:ext cx="42618" cy="17758"/>
                </a:xfrm>
                <a:custGeom>
                  <a:avLst/>
                  <a:gdLst>
                    <a:gd name="T0" fmla="*/ 42618 w 52"/>
                    <a:gd name="T1" fmla="*/ 9944 h 25"/>
                    <a:gd name="T2" fmla="*/ 10655 w 52"/>
                    <a:gd name="T3" fmla="*/ 17758 h 25"/>
                    <a:gd name="T4" fmla="*/ 0 w 52"/>
                    <a:gd name="T5" fmla="*/ 5683 h 25"/>
                    <a:gd name="T6" fmla="*/ 9015 w 52"/>
                    <a:gd name="T7" fmla="*/ 0 h 25"/>
                    <a:gd name="T8" fmla="*/ 42618 w 52"/>
                    <a:gd name="T9" fmla="*/ 9944 h 25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2"/>
                    <a:gd name="T16" fmla="*/ 0 h 25"/>
                    <a:gd name="T17" fmla="*/ 52 w 52"/>
                    <a:gd name="T18" fmla="*/ 25 h 25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2" h="25">
                      <a:moveTo>
                        <a:pt x="52" y="14"/>
                      </a:moveTo>
                      <a:lnTo>
                        <a:pt x="13" y="25"/>
                      </a:lnTo>
                      <a:lnTo>
                        <a:pt x="0" y="8"/>
                      </a:lnTo>
                      <a:lnTo>
                        <a:pt x="11" y="0"/>
                      </a:lnTo>
                      <a:lnTo>
                        <a:pt x="52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7" name="Freeform 407"/>
                <p:cNvSpPr>
                  <a:spLocks/>
                </p:cNvSpPr>
                <p:nvPr/>
              </p:nvSpPr>
              <p:spPr bwMode="auto">
                <a:xfrm>
                  <a:off x="1002248" y="1417351"/>
                  <a:ext cx="58600" cy="17758"/>
                </a:xfrm>
                <a:custGeom>
                  <a:avLst/>
                  <a:gdLst>
                    <a:gd name="T0" fmla="*/ 53849 w 74"/>
                    <a:gd name="T1" fmla="*/ 11839 h 18"/>
                    <a:gd name="T2" fmla="*/ 0 w 74"/>
                    <a:gd name="T3" fmla="*/ 17758 h 18"/>
                    <a:gd name="T4" fmla="*/ 29300 w 74"/>
                    <a:gd name="T5" fmla="*/ 0 h 18"/>
                    <a:gd name="T6" fmla="*/ 58600 w 74"/>
                    <a:gd name="T7" fmla="*/ 7892 h 18"/>
                    <a:gd name="T8" fmla="*/ 53849 w 74"/>
                    <a:gd name="T9" fmla="*/ 11839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4"/>
                    <a:gd name="T16" fmla="*/ 0 h 18"/>
                    <a:gd name="T17" fmla="*/ 74 w 74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4" h="18">
                      <a:moveTo>
                        <a:pt x="68" y="12"/>
                      </a:moveTo>
                      <a:lnTo>
                        <a:pt x="0" y="18"/>
                      </a:lnTo>
                      <a:lnTo>
                        <a:pt x="37" y="0"/>
                      </a:lnTo>
                      <a:lnTo>
                        <a:pt x="74" y="8"/>
                      </a:lnTo>
                      <a:lnTo>
                        <a:pt x="68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8" name="Freeform 408"/>
                <p:cNvSpPr>
                  <a:spLocks/>
                </p:cNvSpPr>
                <p:nvPr/>
              </p:nvSpPr>
              <p:spPr bwMode="auto">
                <a:xfrm>
                  <a:off x="5125543" y="1222018"/>
                  <a:ext cx="71030" cy="10655"/>
                </a:xfrm>
                <a:custGeom>
                  <a:avLst/>
                  <a:gdLst>
                    <a:gd name="T0" fmla="*/ 71030 w 91"/>
                    <a:gd name="T1" fmla="*/ 2368 h 18"/>
                    <a:gd name="T2" fmla="*/ 25758 w 91"/>
                    <a:gd name="T3" fmla="*/ 7103 h 18"/>
                    <a:gd name="T4" fmla="*/ 11708 w 91"/>
                    <a:gd name="T5" fmla="*/ 10655 h 18"/>
                    <a:gd name="T6" fmla="*/ 0 w 91"/>
                    <a:gd name="T7" fmla="*/ 9471 h 18"/>
                    <a:gd name="T8" fmla="*/ 13269 w 91"/>
                    <a:gd name="T9" fmla="*/ 7103 h 18"/>
                    <a:gd name="T10" fmla="*/ 37466 w 91"/>
                    <a:gd name="T11" fmla="*/ 2368 h 18"/>
                    <a:gd name="T12" fmla="*/ 57761 w 91"/>
                    <a:gd name="T13" fmla="*/ 0 h 18"/>
                    <a:gd name="T14" fmla="*/ 71030 w 91"/>
                    <a:gd name="T15" fmla="*/ 2368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91"/>
                    <a:gd name="T25" fmla="*/ 0 h 18"/>
                    <a:gd name="T26" fmla="*/ 91 w 91"/>
                    <a:gd name="T27" fmla="*/ 18 h 1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91" h="18">
                      <a:moveTo>
                        <a:pt x="91" y="4"/>
                      </a:moveTo>
                      <a:lnTo>
                        <a:pt x="33" y="12"/>
                      </a:lnTo>
                      <a:lnTo>
                        <a:pt x="15" y="18"/>
                      </a:lnTo>
                      <a:lnTo>
                        <a:pt x="0" y="16"/>
                      </a:lnTo>
                      <a:lnTo>
                        <a:pt x="17" y="12"/>
                      </a:lnTo>
                      <a:lnTo>
                        <a:pt x="48" y="4"/>
                      </a:lnTo>
                      <a:lnTo>
                        <a:pt x="74" y="0"/>
                      </a:lnTo>
                      <a:lnTo>
                        <a:pt x="91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19" name="Freeform 409"/>
                <p:cNvSpPr>
                  <a:spLocks/>
                </p:cNvSpPr>
                <p:nvPr/>
              </p:nvSpPr>
              <p:spPr bwMode="auto">
                <a:xfrm>
                  <a:off x="7838892" y="2097465"/>
                  <a:ext cx="21309" cy="30188"/>
                </a:xfrm>
                <a:custGeom>
                  <a:avLst/>
                  <a:gdLst>
                    <a:gd name="T0" fmla="*/ 21309 w 29"/>
                    <a:gd name="T1" fmla="*/ 0 h 41"/>
                    <a:gd name="T2" fmla="*/ 2939 w 29"/>
                    <a:gd name="T3" fmla="*/ 8836 h 41"/>
                    <a:gd name="T4" fmla="*/ 0 w 29"/>
                    <a:gd name="T5" fmla="*/ 30188 h 41"/>
                    <a:gd name="T6" fmla="*/ 8818 w 29"/>
                    <a:gd name="T7" fmla="*/ 17671 h 41"/>
                    <a:gd name="T8" fmla="*/ 18370 w 29"/>
                    <a:gd name="T9" fmla="*/ 4418 h 41"/>
                    <a:gd name="T10" fmla="*/ 21309 w 29"/>
                    <a:gd name="T11" fmla="*/ 0 h 4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9"/>
                    <a:gd name="T19" fmla="*/ 0 h 41"/>
                    <a:gd name="T20" fmla="*/ 29 w 29"/>
                    <a:gd name="T21" fmla="*/ 41 h 4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9" h="41">
                      <a:moveTo>
                        <a:pt x="29" y="0"/>
                      </a:moveTo>
                      <a:lnTo>
                        <a:pt x="4" y="12"/>
                      </a:lnTo>
                      <a:lnTo>
                        <a:pt x="0" y="41"/>
                      </a:lnTo>
                      <a:lnTo>
                        <a:pt x="12" y="24"/>
                      </a:lnTo>
                      <a:lnTo>
                        <a:pt x="25" y="6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0" name="Freeform 410"/>
                <p:cNvSpPr>
                  <a:spLocks/>
                </p:cNvSpPr>
                <p:nvPr/>
              </p:nvSpPr>
              <p:spPr bwMode="auto">
                <a:xfrm>
                  <a:off x="7687953" y="1417351"/>
                  <a:ext cx="35515" cy="17758"/>
                </a:xfrm>
                <a:custGeom>
                  <a:avLst/>
                  <a:gdLst>
                    <a:gd name="T0" fmla="*/ 7679 w 37"/>
                    <a:gd name="T1" fmla="*/ 0 h 23"/>
                    <a:gd name="T2" fmla="*/ 0 w 37"/>
                    <a:gd name="T3" fmla="*/ 9265 h 23"/>
                    <a:gd name="T4" fmla="*/ 18237 w 37"/>
                    <a:gd name="T5" fmla="*/ 17758 h 23"/>
                    <a:gd name="T6" fmla="*/ 35515 w 37"/>
                    <a:gd name="T7" fmla="*/ 15442 h 23"/>
                    <a:gd name="T8" fmla="*/ 7679 w 37"/>
                    <a:gd name="T9" fmla="*/ 0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7"/>
                    <a:gd name="T16" fmla="*/ 0 h 23"/>
                    <a:gd name="T17" fmla="*/ 37 w 37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7" h="23">
                      <a:moveTo>
                        <a:pt x="8" y="0"/>
                      </a:moveTo>
                      <a:lnTo>
                        <a:pt x="0" y="12"/>
                      </a:lnTo>
                      <a:lnTo>
                        <a:pt x="19" y="23"/>
                      </a:lnTo>
                      <a:lnTo>
                        <a:pt x="37" y="2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1" name="Freeform 411"/>
                <p:cNvSpPr>
                  <a:spLocks/>
                </p:cNvSpPr>
                <p:nvPr/>
              </p:nvSpPr>
              <p:spPr bwMode="auto">
                <a:xfrm>
                  <a:off x="5464712" y="1445763"/>
                  <a:ext cx="42618" cy="12430"/>
                </a:xfrm>
                <a:custGeom>
                  <a:avLst/>
                  <a:gdLst>
                    <a:gd name="T0" fmla="*/ 42618 w 58"/>
                    <a:gd name="T1" fmla="*/ 12430 h 17"/>
                    <a:gd name="T2" fmla="*/ 4409 w 58"/>
                    <a:gd name="T3" fmla="*/ 0 h 17"/>
                    <a:gd name="T4" fmla="*/ 0 w 58"/>
                    <a:gd name="T5" fmla="*/ 2925 h 17"/>
                    <a:gd name="T6" fmla="*/ 27187 w 58"/>
                    <a:gd name="T7" fmla="*/ 12430 h 17"/>
                    <a:gd name="T8" fmla="*/ 42618 w 58"/>
                    <a:gd name="T9" fmla="*/ 12430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8"/>
                    <a:gd name="T16" fmla="*/ 0 h 17"/>
                    <a:gd name="T17" fmla="*/ 58 w 58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8" h="17">
                      <a:moveTo>
                        <a:pt x="58" y="17"/>
                      </a:moveTo>
                      <a:lnTo>
                        <a:pt x="6" y="0"/>
                      </a:lnTo>
                      <a:lnTo>
                        <a:pt x="0" y="4"/>
                      </a:lnTo>
                      <a:lnTo>
                        <a:pt x="37" y="17"/>
                      </a:lnTo>
                      <a:lnTo>
                        <a:pt x="58" y="1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2" name="Freeform 412"/>
                <p:cNvSpPr>
                  <a:spLocks/>
                </p:cNvSpPr>
                <p:nvPr/>
              </p:nvSpPr>
              <p:spPr bwMode="auto">
                <a:xfrm>
                  <a:off x="4828993" y="1742314"/>
                  <a:ext cx="28412" cy="17758"/>
                </a:xfrm>
                <a:custGeom>
                  <a:avLst/>
                  <a:gdLst>
                    <a:gd name="T0" fmla="*/ 28412 w 35"/>
                    <a:gd name="T1" fmla="*/ 4440 h 16"/>
                    <a:gd name="T2" fmla="*/ 3247 w 35"/>
                    <a:gd name="T3" fmla="*/ 17758 h 16"/>
                    <a:gd name="T4" fmla="*/ 0 w 35"/>
                    <a:gd name="T5" fmla="*/ 4440 h 16"/>
                    <a:gd name="T6" fmla="*/ 23541 w 35"/>
                    <a:gd name="T7" fmla="*/ 0 h 16"/>
                    <a:gd name="T8" fmla="*/ 28412 w 35"/>
                    <a:gd name="T9" fmla="*/ 444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5"/>
                    <a:gd name="T16" fmla="*/ 0 h 16"/>
                    <a:gd name="T17" fmla="*/ 35 w 35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5" h="16">
                      <a:moveTo>
                        <a:pt x="35" y="4"/>
                      </a:moveTo>
                      <a:lnTo>
                        <a:pt x="4" y="16"/>
                      </a:lnTo>
                      <a:lnTo>
                        <a:pt x="0" y="4"/>
                      </a:lnTo>
                      <a:lnTo>
                        <a:pt x="29" y="0"/>
                      </a:lnTo>
                      <a:lnTo>
                        <a:pt x="35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3" name="Freeform 413"/>
                <p:cNvSpPr>
                  <a:spLocks/>
                </p:cNvSpPr>
                <p:nvPr/>
              </p:nvSpPr>
              <p:spPr bwMode="auto">
                <a:xfrm>
                  <a:off x="7838892" y="1724557"/>
                  <a:ext cx="14206" cy="17758"/>
                </a:xfrm>
                <a:custGeom>
                  <a:avLst/>
                  <a:gdLst>
                    <a:gd name="T0" fmla="*/ 14206 w 21"/>
                    <a:gd name="T1" fmla="*/ 6177 h 23"/>
                    <a:gd name="T2" fmla="*/ 6765 w 21"/>
                    <a:gd name="T3" fmla="*/ 17758 h 23"/>
                    <a:gd name="T4" fmla="*/ 0 w 21"/>
                    <a:gd name="T5" fmla="*/ 9265 h 23"/>
                    <a:gd name="T6" fmla="*/ 6765 w 21"/>
                    <a:gd name="T7" fmla="*/ 0 h 23"/>
                    <a:gd name="T8" fmla="*/ 14206 w 21"/>
                    <a:gd name="T9" fmla="*/ 6177 h 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1"/>
                    <a:gd name="T16" fmla="*/ 0 h 23"/>
                    <a:gd name="T17" fmla="*/ 21 w 21"/>
                    <a:gd name="T18" fmla="*/ 23 h 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1" h="23">
                      <a:moveTo>
                        <a:pt x="21" y="8"/>
                      </a:moveTo>
                      <a:lnTo>
                        <a:pt x="10" y="23"/>
                      </a:lnTo>
                      <a:lnTo>
                        <a:pt x="0" y="12"/>
                      </a:lnTo>
                      <a:lnTo>
                        <a:pt x="10" y="0"/>
                      </a:lnTo>
                      <a:lnTo>
                        <a:pt x="21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4" name="Freeform 414"/>
                <p:cNvSpPr>
                  <a:spLocks/>
                </p:cNvSpPr>
                <p:nvPr/>
              </p:nvSpPr>
              <p:spPr bwMode="auto">
                <a:xfrm>
                  <a:off x="7535238" y="1458194"/>
                  <a:ext cx="37291" cy="5327"/>
                </a:xfrm>
                <a:custGeom>
                  <a:avLst/>
                  <a:gdLst>
                    <a:gd name="T0" fmla="*/ 37291 w 45"/>
                    <a:gd name="T1" fmla="*/ 2131 h 10"/>
                    <a:gd name="T2" fmla="*/ 33976 w 45"/>
                    <a:gd name="T3" fmla="*/ 5327 h 10"/>
                    <a:gd name="T4" fmla="*/ 0 w 45"/>
                    <a:gd name="T5" fmla="*/ 1065 h 10"/>
                    <a:gd name="T6" fmla="*/ 32319 w 45"/>
                    <a:gd name="T7" fmla="*/ 0 h 10"/>
                    <a:gd name="T8" fmla="*/ 37291 w 45"/>
                    <a:gd name="T9" fmla="*/ 2131 h 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5"/>
                    <a:gd name="T16" fmla="*/ 0 h 10"/>
                    <a:gd name="T17" fmla="*/ 45 w 45"/>
                    <a:gd name="T18" fmla="*/ 10 h 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5" h="10">
                      <a:moveTo>
                        <a:pt x="45" y="4"/>
                      </a:moveTo>
                      <a:lnTo>
                        <a:pt x="41" y="10"/>
                      </a:lnTo>
                      <a:lnTo>
                        <a:pt x="0" y="2"/>
                      </a:lnTo>
                      <a:lnTo>
                        <a:pt x="39" y="0"/>
                      </a:lnTo>
                      <a:lnTo>
                        <a:pt x="45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5" name="Freeform 415"/>
                <p:cNvSpPr>
                  <a:spLocks/>
                </p:cNvSpPr>
                <p:nvPr/>
              </p:nvSpPr>
              <p:spPr bwMode="auto">
                <a:xfrm>
                  <a:off x="5629857" y="1374733"/>
                  <a:ext cx="28412" cy="12430"/>
                </a:xfrm>
                <a:custGeom>
                  <a:avLst/>
                  <a:gdLst>
                    <a:gd name="T0" fmla="*/ 28412 w 39"/>
                    <a:gd name="T1" fmla="*/ 10358 h 12"/>
                    <a:gd name="T2" fmla="*/ 0 w 39"/>
                    <a:gd name="T3" fmla="*/ 12430 h 12"/>
                    <a:gd name="T4" fmla="*/ 2914 w 39"/>
                    <a:gd name="T5" fmla="*/ 0 h 12"/>
                    <a:gd name="T6" fmla="*/ 17484 w 39"/>
                    <a:gd name="T7" fmla="*/ 8287 h 12"/>
                    <a:gd name="T8" fmla="*/ 28412 w 39"/>
                    <a:gd name="T9" fmla="*/ 10358 h 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9"/>
                    <a:gd name="T16" fmla="*/ 0 h 12"/>
                    <a:gd name="T17" fmla="*/ 39 w 39"/>
                    <a:gd name="T18" fmla="*/ 12 h 1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9" h="12">
                      <a:moveTo>
                        <a:pt x="39" y="10"/>
                      </a:moveTo>
                      <a:lnTo>
                        <a:pt x="0" y="12"/>
                      </a:lnTo>
                      <a:lnTo>
                        <a:pt x="4" y="0"/>
                      </a:lnTo>
                      <a:lnTo>
                        <a:pt x="24" y="8"/>
                      </a:lnTo>
                      <a:lnTo>
                        <a:pt x="39" y="1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6" name="Freeform 416"/>
                <p:cNvSpPr>
                  <a:spLocks/>
                </p:cNvSpPr>
                <p:nvPr/>
              </p:nvSpPr>
              <p:spPr bwMode="auto">
                <a:xfrm>
                  <a:off x="5319100" y="1222018"/>
                  <a:ext cx="51497" cy="5327"/>
                </a:xfrm>
                <a:custGeom>
                  <a:avLst/>
                  <a:gdLst>
                    <a:gd name="T0" fmla="*/ 51497 w 62"/>
                    <a:gd name="T1" fmla="*/ 0 h 8"/>
                    <a:gd name="T2" fmla="*/ 0 w 62"/>
                    <a:gd name="T3" fmla="*/ 1332 h 8"/>
                    <a:gd name="T4" fmla="*/ 29071 w 62"/>
                    <a:gd name="T5" fmla="*/ 5327 h 8"/>
                    <a:gd name="T6" fmla="*/ 51497 w 62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2"/>
                    <a:gd name="T13" fmla="*/ 0 h 8"/>
                    <a:gd name="T14" fmla="*/ 62 w 62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2" h="8">
                      <a:moveTo>
                        <a:pt x="62" y="0"/>
                      </a:moveTo>
                      <a:lnTo>
                        <a:pt x="0" y="2"/>
                      </a:lnTo>
                      <a:lnTo>
                        <a:pt x="35" y="8"/>
                      </a:lnTo>
                      <a:lnTo>
                        <a:pt x="6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7" name="Freeform 417"/>
                <p:cNvSpPr>
                  <a:spLocks/>
                </p:cNvSpPr>
                <p:nvPr/>
              </p:nvSpPr>
              <p:spPr bwMode="auto">
                <a:xfrm>
                  <a:off x="5370597" y="1222018"/>
                  <a:ext cx="49721" cy="0"/>
                </a:xfrm>
                <a:custGeom>
                  <a:avLst/>
                  <a:gdLst>
                    <a:gd name="T0" fmla="*/ 49721 w 58"/>
                    <a:gd name="T1" fmla="*/ 0 h 5"/>
                    <a:gd name="T2" fmla="*/ 0 w 58"/>
                    <a:gd name="T3" fmla="*/ 0 h 5"/>
                    <a:gd name="T4" fmla="*/ 42006 w 58"/>
                    <a:gd name="T5" fmla="*/ 0 h 5"/>
                    <a:gd name="T6" fmla="*/ 49721 w 58"/>
                    <a:gd name="T7" fmla="*/ 0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8"/>
                    <a:gd name="T13" fmla="*/ 0 h 5"/>
                    <a:gd name="T14" fmla="*/ 58 w 58"/>
                    <a:gd name="T15" fmla="*/ 0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8" h="5">
                      <a:moveTo>
                        <a:pt x="58" y="4"/>
                      </a:moveTo>
                      <a:lnTo>
                        <a:pt x="0" y="5"/>
                      </a:lnTo>
                      <a:lnTo>
                        <a:pt x="49" y="0"/>
                      </a:lnTo>
                      <a:lnTo>
                        <a:pt x="58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8" name="Freeform 418"/>
                <p:cNvSpPr>
                  <a:spLocks/>
                </p:cNvSpPr>
                <p:nvPr/>
              </p:nvSpPr>
              <p:spPr bwMode="auto">
                <a:xfrm>
                  <a:off x="6352588" y="1351648"/>
                  <a:ext cx="35515" cy="5327"/>
                </a:xfrm>
                <a:custGeom>
                  <a:avLst/>
                  <a:gdLst>
                    <a:gd name="T0" fmla="*/ 33863 w 43"/>
                    <a:gd name="T1" fmla="*/ 0 h 8"/>
                    <a:gd name="T2" fmla="*/ 0 w 43"/>
                    <a:gd name="T3" fmla="*/ 2664 h 8"/>
                    <a:gd name="T4" fmla="*/ 35515 w 43"/>
                    <a:gd name="T5" fmla="*/ 5327 h 8"/>
                    <a:gd name="T6" fmla="*/ 33863 w 43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3"/>
                    <a:gd name="T13" fmla="*/ 0 h 8"/>
                    <a:gd name="T14" fmla="*/ 43 w 43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3" h="8">
                      <a:moveTo>
                        <a:pt x="41" y="0"/>
                      </a:moveTo>
                      <a:lnTo>
                        <a:pt x="0" y="4"/>
                      </a:lnTo>
                      <a:lnTo>
                        <a:pt x="43" y="8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29" name="Freeform 419"/>
                <p:cNvSpPr>
                  <a:spLocks/>
                </p:cNvSpPr>
                <p:nvPr/>
              </p:nvSpPr>
              <p:spPr bwMode="auto">
                <a:xfrm>
                  <a:off x="7904594" y="1955405"/>
                  <a:ext cx="7103" cy="17758"/>
                </a:xfrm>
                <a:custGeom>
                  <a:avLst/>
                  <a:gdLst>
                    <a:gd name="T0" fmla="*/ 7103 w 12"/>
                    <a:gd name="T1" fmla="*/ 846 h 21"/>
                    <a:gd name="T2" fmla="*/ 1184 w 12"/>
                    <a:gd name="T3" fmla="*/ 17758 h 21"/>
                    <a:gd name="T4" fmla="*/ 0 w 12"/>
                    <a:gd name="T5" fmla="*/ 0 h 21"/>
                    <a:gd name="T6" fmla="*/ 7103 w 12"/>
                    <a:gd name="T7" fmla="*/ 846 h 2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21"/>
                    <a:gd name="T14" fmla="*/ 12 w 12"/>
                    <a:gd name="T15" fmla="*/ 21 h 2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21">
                      <a:moveTo>
                        <a:pt x="12" y="1"/>
                      </a:moveTo>
                      <a:lnTo>
                        <a:pt x="2" y="21"/>
                      </a:lnTo>
                      <a:lnTo>
                        <a:pt x="0" y="0"/>
                      </a:lnTo>
                      <a:lnTo>
                        <a:pt x="12" y="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0" name="Freeform 420"/>
                <p:cNvSpPr>
                  <a:spLocks/>
                </p:cNvSpPr>
                <p:nvPr/>
              </p:nvSpPr>
              <p:spPr bwMode="auto">
                <a:xfrm>
                  <a:off x="7817583" y="2127653"/>
                  <a:ext cx="7103" cy="17758"/>
                </a:xfrm>
                <a:custGeom>
                  <a:avLst/>
                  <a:gdLst>
                    <a:gd name="T0" fmla="*/ 7103 w 13"/>
                    <a:gd name="T1" fmla="*/ 0 h 23"/>
                    <a:gd name="T2" fmla="*/ 0 w 13"/>
                    <a:gd name="T3" fmla="*/ 17758 h 23"/>
                    <a:gd name="T4" fmla="*/ 0 w 13"/>
                    <a:gd name="T5" fmla="*/ 4633 h 23"/>
                    <a:gd name="T6" fmla="*/ 7103 w 13"/>
                    <a:gd name="T7" fmla="*/ 0 h 2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"/>
                    <a:gd name="T13" fmla="*/ 0 h 23"/>
                    <a:gd name="T14" fmla="*/ 13 w 13"/>
                    <a:gd name="T15" fmla="*/ 23 h 2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" h="23">
                      <a:moveTo>
                        <a:pt x="13" y="0"/>
                      </a:moveTo>
                      <a:lnTo>
                        <a:pt x="0" y="23"/>
                      </a:lnTo>
                      <a:lnTo>
                        <a:pt x="0" y="6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1" name="Freeform 421"/>
                <p:cNvSpPr>
                  <a:spLocks/>
                </p:cNvSpPr>
                <p:nvPr/>
              </p:nvSpPr>
              <p:spPr bwMode="auto">
                <a:xfrm>
                  <a:off x="6871107" y="1356976"/>
                  <a:ext cx="15982" cy="7103"/>
                </a:xfrm>
                <a:custGeom>
                  <a:avLst/>
                  <a:gdLst>
                    <a:gd name="T0" fmla="*/ 15982 w 22"/>
                    <a:gd name="T1" fmla="*/ 0 h 9"/>
                    <a:gd name="T2" fmla="*/ 0 w 22"/>
                    <a:gd name="T3" fmla="*/ 0 h 9"/>
                    <a:gd name="T4" fmla="*/ 15982 w 22"/>
                    <a:gd name="T5" fmla="*/ 7103 h 9"/>
                    <a:gd name="T6" fmla="*/ 15982 w 22"/>
                    <a:gd name="T7" fmla="*/ 0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2"/>
                    <a:gd name="T13" fmla="*/ 0 h 9"/>
                    <a:gd name="T14" fmla="*/ 22 w 22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2" h="9">
                      <a:moveTo>
                        <a:pt x="22" y="0"/>
                      </a:moveTo>
                      <a:lnTo>
                        <a:pt x="0" y="0"/>
                      </a:lnTo>
                      <a:lnTo>
                        <a:pt x="22" y="9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2" name="Freeform 422"/>
                <p:cNvSpPr>
                  <a:spLocks/>
                </p:cNvSpPr>
                <p:nvPr/>
              </p:nvSpPr>
              <p:spPr bwMode="auto">
                <a:xfrm>
                  <a:off x="5102458" y="1222018"/>
                  <a:ext cx="51497" cy="5327"/>
                </a:xfrm>
                <a:custGeom>
                  <a:avLst/>
                  <a:gdLst>
                    <a:gd name="T0" fmla="*/ 51497 w 60"/>
                    <a:gd name="T1" fmla="*/ 0 h 4"/>
                    <a:gd name="T2" fmla="*/ 0 w 60"/>
                    <a:gd name="T3" fmla="*/ 5327 h 4"/>
                    <a:gd name="T4" fmla="*/ 10299 w 60"/>
                    <a:gd name="T5" fmla="*/ 0 h 4"/>
                    <a:gd name="T6" fmla="*/ 51497 w 60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0"/>
                    <a:gd name="T13" fmla="*/ 0 h 4"/>
                    <a:gd name="T14" fmla="*/ 60 w 60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0" h="4">
                      <a:moveTo>
                        <a:pt x="60" y="0"/>
                      </a:moveTo>
                      <a:lnTo>
                        <a:pt x="0" y="4"/>
                      </a:lnTo>
                      <a:lnTo>
                        <a:pt x="12" y="0"/>
                      </a:lnTo>
                      <a:lnTo>
                        <a:pt x="6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3" name="Freeform 423"/>
                <p:cNvSpPr>
                  <a:spLocks/>
                </p:cNvSpPr>
                <p:nvPr/>
              </p:nvSpPr>
              <p:spPr bwMode="auto">
                <a:xfrm>
                  <a:off x="5775468" y="1399594"/>
                  <a:ext cx="21309" cy="5327"/>
                </a:xfrm>
                <a:custGeom>
                  <a:avLst/>
                  <a:gdLst>
                    <a:gd name="T0" fmla="*/ 21309 w 27"/>
                    <a:gd name="T1" fmla="*/ 0 h 8"/>
                    <a:gd name="T2" fmla="*/ 1578 w 27"/>
                    <a:gd name="T3" fmla="*/ 5327 h 8"/>
                    <a:gd name="T4" fmla="*/ 0 w 27"/>
                    <a:gd name="T5" fmla="*/ 1332 h 8"/>
                    <a:gd name="T6" fmla="*/ 21309 w 27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8"/>
                    <a:gd name="T14" fmla="*/ 27 w 27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8">
                      <a:moveTo>
                        <a:pt x="27" y="0"/>
                      </a:moveTo>
                      <a:lnTo>
                        <a:pt x="2" y="8"/>
                      </a:lnTo>
                      <a:lnTo>
                        <a:pt x="0" y="2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4" name="Freeform 424"/>
                <p:cNvSpPr>
                  <a:spLocks/>
                </p:cNvSpPr>
                <p:nvPr/>
              </p:nvSpPr>
              <p:spPr bwMode="auto">
                <a:xfrm>
                  <a:off x="5290688" y="1232673"/>
                  <a:ext cx="35515" cy="0"/>
                </a:xfrm>
                <a:custGeom>
                  <a:avLst/>
                  <a:gdLst>
                    <a:gd name="T0" fmla="*/ 35515 w 41"/>
                    <a:gd name="T1" fmla="*/ 0 h 4"/>
                    <a:gd name="T2" fmla="*/ 0 w 41"/>
                    <a:gd name="T3" fmla="*/ 0 h 4"/>
                    <a:gd name="T4" fmla="*/ 17324 w 41"/>
                    <a:gd name="T5" fmla="*/ 0 h 4"/>
                    <a:gd name="T6" fmla="*/ 35515 w 41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1"/>
                    <a:gd name="T13" fmla="*/ 0 h 4"/>
                    <a:gd name="T14" fmla="*/ 41 w 41"/>
                    <a:gd name="T15" fmla="*/ 0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1" h="4">
                      <a:moveTo>
                        <a:pt x="41" y="0"/>
                      </a:moveTo>
                      <a:lnTo>
                        <a:pt x="0" y="0"/>
                      </a:lnTo>
                      <a:lnTo>
                        <a:pt x="20" y="4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5" name="Freeform 425"/>
                <p:cNvSpPr>
                  <a:spLocks/>
                </p:cNvSpPr>
                <p:nvPr/>
              </p:nvSpPr>
              <p:spPr bwMode="auto">
                <a:xfrm>
                  <a:off x="7998709" y="1825775"/>
                  <a:ext cx="35515" cy="23085"/>
                </a:xfrm>
                <a:custGeom>
                  <a:avLst/>
                  <a:gdLst>
                    <a:gd name="T0" fmla="*/ 35515 w 48"/>
                    <a:gd name="T1" fmla="*/ 23085 h 25"/>
                    <a:gd name="T2" fmla="*/ 0 w 48"/>
                    <a:gd name="T3" fmla="*/ 0 h 25"/>
                    <a:gd name="T4" fmla="*/ 29596 w 48"/>
                    <a:gd name="T5" fmla="*/ 15698 h 25"/>
                    <a:gd name="T6" fmla="*/ 35515 w 48"/>
                    <a:gd name="T7" fmla="*/ 23085 h 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8"/>
                    <a:gd name="T13" fmla="*/ 0 h 25"/>
                    <a:gd name="T14" fmla="*/ 48 w 48"/>
                    <a:gd name="T15" fmla="*/ 25 h 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8" h="25">
                      <a:moveTo>
                        <a:pt x="48" y="25"/>
                      </a:moveTo>
                      <a:lnTo>
                        <a:pt x="0" y="0"/>
                      </a:lnTo>
                      <a:lnTo>
                        <a:pt x="40" y="17"/>
                      </a:lnTo>
                      <a:lnTo>
                        <a:pt x="48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6" name="Freeform 426"/>
                <p:cNvSpPr>
                  <a:spLocks/>
                </p:cNvSpPr>
                <p:nvPr/>
              </p:nvSpPr>
              <p:spPr bwMode="auto">
                <a:xfrm>
                  <a:off x="6734374" y="1321461"/>
                  <a:ext cx="21309" cy="12430"/>
                </a:xfrm>
                <a:custGeom>
                  <a:avLst/>
                  <a:gdLst>
                    <a:gd name="T0" fmla="*/ 18152 w 27"/>
                    <a:gd name="T1" fmla="*/ 5327 h 14"/>
                    <a:gd name="T2" fmla="*/ 0 w 27"/>
                    <a:gd name="T3" fmla="*/ 0 h 14"/>
                    <a:gd name="T4" fmla="*/ 21309 w 27"/>
                    <a:gd name="T5" fmla="*/ 12430 h 14"/>
                    <a:gd name="T6" fmla="*/ 18152 w 27"/>
                    <a:gd name="T7" fmla="*/ 5327 h 1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4"/>
                    <a:gd name="T14" fmla="*/ 27 w 27"/>
                    <a:gd name="T15" fmla="*/ 14 h 1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4">
                      <a:moveTo>
                        <a:pt x="23" y="6"/>
                      </a:moveTo>
                      <a:lnTo>
                        <a:pt x="0" y="0"/>
                      </a:lnTo>
                      <a:lnTo>
                        <a:pt x="27" y="14"/>
                      </a:lnTo>
                      <a:lnTo>
                        <a:pt x="23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7" name="Freeform 427"/>
                <p:cNvSpPr>
                  <a:spLocks/>
                </p:cNvSpPr>
                <p:nvPr/>
              </p:nvSpPr>
              <p:spPr bwMode="auto">
                <a:xfrm>
                  <a:off x="4828993" y="1729884"/>
                  <a:ext cx="21309" cy="7103"/>
                </a:xfrm>
                <a:custGeom>
                  <a:avLst/>
                  <a:gdLst>
                    <a:gd name="T0" fmla="*/ 21309 w 25"/>
                    <a:gd name="T1" fmla="*/ 7103 h 4"/>
                    <a:gd name="T2" fmla="*/ 0 w 25"/>
                    <a:gd name="T3" fmla="*/ 7103 h 4"/>
                    <a:gd name="T4" fmla="*/ 6819 w 25"/>
                    <a:gd name="T5" fmla="*/ 0 h 4"/>
                    <a:gd name="T6" fmla="*/ 21309 w 25"/>
                    <a:gd name="T7" fmla="*/ 7103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5"/>
                    <a:gd name="T13" fmla="*/ 0 h 4"/>
                    <a:gd name="T14" fmla="*/ 25 w 25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5" h="4">
                      <a:moveTo>
                        <a:pt x="25" y="4"/>
                      </a:moveTo>
                      <a:lnTo>
                        <a:pt x="0" y="4"/>
                      </a:lnTo>
                      <a:lnTo>
                        <a:pt x="8" y="0"/>
                      </a:lnTo>
                      <a:lnTo>
                        <a:pt x="25" y="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8" name="Freeform 428"/>
                <p:cNvSpPr>
                  <a:spLocks/>
                </p:cNvSpPr>
                <p:nvPr/>
              </p:nvSpPr>
              <p:spPr bwMode="auto">
                <a:xfrm>
                  <a:off x="4654969" y="2145411"/>
                  <a:ext cx="7103" cy="0"/>
                </a:xfrm>
                <a:custGeom>
                  <a:avLst/>
                  <a:gdLst>
                    <a:gd name="T0" fmla="*/ 7103 w 4"/>
                    <a:gd name="T1" fmla="*/ 0 h 2"/>
                    <a:gd name="T2" fmla="*/ 3552 w 4"/>
                    <a:gd name="T3" fmla="*/ 0 h 2"/>
                    <a:gd name="T4" fmla="*/ 0 w 4"/>
                    <a:gd name="T5" fmla="*/ 0 h 2"/>
                    <a:gd name="T6" fmla="*/ 0 w 4"/>
                    <a:gd name="T7" fmla="*/ 0 h 2"/>
                    <a:gd name="T8" fmla="*/ 3552 w 4"/>
                    <a:gd name="T9" fmla="*/ 0 h 2"/>
                    <a:gd name="T10" fmla="*/ 7103 w 4"/>
                    <a:gd name="T11" fmla="*/ 0 h 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"/>
                    <a:gd name="T19" fmla="*/ 0 h 2"/>
                    <a:gd name="T20" fmla="*/ 4 w 4"/>
                    <a:gd name="T21" fmla="*/ 0 h 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" h="2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39" name="Freeform 429"/>
                <p:cNvSpPr>
                  <a:spLocks/>
                </p:cNvSpPr>
                <p:nvPr/>
              </p:nvSpPr>
              <p:spPr bwMode="auto">
                <a:xfrm>
                  <a:off x="4741981" y="1985593"/>
                  <a:ext cx="136733" cy="46170"/>
                </a:xfrm>
                <a:custGeom>
                  <a:avLst/>
                  <a:gdLst>
                    <a:gd name="T0" fmla="*/ 50583 w 173"/>
                    <a:gd name="T1" fmla="*/ 0 h 62"/>
                    <a:gd name="T2" fmla="*/ 49793 w 173"/>
                    <a:gd name="T3" fmla="*/ 2979 h 62"/>
                    <a:gd name="T4" fmla="*/ 41889 w 173"/>
                    <a:gd name="T5" fmla="*/ 7447 h 62"/>
                    <a:gd name="T6" fmla="*/ 35566 w 173"/>
                    <a:gd name="T7" fmla="*/ 10425 h 62"/>
                    <a:gd name="T8" fmla="*/ 35566 w 173"/>
                    <a:gd name="T9" fmla="*/ 13404 h 62"/>
                    <a:gd name="T10" fmla="*/ 27663 w 173"/>
                    <a:gd name="T11" fmla="*/ 20106 h 62"/>
                    <a:gd name="T12" fmla="*/ 15807 w 173"/>
                    <a:gd name="T13" fmla="*/ 23085 h 62"/>
                    <a:gd name="T14" fmla="*/ 7904 w 173"/>
                    <a:gd name="T15" fmla="*/ 23085 h 62"/>
                    <a:gd name="T16" fmla="*/ 0 w 173"/>
                    <a:gd name="T17" fmla="*/ 21596 h 62"/>
                    <a:gd name="T18" fmla="*/ 15807 w 173"/>
                    <a:gd name="T19" fmla="*/ 41702 h 62"/>
                    <a:gd name="T20" fmla="*/ 22130 w 173"/>
                    <a:gd name="T21" fmla="*/ 46170 h 62"/>
                    <a:gd name="T22" fmla="*/ 52164 w 173"/>
                    <a:gd name="T23" fmla="*/ 46170 h 62"/>
                    <a:gd name="T24" fmla="*/ 90892 w 173"/>
                    <a:gd name="T25" fmla="*/ 30532 h 62"/>
                    <a:gd name="T26" fmla="*/ 130410 w 173"/>
                    <a:gd name="T27" fmla="*/ 32021 h 62"/>
                    <a:gd name="T28" fmla="*/ 136733 w 173"/>
                    <a:gd name="T29" fmla="*/ 13404 h 62"/>
                    <a:gd name="T30" fmla="*/ 101167 w 173"/>
                    <a:gd name="T31" fmla="*/ 4468 h 62"/>
                    <a:gd name="T32" fmla="*/ 81408 w 173"/>
                    <a:gd name="T33" fmla="*/ 5957 h 62"/>
                    <a:gd name="T34" fmla="*/ 75085 w 173"/>
                    <a:gd name="T35" fmla="*/ 1489 h 62"/>
                    <a:gd name="T36" fmla="*/ 50583 w 173"/>
                    <a:gd name="T37" fmla="*/ 0 h 6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73"/>
                    <a:gd name="T58" fmla="*/ 0 h 62"/>
                    <a:gd name="T59" fmla="*/ 173 w 173"/>
                    <a:gd name="T60" fmla="*/ 62 h 6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73" h="62">
                      <a:moveTo>
                        <a:pt x="64" y="0"/>
                      </a:moveTo>
                      <a:lnTo>
                        <a:pt x="63" y="4"/>
                      </a:lnTo>
                      <a:lnTo>
                        <a:pt x="53" y="10"/>
                      </a:lnTo>
                      <a:lnTo>
                        <a:pt x="45" y="14"/>
                      </a:lnTo>
                      <a:lnTo>
                        <a:pt x="45" y="18"/>
                      </a:lnTo>
                      <a:lnTo>
                        <a:pt x="35" y="27"/>
                      </a:lnTo>
                      <a:lnTo>
                        <a:pt x="20" y="31"/>
                      </a:lnTo>
                      <a:lnTo>
                        <a:pt x="10" y="31"/>
                      </a:lnTo>
                      <a:lnTo>
                        <a:pt x="0" y="29"/>
                      </a:lnTo>
                      <a:lnTo>
                        <a:pt x="20" y="56"/>
                      </a:lnTo>
                      <a:lnTo>
                        <a:pt x="28" y="62"/>
                      </a:lnTo>
                      <a:lnTo>
                        <a:pt x="66" y="62"/>
                      </a:lnTo>
                      <a:lnTo>
                        <a:pt x="115" y="41"/>
                      </a:lnTo>
                      <a:lnTo>
                        <a:pt x="165" y="43"/>
                      </a:lnTo>
                      <a:lnTo>
                        <a:pt x="173" y="18"/>
                      </a:lnTo>
                      <a:lnTo>
                        <a:pt x="128" y="6"/>
                      </a:lnTo>
                      <a:lnTo>
                        <a:pt x="103" y="8"/>
                      </a:lnTo>
                      <a:lnTo>
                        <a:pt x="95" y="2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0" name="Freeform 430"/>
                <p:cNvSpPr>
                  <a:spLocks/>
                </p:cNvSpPr>
                <p:nvPr/>
              </p:nvSpPr>
              <p:spPr bwMode="auto">
                <a:xfrm>
                  <a:off x="4685157" y="2061950"/>
                  <a:ext cx="63927" cy="35515"/>
                </a:xfrm>
                <a:custGeom>
                  <a:avLst/>
                  <a:gdLst>
                    <a:gd name="T0" fmla="*/ 10287 w 87"/>
                    <a:gd name="T1" fmla="*/ 35515 h 52"/>
                    <a:gd name="T2" fmla="*/ 19839 w 87"/>
                    <a:gd name="T3" fmla="*/ 35515 h 52"/>
                    <a:gd name="T4" fmla="*/ 24248 w 87"/>
                    <a:gd name="T5" fmla="*/ 32100 h 52"/>
                    <a:gd name="T6" fmla="*/ 27187 w 87"/>
                    <a:gd name="T7" fmla="*/ 34832 h 52"/>
                    <a:gd name="T8" fmla="*/ 28657 w 87"/>
                    <a:gd name="T9" fmla="*/ 34832 h 52"/>
                    <a:gd name="T10" fmla="*/ 30127 w 87"/>
                    <a:gd name="T11" fmla="*/ 33466 h 52"/>
                    <a:gd name="T12" fmla="*/ 34535 w 87"/>
                    <a:gd name="T13" fmla="*/ 35515 h 52"/>
                    <a:gd name="T14" fmla="*/ 39679 w 87"/>
                    <a:gd name="T15" fmla="*/ 35515 h 52"/>
                    <a:gd name="T16" fmla="*/ 38209 w 87"/>
                    <a:gd name="T17" fmla="*/ 32100 h 52"/>
                    <a:gd name="T18" fmla="*/ 38209 w 87"/>
                    <a:gd name="T19" fmla="*/ 29368 h 52"/>
                    <a:gd name="T20" fmla="*/ 45557 w 87"/>
                    <a:gd name="T21" fmla="*/ 26636 h 52"/>
                    <a:gd name="T22" fmla="*/ 49966 w 87"/>
                    <a:gd name="T23" fmla="*/ 26636 h 52"/>
                    <a:gd name="T24" fmla="*/ 47027 w 87"/>
                    <a:gd name="T25" fmla="*/ 22538 h 52"/>
                    <a:gd name="T26" fmla="*/ 45557 w 87"/>
                    <a:gd name="T27" fmla="*/ 19806 h 52"/>
                    <a:gd name="T28" fmla="*/ 44088 w 87"/>
                    <a:gd name="T29" fmla="*/ 15709 h 52"/>
                    <a:gd name="T30" fmla="*/ 51436 w 87"/>
                    <a:gd name="T31" fmla="*/ 14343 h 52"/>
                    <a:gd name="T32" fmla="*/ 54375 w 87"/>
                    <a:gd name="T33" fmla="*/ 12294 h 52"/>
                    <a:gd name="T34" fmla="*/ 60253 w 87"/>
                    <a:gd name="T35" fmla="*/ 12294 h 52"/>
                    <a:gd name="T36" fmla="*/ 60253 w 87"/>
                    <a:gd name="T37" fmla="*/ 9562 h 52"/>
                    <a:gd name="T38" fmla="*/ 62457 w 87"/>
                    <a:gd name="T39" fmla="*/ 9562 h 52"/>
                    <a:gd name="T40" fmla="*/ 63927 w 87"/>
                    <a:gd name="T41" fmla="*/ 6830 h 52"/>
                    <a:gd name="T42" fmla="*/ 57314 w 87"/>
                    <a:gd name="T43" fmla="*/ 2732 h 52"/>
                    <a:gd name="T44" fmla="*/ 55844 w 87"/>
                    <a:gd name="T45" fmla="*/ 0 h 52"/>
                    <a:gd name="T46" fmla="*/ 11757 w 87"/>
                    <a:gd name="T47" fmla="*/ 10928 h 52"/>
                    <a:gd name="T48" fmla="*/ 2939 w 87"/>
                    <a:gd name="T49" fmla="*/ 9562 h 52"/>
                    <a:gd name="T50" fmla="*/ 0 w 87"/>
                    <a:gd name="T51" fmla="*/ 17075 h 52"/>
                    <a:gd name="T52" fmla="*/ 4409 w 87"/>
                    <a:gd name="T53" fmla="*/ 33466 h 52"/>
                    <a:gd name="T54" fmla="*/ 10287 w 87"/>
                    <a:gd name="T55" fmla="*/ 35515 h 5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7"/>
                    <a:gd name="T85" fmla="*/ 0 h 52"/>
                    <a:gd name="T86" fmla="*/ 87 w 87"/>
                    <a:gd name="T87" fmla="*/ 52 h 5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7" h="52">
                      <a:moveTo>
                        <a:pt x="14" y="52"/>
                      </a:moveTo>
                      <a:lnTo>
                        <a:pt x="27" y="52"/>
                      </a:lnTo>
                      <a:lnTo>
                        <a:pt x="33" y="47"/>
                      </a:lnTo>
                      <a:lnTo>
                        <a:pt x="37" y="51"/>
                      </a:lnTo>
                      <a:lnTo>
                        <a:pt x="39" y="51"/>
                      </a:lnTo>
                      <a:lnTo>
                        <a:pt x="41" y="49"/>
                      </a:lnTo>
                      <a:lnTo>
                        <a:pt x="47" y="52"/>
                      </a:lnTo>
                      <a:lnTo>
                        <a:pt x="54" y="52"/>
                      </a:lnTo>
                      <a:lnTo>
                        <a:pt x="52" y="47"/>
                      </a:lnTo>
                      <a:lnTo>
                        <a:pt x="52" y="43"/>
                      </a:lnTo>
                      <a:lnTo>
                        <a:pt x="62" y="39"/>
                      </a:lnTo>
                      <a:lnTo>
                        <a:pt x="68" y="39"/>
                      </a:lnTo>
                      <a:lnTo>
                        <a:pt x="64" y="33"/>
                      </a:lnTo>
                      <a:lnTo>
                        <a:pt x="62" y="29"/>
                      </a:lnTo>
                      <a:lnTo>
                        <a:pt x="60" y="23"/>
                      </a:lnTo>
                      <a:lnTo>
                        <a:pt x="70" y="21"/>
                      </a:lnTo>
                      <a:lnTo>
                        <a:pt x="74" y="18"/>
                      </a:lnTo>
                      <a:lnTo>
                        <a:pt x="82" y="18"/>
                      </a:lnTo>
                      <a:lnTo>
                        <a:pt x="82" y="14"/>
                      </a:lnTo>
                      <a:lnTo>
                        <a:pt x="85" y="14"/>
                      </a:lnTo>
                      <a:lnTo>
                        <a:pt x="87" y="10"/>
                      </a:lnTo>
                      <a:lnTo>
                        <a:pt x="78" y="4"/>
                      </a:lnTo>
                      <a:lnTo>
                        <a:pt x="76" y="0"/>
                      </a:lnTo>
                      <a:lnTo>
                        <a:pt x="16" y="16"/>
                      </a:lnTo>
                      <a:lnTo>
                        <a:pt x="4" y="14"/>
                      </a:lnTo>
                      <a:lnTo>
                        <a:pt x="0" y="25"/>
                      </a:lnTo>
                      <a:lnTo>
                        <a:pt x="6" y="49"/>
                      </a:lnTo>
                      <a:lnTo>
                        <a:pt x="14" y="5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1" name="Freeform 431"/>
                <p:cNvSpPr>
                  <a:spLocks/>
                </p:cNvSpPr>
                <p:nvPr/>
              </p:nvSpPr>
              <p:spPr bwMode="auto">
                <a:xfrm>
                  <a:off x="4598145" y="1481278"/>
                  <a:ext cx="245054" cy="344496"/>
                </a:xfrm>
                <a:custGeom>
                  <a:avLst/>
                  <a:gdLst>
                    <a:gd name="T0" fmla="*/ 169714 w 309"/>
                    <a:gd name="T1" fmla="*/ 133353 h 465"/>
                    <a:gd name="T2" fmla="*/ 141957 w 309"/>
                    <a:gd name="T3" fmla="*/ 148911 h 465"/>
                    <a:gd name="T4" fmla="*/ 126096 w 309"/>
                    <a:gd name="T5" fmla="*/ 160765 h 465"/>
                    <a:gd name="T6" fmla="*/ 120544 w 309"/>
                    <a:gd name="T7" fmla="*/ 180768 h 465"/>
                    <a:gd name="T8" fmla="*/ 150680 w 309"/>
                    <a:gd name="T9" fmla="*/ 217810 h 465"/>
                    <a:gd name="T10" fmla="*/ 140371 w 309"/>
                    <a:gd name="T11" fmla="*/ 240777 h 465"/>
                    <a:gd name="T12" fmla="*/ 132440 w 309"/>
                    <a:gd name="T13" fmla="*/ 237073 h 465"/>
                    <a:gd name="T14" fmla="*/ 153853 w 309"/>
                    <a:gd name="T15" fmla="*/ 240777 h 465"/>
                    <a:gd name="T16" fmla="*/ 137199 w 309"/>
                    <a:gd name="T17" fmla="*/ 248185 h 465"/>
                    <a:gd name="T18" fmla="*/ 112614 w 309"/>
                    <a:gd name="T19" fmla="*/ 260039 h 465"/>
                    <a:gd name="T20" fmla="*/ 117372 w 309"/>
                    <a:gd name="T21" fmla="*/ 277079 h 465"/>
                    <a:gd name="T22" fmla="*/ 118958 w 309"/>
                    <a:gd name="T23" fmla="*/ 283005 h 465"/>
                    <a:gd name="T24" fmla="*/ 111028 w 309"/>
                    <a:gd name="T25" fmla="*/ 324493 h 465"/>
                    <a:gd name="T26" fmla="*/ 71375 w 309"/>
                    <a:gd name="T27" fmla="*/ 344496 h 465"/>
                    <a:gd name="T28" fmla="*/ 38860 w 309"/>
                    <a:gd name="T29" fmla="*/ 323011 h 465"/>
                    <a:gd name="T30" fmla="*/ 14275 w 309"/>
                    <a:gd name="T31" fmla="*/ 278560 h 465"/>
                    <a:gd name="T32" fmla="*/ 7931 w 309"/>
                    <a:gd name="T33" fmla="*/ 268188 h 465"/>
                    <a:gd name="T34" fmla="*/ 4758 w 309"/>
                    <a:gd name="T35" fmla="*/ 251149 h 465"/>
                    <a:gd name="T36" fmla="*/ 20619 w 309"/>
                    <a:gd name="T37" fmla="*/ 203734 h 465"/>
                    <a:gd name="T38" fmla="*/ 29343 w 309"/>
                    <a:gd name="T39" fmla="*/ 189658 h 465"/>
                    <a:gd name="T40" fmla="*/ 11103 w 309"/>
                    <a:gd name="T41" fmla="*/ 156320 h 465"/>
                    <a:gd name="T42" fmla="*/ 29343 w 309"/>
                    <a:gd name="T43" fmla="*/ 120018 h 465"/>
                    <a:gd name="T44" fmla="*/ 37274 w 309"/>
                    <a:gd name="T45" fmla="*/ 107424 h 465"/>
                    <a:gd name="T46" fmla="*/ 49169 w 309"/>
                    <a:gd name="T47" fmla="*/ 70381 h 465"/>
                    <a:gd name="T48" fmla="*/ 76926 w 309"/>
                    <a:gd name="T49" fmla="*/ 51119 h 465"/>
                    <a:gd name="T50" fmla="*/ 114200 w 309"/>
                    <a:gd name="T51" fmla="*/ 21485 h 465"/>
                    <a:gd name="T52" fmla="*/ 150680 w 309"/>
                    <a:gd name="T53" fmla="*/ 12594 h 465"/>
                    <a:gd name="T54" fmla="*/ 157025 w 309"/>
                    <a:gd name="T55" fmla="*/ 0 h 465"/>
                    <a:gd name="T56" fmla="*/ 233951 w 309"/>
                    <a:gd name="T57" fmla="*/ 54082 h 465"/>
                    <a:gd name="T58" fmla="*/ 215711 w 309"/>
                    <a:gd name="T59" fmla="*/ 77049 h 465"/>
                    <a:gd name="T60" fmla="*/ 206194 w 309"/>
                    <a:gd name="T61" fmla="*/ 84457 h 465"/>
                    <a:gd name="T62" fmla="*/ 191126 w 309"/>
                    <a:gd name="T63" fmla="*/ 90384 h 465"/>
                    <a:gd name="T64" fmla="*/ 194298 w 309"/>
                    <a:gd name="T65" fmla="*/ 114832 h 46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309"/>
                    <a:gd name="T100" fmla="*/ 0 h 465"/>
                    <a:gd name="T101" fmla="*/ 309 w 309"/>
                    <a:gd name="T102" fmla="*/ 465 h 46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309" h="465">
                      <a:moveTo>
                        <a:pt x="245" y="155"/>
                      </a:moveTo>
                      <a:lnTo>
                        <a:pt x="214" y="180"/>
                      </a:lnTo>
                      <a:lnTo>
                        <a:pt x="192" y="192"/>
                      </a:lnTo>
                      <a:lnTo>
                        <a:pt x="179" y="201"/>
                      </a:lnTo>
                      <a:lnTo>
                        <a:pt x="163" y="203"/>
                      </a:lnTo>
                      <a:lnTo>
                        <a:pt x="159" y="217"/>
                      </a:lnTo>
                      <a:lnTo>
                        <a:pt x="153" y="223"/>
                      </a:lnTo>
                      <a:lnTo>
                        <a:pt x="152" y="244"/>
                      </a:lnTo>
                      <a:lnTo>
                        <a:pt x="159" y="281"/>
                      </a:lnTo>
                      <a:lnTo>
                        <a:pt x="190" y="294"/>
                      </a:lnTo>
                      <a:lnTo>
                        <a:pt x="204" y="310"/>
                      </a:lnTo>
                      <a:lnTo>
                        <a:pt x="177" y="325"/>
                      </a:lnTo>
                      <a:lnTo>
                        <a:pt x="167" y="314"/>
                      </a:lnTo>
                      <a:lnTo>
                        <a:pt x="167" y="320"/>
                      </a:lnTo>
                      <a:lnTo>
                        <a:pt x="132" y="321"/>
                      </a:lnTo>
                      <a:lnTo>
                        <a:pt x="194" y="325"/>
                      </a:lnTo>
                      <a:lnTo>
                        <a:pt x="177" y="341"/>
                      </a:lnTo>
                      <a:lnTo>
                        <a:pt x="173" y="335"/>
                      </a:lnTo>
                      <a:lnTo>
                        <a:pt x="155" y="351"/>
                      </a:lnTo>
                      <a:lnTo>
                        <a:pt x="142" y="351"/>
                      </a:lnTo>
                      <a:lnTo>
                        <a:pt x="152" y="358"/>
                      </a:lnTo>
                      <a:lnTo>
                        <a:pt x="148" y="374"/>
                      </a:lnTo>
                      <a:lnTo>
                        <a:pt x="153" y="384"/>
                      </a:lnTo>
                      <a:lnTo>
                        <a:pt x="150" y="382"/>
                      </a:lnTo>
                      <a:lnTo>
                        <a:pt x="146" y="409"/>
                      </a:lnTo>
                      <a:lnTo>
                        <a:pt x="140" y="438"/>
                      </a:lnTo>
                      <a:lnTo>
                        <a:pt x="95" y="446"/>
                      </a:lnTo>
                      <a:lnTo>
                        <a:pt x="90" y="465"/>
                      </a:lnTo>
                      <a:lnTo>
                        <a:pt x="58" y="465"/>
                      </a:lnTo>
                      <a:lnTo>
                        <a:pt x="49" y="436"/>
                      </a:lnTo>
                      <a:lnTo>
                        <a:pt x="43" y="415"/>
                      </a:lnTo>
                      <a:lnTo>
                        <a:pt x="18" y="376"/>
                      </a:lnTo>
                      <a:lnTo>
                        <a:pt x="20" y="366"/>
                      </a:lnTo>
                      <a:lnTo>
                        <a:pt x="10" y="362"/>
                      </a:lnTo>
                      <a:lnTo>
                        <a:pt x="0" y="343"/>
                      </a:lnTo>
                      <a:lnTo>
                        <a:pt x="6" y="339"/>
                      </a:lnTo>
                      <a:lnTo>
                        <a:pt x="22" y="306"/>
                      </a:lnTo>
                      <a:lnTo>
                        <a:pt x="26" y="275"/>
                      </a:lnTo>
                      <a:lnTo>
                        <a:pt x="26" y="267"/>
                      </a:lnTo>
                      <a:lnTo>
                        <a:pt x="37" y="256"/>
                      </a:lnTo>
                      <a:lnTo>
                        <a:pt x="16" y="244"/>
                      </a:lnTo>
                      <a:lnTo>
                        <a:pt x="14" y="211"/>
                      </a:lnTo>
                      <a:lnTo>
                        <a:pt x="14" y="176"/>
                      </a:lnTo>
                      <a:lnTo>
                        <a:pt x="37" y="162"/>
                      </a:lnTo>
                      <a:lnTo>
                        <a:pt x="60" y="161"/>
                      </a:lnTo>
                      <a:lnTo>
                        <a:pt x="47" y="145"/>
                      </a:lnTo>
                      <a:lnTo>
                        <a:pt x="66" y="104"/>
                      </a:lnTo>
                      <a:lnTo>
                        <a:pt x="62" y="95"/>
                      </a:lnTo>
                      <a:lnTo>
                        <a:pt x="86" y="89"/>
                      </a:lnTo>
                      <a:lnTo>
                        <a:pt x="97" y="69"/>
                      </a:lnTo>
                      <a:lnTo>
                        <a:pt x="111" y="36"/>
                      </a:lnTo>
                      <a:lnTo>
                        <a:pt x="144" y="29"/>
                      </a:lnTo>
                      <a:lnTo>
                        <a:pt x="146" y="15"/>
                      </a:lnTo>
                      <a:lnTo>
                        <a:pt x="190" y="17"/>
                      </a:lnTo>
                      <a:lnTo>
                        <a:pt x="186" y="0"/>
                      </a:lnTo>
                      <a:lnTo>
                        <a:pt x="198" y="0"/>
                      </a:lnTo>
                      <a:lnTo>
                        <a:pt x="270" y="29"/>
                      </a:lnTo>
                      <a:lnTo>
                        <a:pt x="295" y="73"/>
                      </a:lnTo>
                      <a:lnTo>
                        <a:pt x="309" y="104"/>
                      </a:lnTo>
                      <a:lnTo>
                        <a:pt x="272" y="104"/>
                      </a:lnTo>
                      <a:lnTo>
                        <a:pt x="262" y="108"/>
                      </a:lnTo>
                      <a:lnTo>
                        <a:pt x="260" y="114"/>
                      </a:lnTo>
                      <a:lnTo>
                        <a:pt x="254" y="112"/>
                      </a:lnTo>
                      <a:lnTo>
                        <a:pt x="241" y="122"/>
                      </a:lnTo>
                      <a:lnTo>
                        <a:pt x="237" y="137"/>
                      </a:lnTo>
                      <a:lnTo>
                        <a:pt x="245" y="155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2" name="Freeform 432"/>
                <p:cNvSpPr>
                  <a:spLocks/>
                </p:cNvSpPr>
                <p:nvPr/>
              </p:nvSpPr>
              <p:spPr bwMode="auto">
                <a:xfrm>
                  <a:off x="4756187" y="1765399"/>
                  <a:ext cx="7103" cy="17758"/>
                </a:xfrm>
                <a:custGeom>
                  <a:avLst/>
                  <a:gdLst>
                    <a:gd name="T0" fmla="*/ 7103 w 16"/>
                    <a:gd name="T1" fmla="*/ 0 h 29"/>
                    <a:gd name="T2" fmla="*/ 7103 w 16"/>
                    <a:gd name="T3" fmla="*/ 4286 h 29"/>
                    <a:gd name="T4" fmla="*/ 3552 w 16"/>
                    <a:gd name="T5" fmla="*/ 15309 h 29"/>
                    <a:gd name="T6" fmla="*/ 2664 w 16"/>
                    <a:gd name="T7" fmla="*/ 17758 h 29"/>
                    <a:gd name="T8" fmla="*/ 0 w 16"/>
                    <a:gd name="T9" fmla="*/ 9185 h 29"/>
                    <a:gd name="T10" fmla="*/ 7103 w 16"/>
                    <a:gd name="T11" fmla="*/ 0 h 2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29"/>
                    <a:gd name="T20" fmla="*/ 16 w 16"/>
                    <a:gd name="T21" fmla="*/ 29 h 2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29">
                      <a:moveTo>
                        <a:pt x="16" y="0"/>
                      </a:moveTo>
                      <a:lnTo>
                        <a:pt x="16" y="7"/>
                      </a:lnTo>
                      <a:lnTo>
                        <a:pt x="8" y="25"/>
                      </a:lnTo>
                      <a:lnTo>
                        <a:pt x="6" y="29"/>
                      </a:lnTo>
                      <a:lnTo>
                        <a:pt x="0" y="15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3" name="Freeform 433"/>
                <p:cNvSpPr>
                  <a:spLocks/>
                </p:cNvSpPr>
                <p:nvPr/>
              </p:nvSpPr>
              <p:spPr bwMode="auto">
                <a:xfrm>
                  <a:off x="4504030" y="2038865"/>
                  <a:ext cx="101218" cy="46170"/>
                </a:xfrm>
                <a:custGeom>
                  <a:avLst/>
                  <a:gdLst>
                    <a:gd name="T0" fmla="*/ 96546 w 130"/>
                    <a:gd name="T1" fmla="*/ 28135 h 64"/>
                    <a:gd name="T2" fmla="*/ 91096 w 130"/>
                    <a:gd name="T3" fmla="*/ 34627 h 64"/>
                    <a:gd name="T4" fmla="*/ 73967 w 130"/>
                    <a:gd name="T5" fmla="*/ 34627 h 64"/>
                    <a:gd name="T6" fmla="*/ 65402 w 130"/>
                    <a:gd name="T7" fmla="*/ 46170 h 64"/>
                    <a:gd name="T8" fmla="*/ 49830 w 130"/>
                    <a:gd name="T9" fmla="*/ 34627 h 64"/>
                    <a:gd name="T10" fmla="*/ 36594 w 130"/>
                    <a:gd name="T11" fmla="*/ 44727 h 64"/>
                    <a:gd name="T12" fmla="*/ 22579 w 130"/>
                    <a:gd name="T13" fmla="*/ 46170 h 64"/>
                    <a:gd name="T14" fmla="*/ 9343 w 130"/>
                    <a:gd name="T15" fmla="*/ 32463 h 64"/>
                    <a:gd name="T16" fmla="*/ 0 w 130"/>
                    <a:gd name="T17" fmla="*/ 37513 h 64"/>
                    <a:gd name="T18" fmla="*/ 19465 w 130"/>
                    <a:gd name="T19" fmla="*/ 10100 h 64"/>
                    <a:gd name="T20" fmla="*/ 25694 w 130"/>
                    <a:gd name="T21" fmla="*/ 7214 h 64"/>
                    <a:gd name="T22" fmla="*/ 33480 w 130"/>
                    <a:gd name="T23" fmla="*/ 2886 h 64"/>
                    <a:gd name="T24" fmla="*/ 56059 w 130"/>
                    <a:gd name="T25" fmla="*/ 0 h 64"/>
                    <a:gd name="T26" fmla="*/ 78639 w 130"/>
                    <a:gd name="T27" fmla="*/ 4328 h 64"/>
                    <a:gd name="T28" fmla="*/ 78639 w 130"/>
                    <a:gd name="T29" fmla="*/ 11543 h 64"/>
                    <a:gd name="T30" fmla="*/ 78639 w 130"/>
                    <a:gd name="T31" fmla="*/ 13707 h 64"/>
                    <a:gd name="T32" fmla="*/ 77081 w 130"/>
                    <a:gd name="T33" fmla="*/ 16592 h 64"/>
                    <a:gd name="T34" fmla="*/ 83310 w 130"/>
                    <a:gd name="T35" fmla="*/ 16592 h 64"/>
                    <a:gd name="T36" fmla="*/ 101218 w 130"/>
                    <a:gd name="T37" fmla="*/ 20921 h 64"/>
                    <a:gd name="T38" fmla="*/ 101218 w 130"/>
                    <a:gd name="T39" fmla="*/ 22364 h 64"/>
                    <a:gd name="T40" fmla="*/ 96546 w 130"/>
                    <a:gd name="T41" fmla="*/ 28135 h 6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0"/>
                    <a:gd name="T64" fmla="*/ 0 h 64"/>
                    <a:gd name="T65" fmla="*/ 130 w 130"/>
                    <a:gd name="T66" fmla="*/ 64 h 6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0" h="64">
                      <a:moveTo>
                        <a:pt x="124" y="39"/>
                      </a:moveTo>
                      <a:lnTo>
                        <a:pt x="117" y="48"/>
                      </a:lnTo>
                      <a:lnTo>
                        <a:pt x="95" y="48"/>
                      </a:lnTo>
                      <a:lnTo>
                        <a:pt x="84" y="64"/>
                      </a:lnTo>
                      <a:lnTo>
                        <a:pt x="64" y="48"/>
                      </a:lnTo>
                      <a:lnTo>
                        <a:pt x="47" y="62"/>
                      </a:lnTo>
                      <a:lnTo>
                        <a:pt x="29" y="64"/>
                      </a:lnTo>
                      <a:lnTo>
                        <a:pt x="12" y="45"/>
                      </a:lnTo>
                      <a:lnTo>
                        <a:pt x="0" y="52"/>
                      </a:lnTo>
                      <a:lnTo>
                        <a:pt x="25" y="14"/>
                      </a:lnTo>
                      <a:lnTo>
                        <a:pt x="33" y="10"/>
                      </a:lnTo>
                      <a:lnTo>
                        <a:pt x="43" y="4"/>
                      </a:lnTo>
                      <a:lnTo>
                        <a:pt x="72" y="0"/>
                      </a:lnTo>
                      <a:lnTo>
                        <a:pt x="101" y="6"/>
                      </a:lnTo>
                      <a:lnTo>
                        <a:pt x="101" y="16"/>
                      </a:lnTo>
                      <a:lnTo>
                        <a:pt x="101" y="19"/>
                      </a:lnTo>
                      <a:lnTo>
                        <a:pt x="99" y="23"/>
                      </a:lnTo>
                      <a:lnTo>
                        <a:pt x="107" y="23"/>
                      </a:lnTo>
                      <a:lnTo>
                        <a:pt x="130" y="29"/>
                      </a:lnTo>
                      <a:lnTo>
                        <a:pt x="130" y="31"/>
                      </a:lnTo>
                      <a:lnTo>
                        <a:pt x="124" y="3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4" name="Freeform 434"/>
                <p:cNvSpPr>
                  <a:spLocks/>
                </p:cNvSpPr>
                <p:nvPr/>
              </p:nvSpPr>
              <p:spPr bwMode="auto">
                <a:xfrm>
                  <a:off x="4871611" y="1907460"/>
                  <a:ext cx="426180" cy="220194"/>
                </a:xfrm>
                <a:custGeom>
                  <a:avLst/>
                  <a:gdLst>
                    <a:gd name="T0" fmla="*/ 223686 w 543"/>
                    <a:gd name="T1" fmla="*/ 0 h 298"/>
                    <a:gd name="T2" fmla="*/ 205634 w 543"/>
                    <a:gd name="T3" fmla="*/ 5172 h 298"/>
                    <a:gd name="T4" fmla="*/ 178164 w 543"/>
                    <a:gd name="T5" fmla="*/ 18473 h 298"/>
                    <a:gd name="T6" fmla="*/ 179733 w 543"/>
                    <a:gd name="T7" fmla="*/ 28078 h 298"/>
                    <a:gd name="T8" fmla="*/ 140490 w 543"/>
                    <a:gd name="T9" fmla="*/ 21428 h 298"/>
                    <a:gd name="T10" fmla="*/ 100462 w 543"/>
                    <a:gd name="T11" fmla="*/ 15517 h 298"/>
                    <a:gd name="T12" fmla="*/ 61219 w 543"/>
                    <a:gd name="T13" fmla="*/ 14039 h 298"/>
                    <a:gd name="T14" fmla="*/ 21191 w 543"/>
                    <a:gd name="T15" fmla="*/ 14039 h 298"/>
                    <a:gd name="T16" fmla="*/ 33749 w 543"/>
                    <a:gd name="T17" fmla="*/ 42857 h 298"/>
                    <a:gd name="T18" fmla="*/ 30610 w 543"/>
                    <a:gd name="T19" fmla="*/ 56896 h 298"/>
                    <a:gd name="T20" fmla="*/ 10988 w 543"/>
                    <a:gd name="T21" fmla="*/ 84235 h 298"/>
                    <a:gd name="T22" fmla="*/ 6279 w 543"/>
                    <a:gd name="T23" fmla="*/ 93102 h 298"/>
                    <a:gd name="T24" fmla="*/ 0 w 543"/>
                    <a:gd name="T25" fmla="*/ 111575 h 298"/>
                    <a:gd name="T26" fmla="*/ 18837 w 543"/>
                    <a:gd name="T27" fmla="*/ 124136 h 298"/>
                    <a:gd name="T28" fmla="*/ 19622 w 543"/>
                    <a:gd name="T29" fmla="*/ 122658 h 298"/>
                    <a:gd name="T30" fmla="*/ 64359 w 543"/>
                    <a:gd name="T31" fmla="*/ 127092 h 298"/>
                    <a:gd name="T32" fmla="*/ 103602 w 543"/>
                    <a:gd name="T33" fmla="*/ 116008 h 298"/>
                    <a:gd name="T34" fmla="*/ 123223 w 543"/>
                    <a:gd name="T35" fmla="*/ 99752 h 298"/>
                    <a:gd name="T36" fmla="*/ 131072 w 543"/>
                    <a:gd name="T37" fmla="*/ 102708 h 298"/>
                    <a:gd name="T38" fmla="*/ 149124 w 543"/>
                    <a:gd name="T39" fmla="*/ 118964 h 298"/>
                    <a:gd name="T40" fmla="*/ 168745 w 543"/>
                    <a:gd name="T41" fmla="*/ 135959 h 298"/>
                    <a:gd name="T42" fmla="*/ 187582 w 543"/>
                    <a:gd name="T43" fmla="*/ 151476 h 298"/>
                    <a:gd name="T44" fmla="*/ 205634 w 543"/>
                    <a:gd name="T45" fmla="*/ 166993 h 298"/>
                    <a:gd name="T46" fmla="*/ 225255 w 543"/>
                    <a:gd name="T47" fmla="*/ 155909 h 298"/>
                    <a:gd name="T48" fmla="*/ 231534 w 543"/>
                    <a:gd name="T49" fmla="*/ 160343 h 298"/>
                    <a:gd name="T50" fmla="*/ 229965 w 543"/>
                    <a:gd name="T51" fmla="*/ 147042 h 298"/>
                    <a:gd name="T52" fmla="*/ 234674 w 543"/>
                    <a:gd name="T53" fmla="*/ 155909 h 298"/>
                    <a:gd name="T54" fmla="*/ 251156 w 543"/>
                    <a:gd name="T55" fmla="*/ 160343 h 298"/>
                    <a:gd name="T56" fmla="*/ 226825 w 543"/>
                    <a:gd name="T57" fmla="*/ 161820 h 298"/>
                    <a:gd name="T58" fmla="*/ 237813 w 543"/>
                    <a:gd name="T59" fmla="*/ 166993 h 298"/>
                    <a:gd name="T60" fmla="*/ 257435 w 543"/>
                    <a:gd name="T61" fmla="*/ 172904 h 298"/>
                    <a:gd name="T62" fmla="*/ 278626 w 543"/>
                    <a:gd name="T63" fmla="*/ 177337 h 298"/>
                    <a:gd name="T64" fmla="*/ 254295 w 543"/>
                    <a:gd name="T65" fmla="*/ 191377 h 298"/>
                    <a:gd name="T66" fmla="*/ 270777 w 543"/>
                    <a:gd name="T67" fmla="*/ 198766 h 298"/>
                    <a:gd name="T68" fmla="*/ 281765 w 543"/>
                    <a:gd name="T69" fmla="*/ 209110 h 298"/>
                    <a:gd name="T70" fmla="*/ 284905 w 543"/>
                    <a:gd name="T71" fmla="*/ 220194 h 298"/>
                    <a:gd name="T72" fmla="*/ 319439 w 543"/>
                    <a:gd name="T73" fmla="*/ 207633 h 298"/>
                    <a:gd name="T74" fmla="*/ 335136 w 543"/>
                    <a:gd name="T75" fmla="*/ 204677 h 298"/>
                    <a:gd name="T76" fmla="*/ 348479 w 543"/>
                    <a:gd name="T77" fmla="*/ 197288 h 298"/>
                    <a:gd name="T78" fmla="*/ 330427 w 543"/>
                    <a:gd name="T79" fmla="*/ 195810 h 298"/>
                    <a:gd name="T80" fmla="*/ 307666 w 543"/>
                    <a:gd name="T81" fmla="*/ 178815 h 298"/>
                    <a:gd name="T82" fmla="*/ 312375 w 543"/>
                    <a:gd name="T83" fmla="*/ 166254 h 298"/>
                    <a:gd name="T84" fmla="*/ 310805 w 543"/>
                    <a:gd name="T85" fmla="*/ 172904 h 298"/>
                    <a:gd name="T86" fmla="*/ 316299 w 543"/>
                    <a:gd name="T87" fmla="*/ 166993 h 298"/>
                    <a:gd name="T88" fmla="*/ 350048 w 543"/>
                    <a:gd name="T89" fmla="*/ 155909 h 298"/>
                    <a:gd name="T90" fmla="*/ 386937 w 543"/>
                    <a:gd name="T91" fmla="*/ 144087 h 298"/>
                    <a:gd name="T92" fmla="*/ 398710 w 543"/>
                    <a:gd name="T93" fmla="*/ 141870 h 298"/>
                    <a:gd name="T94" fmla="*/ 406558 w 543"/>
                    <a:gd name="T95" fmla="*/ 125614 h 298"/>
                    <a:gd name="T96" fmla="*/ 426180 w 543"/>
                    <a:gd name="T97" fmla="*/ 118964 h 298"/>
                    <a:gd name="T98" fmla="*/ 411268 w 543"/>
                    <a:gd name="T99" fmla="*/ 78324 h 298"/>
                    <a:gd name="T100" fmla="*/ 375949 w 543"/>
                    <a:gd name="T101" fmla="*/ 68718 h 298"/>
                    <a:gd name="T102" fmla="*/ 340630 w 543"/>
                    <a:gd name="T103" fmla="*/ 58374 h 298"/>
                    <a:gd name="T104" fmla="*/ 325718 w 543"/>
                    <a:gd name="T105" fmla="*/ 61329 h 298"/>
                    <a:gd name="T106" fmla="*/ 295108 w 543"/>
                    <a:gd name="T107" fmla="*/ 36945 h 298"/>
                    <a:gd name="T108" fmla="*/ 265283 w 543"/>
                    <a:gd name="T109" fmla="*/ 12561 h 298"/>
                    <a:gd name="T110" fmla="*/ 262144 w 543"/>
                    <a:gd name="T111" fmla="*/ 3695 h 298"/>
                    <a:gd name="T112" fmla="*/ 223686 w 543"/>
                    <a:gd name="T113" fmla="*/ 0 h 29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543"/>
                    <a:gd name="T172" fmla="*/ 0 h 298"/>
                    <a:gd name="T173" fmla="*/ 543 w 543"/>
                    <a:gd name="T174" fmla="*/ 298 h 29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543" h="298">
                      <a:moveTo>
                        <a:pt x="285" y="0"/>
                      </a:moveTo>
                      <a:lnTo>
                        <a:pt x="262" y="7"/>
                      </a:lnTo>
                      <a:lnTo>
                        <a:pt x="227" y="25"/>
                      </a:lnTo>
                      <a:lnTo>
                        <a:pt x="229" y="38"/>
                      </a:lnTo>
                      <a:lnTo>
                        <a:pt x="179" y="29"/>
                      </a:lnTo>
                      <a:lnTo>
                        <a:pt x="128" y="21"/>
                      </a:lnTo>
                      <a:lnTo>
                        <a:pt x="78" y="19"/>
                      </a:lnTo>
                      <a:lnTo>
                        <a:pt x="27" y="19"/>
                      </a:lnTo>
                      <a:lnTo>
                        <a:pt x="43" y="58"/>
                      </a:lnTo>
                      <a:lnTo>
                        <a:pt x="39" y="77"/>
                      </a:lnTo>
                      <a:lnTo>
                        <a:pt x="14" y="114"/>
                      </a:lnTo>
                      <a:lnTo>
                        <a:pt x="8" y="126"/>
                      </a:lnTo>
                      <a:lnTo>
                        <a:pt x="0" y="151"/>
                      </a:lnTo>
                      <a:lnTo>
                        <a:pt x="24" y="168"/>
                      </a:lnTo>
                      <a:lnTo>
                        <a:pt x="25" y="166"/>
                      </a:lnTo>
                      <a:lnTo>
                        <a:pt x="82" y="172"/>
                      </a:lnTo>
                      <a:lnTo>
                        <a:pt x="132" y="157"/>
                      </a:lnTo>
                      <a:lnTo>
                        <a:pt x="157" y="135"/>
                      </a:lnTo>
                      <a:lnTo>
                        <a:pt x="167" y="139"/>
                      </a:lnTo>
                      <a:lnTo>
                        <a:pt x="190" y="161"/>
                      </a:lnTo>
                      <a:lnTo>
                        <a:pt x="215" y="184"/>
                      </a:lnTo>
                      <a:lnTo>
                        <a:pt x="239" y="205"/>
                      </a:lnTo>
                      <a:lnTo>
                        <a:pt x="262" y="226"/>
                      </a:lnTo>
                      <a:lnTo>
                        <a:pt x="287" y="211"/>
                      </a:lnTo>
                      <a:lnTo>
                        <a:pt x="295" y="217"/>
                      </a:lnTo>
                      <a:lnTo>
                        <a:pt x="293" y="199"/>
                      </a:lnTo>
                      <a:lnTo>
                        <a:pt x="299" y="211"/>
                      </a:lnTo>
                      <a:lnTo>
                        <a:pt x="320" y="217"/>
                      </a:lnTo>
                      <a:lnTo>
                        <a:pt x="289" y="219"/>
                      </a:lnTo>
                      <a:lnTo>
                        <a:pt x="303" y="226"/>
                      </a:lnTo>
                      <a:lnTo>
                        <a:pt x="328" y="234"/>
                      </a:lnTo>
                      <a:lnTo>
                        <a:pt x="355" y="240"/>
                      </a:lnTo>
                      <a:lnTo>
                        <a:pt x="324" y="259"/>
                      </a:lnTo>
                      <a:lnTo>
                        <a:pt x="345" y="269"/>
                      </a:lnTo>
                      <a:lnTo>
                        <a:pt x="359" y="283"/>
                      </a:lnTo>
                      <a:lnTo>
                        <a:pt x="363" y="298"/>
                      </a:lnTo>
                      <a:lnTo>
                        <a:pt x="407" y="281"/>
                      </a:lnTo>
                      <a:lnTo>
                        <a:pt x="427" y="277"/>
                      </a:lnTo>
                      <a:lnTo>
                        <a:pt x="444" y="267"/>
                      </a:lnTo>
                      <a:lnTo>
                        <a:pt x="421" y="265"/>
                      </a:lnTo>
                      <a:lnTo>
                        <a:pt x="392" y="242"/>
                      </a:lnTo>
                      <a:lnTo>
                        <a:pt x="398" y="225"/>
                      </a:lnTo>
                      <a:lnTo>
                        <a:pt x="396" y="234"/>
                      </a:lnTo>
                      <a:lnTo>
                        <a:pt x="403" y="226"/>
                      </a:lnTo>
                      <a:lnTo>
                        <a:pt x="446" y="211"/>
                      </a:lnTo>
                      <a:lnTo>
                        <a:pt x="493" y="195"/>
                      </a:lnTo>
                      <a:lnTo>
                        <a:pt x="508" y="192"/>
                      </a:lnTo>
                      <a:lnTo>
                        <a:pt x="518" y="170"/>
                      </a:lnTo>
                      <a:lnTo>
                        <a:pt x="543" y="161"/>
                      </a:lnTo>
                      <a:lnTo>
                        <a:pt x="524" y="106"/>
                      </a:lnTo>
                      <a:lnTo>
                        <a:pt x="479" y="93"/>
                      </a:lnTo>
                      <a:lnTo>
                        <a:pt x="434" y="79"/>
                      </a:lnTo>
                      <a:lnTo>
                        <a:pt x="415" y="83"/>
                      </a:lnTo>
                      <a:lnTo>
                        <a:pt x="376" y="50"/>
                      </a:lnTo>
                      <a:lnTo>
                        <a:pt x="338" y="17"/>
                      </a:lnTo>
                      <a:lnTo>
                        <a:pt x="334" y="5"/>
                      </a:lnTo>
                      <a:lnTo>
                        <a:pt x="285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5" name="Freeform 435"/>
                <p:cNvSpPr>
                  <a:spLocks/>
                </p:cNvSpPr>
                <p:nvPr/>
              </p:nvSpPr>
              <p:spPr bwMode="auto">
                <a:xfrm>
                  <a:off x="4807684" y="2079708"/>
                  <a:ext cx="101218" cy="118976"/>
                </a:xfrm>
                <a:custGeom>
                  <a:avLst/>
                  <a:gdLst>
                    <a:gd name="T0" fmla="*/ 17118 w 136"/>
                    <a:gd name="T1" fmla="*/ 23197 h 159"/>
                    <a:gd name="T2" fmla="*/ 17118 w 136"/>
                    <a:gd name="T3" fmla="*/ 24693 h 159"/>
                    <a:gd name="T4" fmla="*/ 10419 w 136"/>
                    <a:gd name="T5" fmla="*/ 26190 h 159"/>
                    <a:gd name="T6" fmla="*/ 8931 w 136"/>
                    <a:gd name="T7" fmla="*/ 33672 h 159"/>
                    <a:gd name="T8" fmla="*/ 15629 w 136"/>
                    <a:gd name="T9" fmla="*/ 33672 h 159"/>
                    <a:gd name="T10" fmla="*/ 15629 w 136"/>
                    <a:gd name="T11" fmla="*/ 38162 h 159"/>
                    <a:gd name="T12" fmla="*/ 14885 w 136"/>
                    <a:gd name="T13" fmla="*/ 41903 h 159"/>
                    <a:gd name="T14" fmla="*/ 10419 w 136"/>
                    <a:gd name="T15" fmla="*/ 46393 h 159"/>
                    <a:gd name="T16" fmla="*/ 11908 w 136"/>
                    <a:gd name="T17" fmla="*/ 47890 h 159"/>
                    <a:gd name="T18" fmla="*/ 14885 w 136"/>
                    <a:gd name="T19" fmla="*/ 52379 h 159"/>
                    <a:gd name="T20" fmla="*/ 24560 w 136"/>
                    <a:gd name="T21" fmla="*/ 58366 h 159"/>
                    <a:gd name="T22" fmla="*/ 17118 w 136"/>
                    <a:gd name="T23" fmla="*/ 61359 h 159"/>
                    <a:gd name="T24" fmla="*/ 23072 w 136"/>
                    <a:gd name="T25" fmla="*/ 65100 h 159"/>
                    <a:gd name="T26" fmla="*/ 23072 w 136"/>
                    <a:gd name="T27" fmla="*/ 71086 h 159"/>
                    <a:gd name="T28" fmla="*/ 10419 w 136"/>
                    <a:gd name="T29" fmla="*/ 74079 h 159"/>
                    <a:gd name="T30" fmla="*/ 15629 w 136"/>
                    <a:gd name="T31" fmla="*/ 78569 h 159"/>
                    <a:gd name="T32" fmla="*/ 13396 w 136"/>
                    <a:gd name="T33" fmla="*/ 81562 h 159"/>
                    <a:gd name="T34" fmla="*/ 8931 w 136"/>
                    <a:gd name="T35" fmla="*/ 78569 h 159"/>
                    <a:gd name="T36" fmla="*/ 2977 w 136"/>
                    <a:gd name="T37" fmla="*/ 87548 h 159"/>
                    <a:gd name="T38" fmla="*/ 0 w 136"/>
                    <a:gd name="T39" fmla="*/ 88297 h 159"/>
                    <a:gd name="T40" fmla="*/ 5954 w 136"/>
                    <a:gd name="T41" fmla="*/ 97276 h 159"/>
                    <a:gd name="T42" fmla="*/ 0 w 136"/>
                    <a:gd name="T43" fmla="*/ 98773 h 159"/>
                    <a:gd name="T44" fmla="*/ 0 w 136"/>
                    <a:gd name="T45" fmla="*/ 103262 h 159"/>
                    <a:gd name="T46" fmla="*/ 15629 w 136"/>
                    <a:gd name="T47" fmla="*/ 111493 h 159"/>
                    <a:gd name="T48" fmla="*/ 23072 w 136"/>
                    <a:gd name="T49" fmla="*/ 118976 h 159"/>
                    <a:gd name="T50" fmla="*/ 27537 w 136"/>
                    <a:gd name="T51" fmla="*/ 100269 h 159"/>
                    <a:gd name="T52" fmla="*/ 41678 w 136"/>
                    <a:gd name="T53" fmla="*/ 103262 h 159"/>
                    <a:gd name="T54" fmla="*/ 47632 w 136"/>
                    <a:gd name="T55" fmla="*/ 117479 h 159"/>
                    <a:gd name="T56" fmla="*/ 53586 w 136"/>
                    <a:gd name="T57" fmla="*/ 117479 h 159"/>
                    <a:gd name="T58" fmla="*/ 53586 w 136"/>
                    <a:gd name="T59" fmla="*/ 112990 h 159"/>
                    <a:gd name="T60" fmla="*/ 61028 w 136"/>
                    <a:gd name="T61" fmla="*/ 110745 h 159"/>
                    <a:gd name="T62" fmla="*/ 66238 w 136"/>
                    <a:gd name="T63" fmla="*/ 111493 h 159"/>
                    <a:gd name="T64" fmla="*/ 69215 w 136"/>
                    <a:gd name="T65" fmla="*/ 107752 h 159"/>
                    <a:gd name="T66" fmla="*/ 72192 w 136"/>
                    <a:gd name="T67" fmla="*/ 109248 h 159"/>
                    <a:gd name="T68" fmla="*/ 78146 w 136"/>
                    <a:gd name="T69" fmla="*/ 109248 h 159"/>
                    <a:gd name="T70" fmla="*/ 81123 w 136"/>
                    <a:gd name="T71" fmla="*/ 107752 h 159"/>
                    <a:gd name="T72" fmla="*/ 87821 w 136"/>
                    <a:gd name="T73" fmla="*/ 106255 h 159"/>
                    <a:gd name="T74" fmla="*/ 93775 w 136"/>
                    <a:gd name="T75" fmla="*/ 111493 h 159"/>
                    <a:gd name="T76" fmla="*/ 98241 w 136"/>
                    <a:gd name="T77" fmla="*/ 109248 h 159"/>
                    <a:gd name="T78" fmla="*/ 90798 w 136"/>
                    <a:gd name="T79" fmla="*/ 100269 h 159"/>
                    <a:gd name="T80" fmla="*/ 101218 w 136"/>
                    <a:gd name="T81" fmla="*/ 86052 h 159"/>
                    <a:gd name="T82" fmla="*/ 90798 w 136"/>
                    <a:gd name="T83" fmla="*/ 69590 h 159"/>
                    <a:gd name="T84" fmla="*/ 92287 w 136"/>
                    <a:gd name="T85" fmla="*/ 52379 h 159"/>
                    <a:gd name="T86" fmla="*/ 90798 w 136"/>
                    <a:gd name="T87" fmla="*/ 43400 h 159"/>
                    <a:gd name="T88" fmla="*/ 82612 w 136"/>
                    <a:gd name="T89" fmla="*/ 40407 h 159"/>
                    <a:gd name="T90" fmla="*/ 76658 w 136"/>
                    <a:gd name="T91" fmla="*/ 39659 h 159"/>
                    <a:gd name="T92" fmla="*/ 66238 w 136"/>
                    <a:gd name="T93" fmla="*/ 33672 h 159"/>
                    <a:gd name="T94" fmla="*/ 33491 w 136"/>
                    <a:gd name="T95" fmla="*/ 0 h 159"/>
                    <a:gd name="T96" fmla="*/ 0 w 136"/>
                    <a:gd name="T97" fmla="*/ 5986 h 159"/>
                    <a:gd name="T98" fmla="*/ 7442 w 136"/>
                    <a:gd name="T99" fmla="*/ 16462 h 159"/>
                    <a:gd name="T100" fmla="*/ 10419 w 136"/>
                    <a:gd name="T101" fmla="*/ 17210 h 159"/>
                    <a:gd name="T102" fmla="*/ 7442 w 136"/>
                    <a:gd name="T103" fmla="*/ 18707 h 159"/>
                    <a:gd name="T104" fmla="*/ 10419 w 136"/>
                    <a:gd name="T105" fmla="*/ 21700 h 159"/>
                    <a:gd name="T106" fmla="*/ 17118 w 136"/>
                    <a:gd name="T107" fmla="*/ 23197 h 159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36"/>
                    <a:gd name="T163" fmla="*/ 0 h 159"/>
                    <a:gd name="T164" fmla="*/ 136 w 136"/>
                    <a:gd name="T165" fmla="*/ 159 h 159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36" h="159">
                      <a:moveTo>
                        <a:pt x="23" y="31"/>
                      </a:moveTo>
                      <a:lnTo>
                        <a:pt x="23" y="33"/>
                      </a:lnTo>
                      <a:lnTo>
                        <a:pt x="14" y="35"/>
                      </a:lnTo>
                      <a:lnTo>
                        <a:pt x="12" y="45"/>
                      </a:lnTo>
                      <a:lnTo>
                        <a:pt x="21" y="45"/>
                      </a:lnTo>
                      <a:lnTo>
                        <a:pt x="21" y="51"/>
                      </a:lnTo>
                      <a:lnTo>
                        <a:pt x="20" y="56"/>
                      </a:lnTo>
                      <a:lnTo>
                        <a:pt x="14" y="62"/>
                      </a:lnTo>
                      <a:lnTo>
                        <a:pt x="16" y="64"/>
                      </a:lnTo>
                      <a:lnTo>
                        <a:pt x="20" y="70"/>
                      </a:lnTo>
                      <a:lnTo>
                        <a:pt x="33" y="78"/>
                      </a:lnTo>
                      <a:lnTo>
                        <a:pt x="23" y="82"/>
                      </a:lnTo>
                      <a:lnTo>
                        <a:pt x="31" y="87"/>
                      </a:lnTo>
                      <a:lnTo>
                        <a:pt x="31" y="95"/>
                      </a:lnTo>
                      <a:lnTo>
                        <a:pt x="14" y="99"/>
                      </a:lnTo>
                      <a:lnTo>
                        <a:pt x="21" y="105"/>
                      </a:lnTo>
                      <a:lnTo>
                        <a:pt x="18" y="109"/>
                      </a:lnTo>
                      <a:lnTo>
                        <a:pt x="12" y="105"/>
                      </a:lnTo>
                      <a:lnTo>
                        <a:pt x="4" y="117"/>
                      </a:lnTo>
                      <a:lnTo>
                        <a:pt x="0" y="118"/>
                      </a:lnTo>
                      <a:lnTo>
                        <a:pt x="8" y="130"/>
                      </a:lnTo>
                      <a:lnTo>
                        <a:pt x="0" y="132"/>
                      </a:lnTo>
                      <a:lnTo>
                        <a:pt x="0" y="138"/>
                      </a:lnTo>
                      <a:lnTo>
                        <a:pt x="21" y="149"/>
                      </a:lnTo>
                      <a:lnTo>
                        <a:pt x="31" y="159"/>
                      </a:lnTo>
                      <a:lnTo>
                        <a:pt x="37" y="134"/>
                      </a:lnTo>
                      <a:lnTo>
                        <a:pt x="56" y="138"/>
                      </a:lnTo>
                      <a:lnTo>
                        <a:pt x="64" y="157"/>
                      </a:lnTo>
                      <a:lnTo>
                        <a:pt x="72" y="157"/>
                      </a:lnTo>
                      <a:lnTo>
                        <a:pt x="72" y="151"/>
                      </a:lnTo>
                      <a:lnTo>
                        <a:pt x="82" y="148"/>
                      </a:lnTo>
                      <a:lnTo>
                        <a:pt x="89" y="149"/>
                      </a:lnTo>
                      <a:lnTo>
                        <a:pt x="93" y="144"/>
                      </a:lnTo>
                      <a:lnTo>
                        <a:pt x="97" y="146"/>
                      </a:lnTo>
                      <a:lnTo>
                        <a:pt x="105" y="146"/>
                      </a:lnTo>
                      <a:lnTo>
                        <a:pt x="109" y="144"/>
                      </a:lnTo>
                      <a:lnTo>
                        <a:pt x="118" y="142"/>
                      </a:lnTo>
                      <a:lnTo>
                        <a:pt x="126" y="149"/>
                      </a:lnTo>
                      <a:lnTo>
                        <a:pt x="132" y="146"/>
                      </a:lnTo>
                      <a:lnTo>
                        <a:pt x="122" y="134"/>
                      </a:lnTo>
                      <a:lnTo>
                        <a:pt x="136" y="115"/>
                      </a:lnTo>
                      <a:lnTo>
                        <a:pt x="122" y="93"/>
                      </a:lnTo>
                      <a:lnTo>
                        <a:pt x="124" y="70"/>
                      </a:lnTo>
                      <a:lnTo>
                        <a:pt x="122" y="58"/>
                      </a:lnTo>
                      <a:lnTo>
                        <a:pt x="111" y="54"/>
                      </a:lnTo>
                      <a:lnTo>
                        <a:pt x="103" y="53"/>
                      </a:lnTo>
                      <a:lnTo>
                        <a:pt x="89" y="45"/>
                      </a:lnTo>
                      <a:lnTo>
                        <a:pt x="45" y="0"/>
                      </a:lnTo>
                      <a:lnTo>
                        <a:pt x="0" y="8"/>
                      </a:lnTo>
                      <a:lnTo>
                        <a:pt x="10" y="22"/>
                      </a:lnTo>
                      <a:lnTo>
                        <a:pt x="14" y="23"/>
                      </a:lnTo>
                      <a:lnTo>
                        <a:pt x="10" y="25"/>
                      </a:lnTo>
                      <a:lnTo>
                        <a:pt x="14" y="29"/>
                      </a:lnTo>
                      <a:lnTo>
                        <a:pt x="23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6" name="Freeform 436"/>
                <p:cNvSpPr>
                  <a:spLocks/>
                </p:cNvSpPr>
                <p:nvPr/>
              </p:nvSpPr>
              <p:spPr bwMode="auto">
                <a:xfrm>
                  <a:off x="1414222" y="1410248"/>
                  <a:ext cx="1702946" cy="793762"/>
                </a:xfrm>
                <a:custGeom>
                  <a:avLst/>
                  <a:gdLst>
                    <a:gd name="T0" fmla="*/ 1310558 w 2183"/>
                    <a:gd name="T1" fmla="*/ 132791 h 1064"/>
                    <a:gd name="T2" fmla="*/ 1387788 w 2183"/>
                    <a:gd name="T3" fmla="*/ 54459 h 1064"/>
                    <a:gd name="T4" fmla="*/ 1248931 w 2183"/>
                    <a:gd name="T5" fmla="*/ 88030 h 1064"/>
                    <a:gd name="T6" fmla="*/ 1194324 w 2183"/>
                    <a:gd name="T7" fmla="*/ 51475 h 1064"/>
                    <a:gd name="T8" fmla="*/ 1191204 w 2183"/>
                    <a:gd name="T9" fmla="*/ 3730 h 1064"/>
                    <a:gd name="T10" fmla="*/ 1171702 w 2183"/>
                    <a:gd name="T11" fmla="*/ 60427 h 1064"/>
                    <a:gd name="T12" fmla="*/ 1082771 w 2183"/>
                    <a:gd name="T13" fmla="*/ 119363 h 1064"/>
                    <a:gd name="T14" fmla="*/ 1102273 w 2183"/>
                    <a:gd name="T15" fmla="*/ 86538 h 1064"/>
                    <a:gd name="T16" fmla="*/ 1035965 w 2183"/>
                    <a:gd name="T17" fmla="*/ 100712 h 1064"/>
                    <a:gd name="T18" fmla="*/ 899449 w 2183"/>
                    <a:gd name="T19" fmla="*/ 83554 h 1064"/>
                    <a:gd name="T20" fmla="*/ 840942 w 2183"/>
                    <a:gd name="T21" fmla="*/ 103696 h 1064"/>
                    <a:gd name="T22" fmla="*/ 720807 w 2183"/>
                    <a:gd name="T23" fmla="*/ 73110 h 1064"/>
                    <a:gd name="T24" fmla="*/ 571809 w 2183"/>
                    <a:gd name="T25" fmla="*/ 57443 h 1064"/>
                    <a:gd name="T26" fmla="*/ 477418 w 2183"/>
                    <a:gd name="T27" fmla="*/ 44761 h 1064"/>
                    <a:gd name="T28" fmla="*/ 205165 w 2183"/>
                    <a:gd name="T29" fmla="*/ 111157 h 1064"/>
                    <a:gd name="T30" fmla="*/ 37445 w 2183"/>
                    <a:gd name="T31" fmla="*/ 297661 h 1064"/>
                    <a:gd name="T32" fmla="*/ 120915 w 2183"/>
                    <a:gd name="T33" fmla="*/ 402849 h 1064"/>
                    <a:gd name="T34" fmla="*/ 78790 w 2183"/>
                    <a:gd name="T35" fmla="*/ 439404 h 1064"/>
                    <a:gd name="T36" fmla="*/ 102972 w 2183"/>
                    <a:gd name="T37" fmla="*/ 472975 h 1064"/>
                    <a:gd name="T38" fmla="*/ 104533 w 2183"/>
                    <a:gd name="T39" fmla="*/ 508783 h 1064"/>
                    <a:gd name="T40" fmla="*/ 61627 w 2183"/>
                    <a:gd name="T41" fmla="*/ 533402 h 1064"/>
                    <a:gd name="T42" fmla="*/ 98292 w 2183"/>
                    <a:gd name="T43" fmla="*/ 545338 h 1064"/>
                    <a:gd name="T44" fmla="*/ 116234 w 2183"/>
                    <a:gd name="T45" fmla="*/ 568465 h 1064"/>
                    <a:gd name="T46" fmla="*/ 124035 w 2183"/>
                    <a:gd name="T47" fmla="*/ 587115 h 1064"/>
                    <a:gd name="T48" fmla="*/ 447774 w 2183"/>
                    <a:gd name="T49" fmla="*/ 591591 h 1064"/>
                    <a:gd name="T50" fmla="*/ 773853 w 2183"/>
                    <a:gd name="T51" fmla="*/ 579655 h 1064"/>
                    <a:gd name="T52" fmla="*/ 961856 w 2183"/>
                    <a:gd name="T53" fmla="*/ 647543 h 1064"/>
                    <a:gd name="T54" fmla="*/ 957176 w 2183"/>
                    <a:gd name="T55" fmla="*/ 783318 h 1064"/>
                    <a:gd name="T56" fmla="*/ 1149079 w 2183"/>
                    <a:gd name="T57" fmla="*/ 722890 h 1064"/>
                    <a:gd name="T58" fmla="*/ 1356584 w 2183"/>
                    <a:gd name="T59" fmla="*/ 637844 h 1064"/>
                    <a:gd name="T60" fmla="*/ 1434593 w 2183"/>
                    <a:gd name="T61" fmla="*/ 678129 h 1064"/>
                    <a:gd name="T62" fmla="*/ 1390908 w 2183"/>
                    <a:gd name="T63" fmla="*/ 712446 h 1064"/>
                    <a:gd name="T64" fmla="*/ 1510262 w 2183"/>
                    <a:gd name="T65" fmla="*/ 693796 h 1064"/>
                    <a:gd name="T66" fmla="*/ 1432253 w 2183"/>
                    <a:gd name="T67" fmla="*/ 644559 h 1064"/>
                    <a:gd name="T68" fmla="*/ 1472818 w 2183"/>
                    <a:gd name="T69" fmla="*/ 596813 h 1064"/>
                    <a:gd name="T70" fmla="*/ 1337862 w 2183"/>
                    <a:gd name="T71" fmla="*/ 614718 h 1064"/>
                    <a:gd name="T72" fmla="*/ 1616356 w 2183"/>
                    <a:gd name="T73" fmla="*/ 533402 h 1064"/>
                    <a:gd name="T74" fmla="*/ 1702946 w 2183"/>
                    <a:gd name="T75" fmla="*/ 469991 h 1064"/>
                    <a:gd name="T76" fmla="*/ 1613235 w 2183"/>
                    <a:gd name="T77" fmla="*/ 468499 h 1064"/>
                    <a:gd name="T78" fmla="*/ 1631177 w 2183"/>
                    <a:gd name="T79" fmla="*/ 430452 h 1064"/>
                    <a:gd name="T80" fmla="*/ 1622596 w 2183"/>
                    <a:gd name="T81" fmla="*/ 411801 h 1064"/>
                    <a:gd name="T82" fmla="*/ 1598413 w 2183"/>
                    <a:gd name="T83" fmla="*/ 378977 h 1064"/>
                    <a:gd name="T84" fmla="*/ 1596853 w 2183"/>
                    <a:gd name="T85" fmla="*/ 345406 h 1064"/>
                    <a:gd name="T86" fmla="*/ 1595293 w 2183"/>
                    <a:gd name="T87" fmla="*/ 297661 h 1064"/>
                    <a:gd name="T88" fmla="*/ 1557068 w 2183"/>
                    <a:gd name="T89" fmla="*/ 319295 h 1064"/>
                    <a:gd name="T90" fmla="*/ 1486079 w 2183"/>
                    <a:gd name="T91" fmla="*/ 346898 h 1064"/>
                    <a:gd name="T92" fmla="*/ 1477498 w 2183"/>
                    <a:gd name="T93" fmla="*/ 308105 h 1064"/>
                    <a:gd name="T94" fmla="*/ 1458776 w 2183"/>
                    <a:gd name="T95" fmla="*/ 254392 h 1064"/>
                    <a:gd name="T96" fmla="*/ 1339422 w 2183"/>
                    <a:gd name="T97" fmla="*/ 258868 h 1064"/>
                    <a:gd name="T98" fmla="*/ 1276234 w 2183"/>
                    <a:gd name="T99" fmla="*/ 402103 h 1064"/>
                    <a:gd name="T100" fmla="*/ 1161560 w 2183"/>
                    <a:gd name="T101" fmla="*/ 517736 h 1064"/>
                    <a:gd name="T102" fmla="*/ 1128016 w 2183"/>
                    <a:gd name="T103" fmla="*/ 449848 h 1064"/>
                    <a:gd name="T104" fmla="*/ 990720 w 2183"/>
                    <a:gd name="T105" fmla="*/ 367040 h 1064"/>
                    <a:gd name="T106" fmla="*/ 941574 w 2183"/>
                    <a:gd name="T107" fmla="*/ 319295 h 1064"/>
                    <a:gd name="T108" fmla="*/ 1068729 w 2183"/>
                    <a:gd name="T109" fmla="*/ 222313 h 1064"/>
                    <a:gd name="T110" fmla="*/ 1132697 w 2183"/>
                    <a:gd name="T111" fmla="*/ 193218 h 1064"/>
                    <a:gd name="T112" fmla="*/ 1194324 w 2183"/>
                    <a:gd name="T113" fmla="*/ 151441 h 1064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183"/>
                    <a:gd name="T172" fmla="*/ 0 h 1064"/>
                    <a:gd name="T173" fmla="*/ 2183 w 2183"/>
                    <a:gd name="T174" fmla="*/ 1064 h 1064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183" h="1064">
                      <a:moveTo>
                        <a:pt x="1609" y="186"/>
                      </a:moveTo>
                      <a:lnTo>
                        <a:pt x="1595" y="174"/>
                      </a:lnTo>
                      <a:lnTo>
                        <a:pt x="1630" y="176"/>
                      </a:lnTo>
                      <a:lnTo>
                        <a:pt x="1648" y="184"/>
                      </a:lnTo>
                      <a:lnTo>
                        <a:pt x="1663" y="182"/>
                      </a:lnTo>
                      <a:lnTo>
                        <a:pt x="1649" y="162"/>
                      </a:lnTo>
                      <a:lnTo>
                        <a:pt x="1663" y="166"/>
                      </a:lnTo>
                      <a:lnTo>
                        <a:pt x="1671" y="168"/>
                      </a:lnTo>
                      <a:lnTo>
                        <a:pt x="1680" y="178"/>
                      </a:lnTo>
                      <a:lnTo>
                        <a:pt x="1742" y="157"/>
                      </a:lnTo>
                      <a:lnTo>
                        <a:pt x="1754" y="139"/>
                      </a:lnTo>
                      <a:lnTo>
                        <a:pt x="1750" y="122"/>
                      </a:lnTo>
                      <a:lnTo>
                        <a:pt x="1752" y="112"/>
                      </a:lnTo>
                      <a:lnTo>
                        <a:pt x="1783" y="102"/>
                      </a:lnTo>
                      <a:lnTo>
                        <a:pt x="1766" y="98"/>
                      </a:lnTo>
                      <a:lnTo>
                        <a:pt x="1791" y="87"/>
                      </a:lnTo>
                      <a:lnTo>
                        <a:pt x="1750" y="77"/>
                      </a:lnTo>
                      <a:lnTo>
                        <a:pt x="1779" y="73"/>
                      </a:lnTo>
                      <a:lnTo>
                        <a:pt x="1704" y="71"/>
                      </a:lnTo>
                      <a:lnTo>
                        <a:pt x="1696" y="89"/>
                      </a:lnTo>
                      <a:lnTo>
                        <a:pt x="1700" y="96"/>
                      </a:lnTo>
                      <a:lnTo>
                        <a:pt x="1696" y="102"/>
                      </a:lnTo>
                      <a:lnTo>
                        <a:pt x="1675" y="102"/>
                      </a:lnTo>
                      <a:lnTo>
                        <a:pt x="1616" y="147"/>
                      </a:lnTo>
                      <a:lnTo>
                        <a:pt x="1597" y="151"/>
                      </a:lnTo>
                      <a:lnTo>
                        <a:pt x="1593" y="126"/>
                      </a:lnTo>
                      <a:lnTo>
                        <a:pt x="1601" y="118"/>
                      </a:lnTo>
                      <a:lnTo>
                        <a:pt x="1616" y="96"/>
                      </a:lnTo>
                      <a:lnTo>
                        <a:pt x="1595" y="87"/>
                      </a:lnTo>
                      <a:lnTo>
                        <a:pt x="1551" y="118"/>
                      </a:lnTo>
                      <a:lnTo>
                        <a:pt x="1560" y="91"/>
                      </a:lnTo>
                      <a:lnTo>
                        <a:pt x="1553" y="85"/>
                      </a:lnTo>
                      <a:lnTo>
                        <a:pt x="1578" y="79"/>
                      </a:lnTo>
                      <a:lnTo>
                        <a:pt x="1560" y="73"/>
                      </a:lnTo>
                      <a:lnTo>
                        <a:pt x="1535" y="71"/>
                      </a:lnTo>
                      <a:lnTo>
                        <a:pt x="1531" y="69"/>
                      </a:lnTo>
                      <a:lnTo>
                        <a:pt x="1553" y="58"/>
                      </a:lnTo>
                      <a:lnTo>
                        <a:pt x="1551" y="54"/>
                      </a:lnTo>
                      <a:lnTo>
                        <a:pt x="1564" y="56"/>
                      </a:lnTo>
                      <a:lnTo>
                        <a:pt x="1554" y="34"/>
                      </a:lnTo>
                      <a:lnTo>
                        <a:pt x="1564" y="15"/>
                      </a:lnTo>
                      <a:lnTo>
                        <a:pt x="1551" y="5"/>
                      </a:lnTo>
                      <a:lnTo>
                        <a:pt x="1541" y="5"/>
                      </a:lnTo>
                      <a:lnTo>
                        <a:pt x="1547" y="0"/>
                      </a:lnTo>
                      <a:lnTo>
                        <a:pt x="1527" y="5"/>
                      </a:lnTo>
                      <a:lnTo>
                        <a:pt x="1539" y="5"/>
                      </a:lnTo>
                      <a:lnTo>
                        <a:pt x="1502" y="13"/>
                      </a:lnTo>
                      <a:lnTo>
                        <a:pt x="1506" y="19"/>
                      </a:lnTo>
                      <a:lnTo>
                        <a:pt x="1481" y="21"/>
                      </a:lnTo>
                      <a:lnTo>
                        <a:pt x="1469" y="42"/>
                      </a:lnTo>
                      <a:lnTo>
                        <a:pt x="1475" y="44"/>
                      </a:lnTo>
                      <a:lnTo>
                        <a:pt x="1458" y="48"/>
                      </a:lnTo>
                      <a:lnTo>
                        <a:pt x="1446" y="65"/>
                      </a:lnTo>
                      <a:lnTo>
                        <a:pt x="1502" y="81"/>
                      </a:lnTo>
                      <a:lnTo>
                        <a:pt x="1487" y="85"/>
                      </a:lnTo>
                      <a:lnTo>
                        <a:pt x="1489" y="83"/>
                      </a:lnTo>
                      <a:lnTo>
                        <a:pt x="1475" y="91"/>
                      </a:lnTo>
                      <a:lnTo>
                        <a:pt x="1459" y="102"/>
                      </a:lnTo>
                      <a:lnTo>
                        <a:pt x="1485" y="95"/>
                      </a:lnTo>
                      <a:lnTo>
                        <a:pt x="1473" y="106"/>
                      </a:lnTo>
                      <a:lnTo>
                        <a:pt x="1423" y="124"/>
                      </a:lnTo>
                      <a:lnTo>
                        <a:pt x="1401" y="147"/>
                      </a:lnTo>
                      <a:lnTo>
                        <a:pt x="1388" y="160"/>
                      </a:lnTo>
                      <a:lnTo>
                        <a:pt x="1372" y="160"/>
                      </a:lnTo>
                      <a:lnTo>
                        <a:pt x="1372" y="166"/>
                      </a:lnTo>
                      <a:lnTo>
                        <a:pt x="1370" y="160"/>
                      </a:lnTo>
                      <a:lnTo>
                        <a:pt x="1374" y="160"/>
                      </a:lnTo>
                      <a:lnTo>
                        <a:pt x="1392" y="157"/>
                      </a:lnTo>
                      <a:lnTo>
                        <a:pt x="1384" y="153"/>
                      </a:lnTo>
                      <a:lnTo>
                        <a:pt x="1392" y="147"/>
                      </a:lnTo>
                      <a:lnTo>
                        <a:pt x="1378" y="149"/>
                      </a:lnTo>
                      <a:lnTo>
                        <a:pt x="1413" y="116"/>
                      </a:lnTo>
                      <a:lnTo>
                        <a:pt x="1390" y="122"/>
                      </a:lnTo>
                      <a:lnTo>
                        <a:pt x="1394" y="118"/>
                      </a:lnTo>
                      <a:lnTo>
                        <a:pt x="1366" y="112"/>
                      </a:lnTo>
                      <a:lnTo>
                        <a:pt x="1345" y="118"/>
                      </a:lnTo>
                      <a:lnTo>
                        <a:pt x="1351" y="129"/>
                      </a:lnTo>
                      <a:lnTo>
                        <a:pt x="1368" y="133"/>
                      </a:lnTo>
                      <a:lnTo>
                        <a:pt x="1343" y="135"/>
                      </a:lnTo>
                      <a:lnTo>
                        <a:pt x="1335" y="124"/>
                      </a:lnTo>
                      <a:lnTo>
                        <a:pt x="1328" y="135"/>
                      </a:lnTo>
                      <a:lnTo>
                        <a:pt x="1277" y="133"/>
                      </a:lnTo>
                      <a:lnTo>
                        <a:pt x="1229" y="133"/>
                      </a:lnTo>
                      <a:lnTo>
                        <a:pt x="1213" y="124"/>
                      </a:lnTo>
                      <a:lnTo>
                        <a:pt x="1194" y="122"/>
                      </a:lnTo>
                      <a:lnTo>
                        <a:pt x="1184" y="110"/>
                      </a:lnTo>
                      <a:lnTo>
                        <a:pt x="1176" y="96"/>
                      </a:lnTo>
                      <a:lnTo>
                        <a:pt x="1097" y="116"/>
                      </a:lnTo>
                      <a:lnTo>
                        <a:pt x="1114" y="122"/>
                      </a:lnTo>
                      <a:lnTo>
                        <a:pt x="1153" y="112"/>
                      </a:lnTo>
                      <a:lnTo>
                        <a:pt x="1176" y="108"/>
                      </a:lnTo>
                      <a:lnTo>
                        <a:pt x="1130" y="124"/>
                      </a:lnTo>
                      <a:lnTo>
                        <a:pt x="1107" y="128"/>
                      </a:lnTo>
                      <a:lnTo>
                        <a:pt x="1091" y="164"/>
                      </a:lnTo>
                      <a:lnTo>
                        <a:pt x="1081" y="159"/>
                      </a:lnTo>
                      <a:lnTo>
                        <a:pt x="1076" y="180"/>
                      </a:lnTo>
                      <a:lnTo>
                        <a:pt x="1066" y="155"/>
                      </a:lnTo>
                      <a:lnTo>
                        <a:pt x="1083" y="155"/>
                      </a:lnTo>
                      <a:lnTo>
                        <a:pt x="1078" y="139"/>
                      </a:lnTo>
                      <a:lnTo>
                        <a:pt x="1064" y="147"/>
                      </a:lnTo>
                      <a:lnTo>
                        <a:pt x="1064" y="133"/>
                      </a:lnTo>
                      <a:lnTo>
                        <a:pt x="1047" y="128"/>
                      </a:lnTo>
                      <a:lnTo>
                        <a:pt x="952" y="137"/>
                      </a:lnTo>
                      <a:lnTo>
                        <a:pt x="917" y="129"/>
                      </a:lnTo>
                      <a:lnTo>
                        <a:pt x="955" y="118"/>
                      </a:lnTo>
                      <a:lnTo>
                        <a:pt x="967" y="114"/>
                      </a:lnTo>
                      <a:lnTo>
                        <a:pt x="942" y="95"/>
                      </a:lnTo>
                      <a:lnTo>
                        <a:pt x="924" y="98"/>
                      </a:lnTo>
                      <a:lnTo>
                        <a:pt x="860" y="83"/>
                      </a:lnTo>
                      <a:lnTo>
                        <a:pt x="798" y="67"/>
                      </a:lnTo>
                      <a:lnTo>
                        <a:pt x="764" y="81"/>
                      </a:lnTo>
                      <a:lnTo>
                        <a:pt x="750" y="79"/>
                      </a:lnTo>
                      <a:lnTo>
                        <a:pt x="762" y="71"/>
                      </a:lnTo>
                      <a:lnTo>
                        <a:pt x="767" y="56"/>
                      </a:lnTo>
                      <a:lnTo>
                        <a:pt x="760" y="62"/>
                      </a:lnTo>
                      <a:lnTo>
                        <a:pt x="748" y="71"/>
                      </a:lnTo>
                      <a:lnTo>
                        <a:pt x="733" y="77"/>
                      </a:lnTo>
                      <a:lnTo>
                        <a:pt x="721" y="83"/>
                      </a:lnTo>
                      <a:lnTo>
                        <a:pt x="709" y="60"/>
                      </a:lnTo>
                      <a:lnTo>
                        <a:pt x="700" y="46"/>
                      </a:lnTo>
                      <a:lnTo>
                        <a:pt x="702" y="54"/>
                      </a:lnTo>
                      <a:lnTo>
                        <a:pt x="649" y="71"/>
                      </a:lnTo>
                      <a:lnTo>
                        <a:pt x="651" y="65"/>
                      </a:lnTo>
                      <a:lnTo>
                        <a:pt x="595" y="75"/>
                      </a:lnTo>
                      <a:lnTo>
                        <a:pt x="651" y="56"/>
                      </a:lnTo>
                      <a:lnTo>
                        <a:pt x="612" y="60"/>
                      </a:lnTo>
                      <a:lnTo>
                        <a:pt x="548" y="77"/>
                      </a:lnTo>
                      <a:lnTo>
                        <a:pt x="486" y="93"/>
                      </a:lnTo>
                      <a:lnTo>
                        <a:pt x="479" y="102"/>
                      </a:lnTo>
                      <a:lnTo>
                        <a:pt x="457" y="98"/>
                      </a:lnTo>
                      <a:lnTo>
                        <a:pt x="453" y="104"/>
                      </a:lnTo>
                      <a:lnTo>
                        <a:pt x="403" y="89"/>
                      </a:lnTo>
                      <a:lnTo>
                        <a:pt x="355" y="73"/>
                      </a:lnTo>
                      <a:lnTo>
                        <a:pt x="308" y="110"/>
                      </a:lnTo>
                      <a:lnTo>
                        <a:pt x="263" y="149"/>
                      </a:lnTo>
                      <a:lnTo>
                        <a:pt x="217" y="188"/>
                      </a:lnTo>
                      <a:lnTo>
                        <a:pt x="172" y="224"/>
                      </a:lnTo>
                      <a:lnTo>
                        <a:pt x="130" y="265"/>
                      </a:lnTo>
                      <a:lnTo>
                        <a:pt x="85" y="306"/>
                      </a:lnTo>
                      <a:lnTo>
                        <a:pt x="42" y="345"/>
                      </a:lnTo>
                      <a:lnTo>
                        <a:pt x="0" y="385"/>
                      </a:lnTo>
                      <a:lnTo>
                        <a:pt x="54" y="383"/>
                      </a:lnTo>
                      <a:lnTo>
                        <a:pt x="41" y="393"/>
                      </a:lnTo>
                      <a:lnTo>
                        <a:pt x="48" y="399"/>
                      </a:lnTo>
                      <a:lnTo>
                        <a:pt x="46" y="434"/>
                      </a:lnTo>
                      <a:lnTo>
                        <a:pt x="72" y="426"/>
                      </a:lnTo>
                      <a:lnTo>
                        <a:pt x="93" y="414"/>
                      </a:lnTo>
                      <a:lnTo>
                        <a:pt x="132" y="403"/>
                      </a:lnTo>
                      <a:lnTo>
                        <a:pt x="139" y="440"/>
                      </a:lnTo>
                      <a:lnTo>
                        <a:pt x="134" y="473"/>
                      </a:lnTo>
                      <a:lnTo>
                        <a:pt x="126" y="506"/>
                      </a:lnTo>
                      <a:lnTo>
                        <a:pt x="139" y="523"/>
                      </a:lnTo>
                      <a:lnTo>
                        <a:pt x="155" y="540"/>
                      </a:lnTo>
                      <a:lnTo>
                        <a:pt x="124" y="572"/>
                      </a:lnTo>
                      <a:lnTo>
                        <a:pt x="151" y="550"/>
                      </a:lnTo>
                      <a:lnTo>
                        <a:pt x="151" y="556"/>
                      </a:lnTo>
                      <a:lnTo>
                        <a:pt x="126" y="572"/>
                      </a:lnTo>
                      <a:lnTo>
                        <a:pt x="130" y="573"/>
                      </a:lnTo>
                      <a:lnTo>
                        <a:pt x="114" y="585"/>
                      </a:lnTo>
                      <a:lnTo>
                        <a:pt x="104" y="585"/>
                      </a:lnTo>
                      <a:lnTo>
                        <a:pt x="106" y="597"/>
                      </a:lnTo>
                      <a:lnTo>
                        <a:pt x="101" y="589"/>
                      </a:lnTo>
                      <a:lnTo>
                        <a:pt x="97" y="603"/>
                      </a:lnTo>
                      <a:lnTo>
                        <a:pt x="112" y="603"/>
                      </a:lnTo>
                      <a:lnTo>
                        <a:pt x="103" y="603"/>
                      </a:lnTo>
                      <a:lnTo>
                        <a:pt x="103" y="610"/>
                      </a:lnTo>
                      <a:lnTo>
                        <a:pt x="97" y="606"/>
                      </a:lnTo>
                      <a:lnTo>
                        <a:pt x="99" y="632"/>
                      </a:lnTo>
                      <a:lnTo>
                        <a:pt x="137" y="608"/>
                      </a:lnTo>
                      <a:lnTo>
                        <a:pt x="122" y="630"/>
                      </a:lnTo>
                      <a:lnTo>
                        <a:pt x="132" y="634"/>
                      </a:lnTo>
                      <a:lnTo>
                        <a:pt x="114" y="628"/>
                      </a:lnTo>
                      <a:lnTo>
                        <a:pt x="110" y="653"/>
                      </a:lnTo>
                      <a:lnTo>
                        <a:pt x="118" y="649"/>
                      </a:lnTo>
                      <a:lnTo>
                        <a:pt x="95" y="672"/>
                      </a:lnTo>
                      <a:lnTo>
                        <a:pt x="108" y="665"/>
                      </a:lnTo>
                      <a:lnTo>
                        <a:pt x="106" y="674"/>
                      </a:lnTo>
                      <a:lnTo>
                        <a:pt x="149" y="651"/>
                      </a:lnTo>
                      <a:lnTo>
                        <a:pt x="136" y="670"/>
                      </a:lnTo>
                      <a:lnTo>
                        <a:pt x="134" y="682"/>
                      </a:lnTo>
                      <a:lnTo>
                        <a:pt x="130" y="670"/>
                      </a:lnTo>
                      <a:lnTo>
                        <a:pt x="95" y="690"/>
                      </a:lnTo>
                      <a:lnTo>
                        <a:pt x="97" y="698"/>
                      </a:lnTo>
                      <a:lnTo>
                        <a:pt x="106" y="690"/>
                      </a:lnTo>
                      <a:lnTo>
                        <a:pt x="126" y="694"/>
                      </a:lnTo>
                      <a:lnTo>
                        <a:pt x="93" y="701"/>
                      </a:lnTo>
                      <a:lnTo>
                        <a:pt x="83" y="705"/>
                      </a:lnTo>
                      <a:lnTo>
                        <a:pt x="99" y="707"/>
                      </a:lnTo>
                      <a:lnTo>
                        <a:pt x="79" y="715"/>
                      </a:lnTo>
                      <a:lnTo>
                        <a:pt x="103" y="723"/>
                      </a:lnTo>
                      <a:lnTo>
                        <a:pt x="110" y="719"/>
                      </a:lnTo>
                      <a:lnTo>
                        <a:pt x="118" y="721"/>
                      </a:lnTo>
                      <a:lnTo>
                        <a:pt x="106" y="725"/>
                      </a:lnTo>
                      <a:lnTo>
                        <a:pt x="120" y="725"/>
                      </a:lnTo>
                      <a:lnTo>
                        <a:pt x="110" y="731"/>
                      </a:lnTo>
                      <a:lnTo>
                        <a:pt x="136" y="721"/>
                      </a:lnTo>
                      <a:lnTo>
                        <a:pt x="139" y="717"/>
                      </a:lnTo>
                      <a:lnTo>
                        <a:pt x="126" y="731"/>
                      </a:lnTo>
                      <a:lnTo>
                        <a:pt x="114" y="731"/>
                      </a:lnTo>
                      <a:lnTo>
                        <a:pt x="108" y="738"/>
                      </a:lnTo>
                      <a:lnTo>
                        <a:pt x="132" y="731"/>
                      </a:lnTo>
                      <a:lnTo>
                        <a:pt x="132" y="738"/>
                      </a:lnTo>
                      <a:lnTo>
                        <a:pt x="151" y="725"/>
                      </a:lnTo>
                      <a:lnTo>
                        <a:pt x="141" y="742"/>
                      </a:lnTo>
                      <a:lnTo>
                        <a:pt x="161" y="736"/>
                      </a:lnTo>
                      <a:lnTo>
                        <a:pt x="134" y="752"/>
                      </a:lnTo>
                      <a:lnTo>
                        <a:pt x="149" y="762"/>
                      </a:lnTo>
                      <a:lnTo>
                        <a:pt x="163" y="746"/>
                      </a:lnTo>
                      <a:lnTo>
                        <a:pt x="155" y="767"/>
                      </a:lnTo>
                      <a:lnTo>
                        <a:pt x="159" y="767"/>
                      </a:lnTo>
                      <a:lnTo>
                        <a:pt x="145" y="767"/>
                      </a:lnTo>
                      <a:lnTo>
                        <a:pt x="159" y="773"/>
                      </a:lnTo>
                      <a:lnTo>
                        <a:pt x="172" y="767"/>
                      </a:lnTo>
                      <a:lnTo>
                        <a:pt x="163" y="779"/>
                      </a:lnTo>
                      <a:lnTo>
                        <a:pt x="170" y="781"/>
                      </a:lnTo>
                      <a:lnTo>
                        <a:pt x="159" y="787"/>
                      </a:lnTo>
                      <a:lnTo>
                        <a:pt x="168" y="793"/>
                      </a:lnTo>
                      <a:lnTo>
                        <a:pt x="219" y="793"/>
                      </a:lnTo>
                      <a:lnTo>
                        <a:pt x="271" y="793"/>
                      </a:lnTo>
                      <a:lnTo>
                        <a:pt x="322" y="793"/>
                      </a:lnTo>
                      <a:lnTo>
                        <a:pt x="372" y="793"/>
                      </a:lnTo>
                      <a:lnTo>
                        <a:pt x="422" y="793"/>
                      </a:lnTo>
                      <a:lnTo>
                        <a:pt x="473" y="793"/>
                      </a:lnTo>
                      <a:lnTo>
                        <a:pt x="523" y="793"/>
                      </a:lnTo>
                      <a:lnTo>
                        <a:pt x="574" y="793"/>
                      </a:lnTo>
                      <a:lnTo>
                        <a:pt x="626" y="793"/>
                      </a:lnTo>
                      <a:lnTo>
                        <a:pt x="676" y="793"/>
                      </a:lnTo>
                      <a:lnTo>
                        <a:pt x="727" y="793"/>
                      </a:lnTo>
                      <a:lnTo>
                        <a:pt x="777" y="793"/>
                      </a:lnTo>
                      <a:lnTo>
                        <a:pt x="828" y="793"/>
                      </a:lnTo>
                      <a:lnTo>
                        <a:pt x="878" y="793"/>
                      </a:lnTo>
                      <a:lnTo>
                        <a:pt x="928" y="793"/>
                      </a:lnTo>
                      <a:lnTo>
                        <a:pt x="981" y="791"/>
                      </a:lnTo>
                      <a:lnTo>
                        <a:pt x="992" y="777"/>
                      </a:lnTo>
                      <a:lnTo>
                        <a:pt x="988" y="800"/>
                      </a:lnTo>
                      <a:lnTo>
                        <a:pt x="1023" y="806"/>
                      </a:lnTo>
                      <a:lnTo>
                        <a:pt x="1066" y="824"/>
                      </a:lnTo>
                      <a:lnTo>
                        <a:pt x="1093" y="820"/>
                      </a:lnTo>
                      <a:lnTo>
                        <a:pt x="1116" y="829"/>
                      </a:lnTo>
                      <a:lnTo>
                        <a:pt x="1157" y="820"/>
                      </a:lnTo>
                      <a:lnTo>
                        <a:pt x="1182" y="835"/>
                      </a:lnTo>
                      <a:lnTo>
                        <a:pt x="1207" y="853"/>
                      </a:lnTo>
                      <a:lnTo>
                        <a:pt x="1233" y="868"/>
                      </a:lnTo>
                      <a:lnTo>
                        <a:pt x="1260" y="884"/>
                      </a:lnTo>
                      <a:lnTo>
                        <a:pt x="1262" y="901"/>
                      </a:lnTo>
                      <a:lnTo>
                        <a:pt x="1271" y="899"/>
                      </a:lnTo>
                      <a:lnTo>
                        <a:pt x="1270" y="909"/>
                      </a:lnTo>
                      <a:lnTo>
                        <a:pt x="1293" y="926"/>
                      </a:lnTo>
                      <a:lnTo>
                        <a:pt x="1285" y="959"/>
                      </a:lnTo>
                      <a:lnTo>
                        <a:pt x="1279" y="994"/>
                      </a:lnTo>
                      <a:lnTo>
                        <a:pt x="1264" y="1016"/>
                      </a:lnTo>
                      <a:lnTo>
                        <a:pt x="1227" y="1050"/>
                      </a:lnTo>
                      <a:lnTo>
                        <a:pt x="1237" y="1064"/>
                      </a:lnTo>
                      <a:lnTo>
                        <a:pt x="1268" y="1054"/>
                      </a:lnTo>
                      <a:lnTo>
                        <a:pt x="1301" y="1043"/>
                      </a:lnTo>
                      <a:lnTo>
                        <a:pt x="1333" y="1033"/>
                      </a:lnTo>
                      <a:lnTo>
                        <a:pt x="1364" y="1021"/>
                      </a:lnTo>
                      <a:lnTo>
                        <a:pt x="1368" y="998"/>
                      </a:lnTo>
                      <a:lnTo>
                        <a:pt x="1405" y="994"/>
                      </a:lnTo>
                      <a:lnTo>
                        <a:pt x="1442" y="992"/>
                      </a:lnTo>
                      <a:lnTo>
                        <a:pt x="1473" y="969"/>
                      </a:lnTo>
                      <a:lnTo>
                        <a:pt x="1502" y="946"/>
                      </a:lnTo>
                      <a:lnTo>
                        <a:pt x="1562" y="944"/>
                      </a:lnTo>
                      <a:lnTo>
                        <a:pt x="1620" y="940"/>
                      </a:lnTo>
                      <a:lnTo>
                        <a:pt x="1642" y="926"/>
                      </a:lnTo>
                      <a:lnTo>
                        <a:pt x="1669" y="903"/>
                      </a:lnTo>
                      <a:lnTo>
                        <a:pt x="1694" y="876"/>
                      </a:lnTo>
                      <a:lnTo>
                        <a:pt x="1721" y="849"/>
                      </a:lnTo>
                      <a:lnTo>
                        <a:pt x="1723" y="857"/>
                      </a:lnTo>
                      <a:lnTo>
                        <a:pt x="1739" y="855"/>
                      </a:lnTo>
                      <a:lnTo>
                        <a:pt x="1758" y="864"/>
                      </a:lnTo>
                      <a:lnTo>
                        <a:pt x="1744" y="909"/>
                      </a:lnTo>
                      <a:lnTo>
                        <a:pt x="1752" y="934"/>
                      </a:lnTo>
                      <a:lnTo>
                        <a:pt x="1760" y="938"/>
                      </a:lnTo>
                      <a:lnTo>
                        <a:pt x="1787" y="926"/>
                      </a:lnTo>
                      <a:lnTo>
                        <a:pt x="1785" y="928"/>
                      </a:lnTo>
                      <a:lnTo>
                        <a:pt x="1830" y="917"/>
                      </a:lnTo>
                      <a:lnTo>
                        <a:pt x="1837" y="899"/>
                      </a:lnTo>
                      <a:lnTo>
                        <a:pt x="1839" y="909"/>
                      </a:lnTo>
                      <a:lnTo>
                        <a:pt x="1847" y="909"/>
                      </a:lnTo>
                      <a:lnTo>
                        <a:pt x="1824" y="924"/>
                      </a:lnTo>
                      <a:lnTo>
                        <a:pt x="1868" y="926"/>
                      </a:lnTo>
                      <a:lnTo>
                        <a:pt x="1841" y="936"/>
                      </a:lnTo>
                      <a:lnTo>
                        <a:pt x="1839" y="928"/>
                      </a:lnTo>
                      <a:lnTo>
                        <a:pt x="1793" y="952"/>
                      </a:lnTo>
                      <a:lnTo>
                        <a:pt x="1801" y="948"/>
                      </a:lnTo>
                      <a:lnTo>
                        <a:pt x="1774" y="961"/>
                      </a:lnTo>
                      <a:lnTo>
                        <a:pt x="1783" y="955"/>
                      </a:lnTo>
                      <a:lnTo>
                        <a:pt x="1770" y="975"/>
                      </a:lnTo>
                      <a:lnTo>
                        <a:pt x="1777" y="994"/>
                      </a:lnTo>
                      <a:lnTo>
                        <a:pt x="1797" y="988"/>
                      </a:lnTo>
                      <a:lnTo>
                        <a:pt x="1839" y="953"/>
                      </a:lnTo>
                      <a:lnTo>
                        <a:pt x="1845" y="959"/>
                      </a:lnTo>
                      <a:lnTo>
                        <a:pt x="1855" y="953"/>
                      </a:lnTo>
                      <a:lnTo>
                        <a:pt x="1859" y="955"/>
                      </a:lnTo>
                      <a:lnTo>
                        <a:pt x="1898" y="944"/>
                      </a:lnTo>
                      <a:lnTo>
                        <a:pt x="1936" y="930"/>
                      </a:lnTo>
                      <a:lnTo>
                        <a:pt x="1927" y="926"/>
                      </a:lnTo>
                      <a:lnTo>
                        <a:pt x="1934" y="922"/>
                      </a:lnTo>
                      <a:lnTo>
                        <a:pt x="1919" y="907"/>
                      </a:lnTo>
                      <a:lnTo>
                        <a:pt x="1907" y="915"/>
                      </a:lnTo>
                      <a:lnTo>
                        <a:pt x="1882" y="911"/>
                      </a:lnTo>
                      <a:lnTo>
                        <a:pt x="1861" y="901"/>
                      </a:lnTo>
                      <a:lnTo>
                        <a:pt x="1845" y="893"/>
                      </a:lnTo>
                      <a:lnTo>
                        <a:pt x="1847" y="866"/>
                      </a:lnTo>
                      <a:lnTo>
                        <a:pt x="1836" y="864"/>
                      </a:lnTo>
                      <a:lnTo>
                        <a:pt x="1857" y="839"/>
                      </a:lnTo>
                      <a:lnTo>
                        <a:pt x="1832" y="841"/>
                      </a:lnTo>
                      <a:lnTo>
                        <a:pt x="1830" y="833"/>
                      </a:lnTo>
                      <a:lnTo>
                        <a:pt x="1801" y="829"/>
                      </a:lnTo>
                      <a:lnTo>
                        <a:pt x="1808" y="827"/>
                      </a:lnTo>
                      <a:lnTo>
                        <a:pt x="1839" y="827"/>
                      </a:lnTo>
                      <a:lnTo>
                        <a:pt x="1878" y="814"/>
                      </a:lnTo>
                      <a:lnTo>
                        <a:pt x="1880" y="800"/>
                      </a:lnTo>
                      <a:lnTo>
                        <a:pt x="1888" y="800"/>
                      </a:lnTo>
                      <a:lnTo>
                        <a:pt x="1886" y="793"/>
                      </a:lnTo>
                      <a:lnTo>
                        <a:pt x="1851" y="781"/>
                      </a:lnTo>
                      <a:lnTo>
                        <a:pt x="1808" y="793"/>
                      </a:lnTo>
                      <a:lnTo>
                        <a:pt x="1766" y="806"/>
                      </a:lnTo>
                      <a:lnTo>
                        <a:pt x="1735" y="826"/>
                      </a:lnTo>
                      <a:lnTo>
                        <a:pt x="1702" y="847"/>
                      </a:lnTo>
                      <a:lnTo>
                        <a:pt x="1655" y="872"/>
                      </a:lnTo>
                      <a:lnTo>
                        <a:pt x="1684" y="849"/>
                      </a:lnTo>
                      <a:lnTo>
                        <a:pt x="1715" y="824"/>
                      </a:lnTo>
                      <a:lnTo>
                        <a:pt x="1682" y="812"/>
                      </a:lnTo>
                      <a:lnTo>
                        <a:pt x="1713" y="824"/>
                      </a:lnTo>
                      <a:lnTo>
                        <a:pt x="1756" y="794"/>
                      </a:lnTo>
                      <a:lnTo>
                        <a:pt x="1801" y="779"/>
                      </a:lnTo>
                      <a:lnTo>
                        <a:pt x="1834" y="750"/>
                      </a:lnTo>
                      <a:lnTo>
                        <a:pt x="1898" y="748"/>
                      </a:lnTo>
                      <a:lnTo>
                        <a:pt x="1962" y="746"/>
                      </a:lnTo>
                      <a:lnTo>
                        <a:pt x="2018" y="746"/>
                      </a:lnTo>
                      <a:lnTo>
                        <a:pt x="2072" y="715"/>
                      </a:lnTo>
                      <a:lnTo>
                        <a:pt x="2122" y="703"/>
                      </a:lnTo>
                      <a:lnTo>
                        <a:pt x="2179" y="674"/>
                      </a:lnTo>
                      <a:lnTo>
                        <a:pt x="2165" y="667"/>
                      </a:lnTo>
                      <a:lnTo>
                        <a:pt x="2179" y="663"/>
                      </a:lnTo>
                      <a:lnTo>
                        <a:pt x="2157" y="661"/>
                      </a:lnTo>
                      <a:lnTo>
                        <a:pt x="2175" y="657"/>
                      </a:lnTo>
                      <a:lnTo>
                        <a:pt x="2175" y="653"/>
                      </a:lnTo>
                      <a:lnTo>
                        <a:pt x="2181" y="641"/>
                      </a:lnTo>
                      <a:lnTo>
                        <a:pt x="2183" y="630"/>
                      </a:lnTo>
                      <a:lnTo>
                        <a:pt x="2165" y="620"/>
                      </a:lnTo>
                      <a:lnTo>
                        <a:pt x="2167" y="620"/>
                      </a:lnTo>
                      <a:lnTo>
                        <a:pt x="2148" y="624"/>
                      </a:lnTo>
                      <a:lnTo>
                        <a:pt x="2152" y="603"/>
                      </a:lnTo>
                      <a:lnTo>
                        <a:pt x="2124" y="606"/>
                      </a:lnTo>
                      <a:lnTo>
                        <a:pt x="2140" y="606"/>
                      </a:lnTo>
                      <a:lnTo>
                        <a:pt x="2093" y="620"/>
                      </a:lnTo>
                      <a:lnTo>
                        <a:pt x="2057" y="632"/>
                      </a:lnTo>
                      <a:lnTo>
                        <a:pt x="2068" y="628"/>
                      </a:lnTo>
                      <a:lnTo>
                        <a:pt x="2055" y="618"/>
                      </a:lnTo>
                      <a:lnTo>
                        <a:pt x="2072" y="620"/>
                      </a:lnTo>
                      <a:lnTo>
                        <a:pt x="2126" y="601"/>
                      </a:lnTo>
                      <a:lnTo>
                        <a:pt x="2089" y="606"/>
                      </a:lnTo>
                      <a:lnTo>
                        <a:pt x="2157" y="587"/>
                      </a:lnTo>
                      <a:lnTo>
                        <a:pt x="2117" y="572"/>
                      </a:lnTo>
                      <a:lnTo>
                        <a:pt x="2107" y="573"/>
                      </a:lnTo>
                      <a:lnTo>
                        <a:pt x="2115" y="566"/>
                      </a:lnTo>
                      <a:lnTo>
                        <a:pt x="2091" y="577"/>
                      </a:lnTo>
                      <a:lnTo>
                        <a:pt x="2101" y="568"/>
                      </a:lnTo>
                      <a:lnTo>
                        <a:pt x="2099" y="566"/>
                      </a:lnTo>
                      <a:lnTo>
                        <a:pt x="2086" y="570"/>
                      </a:lnTo>
                      <a:lnTo>
                        <a:pt x="2089" y="562"/>
                      </a:lnTo>
                      <a:lnTo>
                        <a:pt x="2072" y="572"/>
                      </a:lnTo>
                      <a:lnTo>
                        <a:pt x="2080" y="564"/>
                      </a:lnTo>
                      <a:lnTo>
                        <a:pt x="2084" y="558"/>
                      </a:lnTo>
                      <a:lnTo>
                        <a:pt x="2088" y="544"/>
                      </a:lnTo>
                      <a:lnTo>
                        <a:pt x="2080" y="552"/>
                      </a:lnTo>
                      <a:lnTo>
                        <a:pt x="2080" y="546"/>
                      </a:lnTo>
                      <a:lnTo>
                        <a:pt x="2066" y="533"/>
                      </a:lnTo>
                      <a:lnTo>
                        <a:pt x="2051" y="527"/>
                      </a:lnTo>
                      <a:lnTo>
                        <a:pt x="2064" y="527"/>
                      </a:lnTo>
                      <a:lnTo>
                        <a:pt x="2055" y="519"/>
                      </a:lnTo>
                      <a:lnTo>
                        <a:pt x="2064" y="517"/>
                      </a:lnTo>
                      <a:lnTo>
                        <a:pt x="2053" y="515"/>
                      </a:lnTo>
                      <a:lnTo>
                        <a:pt x="2060" y="515"/>
                      </a:lnTo>
                      <a:lnTo>
                        <a:pt x="2049" y="508"/>
                      </a:lnTo>
                      <a:lnTo>
                        <a:pt x="2055" y="508"/>
                      </a:lnTo>
                      <a:lnTo>
                        <a:pt x="2062" y="511"/>
                      </a:lnTo>
                      <a:lnTo>
                        <a:pt x="2084" y="498"/>
                      </a:lnTo>
                      <a:lnTo>
                        <a:pt x="2072" y="488"/>
                      </a:lnTo>
                      <a:lnTo>
                        <a:pt x="2064" y="482"/>
                      </a:lnTo>
                      <a:lnTo>
                        <a:pt x="2076" y="475"/>
                      </a:lnTo>
                      <a:lnTo>
                        <a:pt x="2064" y="467"/>
                      </a:lnTo>
                      <a:lnTo>
                        <a:pt x="2062" y="461"/>
                      </a:lnTo>
                      <a:lnTo>
                        <a:pt x="2047" y="463"/>
                      </a:lnTo>
                      <a:lnTo>
                        <a:pt x="2066" y="455"/>
                      </a:lnTo>
                      <a:lnTo>
                        <a:pt x="2066" y="449"/>
                      </a:lnTo>
                      <a:lnTo>
                        <a:pt x="2041" y="455"/>
                      </a:lnTo>
                      <a:lnTo>
                        <a:pt x="2066" y="438"/>
                      </a:lnTo>
                      <a:lnTo>
                        <a:pt x="2058" y="430"/>
                      </a:lnTo>
                      <a:lnTo>
                        <a:pt x="2047" y="428"/>
                      </a:lnTo>
                      <a:lnTo>
                        <a:pt x="2058" y="420"/>
                      </a:lnTo>
                      <a:lnTo>
                        <a:pt x="2053" y="416"/>
                      </a:lnTo>
                      <a:lnTo>
                        <a:pt x="2045" y="399"/>
                      </a:lnTo>
                      <a:lnTo>
                        <a:pt x="2045" y="393"/>
                      </a:lnTo>
                      <a:lnTo>
                        <a:pt x="2033" y="395"/>
                      </a:lnTo>
                      <a:lnTo>
                        <a:pt x="2043" y="385"/>
                      </a:lnTo>
                      <a:lnTo>
                        <a:pt x="2026" y="395"/>
                      </a:lnTo>
                      <a:lnTo>
                        <a:pt x="2026" y="403"/>
                      </a:lnTo>
                      <a:lnTo>
                        <a:pt x="2010" y="405"/>
                      </a:lnTo>
                      <a:lnTo>
                        <a:pt x="2016" y="414"/>
                      </a:lnTo>
                      <a:lnTo>
                        <a:pt x="2008" y="418"/>
                      </a:lnTo>
                      <a:lnTo>
                        <a:pt x="1996" y="428"/>
                      </a:lnTo>
                      <a:lnTo>
                        <a:pt x="1983" y="442"/>
                      </a:lnTo>
                      <a:lnTo>
                        <a:pt x="1977" y="451"/>
                      </a:lnTo>
                      <a:lnTo>
                        <a:pt x="1971" y="438"/>
                      </a:lnTo>
                      <a:lnTo>
                        <a:pt x="1944" y="453"/>
                      </a:lnTo>
                      <a:lnTo>
                        <a:pt x="1921" y="469"/>
                      </a:lnTo>
                      <a:lnTo>
                        <a:pt x="1927" y="455"/>
                      </a:lnTo>
                      <a:lnTo>
                        <a:pt x="1915" y="461"/>
                      </a:lnTo>
                      <a:lnTo>
                        <a:pt x="1921" y="447"/>
                      </a:lnTo>
                      <a:lnTo>
                        <a:pt x="1905" y="465"/>
                      </a:lnTo>
                      <a:lnTo>
                        <a:pt x="1874" y="475"/>
                      </a:lnTo>
                      <a:lnTo>
                        <a:pt x="1913" y="455"/>
                      </a:lnTo>
                      <a:lnTo>
                        <a:pt x="1909" y="434"/>
                      </a:lnTo>
                      <a:lnTo>
                        <a:pt x="1874" y="442"/>
                      </a:lnTo>
                      <a:lnTo>
                        <a:pt x="1867" y="440"/>
                      </a:lnTo>
                      <a:lnTo>
                        <a:pt x="1880" y="432"/>
                      </a:lnTo>
                      <a:lnTo>
                        <a:pt x="1890" y="436"/>
                      </a:lnTo>
                      <a:lnTo>
                        <a:pt x="1900" y="418"/>
                      </a:lnTo>
                      <a:lnTo>
                        <a:pt x="1894" y="413"/>
                      </a:lnTo>
                      <a:lnTo>
                        <a:pt x="1901" y="397"/>
                      </a:lnTo>
                      <a:lnTo>
                        <a:pt x="1870" y="393"/>
                      </a:lnTo>
                      <a:lnTo>
                        <a:pt x="1909" y="389"/>
                      </a:lnTo>
                      <a:lnTo>
                        <a:pt x="1915" y="372"/>
                      </a:lnTo>
                      <a:lnTo>
                        <a:pt x="1921" y="362"/>
                      </a:lnTo>
                      <a:lnTo>
                        <a:pt x="1909" y="364"/>
                      </a:lnTo>
                      <a:lnTo>
                        <a:pt x="1872" y="349"/>
                      </a:lnTo>
                      <a:lnTo>
                        <a:pt x="1882" y="339"/>
                      </a:lnTo>
                      <a:lnTo>
                        <a:pt x="1870" y="341"/>
                      </a:lnTo>
                      <a:lnTo>
                        <a:pt x="1863" y="329"/>
                      </a:lnTo>
                      <a:lnTo>
                        <a:pt x="1865" y="323"/>
                      </a:lnTo>
                      <a:lnTo>
                        <a:pt x="1837" y="312"/>
                      </a:lnTo>
                      <a:lnTo>
                        <a:pt x="1808" y="321"/>
                      </a:lnTo>
                      <a:lnTo>
                        <a:pt x="1779" y="321"/>
                      </a:lnTo>
                      <a:lnTo>
                        <a:pt x="1789" y="318"/>
                      </a:lnTo>
                      <a:lnTo>
                        <a:pt x="1737" y="312"/>
                      </a:lnTo>
                      <a:lnTo>
                        <a:pt x="1715" y="337"/>
                      </a:lnTo>
                      <a:lnTo>
                        <a:pt x="1717" y="347"/>
                      </a:lnTo>
                      <a:lnTo>
                        <a:pt x="1698" y="370"/>
                      </a:lnTo>
                      <a:lnTo>
                        <a:pt x="1706" y="370"/>
                      </a:lnTo>
                      <a:lnTo>
                        <a:pt x="1700" y="395"/>
                      </a:lnTo>
                      <a:lnTo>
                        <a:pt x="1688" y="409"/>
                      </a:lnTo>
                      <a:lnTo>
                        <a:pt x="1680" y="409"/>
                      </a:lnTo>
                      <a:lnTo>
                        <a:pt x="1638" y="444"/>
                      </a:lnTo>
                      <a:lnTo>
                        <a:pt x="1669" y="478"/>
                      </a:lnTo>
                      <a:lnTo>
                        <a:pt x="1651" y="509"/>
                      </a:lnTo>
                      <a:lnTo>
                        <a:pt x="1636" y="539"/>
                      </a:lnTo>
                      <a:lnTo>
                        <a:pt x="1595" y="558"/>
                      </a:lnTo>
                      <a:lnTo>
                        <a:pt x="1554" y="577"/>
                      </a:lnTo>
                      <a:lnTo>
                        <a:pt x="1533" y="587"/>
                      </a:lnTo>
                      <a:lnTo>
                        <a:pt x="1537" y="612"/>
                      </a:lnTo>
                      <a:lnTo>
                        <a:pt x="1525" y="663"/>
                      </a:lnTo>
                      <a:lnTo>
                        <a:pt x="1510" y="682"/>
                      </a:lnTo>
                      <a:lnTo>
                        <a:pt x="1500" y="699"/>
                      </a:lnTo>
                      <a:lnTo>
                        <a:pt x="1494" y="707"/>
                      </a:lnTo>
                      <a:lnTo>
                        <a:pt x="1489" y="694"/>
                      </a:lnTo>
                      <a:lnTo>
                        <a:pt x="1467" y="717"/>
                      </a:lnTo>
                      <a:lnTo>
                        <a:pt x="1473" y="727"/>
                      </a:lnTo>
                      <a:lnTo>
                        <a:pt x="1452" y="705"/>
                      </a:lnTo>
                      <a:lnTo>
                        <a:pt x="1428" y="717"/>
                      </a:lnTo>
                      <a:lnTo>
                        <a:pt x="1452" y="699"/>
                      </a:lnTo>
                      <a:lnTo>
                        <a:pt x="1430" y="672"/>
                      </a:lnTo>
                      <a:lnTo>
                        <a:pt x="1436" y="663"/>
                      </a:lnTo>
                      <a:lnTo>
                        <a:pt x="1432" y="637"/>
                      </a:lnTo>
                      <a:lnTo>
                        <a:pt x="1446" y="603"/>
                      </a:lnTo>
                      <a:lnTo>
                        <a:pt x="1459" y="568"/>
                      </a:lnTo>
                      <a:lnTo>
                        <a:pt x="1425" y="566"/>
                      </a:lnTo>
                      <a:lnTo>
                        <a:pt x="1388" y="564"/>
                      </a:lnTo>
                      <a:lnTo>
                        <a:pt x="1378" y="570"/>
                      </a:lnTo>
                      <a:lnTo>
                        <a:pt x="1392" y="560"/>
                      </a:lnTo>
                      <a:lnTo>
                        <a:pt x="1364" y="546"/>
                      </a:lnTo>
                      <a:lnTo>
                        <a:pt x="1339" y="535"/>
                      </a:lnTo>
                      <a:lnTo>
                        <a:pt x="1308" y="504"/>
                      </a:lnTo>
                      <a:lnTo>
                        <a:pt x="1270" y="492"/>
                      </a:lnTo>
                      <a:lnTo>
                        <a:pt x="1223" y="504"/>
                      </a:lnTo>
                      <a:lnTo>
                        <a:pt x="1225" y="500"/>
                      </a:lnTo>
                      <a:lnTo>
                        <a:pt x="1215" y="504"/>
                      </a:lnTo>
                      <a:lnTo>
                        <a:pt x="1240" y="461"/>
                      </a:lnTo>
                      <a:lnTo>
                        <a:pt x="1237" y="442"/>
                      </a:lnTo>
                      <a:lnTo>
                        <a:pt x="1211" y="445"/>
                      </a:lnTo>
                      <a:lnTo>
                        <a:pt x="1200" y="459"/>
                      </a:lnTo>
                      <a:lnTo>
                        <a:pt x="1209" y="442"/>
                      </a:lnTo>
                      <a:lnTo>
                        <a:pt x="1207" y="428"/>
                      </a:lnTo>
                      <a:lnTo>
                        <a:pt x="1248" y="378"/>
                      </a:lnTo>
                      <a:lnTo>
                        <a:pt x="1304" y="337"/>
                      </a:lnTo>
                      <a:lnTo>
                        <a:pt x="1308" y="329"/>
                      </a:lnTo>
                      <a:lnTo>
                        <a:pt x="1337" y="318"/>
                      </a:lnTo>
                      <a:lnTo>
                        <a:pt x="1330" y="316"/>
                      </a:lnTo>
                      <a:lnTo>
                        <a:pt x="1341" y="318"/>
                      </a:lnTo>
                      <a:lnTo>
                        <a:pt x="1353" y="308"/>
                      </a:lnTo>
                      <a:lnTo>
                        <a:pt x="1368" y="304"/>
                      </a:lnTo>
                      <a:lnTo>
                        <a:pt x="1370" y="298"/>
                      </a:lnTo>
                      <a:lnTo>
                        <a:pt x="1413" y="290"/>
                      </a:lnTo>
                      <a:lnTo>
                        <a:pt x="1417" y="279"/>
                      </a:lnTo>
                      <a:lnTo>
                        <a:pt x="1386" y="271"/>
                      </a:lnTo>
                      <a:lnTo>
                        <a:pt x="1392" y="269"/>
                      </a:lnTo>
                      <a:lnTo>
                        <a:pt x="1361" y="263"/>
                      </a:lnTo>
                      <a:lnTo>
                        <a:pt x="1361" y="255"/>
                      </a:lnTo>
                      <a:lnTo>
                        <a:pt x="1399" y="263"/>
                      </a:lnTo>
                      <a:lnTo>
                        <a:pt x="1440" y="271"/>
                      </a:lnTo>
                      <a:lnTo>
                        <a:pt x="1452" y="259"/>
                      </a:lnTo>
                      <a:lnTo>
                        <a:pt x="1459" y="254"/>
                      </a:lnTo>
                      <a:lnTo>
                        <a:pt x="1475" y="259"/>
                      </a:lnTo>
                      <a:lnTo>
                        <a:pt x="1475" y="254"/>
                      </a:lnTo>
                      <a:lnTo>
                        <a:pt x="1490" y="257"/>
                      </a:lnTo>
                      <a:lnTo>
                        <a:pt x="1549" y="226"/>
                      </a:lnTo>
                      <a:lnTo>
                        <a:pt x="1556" y="217"/>
                      </a:lnTo>
                      <a:lnTo>
                        <a:pt x="1504" y="209"/>
                      </a:lnTo>
                      <a:lnTo>
                        <a:pt x="1471" y="193"/>
                      </a:lnTo>
                      <a:lnTo>
                        <a:pt x="1531" y="203"/>
                      </a:lnTo>
                      <a:lnTo>
                        <a:pt x="1551" y="215"/>
                      </a:lnTo>
                      <a:lnTo>
                        <a:pt x="1609" y="18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7" name="Freeform 437"/>
                <p:cNvSpPr>
                  <a:spLocks/>
                </p:cNvSpPr>
                <p:nvPr/>
              </p:nvSpPr>
              <p:spPr bwMode="auto">
                <a:xfrm>
                  <a:off x="2692763" y="1364079"/>
                  <a:ext cx="468798" cy="294775"/>
                </a:xfrm>
                <a:custGeom>
                  <a:avLst/>
                  <a:gdLst>
                    <a:gd name="T0" fmla="*/ 342372 w 597"/>
                    <a:gd name="T1" fmla="*/ 66856 h 388"/>
                    <a:gd name="T2" fmla="*/ 324311 w 597"/>
                    <a:gd name="T3" fmla="*/ 53181 h 388"/>
                    <a:gd name="T4" fmla="*/ 303894 w 597"/>
                    <a:gd name="T5" fmla="*/ 53181 h 388"/>
                    <a:gd name="T6" fmla="*/ 272484 w 597"/>
                    <a:gd name="T7" fmla="*/ 62298 h 388"/>
                    <a:gd name="T8" fmla="*/ 279551 w 597"/>
                    <a:gd name="T9" fmla="*/ 43305 h 388"/>
                    <a:gd name="T10" fmla="*/ 295256 w 597"/>
                    <a:gd name="T11" fmla="*/ 37227 h 388"/>
                    <a:gd name="T12" fmla="*/ 222228 w 597"/>
                    <a:gd name="T13" fmla="*/ 37227 h 388"/>
                    <a:gd name="T14" fmla="*/ 215945 w 597"/>
                    <a:gd name="T15" fmla="*/ 41785 h 388"/>
                    <a:gd name="T16" fmla="*/ 201026 w 597"/>
                    <a:gd name="T17" fmla="*/ 38746 h 388"/>
                    <a:gd name="T18" fmla="*/ 180609 w 597"/>
                    <a:gd name="T19" fmla="*/ 35707 h 388"/>
                    <a:gd name="T20" fmla="*/ 154695 w 597"/>
                    <a:gd name="T21" fmla="*/ 10636 h 388"/>
                    <a:gd name="T22" fmla="*/ 123285 w 597"/>
                    <a:gd name="T23" fmla="*/ 19753 h 388"/>
                    <a:gd name="T24" fmla="*/ 113862 w 597"/>
                    <a:gd name="T25" fmla="*/ 34188 h 388"/>
                    <a:gd name="T26" fmla="*/ 102083 w 597"/>
                    <a:gd name="T27" fmla="*/ 54701 h 388"/>
                    <a:gd name="T28" fmla="*/ 79311 w 597"/>
                    <a:gd name="T29" fmla="*/ 43305 h 388"/>
                    <a:gd name="T30" fmla="*/ 40833 w 597"/>
                    <a:gd name="T31" fmla="*/ 23552 h 388"/>
                    <a:gd name="T32" fmla="*/ 8638 w 597"/>
                    <a:gd name="T33" fmla="*/ 79772 h 388"/>
                    <a:gd name="T34" fmla="*/ 53397 w 597"/>
                    <a:gd name="T35" fmla="*/ 88888 h 388"/>
                    <a:gd name="T36" fmla="*/ 127997 w 597"/>
                    <a:gd name="T37" fmla="*/ 87369 h 388"/>
                    <a:gd name="T38" fmla="*/ 191603 w 597"/>
                    <a:gd name="T39" fmla="*/ 81291 h 388"/>
                    <a:gd name="T40" fmla="*/ 211234 w 597"/>
                    <a:gd name="T41" fmla="*/ 98765 h 388"/>
                    <a:gd name="T42" fmla="*/ 204167 w 597"/>
                    <a:gd name="T43" fmla="*/ 122316 h 388"/>
                    <a:gd name="T44" fmla="*/ 253638 w 597"/>
                    <a:gd name="T45" fmla="*/ 120797 h 388"/>
                    <a:gd name="T46" fmla="*/ 240288 w 597"/>
                    <a:gd name="T47" fmla="*/ 169420 h 388"/>
                    <a:gd name="T48" fmla="*/ 295256 w 597"/>
                    <a:gd name="T49" fmla="*/ 184614 h 388"/>
                    <a:gd name="T50" fmla="*/ 228510 w 597"/>
                    <a:gd name="T51" fmla="*/ 175497 h 388"/>
                    <a:gd name="T52" fmla="*/ 162548 w 597"/>
                    <a:gd name="T53" fmla="*/ 215003 h 388"/>
                    <a:gd name="T54" fmla="*/ 102083 w 597"/>
                    <a:gd name="T55" fmla="*/ 224120 h 388"/>
                    <a:gd name="T56" fmla="*/ 171971 w 597"/>
                    <a:gd name="T57" fmla="*/ 225640 h 388"/>
                    <a:gd name="T58" fmla="*/ 194744 w 597"/>
                    <a:gd name="T59" fmla="*/ 224120 h 388"/>
                    <a:gd name="T60" fmla="*/ 211234 w 597"/>
                    <a:gd name="T61" fmla="*/ 247672 h 388"/>
                    <a:gd name="T62" fmla="*/ 246570 w 597"/>
                    <a:gd name="T63" fmla="*/ 274262 h 388"/>
                    <a:gd name="T64" fmla="*/ 292115 w 597"/>
                    <a:gd name="T65" fmla="*/ 263626 h 388"/>
                    <a:gd name="T66" fmla="*/ 313317 w 597"/>
                    <a:gd name="T67" fmla="*/ 263626 h 388"/>
                    <a:gd name="T68" fmla="*/ 342372 w 597"/>
                    <a:gd name="T69" fmla="*/ 275782 h 388"/>
                    <a:gd name="T70" fmla="*/ 358862 w 597"/>
                    <a:gd name="T71" fmla="*/ 255269 h 388"/>
                    <a:gd name="T72" fmla="*/ 355721 w 597"/>
                    <a:gd name="T73" fmla="*/ 233237 h 388"/>
                    <a:gd name="T74" fmla="*/ 345513 w 597"/>
                    <a:gd name="T75" fmla="*/ 219562 h 388"/>
                    <a:gd name="T76" fmla="*/ 334519 w 597"/>
                    <a:gd name="T77" fmla="*/ 211205 h 388"/>
                    <a:gd name="T78" fmla="*/ 325881 w 597"/>
                    <a:gd name="T79" fmla="*/ 194491 h 388"/>
                    <a:gd name="T80" fmla="*/ 342372 w 597"/>
                    <a:gd name="T81" fmla="*/ 186134 h 388"/>
                    <a:gd name="T82" fmla="*/ 358862 w 597"/>
                    <a:gd name="T83" fmla="*/ 178536 h 388"/>
                    <a:gd name="T84" fmla="*/ 404407 w 597"/>
                    <a:gd name="T85" fmla="*/ 180056 h 388"/>
                    <a:gd name="T86" fmla="*/ 376138 w 597"/>
                    <a:gd name="T87" fmla="*/ 203608 h 388"/>
                    <a:gd name="T88" fmla="*/ 394199 w 597"/>
                    <a:gd name="T89" fmla="*/ 211205 h 388"/>
                    <a:gd name="T90" fmla="*/ 415401 w 597"/>
                    <a:gd name="T91" fmla="*/ 189932 h 388"/>
                    <a:gd name="T92" fmla="*/ 430320 w 597"/>
                    <a:gd name="T93" fmla="*/ 188413 h 388"/>
                    <a:gd name="T94" fmla="*/ 460945 w 597"/>
                    <a:gd name="T95" fmla="*/ 178536 h 388"/>
                    <a:gd name="T96" fmla="*/ 453093 w 597"/>
                    <a:gd name="T97" fmla="*/ 164861 h 388"/>
                    <a:gd name="T98" fmla="*/ 427179 w 597"/>
                    <a:gd name="T99" fmla="*/ 170939 h 388"/>
                    <a:gd name="T100" fmla="*/ 409119 w 597"/>
                    <a:gd name="T101" fmla="*/ 161063 h 388"/>
                    <a:gd name="T102" fmla="*/ 409119 w 597"/>
                    <a:gd name="T103" fmla="*/ 154985 h 388"/>
                    <a:gd name="T104" fmla="*/ 410689 w 597"/>
                    <a:gd name="T105" fmla="*/ 145868 h 388"/>
                    <a:gd name="T106" fmla="*/ 392628 w 597"/>
                    <a:gd name="T107" fmla="*/ 144349 h 388"/>
                    <a:gd name="T108" fmla="*/ 381634 w 597"/>
                    <a:gd name="T109" fmla="*/ 135992 h 388"/>
                    <a:gd name="T110" fmla="*/ 350224 w 597"/>
                    <a:gd name="T111" fmla="*/ 123836 h 388"/>
                    <a:gd name="T112" fmla="*/ 363574 w 597"/>
                    <a:gd name="T113" fmla="*/ 116239 h 388"/>
                    <a:gd name="T114" fmla="*/ 354151 w 597"/>
                    <a:gd name="T115" fmla="*/ 109401 h 388"/>
                    <a:gd name="T116" fmla="*/ 366715 w 597"/>
                    <a:gd name="T117" fmla="*/ 100284 h 388"/>
                    <a:gd name="T118" fmla="*/ 357292 w 597"/>
                    <a:gd name="T119" fmla="*/ 94206 h 388"/>
                    <a:gd name="T120" fmla="*/ 389487 w 597"/>
                    <a:gd name="T121" fmla="*/ 76733 h 388"/>
                    <a:gd name="T122" fmla="*/ 336090 w 597"/>
                    <a:gd name="T123" fmla="*/ 78252 h 38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597"/>
                    <a:gd name="T187" fmla="*/ 0 h 388"/>
                    <a:gd name="T188" fmla="*/ 597 w 597"/>
                    <a:gd name="T189" fmla="*/ 388 h 38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597" h="388">
                      <a:moveTo>
                        <a:pt x="418" y="103"/>
                      </a:moveTo>
                      <a:lnTo>
                        <a:pt x="411" y="105"/>
                      </a:lnTo>
                      <a:lnTo>
                        <a:pt x="451" y="90"/>
                      </a:lnTo>
                      <a:lnTo>
                        <a:pt x="436" y="88"/>
                      </a:lnTo>
                      <a:lnTo>
                        <a:pt x="403" y="95"/>
                      </a:lnTo>
                      <a:lnTo>
                        <a:pt x="422" y="84"/>
                      </a:lnTo>
                      <a:lnTo>
                        <a:pt x="444" y="80"/>
                      </a:lnTo>
                      <a:lnTo>
                        <a:pt x="413" y="70"/>
                      </a:lnTo>
                      <a:lnTo>
                        <a:pt x="387" y="84"/>
                      </a:lnTo>
                      <a:lnTo>
                        <a:pt x="389" y="78"/>
                      </a:lnTo>
                      <a:lnTo>
                        <a:pt x="378" y="84"/>
                      </a:lnTo>
                      <a:lnTo>
                        <a:pt x="387" y="70"/>
                      </a:lnTo>
                      <a:lnTo>
                        <a:pt x="376" y="78"/>
                      </a:lnTo>
                      <a:lnTo>
                        <a:pt x="387" y="64"/>
                      </a:lnTo>
                      <a:lnTo>
                        <a:pt x="382" y="66"/>
                      </a:lnTo>
                      <a:lnTo>
                        <a:pt x="347" y="82"/>
                      </a:lnTo>
                      <a:lnTo>
                        <a:pt x="362" y="70"/>
                      </a:lnTo>
                      <a:lnTo>
                        <a:pt x="353" y="70"/>
                      </a:lnTo>
                      <a:lnTo>
                        <a:pt x="387" y="58"/>
                      </a:lnTo>
                      <a:lnTo>
                        <a:pt x="356" y="57"/>
                      </a:lnTo>
                      <a:lnTo>
                        <a:pt x="343" y="64"/>
                      </a:lnTo>
                      <a:lnTo>
                        <a:pt x="356" y="53"/>
                      </a:lnTo>
                      <a:lnTo>
                        <a:pt x="333" y="60"/>
                      </a:lnTo>
                      <a:lnTo>
                        <a:pt x="376" y="49"/>
                      </a:lnTo>
                      <a:lnTo>
                        <a:pt x="358" y="39"/>
                      </a:lnTo>
                      <a:lnTo>
                        <a:pt x="300" y="39"/>
                      </a:lnTo>
                      <a:lnTo>
                        <a:pt x="320" y="51"/>
                      </a:lnTo>
                      <a:lnTo>
                        <a:pt x="283" y="49"/>
                      </a:lnTo>
                      <a:lnTo>
                        <a:pt x="294" y="62"/>
                      </a:lnTo>
                      <a:lnTo>
                        <a:pt x="277" y="57"/>
                      </a:lnTo>
                      <a:lnTo>
                        <a:pt x="279" y="58"/>
                      </a:lnTo>
                      <a:lnTo>
                        <a:pt x="275" y="55"/>
                      </a:lnTo>
                      <a:lnTo>
                        <a:pt x="275" y="45"/>
                      </a:lnTo>
                      <a:lnTo>
                        <a:pt x="267" y="47"/>
                      </a:lnTo>
                      <a:lnTo>
                        <a:pt x="254" y="47"/>
                      </a:lnTo>
                      <a:lnTo>
                        <a:pt x="256" y="51"/>
                      </a:lnTo>
                      <a:lnTo>
                        <a:pt x="244" y="51"/>
                      </a:lnTo>
                      <a:lnTo>
                        <a:pt x="232" y="55"/>
                      </a:lnTo>
                      <a:lnTo>
                        <a:pt x="240" y="43"/>
                      </a:lnTo>
                      <a:lnTo>
                        <a:pt x="230" y="47"/>
                      </a:lnTo>
                      <a:lnTo>
                        <a:pt x="263" y="31"/>
                      </a:lnTo>
                      <a:lnTo>
                        <a:pt x="256" y="4"/>
                      </a:lnTo>
                      <a:lnTo>
                        <a:pt x="196" y="10"/>
                      </a:lnTo>
                      <a:lnTo>
                        <a:pt x="197" y="14"/>
                      </a:lnTo>
                      <a:lnTo>
                        <a:pt x="176" y="16"/>
                      </a:lnTo>
                      <a:lnTo>
                        <a:pt x="161" y="20"/>
                      </a:lnTo>
                      <a:lnTo>
                        <a:pt x="186" y="26"/>
                      </a:lnTo>
                      <a:lnTo>
                        <a:pt x="157" y="26"/>
                      </a:lnTo>
                      <a:lnTo>
                        <a:pt x="176" y="33"/>
                      </a:lnTo>
                      <a:lnTo>
                        <a:pt x="139" y="29"/>
                      </a:lnTo>
                      <a:lnTo>
                        <a:pt x="137" y="45"/>
                      </a:lnTo>
                      <a:lnTo>
                        <a:pt x="145" y="45"/>
                      </a:lnTo>
                      <a:lnTo>
                        <a:pt x="151" y="57"/>
                      </a:lnTo>
                      <a:lnTo>
                        <a:pt x="124" y="53"/>
                      </a:lnTo>
                      <a:lnTo>
                        <a:pt x="116" y="60"/>
                      </a:lnTo>
                      <a:lnTo>
                        <a:pt x="130" y="72"/>
                      </a:lnTo>
                      <a:lnTo>
                        <a:pt x="108" y="86"/>
                      </a:lnTo>
                      <a:lnTo>
                        <a:pt x="73" y="86"/>
                      </a:lnTo>
                      <a:lnTo>
                        <a:pt x="120" y="74"/>
                      </a:lnTo>
                      <a:lnTo>
                        <a:pt x="101" y="57"/>
                      </a:lnTo>
                      <a:lnTo>
                        <a:pt x="139" y="18"/>
                      </a:lnTo>
                      <a:lnTo>
                        <a:pt x="178" y="0"/>
                      </a:lnTo>
                      <a:lnTo>
                        <a:pt x="97" y="8"/>
                      </a:lnTo>
                      <a:lnTo>
                        <a:pt x="52" y="31"/>
                      </a:lnTo>
                      <a:lnTo>
                        <a:pt x="0" y="74"/>
                      </a:lnTo>
                      <a:lnTo>
                        <a:pt x="54" y="88"/>
                      </a:lnTo>
                      <a:lnTo>
                        <a:pt x="6" y="88"/>
                      </a:lnTo>
                      <a:lnTo>
                        <a:pt x="11" y="105"/>
                      </a:lnTo>
                      <a:lnTo>
                        <a:pt x="40" y="109"/>
                      </a:lnTo>
                      <a:lnTo>
                        <a:pt x="44" y="107"/>
                      </a:lnTo>
                      <a:lnTo>
                        <a:pt x="56" y="105"/>
                      </a:lnTo>
                      <a:lnTo>
                        <a:pt x="68" y="117"/>
                      </a:lnTo>
                      <a:lnTo>
                        <a:pt x="159" y="121"/>
                      </a:lnTo>
                      <a:lnTo>
                        <a:pt x="135" y="109"/>
                      </a:lnTo>
                      <a:lnTo>
                        <a:pt x="178" y="126"/>
                      </a:lnTo>
                      <a:lnTo>
                        <a:pt x="163" y="115"/>
                      </a:lnTo>
                      <a:lnTo>
                        <a:pt x="232" y="121"/>
                      </a:lnTo>
                      <a:lnTo>
                        <a:pt x="227" y="107"/>
                      </a:lnTo>
                      <a:lnTo>
                        <a:pt x="244" y="99"/>
                      </a:lnTo>
                      <a:lnTo>
                        <a:pt x="244" y="107"/>
                      </a:lnTo>
                      <a:lnTo>
                        <a:pt x="261" y="113"/>
                      </a:lnTo>
                      <a:lnTo>
                        <a:pt x="256" y="124"/>
                      </a:lnTo>
                      <a:lnTo>
                        <a:pt x="273" y="126"/>
                      </a:lnTo>
                      <a:lnTo>
                        <a:pt x="269" y="130"/>
                      </a:lnTo>
                      <a:lnTo>
                        <a:pt x="279" y="130"/>
                      </a:lnTo>
                      <a:lnTo>
                        <a:pt x="285" y="148"/>
                      </a:lnTo>
                      <a:lnTo>
                        <a:pt x="261" y="155"/>
                      </a:lnTo>
                      <a:lnTo>
                        <a:pt x="260" y="161"/>
                      </a:lnTo>
                      <a:lnTo>
                        <a:pt x="291" y="150"/>
                      </a:lnTo>
                      <a:lnTo>
                        <a:pt x="304" y="153"/>
                      </a:lnTo>
                      <a:lnTo>
                        <a:pt x="316" y="167"/>
                      </a:lnTo>
                      <a:lnTo>
                        <a:pt x="323" y="159"/>
                      </a:lnTo>
                      <a:lnTo>
                        <a:pt x="320" y="175"/>
                      </a:lnTo>
                      <a:lnTo>
                        <a:pt x="333" y="175"/>
                      </a:lnTo>
                      <a:lnTo>
                        <a:pt x="327" y="212"/>
                      </a:lnTo>
                      <a:lnTo>
                        <a:pt x="306" y="223"/>
                      </a:lnTo>
                      <a:lnTo>
                        <a:pt x="343" y="227"/>
                      </a:lnTo>
                      <a:lnTo>
                        <a:pt x="360" y="216"/>
                      </a:lnTo>
                      <a:lnTo>
                        <a:pt x="387" y="235"/>
                      </a:lnTo>
                      <a:lnTo>
                        <a:pt x="376" y="243"/>
                      </a:lnTo>
                      <a:lnTo>
                        <a:pt x="349" y="243"/>
                      </a:lnTo>
                      <a:lnTo>
                        <a:pt x="335" y="247"/>
                      </a:lnTo>
                      <a:lnTo>
                        <a:pt x="343" y="231"/>
                      </a:lnTo>
                      <a:lnTo>
                        <a:pt x="291" y="231"/>
                      </a:lnTo>
                      <a:lnTo>
                        <a:pt x="256" y="245"/>
                      </a:lnTo>
                      <a:lnTo>
                        <a:pt x="261" y="264"/>
                      </a:lnTo>
                      <a:lnTo>
                        <a:pt x="203" y="276"/>
                      </a:lnTo>
                      <a:lnTo>
                        <a:pt x="207" y="283"/>
                      </a:lnTo>
                      <a:lnTo>
                        <a:pt x="203" y="287"/>
                      </a:lnTo>
                      <a:lnTo>
                        <a:pt x="203" y="274"/>
                      </a:lnTo>
                      <a:lnTo>
                        <a:pt x="161" y="272"/>
                      </a:lnTo>
                      <a:lnTo>
                        <a:pt x="130" y="295"/>
                      </a:lnTo>
                      <a:lnTo>
                        <a:pt x="161" y="307"/>
                      </a:lnTo>
                      <a:lnTo>
                        <a:pt x="192" y="301"/>
                      </a:lnTo>
                      <a:lnTo>
                        <a:pt x="196" y="297"/>
                      </a:lnTo>
                      <a:lnTo>
                        <a:pt x="219" y="297"/>
                      </a:lnTo>
                      <a:lnTo>
                        <a:pt x="225" y="285"/>
                      </a:lnTo>
                      <a:lnTo>
                        <a:pt x="232" y="293"/>
                      </a:lnTo>
                      <a:lnTo>
                        <a:pt x="230" y="305"/>
                      </a:lnTo>
                      <a:lnTo>
                        <a:pt x="248" y="295"/>
                      </a:lnTo>
                      <a:lnTo>
                        <a:pt x="258" y="295"/>
                      </a:lnTo>
                      <a:lnTo>
                        <a:pt x="252" y="309"/>
                      </a:lnTo>
                      <a:lnTo>
                        <a:pt x="267" y="320"/>
                      </a:lnTo>
                      <a:lnTo>
                        <a:pt x="269" y="326"/>
                      </a:lnTo>
                      <a:lnTo>
                        <a:pt x="287" y="330"/>
                      </a:lnTo>
                      <a:lnTo>
                        <a:pt x="269" y="336"/>
                      </a:lnTo>
                      <a:lnTo>
                        <a:pt x="285" y="347"/>
                      </a:lnTo>
                      <a:lnTo>
                        <a:pt x="314" y="361"/>
                      </a:lnTo>
                      <a:lnTo>
                        <a:pt x="354" y="375"/>
                      </a:lnTo>
                      <a:lnTo>
                        <a:pt x="395" y="388"/>
                      </a:lnTo>
                      <a:lnTo>
                        <a:pt x="395" y="373"/>
                      </a:lnTo>
                      <a:lnTo>
                        <a:pt x="372" y="347"/>
                      </a:lnTo>
                      <a:lnTo>
                        <a:pt x="349" y="324"/>
                      </a:lnTo>
                      <a:lnTo>
                        <a:pt x="376" y="338"/>
                      </a:lnTo>
                      <a:lnTo>
                        <a:pt x="382" y="328"/>
                      </a:lnTo>
                      <a:lnTo>
                        <a:pt x="399" y="347"/>
                      </a:lnTo>
                      <a:lnTo>
                        <a:pt x="403" y="343"/>
                      </a:lnTo>
                      <a:lnTo>
                        <a:pt x="411" y="351"/>
                      </a:lnTo>
                      <a:lnTo>
                        <a:pt x="430" y="357"/>
                      </a:lnTo>
                      <a:lnTo>
                        <a:pt x="436" y="363"/>
                      </a:lnTo>
                      <a:lnTo>
                        <a:pt x="436" y="351"/>
                      </a:lnTo>
                      <a:lnTo>
                        <a:pt x="446" y="351"/>
                      </a:lnTo>
                      <a:lnTo>
                        <a:pt x="449" y="326"/>
                      </a:lnTo>
                      <a:lnTo>
                        <a:pt x="457" y="336"/>
                      </a:lnTo>
                      <a:lnTo>
                        <a:pt x="461" y="324"/>
                      </a:lnTo>
                      <a:lnTo>
                        <a:pt x="463" y="314"/>
                      </a:lnTo>
                      <a:lnTo>
                        <a:pt x="455" y="312"/>
                      </a:lnTo>
                      <a:lnTo>
                        <a:pt x="453" y="307"/>
                      </a:lnTo>
                      <a:lnTo>
                        <a:pt x="457" y="299"/>
                      </a:lnTo>
                      <a:lnTo>
                        <a:pt x="453" y="293"/>
                      </a:lnTo>
                      <a:lnTo>
                        <a:pt x="446" y="291"/>
                      </a:lnTo>
                      <a:lnTo>
                        <a:pt x="440" y="289"/>
                      </a:lnTo>
                      <a:lnTo>
                        <a:pt x="432" y="280"/>
                      </a:lnTo>
                      <a:lnTo>
                        <a:pt x="428" y="283"/>
                      </a:lnTo>
                      <a:lnTo>
                        <a:pt x="434" y="276"/>
                      </a:lnTo>
                      <a:lnTo>
                        <a:pt x="426" y="278"/>
                      </a:lnTo>
                      <a:lnTo>
                        <a:pt x="426" y="270"/>
                      </a:lnTo>
                      <a:lnTo>
                        <a:pt x="426" y="260"/>
                      </a:lnTo>
                      <a:lnTo>
                        <a:pt x="411" y="262"/>
                      </a:lnTo>
                      <a:lnTo>
                        <a:pt x="415" y="256"/>
                      </a:lnTo>
                      <a:lnTo>
                        <a:pt x="413" y="248"/>
                      </a:lnTo>
                      <a:lnTo>
                        <a:pt x="409" y="239"/>
                      </a:lnTo>
                      <a:lnTo>
                        <a:pt x="428" y="252"/>
                      </a:lnTo>
                      <a:lnTo>
                        <a:pt x="436" y="245"/>
                      </a:lnTo>
                      <a:lnTo>
                        <a:pt x="434" y="235"/>
                      </a:lnTo>
                      <a:lnTo>
                        <a:pt x="446" y="235"/>
                      </a:lnTo>
                      <a:lnTo>
                        <a:pt x="444" y="231"/>
                      </a:lnTo>
                      <a:lnTo>
                        <a:pt x="457" y="235"/>
                      </a:lnTo>
                      <a:lnTo>
                        <a:pt x="479" y="243"/>
                      </a:lnTo>
                      <a:lnTo>
                        <a:pt x="486" y="239"/>
                      </a:lnTo>
                      <a:lnTo>
                        <a:pt x="469" y="250"/>
                      </a:lnTo>
                      <a:lnTo>
                        <a:pt x="515" y="237"/>
                      </a:lnTo>
                      <a:lnTo>
                        <a:pt x="494" y="248"/>
                      </a:lnTo>
                      <a:lnTo>
                        <a:pt x="475" y="260"/>
                      </a:lnTo>
                      <a:lnTo>
                        <a:pt x="482" y="260"/>
                      </a:lnTo>
                      <a:lnTo>
                        <a:pt x="479" y="268"/>
                      </a:lnTo>
                      <a:lnTo>
                        <a:pt x="492" y="268"/>
                      </a:lnTo>
                      <a:lnTo>
                        <a:pt x="488" y="278"/>
                      </a:lnTo>
                      <a:lnTo>
                        <a:pt x="494" y="272"/>
                      </a:lnTo>
                      <a:lnTo>
                        <a:pt x="502" y="278"/>
                      </a:lnTo>
                      <a:lnTo>
                        <a:pt x="515" y="280"/>
                      </a:lnTo>
                      <a:lnTo>
                        <a:pt x="517" y="266"/>
                      </a:lnTo>
                      <a:lnTo>
                        <a:pt x="519" y="264"/>
                      </a:lnTo>
                      <a:lnTo>
                        <a:pt x="529" y="250"/>
                      </a:lnTo>
                      <a:lnTo>
                        <a:pt x="539" y="260"/>
                      </a:lnTo>
                      <a:lnTo>
                        <a:pt x="544" y="252"/>
                      </a:lnTo>
                      <a:lnTo>
                        <a:pt x="556" y="250"/>
                      </a:lnTo>
                      <a:lnTo>
                        <a:pt x="548" y="248"/>
                      </a:lnTo>
                      <a:lnTo>
                        <a:pt x="568" y="245"/>
                      </a:lnTo>
                      <a:lnTo>
                        <a:pt x="554" y="241"/>
                      </a:lnTo>
                      <a:lnTo>
                        <a:pt x="570" y="235"/>
                      </a:lnTo>
                      <a:lnTo>
                        <a:pt x="587" y="235"/>
                      </a:lnTo>
                      <a:lnTo>
                        <a:pt x="587" y="233"/>
                      </a:lnTo>
                      <a:lnTo>
                        <a:pt x="581" y="227"/>
                      </a:lnTo>
                      <a:lnTo>
                        <a:pt x="597" y="227"/>
                      </a:lnTo>
                      <a:lnTo>
                        <a:pt x="577" y="217"/>
                      </a:lnTo>
                      <a:lnTo>
                        <a:pt x="572" y="223"/>
                      </a:lnTo>
                      <a:lnTo>
                        <a:pt x="562" y="223"/>
                      </a:lnTo>
                      <a:lnTo>
                        <a:pt x="564" y="217"/>
                      </a:lnTo>
                      <a:lnTo>
                        <a:pt x="544" y="225"/>
                      </a:lnTo>
                      <a:lnTo>
                        <a:pt x="543" y="221"/>
                      </a:lnTo>
                      <a:lnTo>
                        <a:pt x="556" y="206"/>
                      </a:lnTo>
                      <a:lnTo>
                        <a:pt x="548" y="214"/>
                      </a:lnTo>
                      <a:lnTo>
                        <a:pt x="521" y="212"/>
                      </a:lnTo>
                      <a:lnTo>
                        <a:pt x="541" y="208"/>
                      </a:lnTo>
                      <a:lnTo>
                        <a:pt x="519" y="210"/>
                      </a:lnTo>
                      <a:lnTo>
                        <a:pt x="535" y="206"/>
                      </a:lnTo>
                      <a:lnTo>
                        <a:pt x="521" y="204"/>
                      </a:lnTo>
                      <a:lnTo>
                        <a:pt x="543" y="200"/>
                      </a:lnTo>
                      <a:lnTo>
                        <a:pt x="543" y="198"/>
                      </a:lnTo>
                      <a:lnTo>
                        <a:pt x="527" y="192"/>
                      </a:lnTo>
                      <a:lnTo>
                        <a:pt x="523" y="192"/>
                      </a:lnTo>
                      <a:lnTo>
                        <a:pt x="529" y="183"/>
                      </a:lnTo>
                      <a:lnTo>
                        <a:pt x="513" y="192"/>
                      </a:lnTo>
                      <a:lnTo>
                        <a:pt x="508" y="185"/>
                      </a:lnTo>
                      <a:lnTo>
                        <a:pt x="500" y="190"/>
                      </a:lnTo>
                      <a:lnTo>
                        <a:pt x="506" y="183"/>
                      </a:lnTo>
                      <a:lnTo>
                        <a:pt x="488" y="188"/>
                      </a:lnTo>
                      <a:lnTo>
                        <a:pt x="498" y="179"/>
                      </a:lnTo>
                      <a:lnTo>
                        <a:pt x="486" y="179"/>
                      </a:lnTo>
                      <a:lnTo>
                        <a:pt x="475" y="175"/>
                      </a:lnTo>
                      <a:lnTo>
                        <a:pt x="463" y="173"/>
                      </a:lnTo>
                      <a:lnTo>
                        <a:pt x="484" y="169"/>
                      </a:lnTo>
                      <a:lnTo>
                        <a:pt x="446" y="163"/>
                      </a:lnTo>
                      <a:lnTo>
                        <a:pt x="465" y="161"/>
                      </a:lnTo>
                      <a:lnTo>
                        <a:pt x="446" y="157"/>
                      </a:lnTo>
                      <a:lnTo>
                        <a:pt x="475" y="157"/>
                      </a:lnTo>
                      <a:lnTo>
                        <a:pt x="463" y="153"/>
                      </a:lnTo>
                      <a:lnTo>
                        <a:pt x="480" y="150"/>
                      </a:lnTo>
                      <a:lnTo>
                        <a:pt x="453" y="148"/>
                      </a:lnTo>
                      <a:lnTo>
                        <a:pt x="465" y="144"/>
                      </a:lnTo>
                      <a:lnTo>
                        <a:pt x="451" y="144"/>
                      </a:lnTo>
                      <a:lnTo>
                        <a:pt x="473" y="142"/>
                      </a:lnTo>
                      <a:lnTo>
                        <a:pt x="455" y="140"/>
                      </a:lnTo>
                      <a:lnTo>
                        <a:pt x="508" y="144"/>
                      </a:lnTo>
                      <a:lnTo>
                        <a:pt x="467" y="132"/>
                      </a:lnTo>
                      <a:lnTo>
                        <a:pt x="438" y="132"/>
                      </a:lnTo>
                      <a:lnTo>
                        <a:pt x="508" y="126"/>
                      </a:lnTo>
                      <a:lnTo>
                        <a:pt x="494" y="109"/>
                      </a:lnTo>
                      <a:lnTo>
                        <a:pt x="455" y="124"/>
                      </a:lnTo>
                      <a:lnTo>
                        <a:pt x="436" y="128"/>
                      </a:lnTo>
                      <a:lnTo>
                        <a:pt x="479" y="113"/>
                      </a:lnTo>
                      <a:lnTo>
                        <a:pt x="438" y="119"/>
                      </a:lnTo>
                      <a:lnTo>
                        <a:pt x="496" y="101"/>
                      </a:lnTo>
                      <a:lnTo>
                        <a:pt x="463" y="97"/>
                      </a:lnTo>
                      <a:lnTo>
                        <a:pt x="451" y="99"/>
                      </a:lnTo>
                      <a:lnTo>
                        <a:pt x="465" y="91"/>
                      </a:lnTo>
                      <a:lnTo>
                        <a:pt x="428" y="103"/>
                      </a:lnTo>
                      <a:lnTo>
                        <a:pt x="407" y="117"/>
                      </a:lnTo>
                      <a:lnTo>
                        <a:pt x="418" y="10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8" name="Freeform 438"/>
                <p:cNvSpPr>
                  <a:spLocks/>
                </p:cNvSpPr>
                <p:nvPr/>
              </p:nvSpPr>
              <p:spPr bwMode="auto">
                <a:xfrm>
                  <a:off x="2836599" y="1186503"/>
                  <a:ext cx="562913" cy="124303"/>
                </a:xfrm>
                <a:custGeom>
                  <a:avLst/>
                  <a:gdLst>
                    <a:gd name="T0" fmla="*/ 140535 w 729"/>
                    <a:gd name="T1" fmla="*/ 90808 h 167"/>
                    <a:gd name="T2" fmla="*/ 103471 w 729"/>
                    <a:gd name="T3" fmla="*/ 102717 h 167"/>
                    <a:gd name="T4" fmla="*/ 84167 w 729"/>
                    <a:gd name="T5" fmla="*/ 93785 h 167"/>
                    <a:gd name="T6" fmla="*/ 101927 w 729"/>
                    <a:gd name="T7" fmla="*/ 86342 h 167"/>
                    <a:gd name="T8" fmla="*/ 67179 w 729"/>
                    <a:gd name="T9" fmla="*/ 82621 h 167"/>
                    <a:gd name="T10" fmla="*/ 154434 w 729"/>
                    <a:gd name="T11" fmla="*/ 73689 h 167"/>
                    <a:gd name="T12" fmla="*/ 116598 w 729"/>
                    <a:gd name="T13" fmla="*/ 49126 h 167"/>
                    <a:gd name="T14" fmla="*/ 167561 w 729"/>
                    <a:gd name="T15" fmla="*/ 47637 h 167"/>
                    <a:gd name="T16" fmla="*/ 189954 w 729"/>
                    <a:gd name="T17" fmla="*/ 55080 h 167"/>
                    <a:gd name="T18" fmla="*/ 176827 w 729"/>
                    <a:gd name="T19" fmla="*/ 44660 h 167"/>
                    <a:gd name="T20" fmla="*/ 257905 w 729"/>
                    <a:gd name="T21" fmla="*/ 35728 h 167"/>
                    <a:gd name="T22" fmla="*/ 299603 w 729"/>
                    <a:gd name="T23" fmla="*/ 26052 h 167"/>
                    <a:gd name="T24" fmla="*/ 213892 w 729"/>
                    <a:gd name="T25" fmla="*/ 33495 h 167"/>
                    <a:gd name="T26" fmla="*/ 128953 w 729"/>
                    <a:gd name="T27" fmla="*/ 38705 h 167"/>
                    <a:gd name="T28" fmla="*/ 200765 w 729"/>
                    <a:gd name="T29" fmla="*/ 30518 h 167"/>
                    <a:gd name="T30" fmla="*/ 115054 w 729"/>
                    <a:gd name="T31" fmla="*/ 40194 h 167"/>
                    <a:gd name="T32" fmla="*/ 89572 w 729"/>
                    <a:gd name="T33" fmla="*/ 34983 h 167"/>
                    <a:gd name="T34" fmla="*/ 169106 w 729"/>
                    <a:gd name="T35" fmla="*/ 29029 h 167"/>
                    <a:gd name="T36" fmla="*/ 85711 w 729"/>
                    <a:gd name="T37" fmla="*/ 30518 h 167"/>
                    <a:gd name="T38" fmla="*/ 137447 w 729"/>
                    <a:gd name="T39" fmla="*/ 24563 h 167"/>
                    <a:gd name="T40" fmla="*/ 70268 w 729"/>
                    <a:gd name="T41" fmla="*/ 23074 h 167"/>
                    <a:gd name="T42" fmla="*/ 160612 w 729"/>
                    <a:gd name="T43" fmla="*/ 12654 h 167"/>
                    <a:gd name="T44" fmla="*/ 269488 w 729"/>
                    <a:gd name="T45" fmla="*/ 18608 h 167"/>
                    <a:gd name="T46" fmla="*/ 256361 w 729"/>
                    <a:gd name="T47" fmla="*/ 2977 h 167"/>
                    <a:gd name="T48" fmla="*/ 342844 w 729"/>
                    <a:gd name="T49" fmla="*/ 5955 h 167"/>
                    <a:gd name="T50" fmla="*/ 323540 w 729"/>
                    <a:gd name="T51" fmla="*/ 0 h 167"/>
                    <a:gd name="T52" fmla="*/ 443226 w 729"/>
                    <a:gd name="T53" fmla="*/ 5955 h 167"/>
                    <a:gd name="T54" fmla="*/ 562913 w 729"/>
                    <a:gd name="T55" fmla="*/ 11909 h 167"/>
                    <a:gd name="T56" fmla="*/ 483379 w 729"/>
                    <a:gd name="T57" fmla="*/ 21586 h 167"/>
                    <a:gd name="T58" fmla="*/ 403074 w 729"/>
                    <a:gd name="T59" fmla="*/ 32006 h 167"/>
                    <a:gd name="T60" fmla="*/ 497278 w 729"/>
                    <a:gd name="T61" fmla="*/ 24563 h 167"/>
                    <a:gd name="T62" fmla="*/ 411567 w 729"/>
                    <a:gd name="T63" fmla="*/ 40194 h 167"/>
                    <a:gd name="T64" fmla="*/ 323540 w 729"/>
                    <a:gd name="T65" fmla="*/ 56569 h 167"/>
                    <a:gd name="T66" fmla="*/ 242462 w 729"/>
                    <a:gd name="T67" fmla="*/ 63268 h 167"/>
                    <a:gd name="T68" fmla="*/ 288792 w 729"/>
                    <a:gd name="T69" fmla="*/ 70711 h 167"/>
                    <a:gd name="T70" fmla="*/ 226246 w 729"/>
                    <a:gd name="T71" fmla="*/ 75177 h 167"/>
                    <a:gd name="T72" fmla="*/ 277210 w 729"/>
                    <a:gd name="T73" fmla="*/ 79643 h 167"/>
                    <a:gd name="T74" fmla="*/ 205398 w 729"/>
                    <a:gd name="T75" fmla="*/ 93785 h 167"/>
                    <a:gd name="T76" fmla="*/ 200765 w 729"/>
                    <a:gd name="T77" fmla="*/ 104206 h 167"/>
                    <a:gd name="T78" fmla="*/ 142080 w 729"/>
                    <a:gd name="T79" fmla="*/ 106439 h 167"/>
                    <a:gd name="T80" fmla="*/ 186865 w 729"/>
                    <a:gd name="T81" fmla="*/ 119837 h 167"/>
                    <a:gd name="T82" fmla="*/ 128953 w 729"/>
                    <a:gd name="T83" fmla="*/ 124303 h 167"/>
                    <a:gd name="T84" fmla="*/ 64862 w 729"/>
                    <a:gd name="T85" fmla="*/ 122814 h 167"/>
                    <a:gd name="T86" fmla="*/ 0 w 729"/>
                    <a:gd name="T87" fmla="*/ 121326 h 167"/>
                    <a:gd name="T88" fmla="*/ 44786 w 729"/>
                    <a:gd name="T89" fmla="*/ 107928 h 167"/>
                    <a:gd name="T90" fmla="*/ 36292 w 729"/>
                    <a:gd name="T91" fmla="*/ 98251 h 167"/>
                    <a:gd name="T92" fmla="*/ 103471 w 729"/>
                    <a:gd name="T93" fmla="*/ 105695 h 167"/>
                    <a:gd name="T94" fmla="*/ 140535 w 729"/>
                    <a:gd name="T95" fmla="*/ 90808 h 16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729"/>
                    <a:gd name="T145" fmla="*/ 0 h 167"/>
                    <a:gd name="T146" fmla="*/ 729 w 729"/>
                    <a:gd name="T147" fmla="*/ 167 h 16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729" h="167">
                      <a:moveTo>
                        <a:pt x="182" y="122"/>
                      </a:moveTo>
                      <a:lnTo>
                        <a:pt x="134" y="138"/>
                      </a:lnTo>
                      <a:lnTo>
                        <a:pt x="109" y="126"/>
                      </a:lnTo>
                      <a:lnTo>
                        <a:pt x="132" y="116"/>
                      </a:lnTo>
                      <a:lnTo>
                        <a:pt x="87" y="111"/>
                      </a:lnTo>
                      <a:lnTo>
                        <a:pt x="200" y="99"/>
                      </a:lnTo>
                      <a:lnTo>
                        <a:pt x="151" y="66"/>
                      </a:lnTo>
                      <a:lnTo>
                        <a:pt x="217" y="64"/>
                      </a:lnTo>
                      <a:lnTo>
                        <a:pt x="246" y="74"/>
                      </a:lnTo>
                      <a:lnTo>
                        <a:pt x="229" y="60"/>
                      </a:lnTo>
                      <a:lnTo>
                        <a:pt x="334" y="48"/>
                      </a:lnTo>
                      <a:lnTo>
                        <a:pt x="388" y="35"/>
                      </a:lnTo>
                      <a:lnTo>
                        <a:pt x="277" y="45"/>
                      </a:lnTo>
                      <a:lnTo>
                        <a:pt x="167" y="52"/>
                      </a:lnTo>
                      <a:lnTo>
                        <a:pt x="260" y="41"/>
                      </a:lnTo>
                      <a:lnTo>
                        <a:pt x="149" y="54"/>
                      </a:lnTo>
                      <a:lnTo>
                        <a:pt x="116" y="47"/>
                      </a:lnTo>
                      <a:lnTo>
                        <a:pt x="219" y="39"/>
                      </a:lnTo>
                      <a:lnTo>
                        <a:pt x="111" y="41"/>
                      </a:lnTo>
                      <a:lnTo>
                        <a:pt x="178" y="33"/>
                      </a:lnTo>
                      <a:lnTo>
                        <a:pt x="91" y="31"/>
                      </a:lnTo>
                      <a:lnTo>
                        <a:pt x="208" y="17"/>
                      </a:lnTo>
                      <a:lnTo>
                        <a:pt x="349" y="25"/>
                      </a:lnTo>
                      <a:lnTo>
                        <a:pt x="332" y="4"/>
                      </a:lnTo>
                      <a:lnTo>
                        <a:pt x="444" y="8"/>
                      </a:lnTo>
                      <a:lnTo>
                        <a:pt x="419" y="0"/>
                      </a:lnTo>
                      <a:lnTo>
                        <a:pt x="574" y="8"/>
                      </a:lnTo>
                      <a:lnTo>
                        <a:pt x="729" y="16"/>
                      </a:lnTo>
                      <a:lnTo>
                        <a:pt x="626" y="29"/>
                      </a:lnTo>
                      <a:lnTo>
                        <a:pt x="522" y="43"/>
                      </a:lnTo>
                      <a:lnTo>
                        <a:pt x="644" y="33"/>
                      </a:lnTo>
                      <a:lnTo>
                        <a:pt x="533" y="54"/>
                      </a:lnTo>
                      <a:lnTo>
                        <a:pt x="419" y="76"/>
                      </a:lnTo>
                      <a:lnTo>
                        <a:pt x="314" y="85"/>
                      </a:lnTo>
                      <a:lnTo>
                        <a:pt x="374" y="95"/>
                      </a:lnTo>
                      <a:lnTo>
                        <a:pt x="293" y="101"/>
                      </a:lnTo>
                      <a:lnTo>
                        <a:pt x="359" y="107"/>
                      </a:lnTo>
                      <a:lnTo>
                        <a:pt x="266" y="126"/>
                      </a:lnTo>
                      <a:lnTo>
                        <a:pt x="260" y="140"/>
                      </a:lnTo>
                      <a:lnTo>
                        <a:pt x="184" y="143"/>
                      </a:lnTo>
                      <a:lnTo>
                        <a:pt x="242" y="161"/>
                      </a:lnTo>
                      <a:lnTo>
                        <a:pt x="167" y="167"/>
                      </a:lnTo>
                      <a:lnTo>
                        <a:pt x="84" y="165"/>
                      </a:lnTo>
                      <a:lnTo>
                        <a:pt x="0" y="163"/>
                      </a:lnTo>
                      <a:lnTo>
                        <a:pt x="58" y="145"/>
                      </a:lnTo>
                      <a:lnTo>
                        <a:pt x="47" y="132"/>
                      </a:lnTo>
                      <a:lnTo>
                        <a:pt x="134" y="142"/>
                      </a:lnTo>
                      <a:lnTo>
                        <a:pt x="182" y="12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49" name="Freeform 439"/>
                <p:cNvSpPr>
                  <a:spLocks/>
                </p:cNvSpPr>
                <p:nvPr/>
              </p:nvSpPr>
              <p:spPr bwMode="auto">
                <a:xfrm>
                  <a:off x="2144056" y="1381836"/>
                  <a:ext cx="317860" cy="111873"/>
                </a:xfrm>
                <a:custGeom>
                  <a:avLst/>
                  <a:gdLst>
                    <a:gd name="T0" fmla="*/ 208226 w 403"/>
                    <a:gd name="T1" fmla="*/ 100905 h 153"/>
                    <a:gd name="T2" fmla="*/ 197184 w 403"/>
                    <a:gd name="T3" fmla="*/ 93593 h 153"/>
                    <a:gd name="T4" fmla="*/ 189296 w 403"/>
                    <a:gd name="T5" fmla="*/ 90668 h 153"/>
                    <a:gd name="T6" fmla="*/ 156169 w 403"/>
                    <a:gd name="T7" fmla="*/ 101636 h 153"/>
                    <a:gd name="T8" fmla="*/ 102536 w 403"/>
                    <a:gd name="T9" fmla="*/ 106023 h 153"/>
                    <a:gd name="T10" fmla="*/ 47324 w 403"/>
                    <a:gd name="T11" fmla="*/ 111873 h 153"/>
                    <a:gd name="T12" fmla="*/ 48902 w 403"/>
                    <a:gd name="T13" fmla="*/ 99443 h 153"/>
                    <a:gd name="T14" fmla="*/ 0 w 403"/>
                    <a:gd name="T15" fmla="*/ 84819 h 153"/>
                    <a:gd name="T16" fmla="*/ 11042 w 403"/>
                    <a:gd name="T17" fmla="*/ 73851 h 153"/>
                    <a:gd name="T18" fmla="*/ 67042 w 403"/>
                    <a:gd name="T19" fmla="*/ 70926 h 153"/>
                    <a:gd name="T20" fmla="*/ 123831 w 403"/>
                    <a:gd name="T21" fmla="*/ 68001 h 153"/>
                    <a:gd name="T22" fmla="*/ 71775 w 403"/>
                    <a:gd name="T23" fmla="*/ 62152 h 153"/>
                    <a:gd name="T24" fmla="*/ 14986 w 403"/>
                    <a:gd name="T25" fmla="*/ 59227 h 153"/>
                    <a:gd name="T26" fmla="*/ 11042 w 403"/>
                    <a:gd name="T27" fmla="*/ 54109 h 153"/>
                    <a:gd name="T28" fmla="*/ 81240 w 403"/>
                    <a:gd name="T29" fmla="*/ 40947 h 153"/>
                    <a:gd name="T30" fmla="*/ 27606 w 403"/>
                    <a:gd name="T31" fmla="*/ 42409 h 153"/>
                    <a:gd name="T32" fmla="*/ 42592 w 403"/>
                    <a:gd name="T33" fmla="*/ 38022 h 153"/>
                    <a:gd name="T34" fmla="*/ 16563 w 403"/>
                    <a:gd name="T35" fmla="*/ 38022 h 153"/>
                    <a:gd name="T36" fmla="*/ 53634 w 403"/>
                    <a:gd name="T37" fmla="*/ 24129 h 153"/>
                    <a:gd name="T38" fmla="*/ 52056 w 403"/>
                    <a:gd name="T39" fmla="*/ 19742 h 153"/>
                    <a:gd name="T40" fmla="*/ 100958 w 403"/>
                    <a:gd name="T41" fmla="*/ 9506 h 153"/>
                    <a:gd name="T42" fmla="*/ 148282 w 403"/>
                    <a:gd name="T43" fmla="*/ 0 h 153"/>
                    <a:gd name="T44" fmla="*/ 153014 w 403"/>
                    <a:gd name="T45" fmla="*/ 5850 h 153"/>
                    <a:gd name="T46" fmla="*/ 130141 w 403"/>
                    <a:gd name="T47" fmla="*/ 16818 h 153"/>
                    <a:gd name="T48" fmla="*/ 149860 w 403"/>
                    <a:gd name="T49" fmla="*/ 13893 h 153"/>
                    <a:gd name="T50" fmla="*/ 166423 w 403"/>
                    <a:gd name="T51" fmla="*/ 8774 h 153"/>
                    <a:gd name="T52" fmla="*/ 186930 w 403"/>
                    <a:gd name="T53" fmla="*/ 18280 h 153"/>
                    <a:gd name="T54" fmla="*/ 174310 w 403"/>
                    <a:gd name="T55" fmla="*/ 24129 h 153"/>
                    <a:gd name="T56" fmla="*/ 183775 w 403"/>
                    <a:gd name="T57" fmla="*/ 22667 h 153"/>
                    <a:gd name="T58" fmla="*/ 208226 w 403"/>
                    <a:gd name="T59" fmla="*/ 21205 h 153"/>
                    <a:gd name="T60" fmla="*/ 211381 w 403"/>
                    <a:gd name="T61" fmla="*/ 13893 h 153"/>
                    <a:gd name="T62" fmla="*/ 213747 w 403"/>
                    <a:gd name="T63" fmla="*/ 8774 h 153"/>
                    <a:gd name="T64" fmla="*/ 235832 w 403"/>
                    <a:gd name="T65" fmla="*/ 18280 h 153"/>
                    <a:gd name="T66" fmla="*/ 223212 w 403"/>
                    <a:gd name="T67" fmla="*/ 39485 h 153"/>
                    <a:gd name="T68" fmla="*/ 242930 w 403"/>
                    <a:gd name="T69" fmla="*/ 32173 h 153"/>
                    <a:gd name="T70" fmla="*/ 261860 w 403"/>
                    <a:gd name="T71" fmla="*/ 4387 h 153"/>
                    <a:gd name="T72" fmla="*/ 291832 w 403"/>
                    <a:gd name="T73" fmla="*/ 4387 h 153"/>
                    <a:gd name="T74" fmla="*/ 298142 w 403"/>
                    <a:gd name="T75" fmla="*/ 18280 h 153"/>
                    <a:gd name="T76" fmla="*/ 278423 w 403"/>
                    <a:gd name="T77" fmla="*/ 48259 h 153"/>
                    <a:gd name="T78" fmla="*/ 281578 w 403"/>
                    <a:gd name="T79" fmla="*/ 62152 h 153"/>
                    <a:gd name="T80" fmla="*/ 287888 w 403"/>
                    <a:gd name="T81" fmla="*/ 63614 h 153"/>
                    <a:gd name="T82" fmla="*/ 317860 w 403"/>
                    <a:gd name="T83" fmla="*/ 72388 h 153"/>
                    <a:gd name="T84" fmla="*/ 313128 w 403"/>
                    <a:gd name="T85" fmla="*/ 78238 h 153"/>
                    <a:gd name="T86" fmla="*/ 299719 w 403"/>
                    <a:gd name="T87" fmla="*/ 83356 h 153"/>
                    <a:gd name="T88" fmla="*/ 304452 w 403"/>
                    <a:gd name="T89" fmla="*/ 78238 h 153"/>
                    <a:gd name="T90" fmla="*/ 290254 w 403"/>
                    <a:gd name="T91" fmla="*/ 81894 h 153"/>
                    <a:gd name="T92" fmla="*/ 283156 w 403"/>
                    <a:gd name="T93" fmla="*/ 81894 h 153"/>
                    <a:gd name="T94" fmla="*/ 268958 w 403"/>
                    <a:gd name="T95" fmla="*/ 87744 h 153"/>
                    <a:gd name="T96" fmla="*/ 261860 w 403"/>
                    <a:gd name="T97" fmla="*/ 86281 h 153"/>
                    <a:gd name="T98" fmla="*/ 252395 w 403"/>
                    <a:gd name="T99" fmla="*/ 97980 h 153"/>
                    <a:gd name="T100" fmla="*/ 283156 w 403"/>
                    <a:gd name="T101" fmla="*/ 87744 h 153"/>
                    <a:gd name="T102" fmla="*/ 280001 w 403"/>
                    <a:gd name="T103" fmla="*/ 93593 h 153"/>
                    <a:gd name="T104" fmla="*/ 268958 w 403"/>
                    <a:gd name="T105" fmla="*/ 100905 h 153"/>
                    <a:gd name="T106" fmla="*/ 208226 w 403"/>
                    <a:gd name="T107" fmla="*/ 100905 h 153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403"/>
                    <a:gd name="T163" fmla="*/ 0 h 153"/>
                    <a:gd name="T164" fmla="*/ 403 w 403"/>
                    <a:gd name="T165" fmla="*/ 153 h 153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403" h="153">
                      <a:moveTo>
                        <a:pt x="264" y="138"/>
                      </a:moveTo>
                      <a:lnTo>
                        <a:pt x="250" y="128"/>
                      </a:lnTo>
                      <a:lnTo>
                        <a:pt x="240" y="124"/>
                      </a:lnTo>
                      <a:lnTo>
                        <a:pt x="198" y="139"/>
                      </a:lnTo>
                      <a:lnTo>
                        <a:pt x="130" y="145"/>
                      </a:lnTo>
                      <a:lnTo>
                        <a:pt x="60" y="153"/>
                      </a:lnTo>
                      <a:lnTo>
                        <a:pt x="62" y="136"/>
                      </a:lnTo>
                      <a:lnTo>
                        <a:pt x="0" y="116"/>
                      </a:lnTo>
                      <a:lnTo>
                        <a:pt x="14" y="101"/>
                      </a:lnTo>
                      <a:lnTo>
                        <a:pt x="85" y="97"/>
                      </a:lnTo>
                      <a:lnTo>
                        <a:pt x="157" y="93"/>
                      </a:lnTo>
                      <a:lnTo>
                        <a:pt x="91" y="85"/>
                      </a:lnTo>
                      <a:lnTo>
                        <a:pt x="19" y="81"/>
                      </a:lnTo>
                      <a:lnTo>
                        <a:pt x="14" y="74"/>
                      </a:lnTo>
                      <a:lnTo>
                        <a:pt x="103" y="56"/>
                      </a:lnTo>
                      <a:lnTo>
                        <a:pt x="35" y="58"/>
                      </a:lnTo>
                      <a:lnTo>
                        <a:pt x="54" y="52"/>
                      </a:lnTo>
                      <a:lnTo>
                        <a:pt x="21" y="52"/>
                      </a:lnTo>
                      <a:lnTo>
                        <a:pt x="68" y="33"/>
                      </a:lnTo>
                      <a:lnTo>
                        <a:pt x="66" y="27"/>
                      </a:lnTo>
                      <a:lnTo>
                        <a:pt x="128" y="13"/>
                      </a:lnTo>
                      <a:lnTo>
                        <a:pt x="188" y="0"/>
                      </a:lnTo>
                      <a:lnTo>
                        <a:pt x="194" y="8"/>
                      </a:lnTo>
                      <a:lnTo>
                        <a:pt x="165" y="23"/>
                      </a:lnTo>
                      <a:lnTo>
                        <a:pt x="190" y="19"/>
                      </a:lnTo>
                      <a:lnTo>
                        <a:pt x="211" y="12"/>
                      </a:lnTo>
                      <a:lnTo>
                        <a:pt x="237" y="25"/>
                      </a:lnTo>
                      <a:lnTo>
                        <a:pt x="221" y="33"/>
                      </a:lnTo>
                      <a:lnTo>
                        <a:pt x="233" y="31"/>
                      </a:lnTo>
                      <a:lnTo>
                        <a:pt x="264" y="29"/>
                      </a:lnTo>
                      <a:lnTo>
                        <a:pt x="268" y="19"/>
                      </a:lnTo>
                      <a:lnTo>
                        <a:pt x="271" y="12"/>
                      </a:lnTo>
                      <a:lnTo>
                        <a:pt x="299" y="25"/>
                      </a:lnTo>
                      <a:lnTo>
                        <a:pt x="283" y="54"/>
                      </a:lnTo>
                      <a:lnTo>
                        <a:pt x="308" y="44"/>
                      </a:lnTo>
                      <a:lnTo>
                        <a:pt x="332" y="6"/>
                      </a:lnTo>
                      <a:lnTo>
                        <a:pt x="370" y="6"/>
                      </a:lnTo>
                      <a:lnTo>
                        <a:pt x="378" y="25"/>
                      </a:lnTo>
                      <a:lnTo>
                        <a:pt x="353" y="66"/>
                      </a:lnTo>
                      <a:lnTo>
                        <a:pt x="357" y="85"/>
                      </a:lnTo>
                      <a:lnTo>
                        <a:pt x="365" y="87"/>
                      </a:lnTo>
                      <a:lnTo>
                        <a:pt x="403" y="99"/>
                      </a:lnTo>
                      <a:lnTo>
                        <a:pt x="397" y="107"/>
                      </a:lnTo>
                      <a:lnTo>
                        <a:pt x="380" y="114"/>
                      </a:lnTo>
                      <a:lnTo>
                        <a:pt x="386" y="107"/>
                      </a:lnTo>
                      <a:lnTo>
                        <a:pt x="368" y="112"/>
                      </a:lnTo>
                      <a:lnTo>
                        <a:pt x="359" y="112"/>
                      </a:lnTo>
                      <a:lnTo>
                        <a:pt x="341" y="120"/>
                      </a:lnTo>
                      <a:lnTo>
                        <a:pt x="332" y="118"/>
                      </a:lnTo>
                      <a:lnTo>
                        <a:pt x="320" y="134"/>
                      </a:lnTo>
                      <a:lnTo>
                        <a:pt x="359" y="120"/>
                      </a:lnTo>
                      <a:lnTo>
                        <a:pt x="355" y="128"/>
                      </a:lnTo>
                      <a:lnTo>
                        <a:pt x="341" y="138"/>
                      </a:lnTo>
                      <a:lnTo>
                        <a:pt x="264" y="13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0" name="Freeform 440"/>
                <p:cNvSpPr>
                  <a:spLocks/>
                </p:cNvSpPr>
                <p:nvPr/>
              </p:nvSpPr>
              <p:spPr bwMode="auto">
                <a:xfrm>
                  <a:off x="2057044" y="1351648"/>
                  <a:ext cx="223745" cy="83460"/>
                </a:xfrm>
                <a:custGeom>
                  <a:avLst/>
                  <a:gdLst>
                    <a:gd name="T0" fmla="*/ 100800 w 293"/>
                    <a:gd name="T1" fmla="*/ 56720 h 103"/>
                    <a:gd name="T2" fmla="*/ 67963 w 293"/>
                    <a:gd name="T3" fmla="*/ 73737 h 103"/>
                    <a:gd name="T4" fmla="*/ 17564 w 293"/>
                    <a:gd name="T5" fmla="*/ 83460 h 103"/>
                    <a:gd name="T6" fmla="*/ 9927 w 293"/>
                    <a:gd name="T7" fmla="*/ 64013 h 103"/>
                    <a:gd name="T8" fmla="*/ 0 w 293"/>
                    <a:gd name="T9" fmla="*/ 56720 h 103"/>
                    <a:gd name="T10" fmla="*/ 32073 w 293"/>
                    <a:gd name="T11" fmla="*/ 40515 h 103"/>
                    <a:gd name="T12" fmla="*/ 44291 w 293"/>
                    <a:gd name="T13" fmla="*/ 33222 h 103"/>
                    <a:gd name="T14" fmla="*/ 82473 w 293"/>
                    <a:gd name="T15" fmla="*/ 13775 h 103"/>
                    <a:gd name="T16" fmla="*/ 80945 w 293"/>
                    <a:gd name="T17" fmla="*/ 1621 h 103"/>
                    <a:gd name="T18" fmla="*/ 151200 w 293"/>
                    <a:gd name="T19" fmla="*/ 0 h 103"/>
                    <a:gd name="T20" fmla="*/ 167236 w 293"/>
                    <a:gd name="T21" fmla="*/ 4862 h 103"/>
                    <a:gd name="T22" fmla="*/ 173345 w 293"/>
                    <a:gd name="T23" fmla="*/ 8103 h 103"/>
                    <a:gd name="T24" fmla="*/ 206945 w 293"/>
                    <a:gd name="T25" fmla="*/ 4862 h 103"/>
                    <a:gd name="T26" fmla="*/ 223745 w 293"/>
                    <a:gd name="T27" fmla="*/ 21878 h 103"/>
                    <a:gd name="T28" fmla="*/ 174872 w 293"/>
                    <a:gd name="T29" fmla="*/ 35653 h 103"/>
                    <a:gd name="T30" fmla="*/ 124472 w 293"/>
                    <a:gd name="T31" fmla="*/ 48617 h 103"/>
                    <a:gd name="T32" fmla="*/ 100800 w 293"/>
                    <a:gd name="T33" fmla="*/ 56720 h 10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93"/>
                    <a:gd name="T52" fmla="*/ 0 h 103"/>
                    <a:gd name="T53" fmla="*/ 293 w 293"/>
                    <a:gd name="T54" fmla="*/ 103 h 103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93" h="103">
                      <a:moveTo>
                        <a:pt x="132" y="70"/>
                      </a:moveTo>
                      <a:lnTo>
                        <a:pt x="89" y="91"/>
                      </a:lnTo>
                      <a:lnTo>
                        <a:pt x="23" y="103"/>
                      </a:lnTo>
                      <a:lnTo>
                        <a:pt x="13" y="79"/>
                      </a:lnTo>
                      <a:lnTo>
                        <a:pt x="0" y="70"/>
                      </a:lnTo>
                      <a:lnTo>
                        <a:pt x="42" y="50"/>
                      </a:lnTo>
                      <a:lnTo>
                        <a:pt x="58" y="41"/>
                      </a:lnTo>
                      <a:lnTo>
                        <a:pt x="108" y="17"/>
                      </a:lnTo>
                      <a:lnTo>
                        <a:pt x="106" y="2"/>
                      </a:lnTo>
                      <a:lnTo>
                        <a:pt x="198" y="0"/>
                      </a:lnTo>
                      <a:lnTo>
                        <a:pt x="219" y="6"/>
                      </a:lnTo>
                      <a:lnTo>
                        <a:pt x="227" y="10"/>
                      </a:lnTo>
                      <a:lnTo>
                        <a:pt x="271" y="6"/>
                      </a:lnTo>
                      <a:lnTo>
                        <a:pt x="293" y="27"/>
                      </a:lnTo>
                      <a:lnTo>
                        <a:pt x="229" y="44"/>
                      </a:lnTo>
                      <a:lnTo>
                        <a:pt x="163" y="60"/>
                      </a:lnTo>
                      <a:lnTo>
                        <a:pt x="132" y="7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1" name="Freeform 441"/>
                <p:cNvSpPr>
                  <a:spLocks/>
                </p:cNvSpPr>
                <p:nvPr/>
              </p:nvSpPr>
              <p:spPr bwMode="auto">
                <a:xfrm>
                  <a:off x="2987538" y="1932320"/>
                  <a:ext cx="159818" cy="134957"/>
                </a:xfrm>
                <a:custGeom>
                  <a:avLst/>
                  <a:gdLst>
                    <a:gd name="T0" fmla="*/ 83171 w 196"/>
                    <a:gd name="T1" fmla="*/ 107369 h 181"/>
                    <a:gd name="T2" fmla="*/ 83171 w 196"/>
                    <a:gd name="T3" fmla="*/ 101404 h 181"/>
                    <a:gd name="T4" fmla="*/ 39139 w 196"/>
                    <a:gd name="T5" fmla="*/ 107369 h 181"/>
                    <a:gd name="T6" fmla="*/ 0 w 196"/>
                    <a:gd name="T7" fmla="*/ 104387 h 181"/>
                    <a:gd name="T8" fmla="*/ 8969 w 196"/>
                    <a:gd name="T9" fmla="*/ 94694 h 181"/>
                    <a:gd name="T10" fmla="*/ 28539 w 196"/>
                    <a:gd name="T11" fmla="*/ 82764 h 181"/>
                    <a:gd name="T12" fmla="*/ 8969 w 196"/>
                    <a:gd name="T13" fmla="*/ 82764 h 181"/>
                    <a:gd name="T14" fmla="*/ 17123 w 196"/>
                    <a:gd name="T15" fmla="*/ 78290 h 181"/>
                    <a:gd name="T16" fmla="*/ 39139 w 196"/>
                    <a:gd name="T17" fmla="*/ 68597 h 181"/>
                    <a:gd name="T18" fmla="*/ 42401 w 196"/>
                    <a:gd name="T19" fmla="*/ 70088 h 181"/>
                    <a:gd name="T20" fmla="*/ 47293 w 196"/>
                    <a:gd name="T21" fmla="*/ 62632 h 181"/>
                    <a:gd name="T22" fmla="*/ 40770 w 196"/>
                    <a:gd name="T23" fmla="*/ 58158 h 181"/>
                    <a:gd name="T24" fmla="*/ 52185 w 196"/>
                    <a:gd name="T25" fmla="*/ 53685 h 181"/>
                    <a:gd name="T26" fmla="*/ 77463 w 196"/>
                    <a:gd name="T27" fmla="*/ 23860 h 181"/>
                    <a:gd name="T28" fmla="*/ 104371 w 196"/>
                    <a:gd name="T29" fmla="*/ 2982 h 181"/>
                    <a:gd name="T30" fmla="*/ 116602 w 196"/>
                    <a:gd name="T31" fmla="*/ 0 h 181"/>
                    <a:gd name="T32" fmla="*/ 128017 w 196"/>
                    <a:gd name="T33" fmla="*/ 0 h 181"/>
                    <a:gd name="T34" fmla="*/ 110079 w 196"/>
                    <a:gd name="T35" fmla="*/ 7456 h 181"/>
                    <a:gd name="T36" fmla="*/ 114971 w 196"/>
                    <a:gd name="T37" fmla="*/ 11930 h 181"/>
                    <a:gd name="T38" fmla="*/ 104371 w 196"/>
                    <a:gd name="T39" fmla="*/ 20877 h 181"/>
                    <a:gd name="T40" fmla="*/ 75832 w 196"/>
                    <a:gd name="T41" fmla="*/ 53685 h 181"/>
                    <a:gd name="T42" fmla="*/ 99479 w 196"/>
                    <a:gd name="T43" fmla="*/ 38027 h 181"/>
                    <a:gd name="T44" fmla="*/ 94586 w 196"/>
                    <a:gd name="T45" fmla="*/ 43992 h 181"/>
                    <a:gd name="T46" fmla="*/ 111710 w 196"/>
                    <a:gd name="T47" fmla="*/ 42500 h 181"/>
                    <a:gd name="T48" fmla="*/ 96217 w 196"/>
                    <a:gd name="T49" fmla="*/ 50702 h 181"/>
                    <a:gd name="T50" fmla="*/ 96217 w 196"/>
                    <a:gd name="T51" fmla="*/ 55176 h 181"/>
                    <a:gd name="T52" fmla="*/ 111710 w 196"/>
                    <a:gd name="T53" fmla="*/ 58158 h 181"/>
                    <a:gd name="T54" fmla="*/ 109263 w 196"/>
                    <a:gd name="T55" fmla="*/ 64123 h 181"/>
                    <a:gd name="T56" fmla="*/ 132910 w 196"/>
                    <a:gd name="T57" fmla="*/ 56667 h 181"/>
                    <a:gd name="T58" fmla="*/ 131279 w 196"/>
                    <a:gd name="T59" fmla="*/ 61141 h 181"/>
                    <a:gd name="T60" fmla="*/ 151664 w 196"/>
                    <a:gd name="T61" fmla="*/ 59650 h 181"/>
                    <a:gd name="T62" fmla="*/ 135356 w 196"/>
                    <a:gd name="T63" fmla="*/ 73816 h 181"/>
                    <a:gd name="T64" fmla="*/ 140248 w 196"/>
                    <a:gd name="T65" fmla="*/ 79781 h 181"/>
                    <a:gd name="T66" fmla="*/ 132910 w 196"/>
                    <a:gd name="T67" fmla="*/ 85746 h 181"/>
                    <a:gd name="T68" fmla="*/ 159818 w 196"/>
                    <a:gd name="T69" fmla="*/ 79781 h 181"/>
                    <a:gd name="T70" fmla="*/ 132910 w 196"/>
                    <a:gd name="T71" fmla="*/ 94694 h 181"/>
                    <a:gd name="T72" fmla="*/ 136987 w 196"/>
                    <a:gd name="T73" fmla="*/ 99913 h 181"/>
                    <a:gd name="T74" fmla="*/ 134541 w 196"/>
                    <a:gd name="T75" fmla="*/ 99913 h 181"/>
                    <a:gd name="T76" fmla="*/ 134541 w 196"/>
                    <a:gd name="T77" fmla="*/ 107369 h 181"/>
                    <a:gd name="T78" fmla="*/ 158187 w 196"/>
                    <a:gd name="T79" fmla="*/ 91711 h 181"/>
                    <a:gd name="T80" fmla="*/ 146772 w 196"/>
                    <a:gd name="T81" fmla="*/ 107369 h 181"/>
                    <a:gd name="T82" fmla="*/ 158187 w 196"/>
                    <a:gd name="T83" fmla="*/ 101404 h 181"/>
                    <a:gd name="T84" fmla="*/ 159818 w 196"/>
                    <a:gd name="T85" fmla="*/ 110352 h 181"/>
                    <a:gd name="T86" fmla="*/ 138618 w 196"/>
                    <a:gd name="T87" fmla="*/ 134957 h 181"/>
                    <a:gd name="T88" fmla="*/ 129648 w 196"/>
                    <a:gd name="T89" fmla="*/ 130483 h 181"/>
                    <a:gd name="T90" fmla="*/ 131279 w 196"/>
                    <a:gd name="T91" fmla="*/ 121536 h 181"/>
                    <a:gd name="T92" fmla="*/ 116602 w 196"/>
                    <a:gd name="T93" fmla="*/ 127501 h 181"/>
                    <a:gd name="T94" fmla="*/ 129648 w 196"/>
                    <a:gd name="T95" fmla="*/ 107369 h 181"/>
                    <a:gd name="T96" fmla="*/ 124756 w 196"/>
                    <a:gd name="T97" fmla="*/ 101404 h 181"/>
                    <a:gd name="T98" fmla="*/ 110079 w 196"/>
                    <a:gd name="T99" fmla="*/ 114825 h 181"/>
                    <a:gd name="T100" fmla="*/ 116602 w 196"/>
                    <a:gd name="T101" fmla="*/ 108860 h 181"/>
                    <a:gd name="T102" fmla="*/ 79094 w 196"/>
                    <a:gd name="T103" fmla="*/ 128992 h 181"/>
                    <a:gd name="T104" fmla="*/ 77463 w 196"/>
                    <a:gd name="T105" fmla="*/ 123027 h 181"/>
                    <a:gd name="T106" fmla="*/ 109263 w 196"/>
                    <a:gd name="T107" fmla="*/ 105878 h 181"/>
                    <a:gd name="T108" fmla="*/ 101109 w 196"/>
                    <a:gd name="T109" fmla="*/ 108860 h 181"/>
                    <a:gd name="T110" fmla="*/ 106002 w 196"/>
                    <a:gd name="T111" fmla="*/ 102895 h 181"/>
                    <a:gd name="T112" fmla="*/ 94586 w 196"/>
                    <a:gd name="T113" fmla="*/ 105878 h 181"/>
                    <a:gd name="T114" fmla="*/ 83171 w 196"/>
                    <a:gd name="T115" fmla="*/ 111843 h 181"/>
                    <a:gd name="T116" fmla="*/ 74201 w 196"/>
                    <a:gd name="T117" fmla="*/ 110352 h 181"/>
                    <a:gd name="T118" fmla="*/ 83171 w 196"/>
                    <a:gd name="T119" fmla="*/ 107369 h 18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96"/>
                    <a:gd name="T181" fmla="*/ 0 h 181"/>
                    <a:gd name="T182" fmla="*/ 196 w 196"/>
                    <a:gd name="T183" fmla="*/ 181 h 18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96" h="181">
                      <a:moveTo>
                        <a:pt x="102" y="144"/>
                      </a:moveTo>
                      <a:lnTo>
                        <a:pt x="102" y="136"/>
                      </a:lnTo>
                      <a:lnTo>
                        <a:pt x="48" y="144"/>
                      </a:lnTo>
                      <a:lnTo>
                        <a:pt x="0" y="140"/>
                      </a:lnTo>
                      <a:lnTo>
                        <a:pt x="11" y="127"/>
                      </a:lnTo>
                      <a:lnTo>
                        <a:pt x="35" y="111"/>
                      </a:lnTo>
                      <a:lnTo>
                        <a:pt x="11" y="111"/>
                      </a:lnTo>
                      <a:lnTo>
                        <a:pt x="21" y="105"/>
                      </a:lnTo>
                      <a:lnTo>
                        <a:pt x="48" y="92"/>
                      </a:lnTo>
                      <a:lnTo>
                        <a:pt x="52" y="94"/>
                      </a:lnTo>
                      <a:lnTo>
                        <a:pt x="58" y="84"/>
                      </a:lnTo>
                      <a:lnTo>
                        <a:pt x="50" y="78"/>
                      </a:lnTo>
                      <a:lnTo>
                        <a:pt x="64" y="72"/>
                      </a:lnTo>
                      <a:lnTo>
                        <a:pt x="95" y="32"/>
                      </a:lnTo>
                      <a:lnTo>
                        <a:pt x="128" y="4"/>
                      </a:lnTo>
                      <a:lnTo>
                        <a:pt x="143" y="0"/>
                      </a:lnTo>
                      <a:lnTo>
                        <a:pt x="157" y="0"/>
                      </a:lnTo>
                      <a:lnTo>
                        <a:pt x="135" y="10"/>
                      </a:lnTo>
                      <a:lnTo>
                        <a:pt x="141" y="16"/>
                      </a:lnTo>
                      <a:lnTo>
                        <a:pt x="128" y="28"/>
                      </a:lnTo>
                      <a:lnTo>
                        <a:pt x="93" y="72"/>
                      </a:lnTo>
                      <a:lnTo>
                        <a:pt x="122" y="51"/>
                      </a:lnTo>
                      <a:lnTo>
                        <a:pt x="116" y="59"/>
                      </a:lnTo>
                      <a:lnTo>
                        <a:pt x="137" y="57"/>
                      </a:lnTo>
                      <a:lnTo>
                        <a:pt x="118" y="68"/>
                      </a:lnTo>
                      <a:lnTo>
                        <a:pt x="118" y="74"/>
                      </a:lnTo>
                      <a:lnTo>
                        <a:pt x="137" y="78"/>
                      </a:lnTo>
                      <a:lnTo>
                        <a:pt x="134" y="86"/>
                      </a:lnTo>
                      <a:lnTo>
                        <a:pt x="163" y="76"/>
                      </a:lnTo>
                      <a:lnTo>
                        <a:pt x="161" y="82"/>
                      </a:lnTo>
                      <a:lnTo>
                        <a:pt x="186" y="80"/>
                      </a:lnTo>
                      <a:lnTo>
                        <a:pt x="166" y="99"/>
                      </a:lnTo>
                      <a:lnTo>
                        <a:pt x="172" y="107"/>
                      </a:lnTo>
                      <a:lnTo>
                        <a:pt x="163" y="115"/>
                      </a:lnTo>
                      <a:lnTo>
                        <a:pt x="196" y="107"/>
                      </a:lnTo>
                      <a:lnTo>
                        <a:pt x="163" y="127"/>
                      </a:lnTo>
                      <a:lnTo>
                        <a:pt x="168" y="134"/>
                      </a:lnTo>
                      <a:lnTo>
                        <a:pt x="165" y="134"/>
                      </a:lnTo>
                      <a:lnTo>
                        <a:pt x="165" y="144"/>
                      </a:lnTo>
                      <a:lnTo>
                        <a:pt x="194" y="123"/>
                      </a:lnTo>
                      <a:lnTo>
                        <a:pt x="180" y="144"/>
                      </a:lnTo>
                      <a:lnTo>
                        <a:pt x="194" y="136"/>
                      </a:lnTo>
                      <a:lnTo>
                        <a:pt x="196" y="148"/>
                      </a:lnTo>
                      <a:lnTo>
                        <a:pt x="170" y="181"/>
                      </a:lnTo>
                      <a:lnTo>
                        <a:pt x="159" y="175"/>
                      </a:lnTo>
                      <a:lnTo>
                        <a:pt x="161" y="163"/>
                      </a:lnTo>
                      <a:lnTo>
                        <a:pt x="143" y="171"/>
                      </a:lnTo>
                      <a:lnTo>
                        <a:pt x="159" y="144"/>
                      </a:lnTo>
                      <a:lnTo>
                        <a:pt x="153" y="136"/>
                      </a:lnTo>
                      <a:lnTo>
                        <a:pt x="135" y="154"/>
                      </a:lnTo>
                      <a:lnTo>
                        <a:pt x="143" y="146"/>
                      </a:lnTo>
                      <a:lnTo>
                        <a:pt x="97" y="173"/>
                      </a:lnTo>
                      <a:lnTo>
                        <a:pt x="95" y="165"/>
                      </a:lnTo>
                      <a:lnTo>
                        <a:pt x="134" y="142"/>
                      </a:lnTo>
                      <a:lnTo>
                        <a:pt x="124" y="146"/>
                      </a:lnTo>
                      <a:lnTo>
                        <a:pt x="130" y="138"/>
                      </a:lnTo>
                      <a:lnTo>
                        <a:pt x="116" y="142"/>
                      </a:lnTo>
                      <a:lnTo>
                        <a:pt x="102" y="150"/>
                      </a:lnTo>
                      <a:lnTo>
                        <a:pt x="91" y="148"/>
                      </a:lnTo>
                      <a:lnTo>
                        <a:pt x="102" y="14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2" name="Freeform 442"/>
                <p:cNvSpPr>
                  <a:spLocks/>
                </p:cNvSpPr>
                <p:nvPr/>
              </p:nvSpPr>
              <p:spPr bwMode="auto">
                <a:xfrm>
                  <a:off x="2692763" y="1303703"/>
                  <a:ext cx="266363" cy="42618"/>
                </a:xfrm>
                <a:custGeom>
                  <a:avLst/>
                  <a:gdLst>
                    <a:gd name="T0" fmla="*/ 107317 w 345"/>
                    <a:gd name="T1" fmla="*/ 22019 h 60"/>
                    <a:gd name="T2" fmla="*/ 78751 w 345"/>
                    <a:gd name="T3" fmla="*/ 11365 h 60"/>
                    <a:gd name="T4" fmla="*/ 118126 w 345"/>
                    <a:gd name="T5" fmla="*/ 12785 h 60"/>
                    <a:gd name="T6" fmla="*/ 47868 w 345"/>
                    <a:gd name="T7" fmla="*/ 8524 h 60"/>
                    <a:gd name="T8" fmla="*/ 60993 w 345"/>
                    <a:gd name="T9" fmla="*/ 0 h 60"/>
                    <a:gd name="T10" fmla="*/ 0 w 345"/>
                    <a:gd name="T11" fmla="*/ 1421 h 60"/>
                    <a:gd name="T12" fmla="*/ 54817 w 345"/>
                    <a:gd name="T13" fmla="*/ 9944 h 60"/>
                    <a:gd name="T14" fmla="*/ 44780 w 345"/>
                    <a:gd name="T15" fmla="*/ 26281 h 60"/>
                    <a:gd name="T16" fmla="*/ 35515 w 345"/>
                    <a:gd name="T17" fmla="*/ 42618 h 60"/>
                    <a:gd name="T18" fmla="*/ 92648 w 345"/>
                    <a:gd name="T19" fmla="*/ 41197 h 60"/>
                    <a:gd name="T20" fmla="*/ 148237 w 345"/>
                    <a:gd name="T21" fmla="*/ 39777 h 60"/>
                    <a:gd name="T22" fmla="*/ 203054 w 345"/>
                    <a:gd name="T23" fmla="*/ 39777 h 60"/>
                    <a:gd name="T24" fmla="*/ 260186 w 345"/>
                    <a:gd name="T25" fmla="*/ 38356 h 60"/>
                    <a:gd name="T26" fmla="*/ 266363 w 345"/>
                    <a:gd name="T27" fmla="*/ 29122 h 60"/>
                    <a:gd name="T28" fmla="*/ 224671 w 345"/>
                    <a:gd name="T29" fmla="*/ 20599 h 60"/>
                    <a:gd name="T30" fmla="*/ 165994 w 345"/>
                    <a:gd name="T31" fmla="*/ 20599 h 60"/>
                    <a:gd name="T32" fmla="*/ 107317 w 345"/>
                    <a:gd name="T33" fmla="*/ 22019 h 6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345"/>
                    <a:gd name="T52" fmla="*/ 0 h 60"/>
                    <a:gd name="T53" fmla="*/ 345 w 345"/>
                    <a:gd name="T54" fmla="*/ 60 h 6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345" h="60">
                      <a:moveTo>
                        <a:pt x="139" y="31"/>
                      </a:moveTo>
                      <a:lnTo>
                        <a:pt x="102" y="16"/>
                      </a:lnTo>
                      <a:lnTo>
                        <a:pt x="153" y="18"/>
                      </a:lnTo>
                      <a:lnTo>
                        <a:pt x="62" y="12"/>
                      </a:lnTo>
                      <a:lnTo>
                        <a:pt x="79" y="0"/>
                      </a:lnTo>
                      <a:lnTo>
                        <a:pt x="0" y="2"/>
                      </a:lnTo>
                      <a:lnTo>
                        <a:pt x="71" y="14"/>
                      </a:lnTo>
                      <a:lnTo>
                        <a:pt x="58" y="37"/>
                      </a:lnTo>
                      <a:lnTo>
                        <a:pt x="46" y="60"/>
                      </a:lnTo>
                      <a:lnTo>
                        <a:pt x="120" y="58"/>
                      </a:lnTo>
                      <a:lnTo>
                        <a:pt x="192" y="56"/>
                      </a:lnTo>
                      <a:lnTo>
                        <a:pt x="263" y="56"/>
                      </a:lnTo>
                      <a:lnTo>
                        <a:pt x="337" y="54"/>
                      </a:lnTo>
                      <a:lnTo>
                        <a:pt x="345" y="41"/>
                      </a:lnTo>
                      <a:lnTo>
                        <a:pt x="291" y="29"/>
                      </a:lnTo>
                      <a:lnTo>
                        <a:pt x="215" y="29"/>
                      </a:lnTo>
                      <a:lnTo>
                        <a:pt x="139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3" name="Freeform 443"/>
                <p:cNvSpPr>
                  <a:spLocks/>
                </p:cNvSpPr>
                <p:nvPr/>
              </p:nvSpPr>
              <p:spPr bwMode="auto">
                <a:xfrm>
                  <a:off x="2785102" y="1222018"/>
                  <a:ext cx="174024" cy="53273"/>
                </a:xfrm>
                <a:custGeom>
                  <a:avLst/>
                  <a:gdLst>
                    <a:gd name="T0" fmla="*/ 35758 w 219"/>
                    <a:gd name="T1" fmla="*/ 14529 h 77"/>
                    <a:gd name="T2" fmla="*/ 23044 w 219"/>
                    <a:gd name="T3" fmla="*/ 8994 h 77"/>
                    <a:gd name="T4" fmla="*/ 81847 w 219"/>
                    <a:gd name="T5" fmla="*/ 0 h 77"/>
                    <a:gd name="T6" fmla="*/ 154158 w 219"/>
                    <a:gd name="T7" fmla="*/ 10378 h 77"/>
                    <a:gd name="T8" fmla="*/ 136676 w 219"/>
                    <a:gd name="T9" fmla="*/ 26291 h 77"/>
                    <a:gd name="T10" fmla="*/ 174024 w 219"/>
                    <a:gd name="T11" fmla="*/ 30442 h 77"/>
                    <a:gd name="T12" fmla="*/ 111248 w 219"/>
                    <a:gd name="T13" fmla="*/ 41511 h 77"/>
                    <a:gd name="T14" fmla="*/ 83436 w 219"/>
                    <a:gd name="T15" fmla="*/ 51889 h 77"/>
                    <a:gd name="T16" fmla="*/ 72311 w 219"/>
                    <a:gd name="T17" fmla="*/ 44279 h 77"/>
                    <a:gd name="T18" fmla="*/ 70722 w 219"/>
                    <a:gd name="T19" fmla="*/ 53273 h 77"/>
                    <a:gd name="T20" fmla="*/ 9536 w 219"/>
                    <a:gd name="T21" fmla="*/ 37360 h 77"/>
                    <a:gd name="T22" fmla="*/ 81847 w 219"/>
                    <a:gd name="T23" fmla="*/ 31825 h 77"/>
                    <a:gd name="T24" fmla="*/ 0 w 219"/>
                    <a:gd name="T25" fmla="*/ 24215 h 77"/>
                    <a:gd name="T26" fmla="*/ 35758 w 219"/>
                    <a:gd name="T27" fmla="*/ 14529 h 7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19"/>
                    <a:gd name="T43" fmla="*/ 0 h 77"/>
                    <a:gd name="T44" fmla="*/ 219 w 219"/>
                    <a:gd name="T45" fmla="*/ 77 h 7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19" h="77">
                      <a:moveTo>
                        <a:pt x="45" y="21"/>
                      </a:moveTo>
                      <a:lnTo>
                        <a:pt x="29" y="13"/>
                      </a:lnTo>
                      <a:lnTo>
                        <a:pt x="103" y="0"/>
                      </a:lnTo>
                      <a:lnTo>
                        <a:pt x="194" y="15"/>
                      </a:lnTo>
                      <a:lnTo>
                        <a:pt x="172" y="38"/>
                      </a:lnTo>
                      <a:lnTo>
                        <a:pt x="219" y="44"/>
                      </a:lnTo>
                      <a:lnTo>
                        <a:pt x="140" y="60"/>
                      </a:lnTo>
                      <a:lnTo>
                        <a:pt x="105" y="75"/>
                      </a:lnTo>
                      <a:lnTo>
                        <a:pt x="91" y="64"/>
                      </a:lnTo>
                      <a:lnTo>
                        <a:pt x="89" y="77"/>
                      </a:lnTo>
                      <a:lnTo>
                        <a:pt x="12" y="54"/>
                      </a:lnTo>
                      <a:lnTo>
                        <a:pt x="103" y="46"/>
                      </a:lnTo>
                      <a:lnTo>
                        <a:pt x="0" y="35"/>
                      </a:lnTo>
                      <a:lnTo>
                        <a:pt x="45" y="2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4" name="Freeform 444"/>
                <p:cNvSpPr>
                  <a:spLocks/>
                </p:cNvSpPr>
                <p:nvPr/>
              </p:nvSpPr>
              <p:spPr bwMode="auto">
                <a:xfrm>
                  <a:off x="2287892" y="1303703"/>
                  <a:ext cx="230848" cy="47945"/>
                </a:xfrm>
                <a:custGeom>
                  <a:avLst/>
                  <a:gdLst>
                    <a:gd name="T0" fmla="*/ 62603 w 295"/>
                    <a:gd name="T1" fmla="*/ 47945 h 70"/>
                    <a:gd name="T2" fmla="*/ 39909 w 295"/>
                    <a:gd name="T3" fmla="*/ 41096 h 70"/>
                    <a:gd name="T4" fmla="*/ 114250 w 295"/>
                    <a:gd name="T5" fmla="*/ 30822 h 70"/>
                    <a:gd name="T6" fmla="*/ 56343 w 295"/>
                    <a:gd name="T7" fmla="*/ 29452 h 70"/>
                    <a:gd name="T8" fmla="*/ 0 w 295"/>
                    <a:gd name="T9" fmla="*/ 29452 h 70"/>
                    <a:gd name="T10" fmla="*/ 54777 w 295"/>
                    <a:gd name="T11" fmla="*/ 22603 h 70"/>
                    <a:gd name="T12" fmla="*/ 30519 w 295"/>
                    <a:gd name="T13" fmla="*/ 19863 h 70"/>
                    <a:gd name="T14" fmla="*/ 64950 w 295"/>
                    <a:gd name="T15" fmla="*/ 17123 h 70"/>
                    <a:gd name="T16" fmla="*/ 50082 w 295"/>
                    <a:gd name="T17" fmla="*/ 12329 h 70"/>
                    <a:gd name="T18" fmla="*/ 115033 w 295"/>
                    <a:gd name="T19" fmla="*/ 14383 h 70"/>
                    <a:gd name="T20" fmla="*/ 161202 w 295"/>
                    <a:gd name="T21" fmla="*/ 25342 h 70"/>
                    <a:gd name="T22" fmla="*/ 162767 w 295"/>
                    <a:gd name="T23" fmla="*/ 8219 h 70"/>
                    <a:gd name="T24" fmla="*/ 201894 w 295"/>
                    <a:gd name="T25" fmla="*/ 0 h 70"/>
                    <a:gd name="T26" fmla="*/ 187026 w 295"/>
                    <a:gd name="T27" fmla="*/ 19863 h 70"/>
                    <a:gd name="T28" fmla="*/ 230848 w 295"/>
                    <a:gd name="T29" fmla="*/ 18493 h 70"/>
                    <a:gd name="T30" fmla="*/ 195634 w 295"/>
                    <a:gd name="T31" fmla="*/ 34246 h 70"/>
                    <a:gd name="T32" fmla="*/ 168245 w 295"/>
                    <a:gd name="T33" fmla="*/ 33561 h 70"/>
                    <a:gd name="T34" fmla="*/ 115033 w 295"/>
                    <a:gd name="T35" fmla="*/ 39726 h 70"/>
                    <a:gd name="T36" fmla="*/ 62603 w 295"/>
                    <a:gd name="T37" fmla="*/ 47945 h 7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95"/>
                    <a:gd name="T58" fmla="*/ 0 h 70"/>
                    <a:gd name="T59" fmla="*/ 295 w 295"/>
                    <a:gd name="T60" fmla="*/ 70 h 7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95" h="70">
                      <a:moveTo>
                        <a:pt x="80" y="70"/>
                      </a:moveTo>
                      <a:lnTo>
                        <a:pt x="51" y="60"/>
                      </a:lnTo>
                      <a:lnTo>
                        <a:pt x="146" y="45"/>
                      </a:lnTo>
                      <a:lnTo>
                        <a:pt x="72" y="43"/>
                      </a:lnTo>
                      <a:lnTo>
                        <a:pt x="0" y="43"/>
                      </a:lnTo>
                      <a:lnTo>
                        <a:pt x="70" y="33"/>
                      </a:lnTo>
                      <a:lnTo>
                        <a:pt x="39" y="29"/>
                      </a:lnTo>
                      <a:lnTo>
                        <a:pt x="83" y="25"/>
                      </a:lnTo>
                      <a:lnTo>
                        <a:pt x="64" y="18"/>
                      </a:lnTo>
                      <a:lnTo>
                        <a:pt x="147" y="21"/>
                      </a:lnTo>
                      <a:lnTo>
                        <a:pt x="206" y="37"/>
                      </a:lnTo>
                      <a:lnTo>
                        <a:pt x="208" y="12"/>
                      </a:lnTo>
                      <a:lnTo>
                        <a:pt x="258" y="0"/>
                      </a:lnTo>
                      <a:lnTo>
                        <a:pt x="239" y="29"/>
                      </a:lnTo>
                      <a:lnTo>
                        <a:pt x="295" y="27"/>
                      </a:lnTo>
                      <a:lnTo>
                        <a:pt x="250" y="50"/>
                      </a:lnTo>
                      <a:lnTo>
                        <a:pt x="215" y="49"/>
                      </a:lnTo>
                      <a:lnTo>
                        <a:pt x="147" y="58"/>
                      </a:lnTo>
                      <a:lnTo>
                        <a:pt x="80" y="7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5" name="Freeform 445"/>
                <p:cNvSpPr>
                  <a:spLocks/>
                </p:cNvSpPr>
                <p:nvPr/>
              </p:nvSpPr>
              <p:spPr bwMode="auto">
                <a:xfrm>
                  <a:off x="2598649" y="1559412"/>
                  <a:ext cx="143836" cy="63927"/>
                </a:xfrm>
                <a:custGeom>
                  <a:avLst/>
                  <a:gdLst>
                    <a:gd name="T0" fmla="*/ 101623 w 184"/>
                    <a:gd name="T1" fmla="*/ 47770 h 91"/>
                    <a:gd name="T2" fmla="*/ 87552 w 184"/>
                    <a:gd name="T3" fmla="*/ 43555 h 91"/>
                    <a:gd name="T4" fmla="*/ 89116 w 184"/>
                    <a:gd name="T5" fmla="*/ 40745 h 91"/>
                    <a:gd name="T6" fmla="*/ 78172 w 184"/>
                    <a:gd name="T7" fmla="*/ 44960 h 91"/>
                    <a:gd name="T8" fmla="*/ 29705 w 184"/>
                    <a:gd name="T9" fmla="*/ 63927 h 91"/>
                    <a:gd name="T10" fmla="*/ 28924 w 184"/>
                    <a:gd name="T11" fmla="*/ 50580 h 91"/>
                    <a:gd name="T12" fmla="*/ 0 w 184"/>
                    <a:gd name="T13" fmla="*/ 51985 h 91"/>
                    <a:gd name="T14" fmla="*/ 29705 w 184"/>
                    <a:gd name="T15" fmla="*/ 38637 h 91"/>
                    <a:gd name="T16" fmla="*/ 48466 w 184"/>
                    <a:gd name="T17" fmla="*/ 18967 h 91"/>
                    <a:gd name="T18" fmla="*/ 68009 w 184"/>
                    <a:gd name="T19" fmla="*/ 0 h 91"/>
                    <a:gd name="T20" fmla="*/ 78172 w 184"/>
                    <a:gd name="T21" fmla="*/ 5620 h 91"/>
                    <a:gd name="T22" fmla="*/ 77390 w 184"/>
                    <a:gd name="T23" fmla="*/ 14050 h 91"/>
                    <a:gd name="T24" fmla="*/ 87552 w 184"/>
                    <a:gd name="T25" fmla="*/ 9835 h 91"/>
                    <a:gd name="T26" fmla="*/ 124293 w 184"/>
                    <a:gd name="T27" fmla="*/ 31612 h 91"/>
                    <a:gd name="T28" fmla="*/ 111786 w 184"/>
                    <a:gd name="T29" fmla="*/ 43555 h 91"/>
                    <a:gd name="T30" fmla="*/ 140709 w 184"/>
                    <a:gd name="T31" fmla="*/ 43555 h 91"/>
                    <a:gd name="T32" fmla="*/ 143836 w 184"/>
                    <a:gd name="T33" fmla="*/ 49175 h 91"/>
                    <a:gd name="T34" fmla="*/ 119603 w 184"/>
                    <a:gd name="T35" fmla="*/ 56200 h 91"/>
                    <a:gd name="T36" fmla="*/ 101623 w 184"/>
                    <a:gd name="T37" fmla="*/ 47770 h 91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84"/>
                    <a:gd name="T58" fmla="*/ 0 h 91"/>
                    <a:gd name="T59" fmla="*/ 184 w 184"/>
                    <a:gd name="T60" fmla="*/ 91 h 91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84" h="91">
                      <a:moveTo>
                        <a:pt x="130" y="68"/>
                      </a:moveTo>
                      <a:lnTo>
                        <a:pt x="112" y="62"/>
                      </a:lnTo>
                      <a:lnTo>
                        <a:pt x="114" y="58"/>
                      </a:lnTo>
                      <a:lnTo>
                        <a:pt x="100" y="64"/>
                      </a:lnTo>
                      <a:lnTo>
                        <a:pt x="38" y="91"/>
                      </a:lnTo>
                      <a:lnTo>
                        <a:pt x="37" y="72"/>
                      </a:lnTo>
                      <a:lnTo>
                        <a:pt x="0" y="74"/>
                      </a:lnTo>
                      <a:lnTo>
                        <a:pt x="38" y="55"/>
                      </a:lnTo>
                      <a:lnTo>
                        <a:pt x="62" y="27"/>
                      </a:lnTo>
                      <a:lnTo>
                        <a:pt x="87" y="0"/>
                      </a:lnTo>
                      <a:lnTo>
                        <a:pt x="100" y="8"/>
                      </a:lnTo>
                      <a:lnTo>
                        <a:pt x="99" y="20"/>
                      </a:lnTo>
                      <a:lnTo>
                        <a:pt x="112" y="14"/>
                      </a:lnTo>
                      <a:lnTo>
                        <a:pt x="159" y="45"/>
                      </a:lnTo>
                      <a:lnTo>
                        <a:pt x="143" y="62"/>
                      </a:lnTo>
                      <a:lnTo>
                        <a:pt x="180" y="62"/>
                      </a:lnTo>
                      <a:lnTo>
                        <a:pt x="184" y="70"/>
                      </a:lnTo>
                      <a:lnTo>
                        <a:pt x="153" y="80"/>
                      </a:lnTo>
                      <a:lnTo>
                        <a:pt x="130" y="6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6" name="Freeform 446"/>
                <p:cNvSpPr>
                  <a:spLocks/>
                </p:cNvSpPr>
                <p:nvPr/>
              </p:nvSpPr>
              <p:spPr bwMode="auto">
                <a:xfrm>
                  <a:off x="2490328" y="1369406"/>
                  <a:ext cx="129630" cy="53273"/>
                </a:xfrm>
                <a:custGeom>
                  <a:avLst/>
                  <a:gdLst>
                    <a:gd name="T0" fmla="*/ 129630 w 165"/>
                    <a:gd name="T1" fmla="*/ 0 h 68"/>
                    <a:gd name="T2" fmla="*/ 54995 w 165"/>
                    <a:gd name="T3" fmla="*/ 0 h 68"/>
                    <a:gd name="T4" fmla="*/ 62851 w 165"/>
                    <a:gd name="T5" fmla="*/ 12535 h 68"/>
                    <a:gd name="T6" fmla="*/ 45567 w 165"/>
                    <a:gd name="T7" fmla="*/ 21153 h 68"/>
                    <a:gd name="T8" fmla="*/ 0 w 165"/>
                    <a:gd name="T9" fmla="*/ 22719 h 68"/>
                    <a:gd name="T10" fmla="*/ 27497 w 165"/>
                    <a:gd name="T11" fmla="*/ 38388 h 68"/>
                    <a:gd name="T12" fmla="*/ 54995 w 165"/>
                    <a:gd name="T13" fmla="*/ 53273 h 68"/>
                    <a:gd name="T14" fmla="*/ 59708 w 165"/>
                    <a:gd name="T15" fmla="*/ 43872 h 68"/>
                    <a:gd name="T16" fmla="*/ 94276 w 165"/>
                    <a:gd name="T17" fmla="*/ 43872 h 68"/>
                    <a:gd name="T18" fmla="*/ 111560 w 165"/>
                    <a:gd name="T19" fmla="*/ 21153 h 68"/>
                    <a:gd name="T20" fmla="*/ 129630 w 165"/>
                    <a:gd name="T21" fmla="*/ 0 h 6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65"/>
                    <a:gd name="T34" fmla="*/ 0 h 68"/>
                    <a:gd name="T35" fmla="*/ 165 w 165"/>
                    <a:gd name="T36" fmla="*/ 68 h 6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65" h="68">
                      <a:moveTo>
                        <a:pt x="165" y="0"/>
                      </a:moveTo>
                      <a:lnTo>
                        <a:pt x="70" y="0"/>
                      </a:lnTo>
                      <a:lnTo>
                        <a:pt x="80" y="16"/>
                      </a:lnTo>
                      <a:lnTo>
                        <a:pt x="58" y="27"/>
                      </a:lnTo>
                      <a:lnTo>
                        <a:pt x="0" y="29"/>
                      </a:lnTo>
                      <a:lnTo>
                        <a:pt x="35" y="49"/>
                      </a:lnTo>
                      <a:lnTo>
                        <a:pt x="70" y="68"/>
                      </a:lnTo>
                      <a:lnTo>
                        <a:pt x="76" y="56"/>
                      </a:lnTo>
                      <a:lnTo>
                        <a:pt x="120" y="56"/>
                      </a:lnTo>
                      <a:lnTo>
                        <a:pt x="142" y="27"/>
                      </a:lnTo>
                      <a:lnTo>
                        <a:pt x="165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7" name="Freeform 447"/>
                <p:cNvSpPr>
                  <a:spLocks/>
                </p:cNvSpPr>
                <p:nvPr/>
              </p:nvSpPr>
              <p:spPr bwMode="auto">
                <a:xfrm>
                  <a:off x="2612855" y="1364079"/>
                  <a:ext cx="129630" cy="46170"/>
                </a:xfrm>
                <a:custGeom>
                  <a:avLst/>
                  <a:gdLst>
                    <a:gd name="T0" fmla="*/ 79597 w 171"/>
                    <a:gd name="T1" fmla="*/ 25971 h 64"/>
                    <a:gd name="T2" fmla="*/ 37145 w 171"/>
                    <a:gd name="T3" fmla="*/ 28856 h 64"/>
                    <a:gd name="T4" fmla="*/ 42452 w 171"/>
                    <a:gd name="T5" fmla="*/ 33185 h 64"/>
                    <a:gd name="T6" fmla="*/ 21984 w 171"/>
                    <a:gd name="T7" fmla="*/ 44727 h 64"/>
                    <a:gd name="T8" fmla="*/ 0 w 171"/>
                    <a:gd name="T9" fmla="*/ 46170 h 64"/>
                    <a:gd name="T10" fmla="*/ 4548 w 171"/>
                    <a:gd name="T11" fmla="*/ 43284 h 64"/>
                    <a:gd name="T12" fmla="*/ 28049 w 171"/>
                    <a:gd name="T13" fmla="*/ 10821 h 64"/>
                    <a:gd name="T14" fmla="*/ 42452 w 171"/>
                    <a:gd name="T15" fmla="*/ 9378 h 64"/>
                    <a:gd name="T16" fmla="*/ 40178 w 171"/>
                    <a:gd name="T17" fmla="*/ 3607 h 64"/>
                    <a:gd name="T18" fmla="*/ 56097 w 171"/>
                    <a:gd name="T19" fmla="*/ 0 h 64"/>
                    <a:gd name="T20" fmla="*/ 129630 w 171"/>
                    <a:gd name="T21" fmla="*/ 3607 h 64"/>
                    <a:gd name="T22" fmla="*/ 110678 w 171"/>
                    <a:gd name="T23" fmla="*/ 12264 h 64"/>
                    <a:gd name="T24" fmla="*/ 79597 w 171"/>
                    <a:gd name="T25" fmla="*/ 25971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71"/>
                    <a:gd name="T40" fmla="*/ 0 h 64"/>
                    <a:gd name="T41" fmla="*/ 171 w 171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71" h="64">
                      <a:moveTo>
                        <a:pt x="105" y="36"/>
                      </a:moveTo>
                      <a:lnTo>
                        <a:pt x="49" y="40"/>
                      </a:lnTo>
                      <a:lnTo>
                        <a:pt x="56" y="46"/>
                      </a:lnTo>
                      <a:lnTo>
                        <a:pt x="29" y="62"/>
                      </a:lnTo>
                      <a:lnTo>
                        <a:pt x="0" y="64"/>
                      </a:lnTo>
                      <a:lnTo>
                        <a:pt x="6" y="60"/>
                      </a:lnTo>
                      <a:lnTo>
                        <a:pt x="37" y="15"/>
                      </a:lnTo>
                      <a:lnTo>
                        <a:pt x="56" y="13"/>
                      </a:lnTo>
                      <a:lnTo>
                        <a:pt x="53" y="5"/>
                      </a:lnTo>
                      <a:lnTo>
                        <a:pt x="74" y="0"/>
                      </a:lnTo>
                      <a:lnTo>
                        <a:pt x="171" y="5"/>
                      </a:lnTo>
                      <a:lnTo>
                        <a:pt x="146" y="17"/>
                      </a:lnTo>
                      <a:lnTo>
                        <a:pt x="105" y="3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8" name="Freeform 448"/>
                <p:cNvSpPr>
                  <a:spLocks/>
                </p:cNvSpPr>
                <p:nvPr/>
              </p:nvSpPr>
              <p:spPr bwMode="auto">
                <a:xfrm>
                  <a:off x="1449737" y="1955405"/>
                  <a:ext cx="72806" cy="65703"/>
                </a:xfrm>
                <a:custGeom>
                  <a:avLst/>
                  <a:gdLst>
                    <a:gd name="T0" fmla="*/ 51204 w 91"/>
                    <a:gd name="T1" fmla="*/ 45312 h 87"/>
                    <a:gd name="T2" fmla="*/ 46404 w 91"/>
                    <a:gd name="T3" fmla="*/ 48333 h 87"/>
                    <a:gd name="T4" fmla="*/ 28002 w 91"/>
                    <a:gd name="T5" fmla="*/ 48333 h 87"/>
                    <a:gd name="T6" fmla="*/ 34403 w 91"/>
                    <a:gd name="T7" fmla="*/ 42292 h 87"/>
                    <a:gd name="T8" fmla="*/ 26402 w 91"/>
                    <a:gd name="T9" fmla="*/ 40781 h 87"/>
                    <a:gd name="T10" fmla="*/ 14401 w 91"/>
                    <a:gd name="T11" fmla="*/ 37760 h 87"/>
                    <a:gd name="T12" fmla="*/ 31203 w 91"/>
                    <a:gd name="T13" fmla="*/ 30208 h 87"/>
                    <a:gd name="T14" fmla="*/ 16001 w 91"/>
                    <a:gd name="T15" fmla="*/ 24922 h 87"/>
                    <a:gd name="T16" fmla="*/ 14401 w 91"/>
                    <a:gd name="T17" fmla="*/ 18880 h 87"/>
                    <a:gd name="T18" fmla="*/ 4800 w 91"/>
                    <a:gd name="T19" fmla="*/ 17370 h 87"/>
                    <a:gd name="T20" fmla="*/ 3200 w 91"/>
                    <a:gd name="T21" fmla="*/ 12839 h 87"/>
                    <a:gd name="T22" fmla="*/ 16001 w 91"/>
                    <a:gd name="T23" fmla="*/ 6797 h 87"/>
                    <a:gd name="T24" fmla="*/ 9601 w 91"/>
                    <a:gd name="T25" fmla="*/ 6797 h 87"/>
                    <a:gd name="T26" fmla="*/ 0 w 91"/>
                    <a:gd name="T27" fmla="*/ 0 h 87"/>
                    <a:gd name="T28" fmla="*/ 26402 w 91"/>
                    <a:gd name="T29" fmla="*/ 5286 h 87"/>
                    <a:gd name="T30" fmla="*/ 51204 w 91"/>
                    <a:gd name="T31" fmla="*/ 9818 h 87"/>
                    <a:gd name="T32" fmla="*/ 57605 w 91"/>
                    <a:gd name="T33" fmla="*/ 23411 h 87"/>
                    <a:gd name="T34" fmla="*/ 70406 w 91"/>
                    <a:gd name="T35" fmla="*/ 39271 h 87"/>
                    <a:gd name="T36" fmla="*/ 71206 w 91"/>
                    <a:gd name="T37" fmla="*/ 61172 h 87"/>
                    <a:gd name="T38" fmla="*/ 72806 w 91"/>
                    <a:gd name="T39" fmla="*/ 65703 h 87"/>
                    <a:gd name="T40" fmla="*/ 37603 w 91"/>
                    <a:gd name="T41" fmla="*/ 55130 h 87"/>
                    <a:gd name="T42" fmla="*/ 51204 w 91"/>
                    <a:gd name="T43" fmla="*/ 45312 h 8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1"/>
                    <a:gd name="T67" fmla="*/ 0 h 87"/>
                    <a:gd name="T68" fmla="*/ 91 w 91"/>
                    <a:gd name="T69" fmla="*/ 87 h 87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1" h="87">
                      <a:moveTo>
                        <a:pt x="64" y="60"/>
                      </a:moveTo>
                      <a:lnTo>
                        <a:pt x="58" y="64"/>
                      </a:lnTo>
                      <a:lnTo>
                        <a:pt x="35" y="64"/>
                      </a:lnTo>
                      <a:lnTo>
                        <a:pt x="43" y="56"/>
                      </a:lnTo>
                      <a:lnTo>
                        <a:pt x="33" y="54"/>
                      </a:lnTo>
                      <a:lnTo>
                        <a:pt x="18" y="50"/>
                      </a:lnTo>
                      <a:lnTo>
                        <a:pt x="39" y="40"/>
                      </a:lnTo>
                      <a:lnTo>
                        <a:pt x="20" y="33"/>
                      </a:lnTo>
                      <a:lnTo>
                        <a:pt x="18" y="25"/>
                      </a:lnTo>
                      <a:lnTo>
                        <a:pt x="6" y="23"/>
                      </a:lnTo>
                      <a:lnTo>
                        <a:pt x="4" y="17"/>
                      </a:lnTo>
                      <a:lnTo>
                        <a:pt x="20" y="9"/>
                      </a:lnTo>
                      <a:lnTo>
                        <a:pt x="12" y="9"/>
                      </a:lnTo>
                      <a:lnTo>
                        <a:pt x="0" y="0"/>
                      </a:lnTo>
                      <a:lnTo>
                        <a:pt x="33" y="7"/>
                      </a:lnTo>
                      <a:lnTo>
                        <a:pt x="64" y="13"/>
                      </a:lnTo>
                      <a:lnTo>
                        <a:pt x="72" y="31"/>
                      </a:lnTo>
                      <a:lnTo>
                        <a:pt x="88" y="52"/>
                      </a:lnTo>
                      <a:lnTo>
                        <a:pt x="89" y="81"/>
                      </a:lnTo>
                      <a:lnTo>
                        <a:pt x="91" y="87"/>
                      </a:lnTo>
                      <a:lnTo>
                        <a:pt x="47" y="73"/>
                      </a:lnTo>
                      <a:lnTo>
                        <a:pt x="64" y="6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59" name="Freeform 449"/>
                <p:cNvSpPr>
                  <a:spLocks/>
                </p:cNvSpPr>
                <p:nvPr/>
              </p:nvSpPr>
              <p:spPr bwMode="auto">
                <a:xfrm>
                  <a:off x="2229292" y="1285946"/>
                  <a:ext cx="166921" cy="35515"/>
                </a:xfrm>
                <a:custGeom>
                  <a:avLst/>
                  <a:gdLst>
                    <a:gd name="T0" fmla="*/ 100309 w 213"/>
                    <a:gd name="T1" fmla="*/ 18565 h 44"/>
                    <a:gd name="T2" fmla="*/ 103444 w 213"/>
                    <a:gd name="T3" fmla="*/ 15336 h 44"/>
                    <a:gd name="T4" fmla="*/ 81501 w 213"/>
                    <a:gd name="T5" fmla="*/ 21793 h 44"/>
                    <a:gd name="T6" fmla="*/ 63477 w 213"/>
                    <a:gd name="T7" fmla="*/ 28251 h 44"/>
                    <a:gd name="T8" fmla="*/ 60342 w 213"/>
                    <a:gd name="T9" fmla="*/ 25022 h 44"/>
                    <a:gd name="T10" fmla="*/ 48587 w 213"/>
                    <a:gd name="T11" fmla="*/ 33901 h 44"/>
                    <a:gd name="T12" fmla="*/ 31347 w 213"/>
                    <a:gd name="T13" fmla="*/ 35515 h 44"/>
                    <a:gd name="T14" fmla="*/ 31347 w 213"/>
                    <a:gd name="T15" fmla="*/ 29058 h 44"/>
                    <a:gd name="T16" fmla="*/ 18024 w 213"/>
                    <a:gd name="T17" fmla="*/ 32286 h 44"/>
                    <a:gd name="T18" fmla="*/ 0 w 213"/>
                    <a:gd name="T19" fmla="*/ 32286 h 44"/>
                    <a:gd name="T20" fmla="*/ 10188 w 213"/>
                    <a:gd name="T21" fmla="*/ 25022 h 44"/>
                    <a:gd name="T22" fmla="*/ 71314 w 213"/>
                    <a:gd name="T23" fmla="*/ 12107 h 44"/>
                    <a:gd name="T24" fmla="*/ 112064 w 213"/>
                    <a:gd name="T25" fmla="*/ 1614 h 44"/>
                    <a:gd name="T26" fmla="*/ 141060 w 213"/>
                    <a:gd name="T27" fmla="*/ 0 h 44"/>
                    <a:gd name="T28" fmla="*/ 166921 w 213"/>
                    <a:gd name="T29" fmla="*/ 2421 h 44"/>
                    <a:gd name="T30" fmla="*/ 144195 w 213"/>
                    <a:gd name="T31" fmla="*/ 8879 h 44"/>
                    <a:gd name="T32" fmla="*/ 148897 w 213"/>
                    <a:gd name="T33" fmla="*/ 12107 h 44"/>
                    <a:gd name="T34" fmla="*/ 141060 w 213"/>
                    <a:gd name="T35" fmla="*/ 13722 h 44"/>
                    <a:gd name="T36" fmla="*/ 113632 w 213"/>
                    <a:gd name="T37" fmla="*/ 20179 h 44"/>
                    <a:gd name="T38" fmla="*/ 98742 w 213"/>
                    <a:gd name="T39" fmla="*/ 26636 h 44"/>
                    <a:gd name="T40" fmla="*/ 100309 w 213"/>
                    <a:gd name="T41" fmla="*/ 18565 h 4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13"/>
                    <a:gd name="T64" fmla="*/ 0 h 44"/>
                    <a:gd name="T65" fmla="*/ 213 w 213"/>
                    <a:gd name="T66" fmla="*/ 44 h 4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13" h="44">
                      <a:moveTo>
                        <a:pt x="128" y="23"/>
                      </a:moveTo>
                      <a:lnTo>
                        <a:pt x="132" y="19"/>
                      </a:lnTo>
                      <a:lnTo>
                        <a:pt x="104" y="27"/>
                      </a:lnTo>
                      <a:lnTo>
                        <a:pt x="81" y="35"/>
                      </a:lnTo>
                      <a:lnTo>
                        <a:pt x="77" y="31"/>
                      </a:lnTo>
                      <a:lnTo>
                        <a:pt x="62" y="42"/>
                      </a:lnTo>
                      <a:lnTo>
                        <a:pt x="40" y="44"/>
                      </a:lnTo>
                      <a:lnTo>
                        <a:pt x="40" y="36"/>
                      </a:lnTo>
                      <a:lnTo>
                        <a:pt x="23" y="40"/>
                      </a:lnTo>
                      <a:lnTo>
                        <a:pt x="0" y="40"/>
                      </a:lnTo>
                      <a:lnTo>
                        <a:pt x="13" y="31"/>
                      </a:lnTo>
                      <a:lnTo>
                        <a:pt x="91" y="15"/>
                      </a:lnTo>
                      <a:lnTo>
                        <a:pt x="143" y="2"/>
                      </a:lnTo>
                      <a:lnTo>
                        <a:pt x="180" y="0"/>
                      </a:lnTo>
                      <a:lnTo>
                        <a:pt x="213" y="3"/>
                      </a:lnTo>
                      <a:lnTo>
                        <a:pt x="184" y="11"/>
                      </a:lnTo>
                      <a:lnTo>
                        <a:pt x="190" y="15"/>
                      </a:lnTo>
                      <a:lnTo>
                        <a:pt x="180" y="17"/>
                      </a:lnTo>
                      <a:lnTo>
                        <a:pt x="145" y="25"/>
                      </a:lnTo>
                      <a:lnTo>
                        <a:pt x="126" y="33"/>
                      </a:lnTo>
                      <a:lnTo>
                        <a:pt x="128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0" name="Freeform 450"/>
                <p:cNvSpPr>
                  <a:spLocks/>
                </p:cNvSpPr>
                <p:nvPr/>
              </p:nvSpPr>
              <p:spPr bwMode="auto">
                <a:xfrm>
                  <a:off x="2561358" y="1303703"/>
                  <a:ext cx="101218" cy="35515"/>
                </a:xfrm>
                <a:custGeom>
                  <a:avLst/>
                  <a:gdLst>
                    <a:gd name="T0" fmla="*/ 47542 w 132"/>
                    <a:gd name="T1" fmla="*/ 10493 h 44"/>
                    <a:gd name="T2" fmla="*/ 31439 w 132"/>
                    <a:gd name="T3" fmla="*/ 6457 h 44"/>
                    <a:gd name="T4" fmla="*/ 36807 w 132"/>
                    <a:gd name="T5" fmla="*/ 8072 h 44"/>
                    <a:gd name="T6" fmla="*/ 25305 w 132"/>
                    <a:gd name="T7" fmla="*/ 10493 h 44"/>
                    <a:gd name="T8" fmla="*/ 25305 w 132"/>
                    <a:gd name="T9" fmla="*/ 15336 h 44"/>
                    <a:gd name="T10" fmla="*/ 25305 w 132"/>
                    <a:gd name="T11" fmla="*/ 18565 h 44"/>
                    <a:gd name="T12" fmla="*/ 0 w 132"/>
                    <a:gd name="T13" fmla="*/ 21793 h 44"/>
                    <a:gd name="T14" fmla="*/ 65178 w 132"/>
                    <a:gd name="T15" fmla="*/ 20179 h 44"/>
                    <a:gd name="T16" fmla="*/ 25305 w 132"/>
                    <a:gd name="T17" fmla="*/ 28251 h 44"/>
                    <a:gd name="T18" fmla="*/ 23771 w 132"/>
                    <a:gd name="T19" fmla="*/ 33094 h 44"/>
                    <a:gd name="T20" fmla="*/ 62111 w 132"/>
                    <a:gd name="T21" fmla="*/ 35515 h 44"/>
                    <a:gd name="T22" fmla="*/ 66712 w 132"/>
                    <a:gd name="T23" fmla="*/ 31479 h 44"/>
                    <a:gd name="T24" fmla="*/ 71313 w 132"/>
                    <a:gd name="T25" fmla="*/ 28251 h 44"/>
                    <a:gd name="T26" fmla="*/ 84348 w 132"/>
                    <a:gd name="T27" fmla="*/ 28251 h 44"/>
                    <a:gd name="T28" fmla="*/ 90483 w 132"/>
                    <a:gd name="T29" fmla="*/ 21793 h 44"/>
                    <a:gd name="T30" fmla="*/ 83582 w 132"/>
                    <a:gd name="T31" fmla="*/ 20179 h 44"/>
                    <a:gd name="T32" fmla="*/ 101218 w 132"/>
                    <a:gd name="T33" fmla="*/ 6457 h 44"/>
                    <a:gd name="T34" fmla="*/ 96617 w 132"/>
                    <a:gd name="T35" fmla="*/ 0 h 44"/>
                    <a:gd name="T36" fmla="*/ 78981 w 132"/>
                    <a:gd name="T37" fmla="*/ 3229 h 44"/>
                    <a:gd name="T38" fmla="*/ 52143 w 132"/>
                    <a:gd name="T39" fmla="*/ 1614 h 44"/>
                    <a:gd name="T40" fmla="*/ 62111 w 132"/>
                    <a:gd name="T41" fmla="*/ 10493 h 44"/>
                    <a:gd name="T42" fmla="*/ 53676 w 132"/>
                    <a:gd name="T43" fmla="*/ 12107 h 44"/>
                    <a:gd name="T44" fmla="*/ 47542 w 132"/>
                    <a:gd name="T45" fmla="*/ 10493 h 4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2"/>
                    <a:gd name="T70" fmla="*/ 0 h 44"/>
                    <a:gd name="T71" fmla="*/ 132 w 132"/>
                    <a:gd name="T72" fmla="*/ 44 h 4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2" h="44">
                      <a:moveTo>
                        <a:pt x="62" y="13"/>
                      </a:moveTo>
                      <a:lnTo>
                        <a:pt x="41" y="8"/>
                      </a:lnTo>
                      <a:lnTo>
                        <a:pt x="48" y="10"/>
                      </a:lnTo>
                      <a:lnTo>
                        <a:pt x="33" y="13"/>
                      </a:lnTo>
                      <a:lnTo>
                        <a:pt x="33" y="19"/>
                      </a:lnTo>
                      <a:lnTo>
                        <a:pt x="33" y="23"/>
                      </a:lnTo>
                      <a:lnTo>
                        <a:pt x="0" y="27"/>
                      </a:lnTo>
                      <a:lnTo>
                        <a:pt x="85" y="25"/>
                      </a:lnTo>
                      <a:lnTo>
                        <a:pt x="33" y="35"/>
                      </a:lnTo>
                      <a:lnTo>
                        <a:pt x="31" y="41"/>
                      </a:lnTo>
                      <a:lnTo>
                        <a:pt x="81" y="44"/>
                      </a:lnTo>
                      <a:lnTo>
                        <a:pt x="87" y="39"/>
                      </a:lnTo>
                      <a:lnTo>
                        <a:pt x="93" y="35"/>
                      </a:lnTo>
                      <a:lnTo>
                        <a:pt x="110" y="35"/>
                      </a:lnTo>
                      <a:lnTo>
                        <a:pt x="118" y="27"/>
                      </a:lnTo>
                      <a:lnTo>
                        <a:pt x="109" y="25"/>
                      </a:lnTo>
                      <a:lnTo>
                        <a:pt x="132" y="8"/>
                      </a:lnTo>
                      <a:lnTo>
                        <a:pt x="126" y="0"/>
                      </a:lnTo>
                      <a:lnTo>
                        <a:pt x="103" y="4"/>
                      </a:lnTo>
                      <a:lnTo>
                        <a:pt x="68" y="2"/>
                      </a:lnTo>
                      <a:lnTo>
                        <a:pt x="81" y="13"/>
                      </a:lnTo>
                      <a:lnTo>
                        <a:pt x="70" y="15"/>
                      </a:lnTo>
                      <a:lnTo>
                        <a:pt x="62" y="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1" name="Freeform 451"/>
                <p:cNvSpPr>
                  <a:spLocks/>
                </p:cNvSpPr>
                <p:nvPr/>
              </p:nvSpPr>
              <p:spPr bwMode="auto">
                <a:xfrm>
                  <a:off x="2605752" y="1250430"/>
                  <a:ext cx="87012" cy="35515"/>
                </a:xfrm>
                <a:custGeom>
                  <a:avLst/>
                  <a:gdLst>
                    <a:gd name="T0" fmla="*/ 54477 w 115"/>
                    <a:gd name="T1" fmla="*/ 6930 h 41"/>
                    <a:gd name="T2" fmla="*/ 55990 w 115"/>
                    <a:gd name="T3" fmla="*/ 5197 h 41"/>
                    <a:gd name="T4" fmla="*/ 77932 w 115"/>
                    <a:gd name="T5" fmla="*/ 6930 h 41"/>
                    <a:gd name="T6" fmla="*/ 85499 w 115"/>
                    <a:gd name="T7" fmla="*/ 10395 h 41"/>
                    <a:gd name="T8" fmla="*/ 82472 w 115"/>
                    <a:gd name="T9" fmla="*/ 19923 h 41"/>
                    <a:gd name="T10" fmla="*/ 87012 w 115"/>
                    <a:gd name="T11" fmla="*/ 28585 h 41"/>
                    <a:gd name="T12" fmla="*/ 65070 w 115"/>
                    <a:gd name="T13" fmla="*/ 35515 h 41"/>
                    <a:gd name="T14" fmla="*/ 41614 w 115"/>
                    <a:gd name="T15" fmla="*/ 23388 h 41"/>
                    <a:gd name="T16" fmla="*/ 0 w 115"/>
                    <a:gd name="T17" fmla="*/ 21655 h 41"/>
                    <a:gd name="T18" fmla="*/ 9080 w 115"/>
                    <a:gd name="T19" fmla="*/ 15592 h 41"/>
                    <a:gd name="T20" fmla="*/ 29508 w 115"/>
                    <a:gd name="T21" fmla="*/ 13860 h 41"/>
                    <a:gd name="T22" fmla="*/ 27995 w 115"/>
                    <a:gd name="T23" fmla="*/ 6930 h 41"/>
                    <a:gd name="T24" fmla="*/ 13619 w 115"/>
                    <a:gd name="T25" fmla="*/ 8662 h 41"/>
                    <a:gd name="T26" fmla="*/ 9080 w 115"/>
                    <a:gd name="T27" fmla="*/ 1732 h 41"/>
                    <a:gd name="T28" fmla="*/ 54477 w 115"/>
                    <a:gd name="T29" fmla="*/ 0 h 41"/>
                    <a:gd name="T30" fmla="*/ 54477 w 115"/>
                    <a:gd name="T31" fmla="*/ 6930 h 4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15"/>
                    <a:gd name="T49" fmla="*/ 0 h 41"/>
                    <a:gd name="T50" fmla="*/ 115 w 115"/>
                    <a:gd name="T51" fmla="*/ 41 h 4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15" h="41">
                      <a:moveTo>
                        <a:pt x="72" y="8"/>
                      </a:moveTo>
                      <a:lnTo>
                        <a:pt x="74" y="6"/>
                      </a:lnTo>
                      <a:lnTo>
                        <a:pt x="103" y="8"/>
                      </a:lnTo>
                      <a:lnTo>
                        <a:pt x="113" y="12"/>
                      </a:lnTo>
                      <a:lnTo>
                        <a:pt x="109" y="23"/>
                      </a:lnTo>
                      <a:lnTo>
                        <a:pt x="115" y="33"/>
                      </a:lnTo>
                      <a:lnTo>
                        <a:pt x="86" y="41"/>
                      </a:lnTo>
                      <a:lnTo>
                        <a:pt x="55" y="27"/>
                      </a:lnTo>
                      <a:lnTo>
                        <a:pt x="0" y="25"/>
                      </a:lnTo>
                      <a:lnTo>
                        <a:pt x="12" y="18"/>
                      </a:lnTo>
                      <a:lnTo>
                        <a:pt x="39" y="16"/>
                      </a:lnTo>
                      <a:lnTo>
                        <a:pt x="37" y="8"/>
                      </a:lnTo>
                      <a:lnTo>
                        <a:pt x="18" y="10"/>
                      </a:lnTo>
                      <a:lnTo>
                        <a:pt x="12" y="2"/>
                      </a:lnTo>
                      <a:lnTo>
                        <a:pt x="72" y="0"/>
                      </a:lnTo>
                      <a:lnTo>
                        <a:pt x="72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2" name="Freeform 452"/>
                <p:cNvSpPr>
                  <a:spLocks/>
                </p:cNvSpPr>
                <p:nvPr/>
              </p:nvSpPr>
              <p:spPr bwMode="auto">
                <a:xfrm>
                  <a:off x="2461916" y="1458194"/>
                  <a:ext cx="78133" cy="35515"/>
                </a:xfrm>
                <a:custGeom>
                  <a:avLst/>
                  <a:gdLst>
                    <a:gd name="T0" fmla="*/ 65996 w 103"/>
                    <a:gd name="T1" fmla="*/ 18135 h 47"/>
                    <a:gd name="T2" fmla="*/ 69030 w 103"/>
                    <a:gd name="T3" fmla="*/ 15113 h 47"/>
                    <a:gd name="T4" fmla="*/ 47032 w 103"/>
                    <a:gd name="T5" fmla="*/ 0 h 47"/>
                    <a:gd name="T6" fmla="*/ 37170 w 103"/>
                    <a:gd name="T7" fmla="*/ 9068 h 47"/>
                    <a:gd name="T8" fmla="*/ 34136 w 103"/>
                    <a:gd name="T9" fmla="*/ 7556 h 47"/>
                    <a:gd name="T10" fmla="*/ 28067 w 103"/>
                    <a:gd name="T11" fmla="*/ 15113 h 47"/>
                    <a:gd name="T12" fmla="*/ 0 w 103"/>
                    <a:gd name="T13" fmla="*/ 21158 h 47"/>
                    <a:gd name="T14" fmla="*/ 45514 w 103"/>
                    <a:gd name="T15" fmla="*/ 35515 h 47"/>
                    <a:gd name="T16" fmla="*/ 78133 w 103"/>
                    <a:gd name="T17" fmla="*/ 24936 h 47"/>
                    <a:gd name="T18" fmla="*/ 69030 w 103"/>
                    <a:gd name="T19" fmla="*/ 24936 h 47"/>
                    <a:gd name="T20" fmla="*/ 65996 w 103"/>
                    <a:gd name="T21" fmla="*/ 18135 h 4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03"/>
                    <a:gd name="T34" fmla="*/ 0 h 47"/>
                    <a:gd name="T35" fmla="*/ 103 w 103"/>
                    <a:gd name="T36" fmla="*/ 47 h 4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03" h="47">
                      <a:moveTo>
                        <a:pt x="87" y="24"/>
                      </a:moveTo>
                      <a:lnTo>
                        <a:pt x="91" y="20"/>
                      </a:lnTo>
                      <a:lnTo>
                        <a:pt x="62" y="0"/>
                      </a:lnTo>
                      <a:lnTo>
                        <a:pt x="49" y="12"/>
                      </a:lnTo>
                      <a:lnTo>
                        <a:pt x="45" y="10"/>
                      </a:lnTo>
                      <a:lnTo>
                        <a:pt x="37" y="20"/>
                      </a:lnTo>
                      <a:lnTo>
                        <a:pt x="0" y="28"/>
                      </a:lnTo>
                      <a:lnTo>
                        <a:pt x="60" y="47"/>
                      </a:lnTo>
                      <a:lnTo>
                        <a:pt x="103" y="33"/>
                      </a:lnTo>
                      <a:lnTo>
                        <a:pt x="91" y="33"/>
                      </a:lnTo>
                      <a:lnTo>
                        <a:pt x="87" y="2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3" name="Freeform 453"/>
                <p:cNvSpPr>
                  <a:spLocks/>
                </p:cNvSpPr>
                <p:nvPr/>
              </p:nvSpPr>
              <p:spPr bwMode="auto">
                <a:xfrm>
                  <a:off x="2902302" y="1369406"/>
                  <a:ext cx="71030" cy="23085"/>
                </a:xfrm>
                <a:custGeom>
                  <a:avLst/>
                  <a:gdLst>
                    <a:gd name="T0" fmla="*/ 49229 w 101"/>
                    <a:gd name="T1" fmla="*/ 0 h 27"/>
                    <a:gd name="T2" fmla="*/ 4220 w 101"/>
                    <a:gd name="T3" fmla="*/ 1710 h 27"/>
                    <a:gd name="T4" fmla="*/ 0 w 101"/>
                    <a:gd name="T5" fmla="*/ 10260 h 27"/>
                    <a:gd name="T6" fmla="*/ 5626 w 101"/>
                    <a:gd name="T7" fmla="*/ 15390 h 27"/>
                    <a:gd name="T8" fmla="*/ 14065 w 101"/>
                    <a:gd name="T9" fmla="*/ 23085 h 27"/>
                    <a:gd name="T10" fmla="*/ 71030 w 101"/>
                    <a:gd name="T11" fmla="*/ 19665 h 27"/>
                    <a:gd name="T12" fmla="*/ 49229 w 101"/>
                    <a:gd name="T13" fmla="*/ 0 h 2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01"/>
                    <a:gd name="T22" fmla="*/ 0 h 27"/>
                    <a:gd name="T23" fmla="*/ 101 w 101"/>
                    <a:gd name="T24" fmla="*/ 27 h 2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01" h="27">
                      <a:moveTo>
                        <a:pt x="70" y="0"/>
                      </a:moveTo>
                      <a:lnTo>
                        <a:pt x="6" y="2"/>
                      </a:lnTo>
                      <a:lnTo>
                        <a:pt x="0" y="12"/>
                      </a:lnTo>
                      <a:lnTo>
                        <a:pt x="8" y="18"/>
                      </a:lnTo>
                      <a:lnTo>
                        <a:pt x="20" y="27"/>
                      </a:lnTo>
                      <a:lnTo>
                        <a:pt x="101" y="23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4" name="Freeform 454"/>
                <p:cNvSpPr>
                  <a:spLocks/>
                </p:cNvSpPr>
                <p:nvPr/>
              </p:nvSpPr>
              <p:spPr bwMode="auto">
                <a:xfrm>
                  <a:off x="2865011" y="1493709"/>
                  <a:ext cx="44394" cy="30188"/>
                </a:xfrm>
                <a:custGeom>
                  <a:avLst/>
                  <a:gdLst>
                    <a:gd name="T0" fmla="*/ 38845 w 64"/>
                    <a:gd name="T1" fmla="*/ 18766 h 37"/>
                    <a:gd name="T2" fmla="*/ 4162 w 64"/>
                    <a:gd name="T3" fmla="*/ 30188 h 37"/>
                    <a:gd name="T4" fmla="*/ 0 w 64"/>
                    <a:gd name="T5" fmla="*/ 15502 h 37"/>
                    <a:gd name="T6" fmla="*/ 28440 w 64"/>
                    <a:gd name="T7" fmla="*/ 0 h 37"/>
                    <a:gd name="T8" fmla="*/ 44394 w 64"/>
                    <a:gd name="T9" fmla="*/ 8159 h 37"/>
                    <a:gd name="T10" fmla="*/ 38845 w 64"/>
                    <a:gd name="T11" fmla="*/ 18766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4"/>
                    <a:gd name="T19" fmla="*/ 0 h 37"/>
                    <a:gd name="T20" fmla="*/ 64 w 64"/>
                    <a:gd name="T21" fmla="*/ 37 h 3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4" h="37">
                      <a:moveTo>
                        <a:pt x="56" y="23"/>
                      </a:moveTo>
                      <a:lnTo>
                        <a:pt x="6" y="37"/>
                      </a:lnTo>
                      <a:lnTo>
                        <a:pt x="0" y="19"/>
                      </a:lnTo>
                      <a:lnTo>
                        <a:pt x="41" y="0"/>
                      </a:lnTo>
                      <a:lnTo>
                        <a:pt x="64" y="10"/>
                      </a:lnTo>
                      <a:lnTo>
                        <a:pt x="56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5" name="Freeform 455"/>
                <p:cNvSpPr>
                  <a:spLocks/>
                </p:cNvSpPr>
                <p:nvPr/>
              </p:nvSpPr>
              <p:spPr bwMode="auto">
                <a:xfrm>
                  <a:off x="2714072" y="1262861"/>
                  <a:ext cx="56824" cy="23085"/>
                </a:xfrm>
                <a:custGeom>
                  <a:avLst/>
                  <a:gdLst>
                    <a:gd name="T0" fmla="*/ 0 w 72"/>
                    <a:gd name="T1" fmla="*/ 11115 h 27"/>
                    <a:gd name="T2" fmla="*/ 7892 w 72"/>
                    <a:gd name="T3" fmla="*/ 0 h 27"/>
                    <a:gd name="T4" fmla="*/ 56824 w 72"/>
                    <a:gd name="T5" fmla="*/ 9405 h 27"/>
                    <a:gd name="T6" fmla="*/ 50510 w 72"/>
                    <a:gd name="T7" fmla="*/ 14535 h 27"/>
                    <a:gd name="T8" fmla="*/ 6314 w 72"/>
                    <a:gd name="T9" fmla="*/ 23085 h 27"/>
                    <a:gd name="T10" fmla="*/ 1578 w 72"/>
                    <a:gd name="T11" fmla="*/ 16245 h 27"/>
                    <a:gd name="T12" fmla="*/ 0 w 72"/>
                    <a:gd name="T13" fmla="*/ 11115 h 2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2"/>
                    <a:gd name="T22" fmla="*/ 0 h 27"/>
                    <a:gd name="T23" fmla="*/ 72 w 72"/>
                    <a:gd name="T24" fmla="*/ 27 h 2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2" h="27">
                      <a:moveTo>
                        <a:pt x="0" y="13"/>
                      </a:moveTo>
                      <a:lnTo>
                        <a:pt x="10" y="0"/>
                      </a:lnTo>
                      <a:lnTo>
                        <a:pt x="72" y="11"/>
                      </a:lnTo>
                      <a:lnTo>
                        <a:pt x="64" y="17"/>
                      </a:lnTo>
                      <a:lnTo>
                        <a:pt x="8" y="27"/>
                      </a:lnTo>
                      <a:lnTo>
                        <a:pt x="2" y="19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6" name="Freeform 456"/>
                <p:cNvSpPr>
                  <a:spLocks/>
                </p:cNvSpPr>
                <p:nvPr/>
              </p:nvSpPr>
              <p:spPr bwMode="auto">
                <a:xfrm>
                  <a:off x="2655473" y="1328564"/>
                  <a:ext cx="58600" cy="17758"/>
                </a:xfrm>
                <a:custGeom>
                  <a:avLst/>
                  <a:gdLst>
                    <a:gd name="T0" fmla="*/ 15838 w 74"/>
                    <a:gd name="T1" fmla="*/ 16337 h 25"/>
                    <a:gd name="T2" fmla="*/ 0 w 74"/>
                    <a:gd name="T3" fmla="*/ 13496 h 25"/>
                    <a:gd name="T4" fmla="*/ 45138 w 74"/>
                    <a:gd name="T5" fmla="*/ 0 h 25"/>
                    <a:gd name="T6" fmla="*/ 58600 w 74"/>
                    <a:gd name="T7" fmla="*/ 11365 h 25"/>
                    <a:gd name="T8" fmla="*/ 52265 w 74"/>
                    <a:gd name="T9" fmla="*/ 17758 h 25"/>
                    <a:gd name="T10" fmla="*/ 15838 w 74"/>
                    <a:gd name="T11" fmla="*/ 16337 h 2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4"/>
                    <a:gd name="T19" fmla="*/ 0 h 25"/>
                    <a:gd name="T20" fmla="*/ 74 w 74"/>
                    <a:gd name="T21" fmla="*/ 25 h 2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4" h="25">
                      <a:moveTo>
                        <a:pt x="20" y="23"/>
                      </a:moveTo>
                      <a:lnTo>
                        <a:pt x="0" y="19"/>
                      </a:lnTo>
                      <a:lnTo>
                        <a:pt x="57" y="0"/>
                      </a:lnTo>
                      <a:lnTo>
                        <a:pt x="74" y="16"/>
                      </a:lnTo>
                      <a:lnTo>
                        <a:pt x="66" y="25"/>
                      </a:lnTo>
                      <a:lnTo>
                        <a:pt x="20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7" name="Freeform 457"/>
                <p:cNvSpPr>
                  <a:spLocks/>
                </p:cNvSpPr>
                <p:nvPr/>
              </p:nvSpPr>
              <p:spPr bwMode="auto">
                <a:xfrm>
                  <a:off x="2431728" y="1369406"/>
                  <a:ext cx="44394" cy="23085"/>
                </a:xfrm>
                <a:custGeom>
                  <a:avLst/>
                  <a:gdLst>
                    <a:gd name="T0" fmla="*/ 13100 w 61"/>
                    <a:gd name="T1" fmla="*/ 23085 h 27"/>
                    <a:gd name="T2" fmla="*/ 0 w 61"/>
                    <a:gd name="T3" fmla="*/ 6840 h 27"/>
                    <a:gd name="T4" fmla="*/ 38572 w 61"/>
                    <a:gd name="T5" fmla="*/ 0 h 27"/>
                    <a:gd name="T6" fmla="*/ 44394 w 61"/>
                    <a:gd name="T7" fmla="*/ 6840 h 27"/>
                    <a:gd name="T8" fmla="*/ 13100 w 61"/>
                    <a:gd name="T9" fmla="*/ 23085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27"/>
                    <a:gd name="T17" fmla="*/ 61 w 61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27">
                      <a:moveTo>
                        <a:pt x="18" y="27"/>
                      </a:moveTo>
                      <a:lnTo>
                        <a:pt x="0" y="8"/>
                      </a:lnTo>
                      <a:lnTo>
                        <a:pt x="53" y="0"/>
                      </a:lnTo>
                      <a:lnTo>
                        <a:pt x="61" y="8"/>
                      </a:lnTo>
                      <a:lnTo>
                        <a:pt x="18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8" name="Freeform 458"/>
                <p:cNvSpPr>
                  <a:spLocks/>
                </p:cNvSpPr>
                <p:nvPr/>
              </p:nvSpPr>
              <p:spPr bwMode="auto">
                <a:xfrm>
                  <a:off x="3140253" y="1174073"/>
                  <a:ext cx="1024609" cy="532726"/>
                </a:xfrm>
                <a:custGeom>
                  <a:avLst/>
                  <a:gdLst>
                    <a:gd name="T0" fmla="*/ 175180 w 1316"/>
                    <a:gd name="T1" fmla="*/ 422118 h 708"/>
                    <a:gd name="T2" fmla="*/ 207880 w 1316"/>
                    <a:gd name="T3" fmla="*/ 413088 h 708"/>
                    <a:gd name="T4" fmla="*/ 180630 w 1316"/>
                    <a:gd name="T5" fmla="*/ 439424 h 708"/>
                    <a:gd name="T6" fmla="*/ 196202 w 1316"/>
                    <a:gd name="T7" fmla="*/ 456730 h 708"/>
                    <a:gd name="T8" fmla="*/ 207880 w 1316"/>
                    <a:gd name="T9" fmla="*/ 484570 h 708"/>
                    <a:gd name="T10" fmla="*/ 215666 w 1316"/>
                    <a:gd name="T11" fmla="*/ 496609 h 708"/>
                    <a:gd name="T12" fmla="*/ 232016 w 1316"/>
                    <a:gd name="T13" fmla="*/ 510905 h 708"/>
                    <a:gd name="T14" fmla="*/ 267052 w 1316"/>
                    <a:gd name="T15" fmla="*/ 518430 h 708"/>
                    <a:gd name="T16" fmla="*/ 281845 w 1316"/>
                    <a:gd name="T17" fmla="*/ 532726 h 708"/>
                    <a:gd name="T18" fmla="*/ 325446 w 1316"/>
                    <a:gd name="T19" fmla="*/ 516925 h 708"/>
                    <a:gd name="T20" fmla="*/ 333231 w 1316"/>
                    <a:gd name="T21" fmla="*/ 501876 h 708"/>
                    <a:gd name="T22" fmla="*/ 351139 w 1316"/>
                    <a:gd name="T23" fmla="*/ 478550 h 708"/>
                    <a:gd name="T24" fmla="*/ 368267 w 1316"/>
                    <a:gd name="T25" fmla="*/ 449958 h 708"/>
                    <a:gd name="T26" fmla="*/ 384618 w 1316"/>
                    <a:gd name="T27" fmla="*/ 434909 h 708"/>
                    <a:gd name="T28" fmla="*/ 423547 w 1316"/>
                    <a:gd name="T29" fmla="*/ 392773 h 708"/>
                    <a:gd name="T30" fmla="*/ 476490 w 1316"/>
                    <a:gd name="T31" fmla="*/ 380734 h 708"/>
                    <a:gd name="T32" fmla="*/ 567584 w 1316"/>
                    <a:gd name="T33" fmla="*/ 347626 h 708"/>
                    <a:gd name="T34" fmla="*/ 648556 w 1316"/>
                    <a:gd name="T35" fmla="*/ 324301 h 708"/>
                    <a:gd name="T36" fmla="*/ 794928 w 1316"/>
                    <a:gd name="T37" fmla="*/ 279154 h 708"/>
                    <a:gd name="T38" fmla="*/ 698385 w 1316"/>
                    <a:gd name="T39" fmla="*/ 258839 h 708"/>
                    <a:gd name="T40" fmla="*/ 698385 w 1316"/>
                    <a:gd name="T41" fmla="*/ 234008 h 708"/>
                    <a:gd name="T42" fmla="*/ 812057 w 1316"/>
                    <a:gd name="T43" fmla="*/ 267115 h 708"/>
                    <a:gd name="T44" fmla="*/ 801157 w 1316"/>
                    <a:gd name="T45" fmla="*/ 236265 h 708"/>
                    <a:gd name="T46" fmla="*/ 725635 w 1316"/>
                    <a:gd name="T47" fmla="*/ 215950 h 708"/>
                    <a:gd name="T48" fmla="*/ 759114 w 1316"/>
                    <a:gd name="T49" fmla="*/ 203158 h 708"/>
                    <a:gd name="T50" fmla="*/ 822179 w 1316"/>
                    <a:gd name="T51" fmla="*/ 204663 h 708"/>
                    <a:gd name="T52" fmla="*/ 876679 w 1316"/>
                    <a:gd name="T53" fmla="*/ 181338 h 708"/>
                    <a:gd name="T54" fmla="*/ 833079 w 1316"/>
                    <a:gd name="T55" fmla="*/ 151992 h 708"/>
                    <a:gd name="T56" fmla="*/ 840086 w 1316"/>
                    <a:gd name="T57" fmla="*/ 136191 h 708"/>
                    <a:gd name="T58" fmla="*/ 897701 w 1316"/>
                    <a:gd name="T59" fmla="*/ 109856 h 708"/>
                    <a:gd name="T60" fmla="*/ 889915 w 1316"/>
                    <a:gd name="T61" fmla="*/ 77501 h 708"/>
                    <a:gd name="T62" fmla="*/ 956873 w 1316"/>
                    <a:gd name="T63" fmla="*/ 51166 h 708"/>
                    <a:gd name="T64" fmla="*/ 899258 w 1316"/>
                    <a:gd name="T65" fmla="*/ 35365 h 708"/>
                    <a:gd name="T66" fmla="*/ 790257 w 1316"/>
                    <a:gd name="T67" fmla="*/ 35365 h 708"/>
                    <a:gd name="T68" fmla="*/ 829965 w 1316"/>
                    <a:gd name="T69" fmla="*/ 12039 h 708"/>
                    <a:gd name="T70" fmla="*/ 630648 w 1316"/>
                    <a:gd name="T71" fmla="*/ 6020 h 708"/>
                    <a:gd name="T72" fmla="*/ 562912 w 1316"/>
                    <a:gd name="T73" fmla="*/ 12039 h 708"/>
                    <a:gd name="T74" fmla="*/ 520090 w 1316"/>
                    <a:gd name="T75" fmla="*/ 24830 h 708"/>
                    <a:gd name="T76" fmla="*/ 365153 w 1316"/>
                    <a:gd name="T77" fmla="*/ 33860 h 708"/>
                    <a:gd name="T78" fmla="*/ 244474 w 1316"/>
                    <a:gd name="T79" fmla="*/ 39879 h 708"/>
                    <a:gd name="T80" fmla="*/ 156494 w 1316"/>
                    <a:gd name="T81" fmla="*/ 66215 h 708"/>
                    <a:gd name="T82" fmla="*/ 32700 w 1316"/>
                    <a:gd name="T83" fmla="*/ 109856 h 708"/>
                    <a:gd name="T84" fmla="*/ 63065 w 1316"/>
                    <a:gd name="T85" fmla="*/ 119638 h 708"/>
                    <a:gd name="T86" fmla="*/ 69293 w 1316"/>
                    <a:gd name="T87" fmla="*/ 141458 h 708"/>
                    <a:gd name="T88" fmla="*/ 217223 w 1316"/>
                    <a:gd name="T89" fmla="*/ 175318 h 708"/>
                    <a:gd name="T90" fmla="*/ 223452 w 1316"/>
                    <a:gd name="T91" fmla="*/ 210683 h 708"/>
                    <a:gd name="T92" fmla="*/ 224231 w 1316"/>
                    <a:gd name="T93" fmla="*/ 243790 h 708"/>
                    <a:gd name="T94" fmla="*/ 263938 w 1316"/>
                    <a:gd name="T95" fmla="*/ 246800 h 708"/>
                    <a:gd name="T96" fmla="*/ 268609 w 1316"/>
                    <a:gd name="T97" fmla="*/ 262601 h 708"/>
                    <a:gd name="T98" fmla="*/ 260824 w 1316"/>
                    <a:gd name="T99" fmla="*/ 293451 h 708"/>
                    <a:gd name="T100" fmla="*/ 251481 w 1316"/>
                    <a:gd name="T101" fmla="*/ 309252 h 708"/>
                    <a:gd name="T102" fmla="*/ 206323 w 1316"/>
                    <a:gd name="T103" fmla="*/ 327310 h 708"/>
                    <a:gd name="T104" fmla="*/ 225788 w 1316"/>
                    <a:gd name="T105" fmla="*/ 335587 h 708"/>
                    <a:gd name="T106" fmla="*/ 207880 w 1316"/>
                    <a:gd name="T107" fmla="*/ 337092 h 708"/>
                    <a:gd name="T108" fmla="*/ 197759 w 1316"/>
                    <a:gd name="T109" fmla="*/ 355903 h 708"/>
                    <a:gd name="T110" fmla="*/ 203209 w 1316"/>
                    <a:gd name="T111" fmla="*/ 364932 h 708"/>
                    <a:gd name="T112" fmla="*/ 172066 w 1316"/>
                    <a:gd name="T113" fmla="*/ 385248 h 708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316"/>
                    <a:gd name="T172" fmla="*/ 0 h 708"/>
                    <a:gd name="T173" fmla="*/ 1316 w 1316"/>
                    <a:gd name="T174" fmla="*/ 708 h 708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316" h="708">
                      <a:moveTo>
                        <a:pt x="279" y="514"/>
                      </a:moveTo>
                      <a:lnTo>
                        <a:pt x="244" y="522"/>
                      </a:lnTo>
                      <a:lnTo>
                        <a:pt x="230" y="532"/>
                      </a:lnTo>
                      <a:lnTo>
                        <a:pt x="228" y="539"/>
                      </a:lnTo>
                      <a:lnTo>
                        <a:pt x="252" y="537"/>
                      </a:lnTo>
                      <a:lnTo>
                        <a:pt x="240" y="543"/>
                      </a:lnTo>
                      <a:lnTo>
                        <a:pt x="225" y="561"/>
                      </a:lnTo>
                      <a:lnTo>
                        <a:pt x="244" y="553"/>
                      </a:lnTo>
                      <a:lnTo>
                        <a:pt x="259" y="549"/>
                      </a:lnTo>
                      <a:lnTo>
                        <a:pt x="265" y="530"/>
                      </a:lnTo>
                      <a:lnTo>
                        <a:pt x="269" y="539"/>
                      </a:lnTo>
                      <a:lnTo>
                        <a:pt x="281" y="543"/>
                      </a:lnTo>
                      <a:lnTo>
                        <a:pt x="285" y="557"/>
                      </a:lnTo>
                      <a:lnTo>
                        <a:pt x="267" y="549"/>
                      </a:lnTo>
                      <a:lnTo>
                        <a:pt x="269" y="557"/>
                      </a:lnTo>
                      <a:lnTo>
                        <a:pt x="240" y="565"/>
                      </a:lnTo>
                      <a:lnTo>
                        <a:pt x="265" y="563"/>
                      </a:lnTo>
                      <a:lnTo>
                        <a:pt x="273" y="563"/>
                      </a:lnTo>
                      <a:lnTo>
                        <a:pt x="232" y="570"/>
                      </a:lnTo>
                      <a:lnTo>
                        <a:pt x="244" y="574"/>
                      </a:lnTo>
                      <a:lnTo>
                        <a:pt x="232" y="584"/>
                      </a:lnTo>
                      <a:lnTo>
                        <a:pt x="246" y="584"/>
                      </a:lnTo>
                      <a:lnTo>
                        <a:pt x="240" y="588"/>
                      </a:lnTo>
                      <a:lnTo>
                        <a:pt x="238" y="590"/>
                      </a:lnTo>
                      <a:lnTo>
                        <a:pt x="252" y="592"/>
                      </a:lnTo>
                      <a:lnTo>
                        <a:pt x="236" y="594"/>
                      </a:lnTo>
                      <a:lnTo>
                        <a:pt x="254" y="599"/>
                      </a:lnTo>
                      <a:lnTo>
                        <a:pt x="252" y="607"/>
                      </a:lnTo>
                      <a:lnTo>
                        <a:pt x="261" y="607"/>
                      </a:lnTo>
                      <a:lnTo>
                        <a:pt x="254" y="613"/>
                      </a:lnTo>
                      <a:lnTo>
                        <a:pt x="250" y="619"/>
                      </a:lnTo>
                      <a:lnTo>
                        <a:pt x="261" y="631"/>
                      </a:lnTo>
                      <a:lnTo>
                        <a:pt x="259" y="636"/>
                      </a:lnTo>
                      <a:lnTo>
                        <a:pt x="271" y="636"/>
                      </a:lnTo>
                      <a:lnTo>
                        <a:pt x="267" y="644"/>
                      </a:lnTo>
                      <a:lnTo>
                        <a:pt x="273" y="642"/>
                      </a:lnTo>
                      <a:lnTo>
                        <a:pt x="273" y="648"/>
                      </a:lnTo>
                      <a:lnTo>
                        <a:pt x="277" y="652"/>
                      </a:lnTo>
                      <a:lnTo>
                        <a:pt x="267" y="654"/>
                      </a:lnTo>
                      <a:lnTo>
                        <a:pt x="281" y="656"/>
                      </a:lnTo>
                      <a:lnTo>
                        <a:pt x="275" y="660"/>
                      </a:lnTo>
                      <a:lnTo>
                        <a:pt x="277" y="660"/>
                      </a:lnTo>
                      <a:lnTo>
                        <a:pt x="275" y="665"/>
                      </a:lnTo>
                      <a:lnTo>
                        <a:pt x="288" y="663"/>
                      </a:lnTo>
                      <a:lnTo>
                        <a:pt x="288" y="671"/>
                      </a:lnTo>
                      <a:lnTo>
                        <a:pt x="285" y="673"/>
                      </a:lnTo>
                      <a:lnTo>
                        <a:pt x="288" y="675"/>
                      </a:lnTo>
                      <a:lnTo>
                        <a:pt x="287" y="677"/>
                      </a:lnTo>
                      <a:lnTo>
                        <a:pt x="298" y="679"/>
                      </a:lnTo>
                      <a:lnTo>
                        <a:pt x="316" y="675"/>
                      </a:lnTo>
                      <a:lnTo>
                        <a:pt x="347" y="665"/>
                      </a:lnTo>
                      <a:lnTo>
                        <a:pt x="345" y="673"/>
                      </a:lnTo>
                      <a:lnTo>
                        <a:pt x="358" y="667"/>
                      </a:lnTo>
                      <a:lnTo>
                        <a:pt x="339" y="679"/>
                      </a:lnTo>
                      <a:lnTo>
                        <a:pt x="354" y="679"/>
                      </a:lnTo>
                      <a:lnTo>
                        <a:pt x="343" y="689"/>
                      </a:lnTo>
                      <a:lnTo>
                        <a:pt x="358" y="685"/>
                      </a:lnTo>
                      <a:lnTo>
                        <a:pt x="356" y="689"/>
                      </a:lnTo>
                      <a:lnTo>
                        <a:pt x="368" y="689"/>
                      </a:lnTo>
                      <a:lnTo>
                        <a:pt x="356" y="700"/>
                      </a:lnTo>
                      <a:lnTo>
                        <a:pt x="372" y="693"/>
                      </a:lnTo>
                      <a:lnTo>
                        <a:pt x="356" y="702"/>
                      </a:lnTo>
                      <a:lnTo>
                        <a:pt x="362" y="708"/>
                      </a:lnTo>
                      <a:lnTo>
                        <a:pt x="385" y="698"/>
                      </a:lnTo>
                      <a:lnTo>
                        <a:pt x="403" y="706"/>
                      </a:lnTo>
                      <a:lnTo>
                        <a:pt x="407" y="700"/>
                      </a:lnTo>
                      <a:lnTo>
                        <a:pt x="401" y="696"/>
                      </a:lnTo>
                      <a:lnTo>
                        <a:pt x="385" y="689"/>
                      </a:lnTo>
                      <a:lnTo>
                        <a:pt x="413" y="691"/>
                      </a:lnTo>
                      <a:lnTo>
                        <a:pt x="418" y="687"/>
                      </a:lnTo>
                      <a:lnTo>
                        <a:pt x="413" y="681"/>
                      </a:lnTo>
                      <a:lnTo>
                        <a:pt x="416" y="681"/>
                      </a:lnTo>
                      <a:lnTo>
                        <a:pt x="413" y="677"/>
                      </a:lnTo>
                      <a:lnTo>
                        <a:pt x="428" y="677"/>
                      </a:lnTo>
                      <a:lnTo>
                        <a:pt x="413" y="671"/>
                      </a:lnTo>
                      <a:lnTo>
                        <a:pt x="426" y="671"/>
                      </a:lnTo>
                      <a:lnTo>
                        <a:pt x="428" y="667"/>
                      </a:lnTo>
                      <a:lnTo>
                        <a:pt x="426" y="663"/>
                      </a:lnTo>
                      <a:lnTo>
                        <a:pt x="436" y="662"/>
                      </a:lnTo>
                      <a:lnTo>
                        <a:pt x="430" y="656"/>
                      </a:lnTo>
                      <a:lnTo>
                        <a:pt x="442" y="656"/>
                      </a:lnTo>
                      <a:lnTo>
                        <a:pt x="440" y="650"/>
                      </a:lnTo>
                      <a:lnTo>
                        <a:pt x="449" y="640"/>
                      </a:lnTo>
                      <a:lnTo>
                        <a:pt x="451" y="636"/>
                      </a:lnTo>
                      <a:lnTo>
                        <a:pt x="444" y="627"/>
                      </a:lnTo>
                      <a:lnTo>
                        <a:pt x="449" y="627"/>
                      </a:lnTo>
                      <a:lnTo>
                        <a:pt x="440" y="615"/>
                      </a:lnTo>
                      <a:lnTo>
                        <a:pt x="461" y="607"/>
                      </a:lnTo>
                      <a:lnTo>
                        <a:pt x="478" y="607"/>
                      </a:lnTo>
                      <a:lnTo>
                        <a:pt x="473" y="601"/>
                      </a:lnTo>
                      <a:lnTo>
                        <a:pt x="473" y="598"/>
                      </a:lnTo>
                      <a:lnTo>
                        <a:pt x="484" y="598"/>
                      </a:lnTo>
                      <a:lnTo>
                        <a:pt x="486" y="592"/>
                      </a:lnTo>
                      <a:lnTo>
                        <a:pt x="492" y="594"/>
                      </a:lnTo>
                      <a:lnTo>
                        <a:pt x="490" y="590"/>
                      </a:lnTo>
                      <a:lnTo>
                        <a:pt x="496" y="588"/>
                      </a:lnTo>
                      <a:lnTo>
                        <a:pt x="506" y="584"/>
                      </a:lnTo>
                      <a:lnTo>
                        <a:pt x="494" y="578"/>
                      </a:lnTo>
                      <a:lnTo>
                        <a:pt x="515" y="578"/>
                      </a:lnTo>
                      <a:lnTo>
                        <a:pt x="511" y="567"/>
                      </a:lnTo>
                      <a:lnTo>
                        <a:pt x="496" y="561"/>
                      </a:lnTo>
                      <a:lnTo>
                        <a:pt x="521" y="555"/>
                      </a:lnTo>
                      <a:lnTo>
                        <a:pt x="521" y="534"/>
                      </a:lnTo>
                      <a:lnTo>
                        <a:pt x="546" y="532"/>
                      </a:lnTo>
                      <a:lnTo>
                        <a:pt x="544" y="522"/>
                      </a:lnTo>
                      <a:lnTo>
                        <a:pt x="562" y="520"/>
                      </a:lnTo>
                      <a:lnTo>
                        <a:pt x="572" y="516"/>
                      </a:lnTo>
                      <a:lnTo>
                        <a:pt x="599" y="510"/>
                      </a:lnTo>
                      <a:lnTo>
                        <a:pt x="597" y="508"/>
                      </a:lnTo>
                      <a:lnTo>
                        <a:pt x="612" y="495"/>
                      </a:lnTo>
                      <a:lnTo>
                        <a:pt x="624" y="495"/>
                      </a:lnTo>
                      <a:lnTo>
                        <a:pt x="612" y="506"/>
                      </a:lnTo>
                      <a:lnTo>
                        <a:pt x="626" y="508"/>
                      </a:lnTo>
                      <a:lnTo>
                        <a:pt x="665" y="499"/>
                      </a:lnTo>
                      <a:lnTo>
                        <a:pt x="665" y="493"/>
                      </a:lnTo>
                      <a:lnTo>
                        <a:pt x="678" y="493"/>
                      </a:lnTo>
                      <a:lnTo>
                        <a:pt x="699" y="487"/>
                      </a:lnTo>
                      <a:lnTo>
                        <a:pt x="705" y="483"/>
                      </a:lnTo>
                      <a:lnTo>
                        <a:pt x="729" y="462"/>
                      </a:lnTo>
                      <a:lnTo>
                        <a:pt x="765" y="444"/>
                      </a:lnTo>
                      <a:lnTo>
                        <a:pt x="767" y="433"/>
                      </a:lnTo>
                      <a:lnTo>
                        <a:pt x="771" y="423"/>
                      </a:lnTo>
                      <a:lnTo>
                        <a:pt x="798" y="439"/>
                      </a:lnTo>
                      <a:lnTo>
                        <a:pt x="812" y="435"/>
                      </a:lnTo>
                      <a:lnTo>
                        <a:pt x="825" y="431"/>
                      </a:lnTo>
                      <a:lnTo>
                        <a:pt x="833" y="431"/>
                      </a:lnTo>
                      <a:lnTo>
                        <a:pt x="887" y="419"/>
                      </a:lnTo>
                      <a:lnTo>
                        <a:pt x="942" y="408"/>
                      </a:lnTo>
                      <a:lnTo>
                        <a:pt x="959" y="400"/>
                      </a:lnTo>
                      <a:lnTo>
                        <a:pt x="979" y="390"/>
                      </a:lnTo>
                      <a:lnTo>
                        <a:pt x="990" y="384"/>
                      </a:lnTo>
                      <a:lnTo>
                        <a:pt x="1006" y="377"/>
                      </a:lnTo>
                      <a:lnTo>
                        <a:pt x="1021" y="371"/>
                      </a:lnTo>
                      <a:lnTo>
                        <a:pt x="948" y="363"/>
                      </a:lnTo>
                      <a:lnTo>
                        <a:pt x="887" y="375"/>
                      </a:lnTo>
                      <a:lnTo>
                        <a:pt x="886" y="369"/>
                      </a:lnTo>
                      <a:lnTo>
                        <a:pt x="928" y="359"/>
                      </a:lnTo>
                      <a:lnTo>
                        <a:pt x="866" y="359"/>
                      </a:lnTo>
                      <a:lnTo>
                        <a:pt x="897" y="347"/>
                      </a:lnTo>
                      <a:lnTo>
                        <a:pt x="897" y="344"/>
                      </a:lnTo>
                      <a:lnTo>
                        <a:pt x="901" y="342"/>
                      </a:lnTo>
                      <a:lnTo>
                        <a:pt x="955" y="338"/>
                      </a:lnTo>
                      <a:lnTo>
                        <a:pt x="953" y="328"/>
                      </a:lnTo>
                      <a:lnTo>
                        <a:pt x="951" y="328"/>
                      </a:lnTo>
                      <a:lnTo>
                        <a:pt x="901" y="326"/>
                      </a:lnTo>
                      <a:lnTo>
                        <a:pt x="918" y="322"/>
                      </a:lnTo>
                      <a:lnTo>
                        <a:pt x="897" y="311"/>
                      </a:lnTo>
                      <a:lnTo>
                        <a:pt x="946" y="326"/>
                      </a:lnTo>
                      <a:lnTo>
                        <a:pt x="986" y="342"/>
                      </a:lnTo>
                      <a:lnTo>
                        <a:pt x="1004" y="361"/>
                      </a:lnTo>
                      <a:lnTo>
                        <a:pt x="1023" y="355"/>
                      </a:lnTo>
                      <a:lnTo>
                        <a:pt x="1027" y="349"/>
                      </a:lnTo>
                      <a:lnTo>
                        <a:pt x="1031" y="361"/>
                      </a:lnTo>
                      <a:lnTo>
                        <a:pt x="1043" y="355"/>
                      </a:lnTo>
                      <a:lnTo>
                        <a:pt x="1043" y="344"/>
                      </a:lnTo>
                      <a:lnTo>
                        <a:pt x="1044" y="328"/>
                      </a:lnTo>
                      <a:lnTo>
                        <a:pt x="1029" y="332"/>
                      </a:lnTo>
                      <a:lnTo>
                        <a:pt x="1037" y="322"/>
                      </a:lnTo>
                      <a:lnTo>
                        <a:pt x="1027" y="324"/>
                      </a:lnTo>
                      <a:lnTo>
                        <a:pt x="1021" y="320"/>
                      </a:lnTo>
                      <a:lnTo>
                        <a:pt x="1029" y="314"/>
                      </a:lnTo>
                      <a:lnTo>
                        <a:pt x="973" y="301"/>
                      </a:lnTo>
                      <a:lnTo>
                        <a:pt x="965" y="305"/>
                      </a:lnTo>
                      <a:lnTo>
                        <a:pt x="967" y="299"/>
                      </a:lnTo>
                      <a:lnTo>
                        <a:pt x="988" y="291"/>
                      </a:lnTo>
                      <a:lnTo>
                        <a:pt x="953" y="291"/>
                      </a:lnTo>
                      <a:lnTo>
                        <a:pt x="940" y="291"/>
                      </a:lnTo>
                      <a:lnTo>
                        <a:pt x="932" y="287"/>
                      </a:lnTo>
                      <a:lnTo>
                        <a:pt x="982" y="280"/>
                      </a:lnTo>
                      <a:lnTo>
                        <a:pt x="930" y="280"/>
                      </a:lnTo>
                      <a:lnTo>
                        <a:pt x="928" y="282"/>
                      </a:lnTo>
                      <a:lnTo>
                        <a:pt x="928" y="278"/>
                      </a:lnTo>
                      <a:lnTo>
                        <a:pt x="944" y="272"/>
                      </a:lnTo>
                      <a:lnTo>
                        <a:pt x="938" y="268"/>
                      </a:lnTo>
                      <a:lnTo>
                        <a:pt x="975" y="270"/>
                      </a:lnTo>
                      <a:lnTo>
                        <a:pt x="986" y="262"/>
                      </a:lnTo>
                      <a:lnTo>
                        <a:pt x="981" y="256"/>
                      </a:lnTo>
                      <a:lnTo>
                        <a:pt x="1000" y="262"/>
                      </a:lnTo>
                      <a:lnTo>
                        <a:pt x="1023" y="260"/>
                      </a:lnTo>
                      <a:lnTo>
                        <a:pt x="1041" y="264"/>
                      </a:lnTo>
                      <a:lnTo>
                        <a:pt x="1012" y="264"/>
                      </a:lnTo>
                      <a:lnTo>
                        <a:pt x="1056" y="272"/>
                      </a:lnTo>
                      <a:lnTo>
                        <a:pt x="1093" y="262"/>
                      </a:lnTo>
                      <a:lnTo>
                        <a:pt x="1095" y="254"/>
                      </a:lnTo>
                      <a:lnTo>
                        <a:pt x="1064" y="254"/>
                      </a:lnTo>
                      <a:lnTo>
                        <a:pt x="1062" y="258"/>
                      </a:lnTo>
                      <a:lnTo>
                        <a:pt x="1052" y="247"/>
                      </a:lnTo>
                      <a:lnTo>
                        <a:pt x="1064" y="235"/>
                      </a:lnTo>
                      <a:lnTo>
                        <a:pt x="1126" y="241"/>
                      </a:lnTo>
                      <a:lnTo>
                        <a:pt x="1122" y="229"/>
                      </a:lnTo>
                      <a:lnTo>
                        <a:pt x="1097" y="229"/>
                      </a:lnTo>
                      <a:lnTo>
                        <a:pt x="1091" y="218"/>
                      </a:lnTo>
                      <a:lnTo>
                        <a:pt x="1068" y="218"/>
                      </a:lnTo>
                      <a:lnTo>
                        <a:pt x="1095" y="214"/>
                      </a:lnTo>
                      <a:lnTo>
                        <a:pt x="1068" y="208"/>
                      </a:lnTo>
                      <a:lnTo>
                        <a:pt x="1070" y="202"/>
                      </a:lnTo>
                      <a:lnTo>
                        <a:pt x="1124" y="216"/>
                      </a:lnTo>
                      <a:lnTo>
                        <a:pt x="1122" y="194"/>
                      </a:lnTo>
                      <a:lnTo>
                        <a:pt x="1081" y="192"/>
                      </a:lnTo>
                      <a:lnTo>
                        <a:pt x="1126" y="188"/>
                      </a:lnTo>
                      <a:lnTo>
                        <a:pt x="1101" y="187"/>
                      </a:lnTo>
                      <a:lnTo>
                        <a:pt x="1087" y="181"/>
                      </a:lnTo>
                      <a:lnTo>
                        <a:pt x="1079" y="181"/>
                      </a:lnTo>
                      <a:lnTo>
                        <a:pt x="1066" y="171"/>
                      </a:lnTo>
                      <a:lnTo>
                        <a:pt x="1103" y="167"/>
                      </a:lnTo>
                      <a:lnTo>
                        <a:pt x="1165" y="167"/>
                      </a:lnTo>
                      <a:lnTo>
                        <a:pt x="1163" y="154"/>
                      </a:lnTo>
                      <a:lnTo>
                        <a:pt x="1128" y="152"/>
                      </a:lnTo>
                      <a:lnTo>
                        <a:pt x="1110" y="146"/>
                      </a:lnTo>
                      <a:lnTo>
                        <a:pt x="1153" y="146"/>
                      </a:lnTo>
                      <a:lnTo>
                        <a:pt x="1108" y="138"/>
                      </a:lnTo>
                      <a:lnTo>
                        <a:pt x="1099" y="146"/>
                      </a:lnTo>
                      <a:lnTo>
                        <a:pt x="1089" y="140"/>
                      </a:lnTo>
                      <a:lnTo>
                        <a:pt x="1108" y="119"/>
                      </a:lnTo>
                      <a:lnTo>
                        <a:pt x="1141" y="109"/>
                      </a:lnTo>
                      <a:lnTo>
                        <a:pt x="1155" y="101"/>
                      </a:lnTo>
                      <a:lnTo>
                        <a:pt x="1143" y="103"/>
                      </a:lnTo>
                      <a:lnTo>
                        <a:pt x="1161" y="86"/>
                      </a:lnTo>
                      <a:lnTo>
                        <a:pt x="1188" y="86"/>
                      </a:lnTo>
                      <a:lnTo>
                        <a:pt x="1190" y="76"/>
                      </a:lnTo>
                      <a:lnTo>
                        <a:pt x="1139" y="86"/>
                      </a:lnTo>
                      <a:lnTo>
                        <a:pt x="1134" y="80"/>
                      </a:lnTo>
                      <a:lnTo>
                        <a:pt x="1180" y="74"/>
                      </a:lnTo>
                      <a:lnTo>
                        <a:pt x="1229" y="68"/>
                      </a:lnTo>
                      <a:lnTo>
                        <a:pt x="1139" y="66"/>
                      </a:lnTo>
                      <a:lnTo>
                        <a:pt x="1264" y="59"/>
                      </a:lnTo>
                      <a:lnTo>
                        <a:pt x="1258" y="55"/>
                      </a:lnTo>
                      <a:lnTo>
                        <a:pt x="1316" y="43"/>
                      </a:lnTo>
                      <a:lnTo>
                        <a:pt x="1240" y="37"/>
                      </a:lnTo>
                      <a:lnTo>
                        <a:pt x="1200" y="43"/>
                      </a:lnTo>
                      <a:lnTo>
                        <a:pt x="1155" y="47"/>
                      </a:lnTo>
                      <a:lnTo>
                        <a:pt x="1151" y="43"/>
                      </a:lnTo>
                      <a:lnTo>
                        <a:pt x="1070" y="66"/>
                      </a:lnTo>
                      <a:lnTo>
                        <a:pt x="1099" y="51"/>
                      </a:lnTo>
                      <a:lnTo>
                        <a:pt x="1118" y="35"/>
                      </a:lnTo>
                      <a:lnTo>
                        <a:pt x="1087" y="33"/>
                      </a:lnTo>
                      <a:lnTo>
                        <a:pt x="1076" y="39"/>
                      </a:lnTo>
                      <a:lnTo>
                        <a:pt x="1015" y="47"/>
                      </a:lnTo>
                      <a:lnTo>
                        <a:pt x="1046" y="41"/>
                      </a:lnTo>
                      <a:lnTo>
                        <a:pt x="1054" y="35"/>
                      </a:lnTo>
                      <a:lnTo>
                        <a:pt x="907" y="41"/>
                      </a:lnTo>
                      <a:lnTo>
                        <a:pt x="950" y="31"/>
                      </a:lnTo>
                      <a:lnTo>
                        <a:pt x="1037" y="31"/>
                      </a:lnTo>
                      <a:lnTo>
                        <a:pt x="1134" y="22"/>
                      </a:lnTo>
                      <a:lnTo>
                        <a:pt x="1066" y="16"/>
                      </a:lnTo>
                      <a:lnTo>
                        <a:pt x="1068" y="10"/>
                      </a:lnTo>
                      <a:lnTo>
                        <a:pt x="868" y="14"/>
                      </a:lnTo>
                      <a:lnTo>
                        <a:pt x="895" y="12"/>
                      </a:lnTo>
                      <a:lnTo>
                        <a:pt x="1048" y="8"/>
                      </a:lnTo>
                      <a:lnTo>
                        <a:pt x="986" y="0"/>
                      </a:lnTo>
                      <a:lnTo>
                        <a:pt x="798" y="4"/>
                      </a:lnTo>
                      <a:lnTo>
                        <a:pt x="810" y="8"/>
                      </a:lnTo>
                      <a:lnTo>
                        <a:pt x="794" y="12"/>
                      </a:lnTo>
                      <a:lnTo>
                        <a:pt x="791" y="14"/>
                      </a:lnTo>
                      <a:lnTo>
                        <a:pt x="744" y="10"/>
                      </a:lnTo>
                      <a:lnTo>
                        <a:pt x="676" y="8"/>
                      </a:lnTo>
                      <a:lnTo>
                        <a:pt x="688" y="14"/>
                      </a:lnTo>
                      <a:lnTo>
                        <a:pt x="639" y="12"/>
                      </a:lnTo>
                      <a:lnTo>
                        <a:pt x="723" y="16"/>
                      </a:lnTo>
                      <a:lnTo>
                        <a:pt x="765" y="24"/>
                      </a:lnTo>
                      <a:lnTo>
                        <a:pt x="727" y="18"/>
                      </a:lnTo>
                      <a:lnTo>
                        <a:pt x="727" y="20"/>
                      </a:lnTo>
                      <a:lnTo>
                        <a:pt x="666" y="18"/>
                      </a:lnTo>
                      <a:lnTo>
                        <a:pt x="692" y="28"/>
                      </a:lnTo>
                      <a:lnTo>
                        <a:pt x="670" y="28"/>
                      </a:lnTo>
                      <a:lnTo>
                        <a:pt x="668" y="33"/>
                      </a:lnTo>
                      <a:lnTo>
                        <a:pt x="665" y="37"/>
                      </a:lnTo>
                      <a:lnTo>
                        <a:pt x="554" y="24"/>
                      </a:lnTo>
                      <a:lnTo>
                        <a:pt x="546" y="37"/>
                      </a:lnTo>
                      <a:lnTo>
                        <a:pt x="548" y="41"/>
                      </a:lnTo>
                      <a:lnTo>
                        <a:pt x="498" y="33"/>
                      </a:lnTo>
                      <a:lnTo>
                        <a:pt x="475" y="45"/>
                      </a:lnTo>
                      <a:lnTo>
                        <a:pt x="469" y="45"/>
                      </a:lnTo>
                      <a:lnTo>
                        <a:pt x="477" y="28"/>
                      </a:lnTo>
                      <a:lnTo>
                        <a:pt x="366" y="33"/>
                      </a:lnTo>
                      <a:lnTo>
                        <a:pt x="399" y="47"/>
                      </a:lnTo>
                      <a:lnTo>
                        <a:pt x="370" y="41"/>
                      </a:lnTo>
                      <a:lnTo>
                        <a:pt x="321" y="39"/>
                      </a:lnTo>
                      <a:lnTo>
                        <a:pt x="321" y="45"/>
                      </a:lnTo>
                      <a:lnTo>
                        <a:pt x="314" y="53"/>
                      </a:lnTo>
                      <a:lnTo>
                        <a:pt x="273" y="53"/>
                      </a:lnTo>
                      <a:lnTo>
                        <a:pt x="267" y="60"/>
                      </a:lnTo>
                      <a:lnTo>
                        <a:pt x="261" y="55"/>
                      </a:lnTo>
                      <a:lnTo>
                        <a:pt x="159" y="76"/>
                      </a:lnTo>
                      <a:lnTo>
                        <a:pt x="223" y="76"/>
                      </a:lnTo>
                      <a:lnTo>
                        <a:pt x="205" y="80"/>
                      </a:lnTo>
                      <a:lnTo>
                        <a:pt x="201" y="88"/>
                      </a:lnTo>
                      <a:lnTo>
                        <a:pt x="178" y="99"/>
                      </a:lnTo>
                      <a:lnTo>
                        <a:pt x="97" y="109"/>
                      </a:lnTo>
                      <a:lnTo>
                        <a:pt x="9" y="123"/>
                      </a:lnTo>
                      <a:lnTo>
                        <a:pt x="4" y="128"/>
                      </a:lnTo>
                      <a:lnTo>
                        <a:pt x="4" y="136"/>
                      </a:lnTo>
                      <a:lnTo>
                        <a:pt x="50" y="140"/>
                      </a:lnTo>
                      <a:lnTo>
                        <a:pt x="42" y="146"/>
                      </a:lnTo>
                      <a:lnTo>
                        <a:pt x="38" y="148"/>
                      </a:lnTo>
                      <a:lnTo>
                        <a:pt x="71" y="150"/>
                      </a:lnTo>
                      <a:lnTo>
                        <a:pt x="118" y="146"/>
                      </a:lnTo>
                      <a:lnTo>
                        <a:pt x="112" y="155"/>
                      </a:lnTo>
                      <a:lnTo>
                        <a:pt x="54" y="157"/>
                      </a:lnTo>
                      <a:lnTo>
                        <a:pt x="100" y="159"/>
                      </a:lnTo>
                      <a:lnTo>
                        <a:pt x="81" y="159"/>
                      </a:lnTo>
                      <a:lnTo>
                        <a:pt x="0" y="163"/>
                      </a:lnTo>
                      <a:lnTo>
                        <a:pt x="29" y="167"/>
                      </a:lnTo>
                      <a:lnTo>
                        <a:pt x="52" y="175"/>
                      </a:lnTo>
                      <a:lnTo>
                        <a:pt x="25" y="181"/>
                      </a:lnTo>
                      <a:lnTo>
                        <a:pt x="81" y="194"/>
                      </a:lnTo>
                      <a:lnTo>
                        <a:pt x="73" y="188"/>
                      </a:lnTo>
                      <a:lnTo>
                        <a:pt x="89" y="188"/>
                      </a:lnTo>
                      <a:lnTo>
                        <a:pt x="102" y="188"/>
                      </a:lnTo>
                      <a:lnTo>
                        <a:pt x="139" y="185"/>
                      </a:lnTo>
                      <a:lnTo>
                        <a:pt x="157" y="183"/>
                      </a:lnTo>
                      <a:lnTo>
                        <a:pt x="257" y="200"/>
                      </a:lnTo>
                      <a:lnTo>
                        <a:pt x="250" y="212"/>
                      </a:lnTo>
                      <a:lnTo>
                        <a:pt x="271" y="225"/>
                      </a:lnTo>
                      <a:lnTo>
                        <a:pt x="279" y="233"/>
                      </a:lnTo>
                      <a:lnTo>
                        <a:pt x="273" y="239"/>
                      </a:lnTo>
                      <a:lnTo>
                        <a:pt x="263" y="245"/>
                      </a:lnTo>
                      <a:lnTo>
                        <a:pt x="279" y="245"/>
                      </a:lnTo>
                      <a:lnTo>
                        <a:pt x="281" y="258"/>
                      </a:lnTo>
                      <a:lnTo>
                        <a:pt x="283" y="266"/>
                      </a:lnTo>
                      <a:lnTo>
                        <a:pt x="279" y="276"/>
                      </a:lnTo>
                      <a:lnTo>
                        <a:pt x="287" y="280"/>
                      </a:lnTo>
                      <a:lnTo>
                        <a:pt x="283" y="295"/>
                      </a:lnTo>
                      <a:lnTo>
                        <a:pt x="269" y="301"/>
                      </a:lnTo>
                      <a:lnTo>
                        <a:pt x="261" y="311"/>
                      </a:lnTo>
                      <a:lnTo>
                        <a:pt x="279" y="311"/>
                      </a:lnTo>
                      <a:lnTo>
                        <a:pt x="246" y="320"/>
                      </a:lnTo>
                      <a:lnTo>
                        <a:pt x="259" y="332"/>
                      </a:lnTo>
                      <a:lnTo>
                        <a:pt x="288" y="324"/>
                      </a:lnTo>
                      <a:lnTo>
                        <a:pt x="302" y="301"/>
                      </a:lnTo>
                      <a:lnTo>
                        <a:pt x="306" y="318"/>
                      </a:lnTo>
                      <a:lnTo>
                        <a:pt x="321" y="313"/>
                      </a:lnTo>
                      <a:lnTo>
                        <a:pt x="316" y="318"/>
                      </a:lnTo>
                      <a:lnTo>
                        <a:pt x="337" y="324"/>
                      </a:lnTo>
                      <a:lnTo>
                        <a:pt x="316" y="328"/>
                      </a:lnTo>
                      <a:lnTo>
                        <a:pt x="339" y="328"/>
                      </a:lnTo>
                      <a:lnTo>
                        <a:pt x="321" y="336"/>
                      </a:lnTo>
                      <a:lnTo>
                        <a:pt x="333" y="334"/>
                      </a:lnTo>
                      <a:lnTo>
                        <a:pt x="327" y="336"/>
                      </a:lnTo>
                      <a:lnTo>
                        <a:pt x="343" y="344"/>
                      </a:lnTo>
                      <a:lnTo>
                        <a:pt x="329" y="342"/>
                      </a:lnTo>
                      <a:lnTo>
                        <a:pt x="347" y="349"/>
                      </a:lnTo>
                      <a:lnTo>
                        <a:pt x="345" y="349"/>
                      </a:lnTo>
                      <a:lnTo>
                        <a:pt x="343" y="357"/>
                      </a:lnTo>
                      <a:lnTo>
                        <a:pt x="347" y="361"/>
                      </a:lnTo>
                      <a:lnTo>
                        <a:pt x="269" y="349"/>
                      </a:lnTo>
                      <a:lnTo>
                        <a:pt x="263" y="359"/>
                      </a:lnTo>
                      <a:lnTo>
                        <a:pt x="345" y="377"/>
                      </a:lnTo>
                      <a:lnTo>
                        <a:pt x="331" y="384"/>
                      </a:lnTo>
                      <a:lnTo>
                        <a:pt x="335" y="390"/>
                      </a:lnTo>
                      <a:lnTo>
                        <a:pt x="327" y="396"/>
                      </a:lnTo>
                      <a:lnTo>
                        <a:pt x="329" y="400"/>
                      </a:lnTo>
                      <a:lnTo>
                        <a:pt x="337" y="402"/>
                      </a:lnTo>
                      <a:lnTo>
                        <a:pt x="339" y="406"/>
                      </a:lnTo>
                      <a:lnTo>
                        <a:pt x="325" y="404"/>
                      </a:lnTo>
                      <a:lnTo>
                        <a:pt x="314" y="411"/>
                      </a:lnTo>
                      <a:lnTo>
                        <a:pt x="323" y="411"/>
                      </a:lnTo>
                      <a:lnTo>
                        <a:pt x="259" y="429"/>
                      </a:lnTo>
                      <a:lnTo>
                        <a:pt x="265" y="433"/>
                      </a:lnTo>
                      <a:lnTo>
                        <a:pt x="302" y="429"/>
                      </a:lnTo>
                      <a:lnTo>
                        <a:pt x="316" y="423"/>
                      </a:lnTo>
                      <a:lnTo>
                        <a:pt x="304" y="433"/>
                      </a:lnTo>
                      <a:lnTo>
                        <a:pt x="314" y="439"/>
                      </a:lnTo>
                      <a:lnTo>
                        <a:pt x="265" y="435"/>
                      </a:lnTo>
                      <a:lnTo>
                        <a:pt x="254" y="433"/>
                      </a:lnTo>
                      <a:lnTo>
                        <a:pt x="273" y="441"/>
                      </a:lnTo>
                      <a:lnTo>
                        <a:pt x="248" y="439"/>
                      </a:lnTo>
                      <a:lnTo>
                        <a:pt x="232" y="450"/>
                      </a:lnTo>
                      <a:lnTo>
                        <a:pt x="279" y="442"/>
                      </a:lnTo>
                      <a:lnTo>
                        <a:pt x="273" y="444"/>
                      </a:lnTo>
                      <a:lnTo>
                        <a:pt x="290" y="446"/>
                      </a:lnTo>
                      <a:lnTo>
                        <a:pt x="304" y="442"/>
                      </a:lnTo>
                      <a:lnTo>
                        <a:pt x="314" y="444"/>
                      </a:lnTo>
                      <a:lnTo>
                        <a:pt x="300" y="448"/>
                      </a:lnTo>
                      <a:lnTo>
                        <a:pt x="318" y="448"/>
                      </a:lnTo>
                      <a:lnTo>
                        <a:pt x="308" y="450"/>
                      </a:lnTo>
                      <a:lnTo>
                        <a:pt x="312" y="456"/>
                      </a:lnTo>
                      <a:lnTo>
                        <a:pt x="267" y="448"/>
                      </a:lnTo>
                      <a:lnTo>
                        <a:pt x="223" y="460"/>
                      </a:lnTo>
                      <a:lnTo>
                        <a:pt x="283" y="460"/>
                      </a:lnTo>
                      <a:lnTo>
                        <a:pt x="298" y="466"/>
                      </a:lnTo>
                      <a:lnTo>
                        <a:pt x="283" y="462"/>
                      </a:lnTo>
                      <a:lnTo>
                        <a:pt x="223" y="466"/>
                      </a:lnTo>
                      <a:lnTo>
                        <a:pt x="228" y="472"/>
                      </a:lnTo>
                      <a:lnTo>
                        <a:pt x="254" y="473"/>
                      </a:lnTo>
                      <a:lnTo>
                        <a:pt x="240" y="477"/>
                      </a:lnTo>
                      <a:lnTo>
                        <a:pt x="236" y="481"/>
                      </a:lnTo>
                      <a:lnTo>
                        <a:pt x="228" y="481"/>
                      </a:lnTo>
                      <a:lnTo>
                        <a:pt x="244" y="487"/>
                      </a:lnTo>
                      <a:lnTo>
                        <a:pt x="221" y="487"/>
                      </a:lnTo>
                      <a:lnTo>
                        <a:pt x="217" y="497"/>
                      </a:lnTo>
                      <a:lnTo>
                        <a:pt x="261" y="485"/>
                      </a:lnTo>
                      <a:lnTo>
                        <a:pt x="308" y="472"/>
                      </a:lnTo>
                      <a:lnTo>
                        <a:pt x="296" y="477"/>
                      </a:lnTo>
                      <a:lnTo>
                        <a:pt x="215" y="503"/>
                      </a:lnTo>
                      <a:lnTo>
                        <a:pt x="226" y="504"/>
                      </a:lnTo>
                      <a:lnTo>
                        <a:pt x="217" y="508"/>
                      </a:lnTo>
                      <a:lnTo>
                        <a:pt x="257" y="503"/>
                      </a:lnTo>
                      <a:lnTo>
                        <a:pt x="221" y="512"/>
                      </a:lnTo>
                      <a:lnTo>
                        <a:pt x="225" y="516"/>
                      </a:lnTo>
                      <a:lnTo>
                        <a:pt x="228" y="520"/>
                      </a:lnTo>
                      <a:lnTo>
                        <a:pt x="246" y="520"/>
                      </a:lnTo>
                      <a:lnTo>
                        <a:pt x="279" y="5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69" name="Freeform 459"/>
                <p:cNvSpPr>
                  <a:spLocks/>
                </p:cNvSpPr>
                <p:nvPr/>
              </p:nvSpPr>
              <p:spPr bwMode="auto">
                <a:xfrm>
                  <a:off x="3326707" y="1445763"/>
                  <a:ext cx="51497" cy="24861"/>
                </a:xfrm>
                <a:custGeom>
                  <a:avLst/>
                  <a:gdLst>
                    <a:gd name="T0" fmla="*/ 51497 w 66"/>
                    <a:gd name="T1" fmla="*/ 16841 h 31"/>
                    <a:gd name="T2" fmla="*/ 13264 w 66"/>
                    <a:gd name="T3" fmla="*/ 0 h 31"/>
                    <a:gd name="T4" fmla="*/ 1561 w 66"/>
                    <a:gd name="T5" fmla="*/ 6416 h 31"/>
                    <a:gd name="T6" fmla="*/ 3121 w 66"/>
                    <a:gd name="T7" fmla="*/ 8020 h 31"/>
                    <a:gd name="T8" fmla="*/ 0 w 66"/>
                    <a:gd name="T9" fmla="*/ 13633 h 31"/>
                    <a:gd name="T10" fmla="*/ 4682 w 66"/>
                    <a:gd name="T11" fmla="*/ 18445 h 31"/>
                    <a:gd name="T12" fmla="*/ 14825 w 66"/>
                    <a:gd name="T13" fmla="*/ 21653 h 31"/>
                    <a:gd name="T14" fmla="*/ 9363 w 66"/>
                    <a:gd name="T15" fmla="*/ 24861 h 31"/>
                    <a:gd name="T16" fmla="*/ 51497 w 66"/>
                    <a:gd name="T17" fmla="*/ 16841 h 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6"/>
                    <a:gd name="T28" fmla="*/ 0 h 31"/>
                    <a:gd name="T29" fmla="*/ 66 w 66"/>
                    <a:gd name="T30" fmla="*/ 31 h 3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6" h="31">
                      <a:moveTo>
                        <a:pt x="66" y="21"/>
                      </a:moveTo>
                      <a:lnTo>
                        <a:pt x="17" y="0"/>
                      </a:lnTo>
                      <a:lnTo>
                        <a:pt x="2" y="8"/>
                      </a:lnTo>
                      <a:lnTo>
                        <a:pt x="4" y="10"/>
                      </a:lnTo>
                      <a:lnTo>
                        <a:pt x="0" y="17"/>
                      </a:lnTo>
                      <a:lnTo>
                        <a:pt x="6" y="23"/>
                      </a:lnTo>
                      <a:lnTo>
                        <a:pt x="19" y="27"/>
                      </a:lnTo>
                      <a:lnTo>
                        <a:pt x="12" y="31"/>
                      </a:lnTo>
                      <a:lnTo>
                        <a:pt x="66" y="2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0" name="Freeform 460"/>
                <p:cNvSpPr>
                  <a:spLocks/>
                </p:cNvSpPr>
                <p:nvPr/>
              </p:nvSpPr>
              <p:spPr bwMode="auto">
                <a:xfrm>
                  <a:off x="3875414" y="1541654"/>
                  <a:ext cx="216642" cy="76357"/>
                </a:xfrm>
                <a:custGeom>
                  <a:avLst/>
                  <a:gdLst>
                    <a:gd name="T0" fmla="*/ 165479 w 271"/>
                    <a:gd name="T1" fmla="*/ 0 h 101"/>
                    <a:gd name="T2" fmla="*/ 163880 w 271"/>
                    <a:gd name="T3" fmla="*/ 6048 h 101"/>
                    <a:gd name="T4" fmla="*/ 143895 w 271"/>
                    <a:gd name="T5" fmla="*/ 10584 h 101"/>
                    <a:gd name="T6" fmla="*/ 129506 w 271"/>
                    <a:gd name="T7" fmla="*/ 9072 h 101"/>
                    <a:gd name="T8" fmla="*/ 127107 w 271"/>
                    <a:gd name="T9" fmla="*/ 18900 h 101"/>
                    <a:gd name="T10" fmla="*/ 125508 w 271"/>
                    <a:gd name="T11" fmla="*/ 14364 h 101"/>
                    <a:gd name="T12" fmla="*/ 107921 w 271"/>
                    <a:gd name="T13" fmla="*/ 9072 h 101"/>
                    <a:gd name="T14" fmla="*/ 102325 w 271"/>
                    <a:gd name="T15" fmla="*/ 15876 h 101"/>
                    <a:gd name="T16" fmla="*/ 87936 w 271"/>
                    <a:gd name="T17" fmla="*/ 9072 h 101"/>
                    <a:gd name="T18" fmla="*/ 75945 w 271"/>
                    <a:gd name="T19" fmla="*/ 23436 h 101"/>
                    <a:gd name="T20" fmla="*/ 64753 w 271"/>
                    <a:gd name="T21" fmla="*/ 27972 h 101"/>
                    <a:gd name="T22" fmla="*/ 56759 w 271"/>
                    <a:gd name="T23" fmla="*/ 20412 h 101"/>
                    <a:gd name="T24" fmla="*/ 63154 w 271"/>
                    <a:gd name="T25" fmla="*/ 15876 h 101"/>
                    <a:gd name="T26" fmla="*/ 33576 w 271"/>
                    <a:gd name="T27" fmla="*/ 0 h 101"/>
                    <a:gd name="T28" fmla="*/ 38372 w 271"/>
                    <a:gd name="T29" fmla="*/ 6048 h 101"/>
                    <a:gd name="T30" fmla="*/ 41570 w 271"/>
                    <a:gd name="T31" fmla="*/ 14364 h 101"/>
                    <a:gd name="T32" fmla="*/ 27980 w 271"/>
                    <a:gd name="T33" fmla="*/ 9072 h 101"/>
                    <a:gd name="T34" fmla="*/ 21584 w 271"/>
                    <a:gd name="T35" fmla="*/ 11340 h 101"/>
                    <a:gd name="T36" fmla="*/ 19985 w 271"/>
                    <a:gd name="T37" fmla="*/ 14364 h 101"/>
                    <a:gd name="T38" fmla="*/ 24782 w 271"/>
                    <a:gd name="T39" fmla="*/ 17388 h 101"/>
                    <a:gd name="T40" fmla="*/ 23183 w 271"/>
                    <a:gd name="T41" fmla="*/ 17388 h 101"/>
                    <a:gd name="T42" fmla="*/ 5596 w 271"/>
                    <a:gd name="T43" fmla="*/ 15876 h 101"/>
                    <a:gd name="T44" fmla="*/ 10392 w 271"/>
                    <a:gd name="T45" fmla="*/ 21924 h 101"/>
                    <a:gd name="T46" fmla="*/ 0 w 271"/>
                    <a:gd name="T47" fmla="*/ 21924 h 101"/>
                    <a:gd name="T48" fmla="*/ 46366 w 271"/>
                    <a:gd name="T49" fmla="*/ 24948 h 101"/>
                    <a:gd name="T50" fmla="*/ 38372 w 271"/>
                    <a:gd name="T51" fmla="*/ 29484 h 101"/>
                    <a:gd name="T52" fmla="*/ 44767 w 271"/>
                    <a:gd name="T53" fmla="*/ 34020 h 101"/>
                    <a:gd name="T54" fmla="*/ 3997 w 271"/>
                    <a:gd name="T55" fmla="*/ 37800 h 101"/>
                    <a:gd name="T56" fmla="*/ 36773 w 271"/>
                    <a:gd name="T57" fmla="*/ 45361 h 101"/>
                    <a:gd name="T58" fmla="*/ 46366 w 271"/>
                    <a:gd name="T59" fmla="*/ 48385 h 101"/>
                    <a:gd name="T60" fmla="*/ 41570 w 271"/>
                    <a:gd name="T61" fmla="*/ 52921 h 101"/>
                    <a:gd name="T62" fmla="*/ 47965 w 271"/>
                    <a:gd name="T63" fmla="*/ 52921 h 101"/>
                    <a:gd name="T64" fmla="*/ 43169 w 271"/>
                    <a:gd name="T65" fmla="*/ 55945 h 101"/>
                    <a:gd name="T66" fmla="*/ 24782 w 271"/>
                    <a:gd name="T67" fmla="*/ 62749 h 101"/>
                    <a:gd name="T68" fmla="*/ 39971 w 271"/>
                    <a:gd name="T69" fmla="*/ 67285 h 101"/>
                    <a:gd name="T70" fmla="*/ 69549 w 271"/>
                    <a:gd name="T71" fmla="*/ 68797 h 101"/>
                    <a:gd name="T72" fmla="*/ 115915 w 271"/>
                    <a:gd name="T73" fmla="*/ 76357 h 101"/>
                    <a:gd name="T74" fmla="*/ 148692 w 271"/>
                    <a:gd name="T75" fmla="*/ 65773 h 101"/>
                    <a:gd name="T76" fmla="*/ 180668 w 271"/>
                    <a:gd name="T77" fmla="*/ 55945 h 101"/>
                    <a:gd name="T78" fmla="*/ 201453 w 271"/>
                    <a:gd name="T79" fmla="*/ 43849 h 101"/>
                    <a:gd name="T80" fmla="*/ 210247 w 271"/>
                    <a:gd name="T81" fmla="*/ 37800 h 101"/>
                    <a:gd name="T82" fmla="*/ 216642 w 271"/>
                    <a:gd name="T83" fmla="*/ 36288 h 101"/>
                    <a:gd name="T84" fmla="*/ 208648 w 271"/>
                    <a:gd name="T85" fmla="*/ 32508 h 101"/>
                    <a:gd name="T86" fmla="*/ 216642 w 271"/>
                    <a:gd name="T87" fmla="*/ 29484 h 101"/>
                    <a:gd name="T88" fmla="*/ 216642 w 271"/>
                    <a:gd name="T89" fmla="*/ 24948 h 101"/>
                    <a:gd name="T90" fmla="*/ 198255 w 271"/>
                    <a:gd name="T91" fmla="*/ 24948 h 101"/>
                    <a:gd name="T92" fmla="*/ 203052 w 271"/>
                    <a:gd name="T93" fmla="*/ 20412 h 101"/>
                    <a:gd name="T94" fmla="*/ 193459 w 271"/>
                    <a:gd name="T95" fmla="*/ 18900 h 101"/>
                    <a:gd name="T96" fmla="*/ 191860 w 271"/>
                    <a:gd name="T97" fmla="*/ 10584 h 101"/>
                    <a:gd name="T98" fmla="*/ 201453 w 271"/>
                    <a:gd name="T99" fmla="*/ 3024 h 101"/>
                    <a:gd name="T100" fmla="*/ 185465 w 271"/>
                    <a:gd name="T101" fmla="*/ 6048 h 101"/>
                    <a:gd name="T102" fmla="*/ 165479 w 271"/>
                    <a:gd name="T103" fmla="*/ 0 h 101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71"/>
                    <a:gd name="T157" fmla="*/ 0 h 101"/>
                    <a:gd name="T158" fmla="*/ 271 w 271"/>
                    <a:gd name="T159" fmla="*/ 101 h 101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71" h="101">
                      <a:moveTo>
                        <a:pt x="207" y="0"/>
                      </a:moveTo>
                      <a:lnTo>
                        <a:pt x="205" y="8"/>
                      </a:lnTo>
                      <a:lnTo>
                        <a:pt x="180" y="14"/>
                      </a:lnTo>
                      <a:lnTo>
                        <a:pt x="162" y="12"/>
                      </a:lnTo>
                      <a:lnTo>
                        <a:pt x="159" y="25"/>
                      </a:lnTo>
                      <a:lnTo>
                        <a:pt x="157" y="19"/>
                      </a:lnTo>
                      <a:lnTo>
                        <a:pt x="135" y="12"/>
                      </a:lnTo>
                      <a:lnTo>
                        <a:pt x="128" y="21"/>
                      </a:lnTo>
                      <a:lnTo>
                        <a:pt x="110" y="12"/>
                      </a:lnTo>
                      <a:lnTo>
                        <a:pt x="95" y="31"/>
                      </a:lnTo>
                      <a:lnTo>
                        <a:pt x="81" y="37"/>
                      </a:lnTo>
                      <a:lnTo>
                        <a:pt x="71" y="27"/>
                      </a:lnTo>
                      <a:lnTo>
                        <a:pt x="79" y="21"/>
                      </a:lnTo>
                      <a:lnTo>
                        <a:pt x="42" y="0"/>
                      </a:lnTo>
                      <a:lnTo>
                        <a:pt x="48" y="8"/>
                      </a:lnTo>
                      <a:lnTo>
                        <a:pt x="52" y="19"/>
                      </a:lnTo>
                      <a:lnTo>
                        <a:pt x="35" y="12"/>
                      </a:lnTo>
                      <a:lnTo>
                        <a:pt x="27" y="15"/>
                      </a:lnTo>
                      <a:lnTo>
                        <a:pt x="25" y="19"/>
                      </a:lnTo>
                      <a:lnTo>
                        <a:pt x="31" y="23"/>
                      </a:lnTo>
                      <a:lnTo>
                        <a:pt x="29" y="23"/>
                      </a:lnTo>
                      <a:lnTo>
                        <a:pt x="7" y="21"/>
                      </a:lnTo>
                      <a:lnTo>
                        <a:pt x="13" y="29"/>
                      </a:lnTo>
                      <a:lnTo>
                        <a:pt x="0" y="29"/>
                      </a:lnTo>
                      <a:lnTo>
                        <a:pt x="58" y="33"/>
                      </a:lnTo>
                      <a:lnTo>
                        <a:pt x="48" y="39"/>
                      </a:lnTo>
                      <a:lnTo>
                        <a:pt x="56" y="45"/>
                      </a:lnTo>
                      <a:lnTo>
                        <a:pt x="5" y="50"/>
                      </a:lnTo>
                      <a:lnTo>
                        <a:pt x="46" y="60"/>
                      </a:lnTo>
                      <a:lnTo>
                        <a:pt x="58" y="64"/>
                      </a:lnTo>
                      <a:lnTo>
                        <a:pt x="52" y="70"/>
                      </a:lnTo>
                      <a:lnTo>
                        <a:pt x="60" y="70"/>
                      </a:lnTo>
                      <a:lnTo>
                        <a:pt x="54" y="74"/>
                      </a:lnTo>
                      <a:lnTo>
                        <a:pt x="31" y="83"/>
                      </a:lnTo>
                      <a:lnTo>
                        <a:pt x="50" y="89"/>
                      </a:lnTo>
                      <a:lnTo>
                        <a:pt x="87" y="91"/>
                      </a:lnTo>
                      <a:lnTo>
                        <a:pt x="145" y="101"/>
                      </a:lnTo>
                      <a:lnTo>
                        <a:pt x="186" y="87"/>
                      </a:lnTo>
                      <a:lnTo>
                        <a:pt x="226" y="74"/>
                      </a:lnTo>
                      <a:lnTo>
                        <a:pt x="252" y="58"/>
                      </a:lnTo>
                      <a:lnTo>
                        <a:pt x="263" y="50"/>
                      </a:lnTo>
                      <a:lnTo>
                        <a:pt x="271" y="48"/>
                      </a:lnTo>
                      <a:lnTo>
                        <a:pt x="261" y="43"/>
                      </a:lnTo>
                      <a:lnTo>
                        <a:pt x="271" y="39"/>
                      </a:lnTo>
                      <a:lnTo>
                        <a:pt x="271" y="33"/>
                      </a:lnTo>
                      <a:lnTo>
                        <a:pt x="248" y="33"/>
                      </a:lnTo>
                      <a:lnTo>
                        <a:pt x="254" y="27"/>
                      </a:lnTo>
                      <a:lnTo>
                        <a:pt x="242" y="25"/>
                      </a:lnTo>
                      <a:lnTo>
                        <a:pt x="240" y="14"/>
                      </a:lnTo>
                      <a:lnTo>
                        <a:pt x="252" y="4"/>
                      </a:lnTo>
                      <a:lnTo>
                        <a:pt x="232" y="8"/>
                      </a:lnTo>
                      <a:lnTo>
                        <a:pt x="207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1" name="Freeform 461"/>
                <p:cNvSpPr>
                  <a:spLocks/>
                </p:cNvSpPr>
                <p:nvPr/>
              </p:nvSpPr>
              <p:spPr bwMode="auto">
                <a:xfrm>
                  <a:off x="4136449" y="1831102"/>
                  <a:ext cx="85236" cy="101218"/>
                </a:xfrm>
                <a:custGeom>
                  <a:avLst/>
                  <a:gdLst>
                    <a:gd name="T0" fmla="*/ 83827 w 121"/>
                    <a:gd name="T1" fmla="*/ 73681 h 136"/>
                    <a:gd name="T2" fmla="*/ 85236 w 121"/>
                    <a:gd name="T3" fmla="*/ 53586 h 136"/>
                    <a:gd name="T4" fmla="*/ 85236 w 121"/>
                    <a:gd name="T5" fmla="*/ 32747 h 136"/>
                    <a:gd name="T6" fmla="*/ 72556 w 121"/>
                    <a:gd name="T7" fmla="*/ 26049 h 136"/>
                    <a:gd name="T8" fmla="*/ 66921 w 121"/>
                    <a:gd name="T9" fmla="*/ 29026 h 136"/>
                    <a:gd name="T10" fmla="*/ 50719 w 121"/>
                    <a:gd name="T11" fmla="*/ 26049 h 136"/>
                    <a:gd name="T12" fmla="*/ 65512 w 121"/>
                    <a:gd name="T13" fmla="*/ 7442 h 136"/>
                    <a:gd name="T14" fmla="*/ 68330 w 121"/>
                    <a:gd name="T15" fmla="*/ 0 h 136"/>
                    <a:gd name="T16" fmla="*/ 60581 w 121"/>
                    <a:gd name="T17" fmla="*/ 4465 h 136"/>
                    <a:gd name="T18" fmla="*/ 53537 w 121"/>
                    <a:gd name="T19" fmla="*/ 4465 h 136"/>
                    <a:gd name="T20" fmla="*/ 37335 w 121"/>
                    <a:gd name="T21" fmla="*/ 14141 h 136"/>
                    <a:gd name="T22" fmla="*/ 43675 w 121"/>
                    <a:gd name="T23" fmla="*/ 18606 h 136"/>
                    <a:gd name="T24" fmla="*/ 37335 w 121"/>
                    <a:gd name="T25" fmla="*/ 26049 h 136"/>
                    <a:gd name="T26" fmla="*/ 12680 w 121"/>
                    <a:gd name="T27" fmla="*/ 29026 h 136"/>
                    <a:gd name="T28" fmla="*/ 14089 w 121"/>
                    <a:gd name="T29" fmla="*/ 37212 h 136"/>
                    <a:gd name="T30" fmla="*/ 5635 w 121"/>
                    <a:gd name="T31" fmla="*/ 47632 h 136"/>
                    <a:gd name="T32" fmla="*/ 27473 w 121"/>
                    <a:gd name="T33" fmla="*/ 54330 h 136"/>
                    <a:gd name="T34" fmla="*/ 11271 w 121"/>
                    <a:gd name="T35" fmla="*/ 73681 h 136"/>
                    <a:gd name="T36" fmla="*/ 28882 w 121"/>
                    <a:gd name="T37" fmla="*/ 67727 h 136"/>
                    <a:gd name="T38" fmla="*/ 11271 w 121"/>
                    <a:gd name="T39" fmla="*/ 78890 h 136"/>
                    <a:gd name="T40" fmla="*/ 0 w 121"/>
                    <a:gd name="T41" fmla="*/ 81867 h 136"/>
                    <a:gd name="T42" fmla="*/ 7044 w 121"/>
                    <a:gd name="T43" fmla="*/ 84844 h 136"/>
                    <a:gd name="T44" fmla="*/ 0 w 121"/>
                    <a:gd name="T45" fmla="*/ 90798 h 136"/>
                    <a:gd name="T46" fmla="*/ 9862 w 121"/>
                    <a:gd name="T47" fmla="*/ 93775 h 136"/>
                    <a:gd name="T48" fmla="*/ 7044 w 121"/>
                    <a:gd name="T49" fmla="*/ 98241 h 136"/>
                    <a:gd name="T50" fmla="*/ 14089 w 121"/>
                    <a:gd name="T51" fmla="*/ 98241 h 136"/>
                    <a:gd name="T52" fmla="*/ 12680 w 121"/>
                    <a:gd name="T53" fmla="*/ 101218 h 136"/>
                    <a:gd name="T54" fmla="*/ 35926 w 121"/>
                    <a:gd name="T55" fmla="*/ 98241 h 136"/>
                    <a:gd name="T56" fmla="*/ 56354 w 121"/>
                    <a:gd name="T57" fmla="*/ 87821 h 136"/>
                    <a:gd name="T58" fmla="*/ 76783 w 121"/>
                    <a:gd name="T59" fmla="*/ 84844 h 136"/>
                    <a:gd name="T60" fmla="*/ 83827 w 121"/>
                    <a:gd name="T61" fmla="*/ 73681 h 1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21"/>
                    <a:gd name="T94" fmla="*/ 0 h 136"/>
                    <a:gd name="T95" fmla="*/ 121 w 121"/>
                    <a:gd name="T96" fmla="*/ 136 h 1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21" h="136">
                      <a:moveTo>
                        <a:pt x="119" y="99"/>
                      </a:moveTo>
                      <a:lnTo>
                        <a:pt x="121" y="72"/>
                      </a:lnTo>
                      <a:lnTo>
                        <a:pt x="121" y="44"/>
                      </a:lnTo>
                      <a:lnTo>
                        <a:pt x="103" y="35"/>
                      </a:lnTo>
                      <a:lnTo>
                        <a:pt x="95" y="39"/>
                      </a:lnTo>
                      <a:lnTo>
                        <a:pt x="72" y="35"/>
                      </a:lnTo>
                      <a:lnTo>
                        <a:pt x="93" y="10"/>
                      </a:lnTo>
                      <a:lnTo>
                        <a:pt x="97" y="0"/>
                      </a:lnTo>
                      <a:lnTo>
                        <a:pt x="86" y="6"/>
                      </a:lnTo>
                      <a:lnTo>
                        <a:pt x="76" y="6"/>
                      </a:lnTo>
                      <a:lnTo>
                        <a:pt x="53" y="19"/>
                      </a:lnTo>
                      <a:lnTo>
                        <a:pt x="62" y="25"/>
                      </a:lnTo>
                      <a:lnTo>
                        <a:pt x="53" y="35"/>
                      </a:lnTo>
                      <a:lnTo>
                        <a:pt x="18" y="39"/>
                      </a:lnTo>
                      <a:lnTo>
                        <a:pt x="20" y="50"/>
                      </a:lnTo>
                      <a:lnTo>
                        <a:pt x="8" y="64"/>
                      </a:lnTo>
                      <a:lnTo>
                        <a:pt x="39" y="73"/>
                      </a:lnTo>
                      <a:lnTo>
                        <a:pt x="16" y="99"/>
                      </a:lnTo>
                      <a:lnTo>
                        <a:pt x="41" y="91"/>
                      </a:lnTo>
                      <a:lnTo>
                        <a:pt x="16" y="106"/>
                      </a:lnTo>
                      <a:lnTo>
                        <a:pt x="0" y="110"/>
                      </a:lnTo>
                      <a:lnTo>
                        <a:pt x="10" y="114"/>
                      </a:lnTo>
                      <a:lnTo>
                        <a:pt x="0" y="122"/>
                      </a:lnTo>
                      <a:lnTo>
                        <a:pt x="14" y="126"/>
                      </a:lnTo>
                      <a:lnTo>
                        <a:pt x="10" y="132"/>
                      </a:lnTo>
                      <a:lnTo>
                        <a:pt x="20" y="132"/>
                      </a:lnTo>
                      <a:lnTo>
                        <a:pt x="18" y="136"/>
                      </a:lnTo>
                      <a:lnTo>
                        <a:pt x="51" y="132"/>
                      </a:lnTo>
                      <a:lnTo>
                        <a:pt x="80" y="118"/>
                      </a:lnTo>
                      <a:lnTo>
                        <a:pt x="109" y="114"/>
                      </a:lnTo>
                      <a:lnTo>
                        <a:pt x="119" y="9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2" name="Freeform 462"/>
                <p:cNvSpPr>
                  <a:spLocks/>
                </p:cNvSpPr>
                <p:nvPr/>
              </p:nvSpPr>
              <p:spPr bwMode="auto">
                <a:xfrm>
                  <a:off x="4237667" y="1742314"/>
                  <a:ext cx="165145" cy="230848"/>
                </a:xfrm>
                <a:custGeom>
                  <a:avLst/>
                  <a:gdLst>
                    <a:gd name="T0" fmla="*/ 13826 w 215"/>
                    <a:gd name="T1" fmla="*/ 70683 h 307"/>
                    <a:gd name="T2" fmla="*/ 25348 w 215"/>
                    <a:gd name="T3" fmla="*/ 70683 h 307"/>
                    <a:gd name="T4" fmla="*/ 17667 w 215"/>
                    <a:gd name="T5" fmla="*/ 92490 h 307"/>
                    <a:gd name="T6" fmla="*/ 33029 w 215"/>
                    <a:gd name="T7" fmla="*/ 102265 h 307"/>
                    <a:gd name="T8" fmla="*/ 49159 w 215"/>
                    <a:gd name="T9" fmla="*/ 105273 h 307"/>
                    <a:gd name="T10" fmla="*/ 61449 w 215"/>
                    <a:gd name="T11" fmla="*/ 140614 h 307"/>
                    <a:gd name="T12" fmla="*/ 25348 w 215"/>
                    <a:gd name="T13" fmla="*/ 153397 h 307"/>
                    <a:gd name="T14" fmla="*/ 37638 w 215"/>
                    <a:gd name="T15" fmla="*/ 162421 h 307"/>
                    <a:gd name="T16" fmla="*/ 13826 w 215"/>
                    <a:gd name="T17" fmla="*/ 184227 h 307"/>
                    <a:gd name="T18" fmla="*/ 46087 w 215"/>
                    <a:gd name="T19" fmla="*/ 192499 h 307"/>
                    <a:gd name="T20" fmla="*/ 62986 w 215"/>
                    <a:gd name="T21" fmla="*/ 194003 h 307"/>
                    <a:gd name="T22" fmla="*/ 20739 w 215"/>
                    <a:gd name="T23" fmla="*/ 213553 h 307"/>
                    <a:gd name="T24" fmla="*/ 7681 w 215"/>
                    <a:gd name="T25" fmla="*/ 230848 h 307"/>
                    <a:gd name="T26" fmla="*/ 40710 w 215"/>
                    <a:gd name="T27" fmla="*/ 224832 h 307"/>
                    <a:gd name="T28" fmla="*/ 68362 w 215"/>
                    <a:gd name="T29" fmla="*/ 215057 h 307"/>
                    <a:gd name="T30" fmla="*/ 131348 w 215"/>
                    <a:gd name="T31" fmla="*/ 213553 h 307"/>
                    <a:gd name="T32" fmla="*/ 139029 w 215"/>
                    <a:gd name="T33" fmla="*/ 190995 h 307"/>
                    <a:gd name="T34" fmla="*/ 165145 w 215"/>
                    <a:gd name="T35" fmla="*/ 165429 h 307"/>
                    <a:gd name="T36" fmla="*/ 131348 w 215"/>
                    <a:gd name="T37" fmla="*/ 156405 h 307"/>
                    <a:gd name="T38" fmla="*/ 115986 w 215"/>
                    <a:gd name="T39" fmla="*/ 131591 h 307"/>
                    <a:gd name="T40" fmla="*/ 122131 w 215"/>
                    <a:gd name="T41" fmla="*/ 122568 h 307"/>
                    <a:gd name="T42" fmla="*/ 82188 w 215"/>
                    <a:gd name="T43" fmla="*/ 72939 h 307"/>
                    <a:gd name="T44" fmla="*/ 69899 w 215"/>
                    <a:gd name="T45" fmla="*/ 63164 h 307"/>
                    <a:gd name="T46" fmla="*/ 66058 w 215"/>
                    <a:gd name="T47" fmla="*/ 57148 h 307"/>
                    <a:gd name="T48" fmla="*/ 46087 w 215"/>
                    <a:gd name="T49" fmla="*/ 26318 h 307"/>
                    <a:gd name="T50" fmla="*/ 43015 w 215"/>
                    <a:gd name="T51" fmla="*/ 21055 h 307"/>
                    <a:gd name="T52" fmla="*/ 26884 w 215"/>
                    <a:gd name="T53" fmla="*/ 0 h 307"/>
                    <a:gd name="T54" fmla="*/ 17667 w 215"/>
                    <a:gd name="T55" fmla="*/ 18047 h 307"/>
                    <a:gd name="T56" fmla="*/ 7681 w 215"/>
                    <a:gd name="T57" fmla="*/ 27822 h 307"/>
                    <a:gd name="T58" fmla="*/ 7681 w 215"/>
                    <a:gd name="T59" fmla="*/ 36845 h 307"/>
                    <a:gd name="T60" fmla="*/ 3072 w 215"/>
                    <a:gd name="T61" fmla="*/ 51132 h 307"/>
                    <a:gd name="T62" fmla="*/ 15362 w 215"/>
                    <a:gd name="T63" fmla="*/ 49629 h 307"/>
                    <a:gd name="T64" fmla="*/ 1536 w 215"/>
                    <a:gd name="T65" fmla="*/ 87978 h 30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15"/>
                    <a:gd name="T100" fmla="*/ 0 h 307"/>
                    <a:gd name="T101" fmla="*/ 215 w 215"/>
                    <a:gd name="T102" fmla="*/ 307 h 30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15" h="307">
                      <a:moveTo>
                        <a:pt x="2" y="117"/>
                      </a:moveTo>
                      <a:lnTo>
                        <a:pt x="18" y="94"/>
                      </a:lnTo>
                      <a:lnTo>
                        <a:pt x="27" y="94"/>
                      </a:lnTo>
                      <a:lnTo>
                        <a:pt x="33" y="94"/>
                      </a:lnTo>
                      <a:lnTo>
                        <a:pt x="31" y="105"/>
                      </a:lnTo>
                      <a:lnTo>
                        <a:pt x="23" y="123"/>
                      </a:lnTo>
                      <a:lnTo>
                        <a:pt x="27" y="138"/>
                      </a:lnTo>
                      <a:lnTo>
                        <a:pt x="43" y="136"/>
                      </a:lnTo>
                      <a:lnTo>
                        <a:pt x="74" y="128"/>
                      </a:lnTo>
                      <a:lnTo>
                        <a:pt x="64" y="140"/>
                      </a:lnTo>
                      <a:lnTo>
                        <a:pt x="80" y="156"/>
                      </a:lnTo>
                      <a:lnTo>
                        <a:pt x="80" y="187"/>
                      </a:lnTo>
                      <a:lnTo>
                        <a:pt x="72" y="189"/>
                      </a:lnTo>
                      <a:lnTo>
                        <a:pt x="33" y="204"/>
                      </a:lnTo>
                      <a:lnTo>
                        <a:pt x="39" y="204"/>
                      </a:lnTo>
                      <a:lnTo>
                        <a:pt x="49" y="216"/>
                      </a:lnTo>
                      <a:lnTo>
                        <a:pt x="22" y="235"/>
                      </a:lnTo>
                      <a:lnTo>
                        <a:pt x="18" y="245"/>
                      </a:lnTo>
                      <a:lnTo>
                        <a:pt x="47" y="249"/>
                      </a:lnTo>
                      <a:lnTo>
                        <a:pt x="60" y="256"/>
                      </a:lnTo>
                      <a:lnTo>
                        <a:pt x="93" y="247"/>
                      </a:lnTo>
                      <a:lnTo>
                        <a:pt x="82" y="258"/>
                      </a:lnTo>
                      <a:lnTo>
                        <a:pt x="56" y="264"/>
                      </a:lnTo>
                      <a:lnTo>
                        <a:pt x="27" y="284"/>
                      </a:lnTo>
                      <a:lnTo>
                        <a:pt x="0" y="305"/>
                      </a:lnTo>
                      <a:lnTo>
                        <a:pt x="10" y="307"/>
                      </a:lnTo>
                      <a:lnTo>
                        <a:pt x="18" y="305"/>
                      </a:lnTo>
                      <a:lnTo>
                        <a:pt x="53" y="299"/>
                      </a:lnTo>
                      <a:lnTo>
                        <a:pt x="64" y="291"/>
                      </a:lnTo>
                      <a:lnTo>
                        <a:pt x="89" y="286"/>
                      </a:lnTo>
                      <a:lnTo>
                        <a:pt x="122" y="282"/>
                      </a:lnTo>
                      <a:lnTo>
                        <a:pt x="171" y="284"/>
                      </a:lnTo>
                      <a:lnTo>
                        <a:pt x="206" y="262"/>
                      </a:lnTo>
                      <a:lnTo>
                        <a:pt x="181" y="254"/>
                      </a:lnTo>
                      <a:lnTo>
                        <a:pt x="190" y="245"/>
                      </a:lnTo>
                      <a:lnTo>
                        <a:pt x="215" y="220"/>
                      </a:lnTo>
                      <a:lnTo>
                        <a:pt x="206" y="206"/>
                      </a:lnTo>
                      <a:lnTo>
                        <a:pt x="171" y="208"/>
                      </a:lnTo>
                      <a:lnTo>
                        <a:pt x="175" y="196"/>
                      </a:lnTo>
                      <a:lnTo>
                        <a:pt x="151" y="175"/>
                      </a:lnTo>
                      <a:lnTo>
                        <a:pt x="161" y="177"/>
                      </a:lnTo>
                      <a:lnTo>
                        <a:pt x="159" y="163"/>
                      </a:lnTo>
                      <a:lnTo>
                        <a:pt x="138" y="142"/>
                      </a:lnTo>
                      <a:lnTo>
                        <a:pt x="107" y="97"/>
                      </a:lnTo>
                      <a:lnTo>
                        <a:pt x="68" y="92"/>
                      </a:lnTo>
                      <a:lnTo>
                        <a:pt x="91" y="84"/>
                      </a:lnTo>
                      <a:lnTo>
                        <a:pt x="76" y="80"/>
                      </a:lnTo>
                      <a:lnTo>
                        <a:pt x="86" y="76"/>
                      </a:lnTo>
                      <a:lnTo>
                        <a:pt x="115" y="37"/>
                      </a:lnTo>
                      <a:lnTo>
                        <a:pt x="60" y="35"/>
                      </a:lnTo>
                      <a:lnTo>
                        <a:pt x="49" y="33"/>
                      </a:lnTo>
                      <a:lnTo>
                        <a:pt x="56" y="28"/>
                      </a:lnTo>
                      <a:lnTo>
                        <a:pt x="80" y="4"/>
                      </a:lnTo>
                      <a:lnTo>
                        <a:pt x="35" y="0"/>
                      </a:lnTo>
                      <a:lnTo>
                        <a:pt x="25" y="12"/>
                      </a:lnTo>
                      <a:lnTo>
                        <a:pt x="23" y="24"/>
                      </a:lnTo>
                      <a:lnTo>
                        <a:pt x="14" y="26"/>
                      </a:lnTo>
                      <a:lnTo>
                        <a:pt x="10" y="37"/>
                      </a:lnTo>
                      <a:lnTo>
                        <a:pt x="10" y="43"/>
                      </a:lnTo>
                      <a:lnTo>
                        <a:pt x="10" y="49"/>
                      </a:lnTo>
                      <a:lnTo>
                        <a:pt x="0" y="64"/>
                      </a:lnTo>
                      <a:lnTo>
                        <a:pt x="4" y="68"/>
                      </a:lnTo>
                      <a:lnTo>
                        <a:pt x="0" y="72"/>
                      </a:lnTo>
                      <a:lnTo>
                        <a:pt x="20" y="66"/>
                      </a:lnTo>
                      <a:lnTo>
                        <a:pt x="18" y="70"/>
                      </a:lnTo>
                      <a:lnTo>
                        <a:pt x="2" y="11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3" name="Freeform 463"/>
                <p:cNvSpPr>
                  <a:spLocks/>
                </p:cNvSpPr>
                <p:nvPr/>
              </p:nvSpPr>
              <p:spPr bwMode="auto">
                <a:xfrm>
                  <a:off x="4193274" y="1831102"/>
                  <a:ext cx="44394" cy="35515"/>
                </a:xfrm>
                <a:custGeom>
                  <a:avLst/>
                  <a:gdLst>
                    <a:gd name="T0" fmla="*/ 44394 w 66"/>
                    <a:gd name="T1" fmla="*/ 24522 h 42"/>
                    <a:gd name="T2" fmla="*/ 43049 w 66"/>
                    <a:gd name="T3" fmla="*/ 16066 h 42"/>
                    <a:gd name="T4" fmla="*/ 30269 w 66"/>
                    <a:gd name="T5" fmla="*/ 0 h 42"/>
                    <a:gd name="T6" fmla="*/ 14125 w 66"/>
                    <a:gd name="T7" fmla="*/ 6765 h 42"/>
                    <a:gd name="T8" fmla="*/ 0 w 66"/>
                    <a:gd name="T9" fmla="*/ 27905 h 42"/>
                    <a:gd name="T10" fmla="*/ 15471 w 66"/>
                    <a:gd name="T11" fmla="*/ 31287 h 42"/>
                    <a:gd name="T12" fmla="*/ 20852 w 66"/>
                    <a:gd name="T13" fmla="*/ 27905 h 42"/>
                    <a:gd name="T14" fmla="*/ 32959 w 66"/>
                    <a:gd name="T15" fmla="*/ 35515 h 42"/>
                    <a:gd name="T16" fmla="*/ 44394 w 66"/>
                    <a:gd name="T17" fmla="*/ 24522 h 4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6"/>
                    <a:gd name="T28" fmla="*/ 0 h 42"/>
                    <a:gd name="T29" fmla="*/ 66 w 66"/>
                    <a:gd name="T30" fmla="*/ 42 h 4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6" h="42">
                      <a:moveTo>
                        <a:pt x="66" y="29"/>
                      </a:moveTo>
                      <a:lnTo>
                        <a:pt x="64" y="19"/>
                      </a:lnTo>
                      <a:lnTo>
                        <a:pt x="45" y="0"/>
                      </a:lnTo>
                      <a:lnTo>
                        <a:pt x="21" y="8"/>
                      </a:lnTo>
                      <a:lnTo>
                        <a:pt x="0" y="33"/>
                      </a:lnTo>
                      <a:lnTo>
                        <a:pt x="23" y="37"/>
                      </a:lnTo>
                      <a:lnTo>
                        <a:pt x="31" y="33"/>
                      </a:lnTo>
                      <a:lnTo>
                        <a:pt x="49" y="42"/>
                      </a:lnTo>
                      <a:lnTo>
                        <a:pt x="66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4" name="Freeform 464"/>
                <p:cNvSpPr>
                  <a:spLocks/>
                </p:cNvSpPr>
                <p:nvPr/>
              </p:nvSpPr>
              <p:spPr bwMode="auto">
                <a:xfrm>
                  <a:off x="4221686" y="1772502"/>
                  <a:ext cx="23085" cy="10655"/>
                </a:xfrm>
                <a:custGeom>
                  <a:avLst/>
                  <a:gdLst>
                    <a:gd name="T0" fmla="*/ 11941 w 29"/>
                    <a:gd name="T1" fmla="*/ 1332 h 16"/>
                    <a:gd name="T2" fmla="*/ 7960 w 29"/>
                    <a:gd name="T3" fmla="*/ 0 h 16"/>
                    <a:gd name="T4" fmla="*/ 0 w 29"/>
                    <a:gd name="T5" fmla="*/ 3996 h 16"/>
                    <a:gd name="T6" fmla="*/ 19901 w 29"/>
                    <a:gd name="T7" fmla="*/ 10655 h 16"/>
                    <a:gd name="T8" fmla="*/ 23085 w 29"/>
                    <a:gd name="T9" fmla="*/ 6659 h 16"/>
                    <a:gd name="T10" fmla="*/ 11941 w 29"/>
                    <a:gd name="T11" fmla="*/ 133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9"/>
                    <a:gd name="T19" fmla="*/ 0 h 16"/>
                    <a:gd name="T20" fmla="*/ 29 w 29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9" h="16">
                      <a:moveTo>
                        <a:pt x="15" y="2"/>
                      </a:moveTo>
                      <a:lnTo>
                        <a:pt x="10" y="0"/>
                      </a:lnTo>
                      <a:lnTo>
                        <a:pt x="0" y="6"/>
                      </a:lnTo>
                      <a:lnTo>
                        <a:pt x="25" y="16"/>
                      </a:lnTo>
                      <a:lnTo>
                        <a:pt x="29" y="10"/>
                      </a:lnTo>
                      <a:lnTo>
                        <a:pt x="15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5" name="Freeform 465"/>
                <p:cNvSpPr>
                  <a:spLocks/>
                </p:cNvSpPr>
                <p:nvPr/>
              </p:nvSpPr>
              <p:spPr bwMode="auto">
                <a:xfrm>
                  <a:off x="4214583" y="1747642"/>
                  <a:ext cx="15982" cy="12430"/>
                </a:xfrm>
                <a:custGeom>
                  <a:avLst/>
                  <a:gdLst>
                    <a:gd name="T0" fmla="*/ 15982 w 23"/>
                    <a:gd name="T1" fmla="*/ 4143 h 18"/>
                    <a:gd name="T2" fmla="*/ 14592 w 23"/>
                    <a:gd name="T3" fmla="*/ 0 h 18"/>
                    <a:gd name="T4" fmla="*/ 2779 w 23"/>
                    <a:gd name="T5" fmla="*/ 4143 h 18"/>
                    <a:gd name="T6" fmla="*/ 0 w 23"/>
                    <a:gd name="T7" fmla="*/ 12430 h 18"/>
                    <a:gd name="T8" fmla="*/ 15982 w 23"/>
                    <a:gd name="T9" fmla="*/ 4143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3"/>
                    <a:gd name="T16" fmla="*/ 0 h 18"/>
                    <a:gd name="T17" fmla="*/ 23 w 23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3" h="18">
                      <a:moveTo>
                        <a:pt x="23" y="6"/>
                      </a:moveTo>
                      <a:lnTo>
                        <a:pt x="21" y="0"/>
                      </a:lnTo>
                      <a:lnTo>
                        <a:pt x="4" y="6"/>
                      </a:lnTo>
                      <a:lnTo>
                        <a:pt x="0" y="18"/>
                      </a:lnTo>
                      <a:lnTo>
                        <a:pt x="23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6" name="Freeform 466"/>
                <p:cNvSpPr>
                  <a:spLocks/>
                </p:cNvSpPr>
                <p:nvPr/>
              </p:nvSpPr>
              <p:spPr bwMode="auto">
                <a:xfrm>
                  <a:off x="4330006" y="1689042"/>
                  <a:ext cx="8879" cy="17758"/>
                </a:xfrm>
                <a:custGeom>
                  <a:avLst/>
                  <a:gdLst>
                    <a:gd name="T0" fmla="*/ 2960 w 12"/>
                    <a:gd name="T1" fmla="*/ 0 h 15"/>
                    <a:gd name="T2" fmla="*/ 1480 w 12"/>
                    <a:gd name="T3" fmla="*/ 5919 h 15"/>
                    <a:gd name="T4" fmla="*/ 0 w 12"/>
                    <a:gd name="T5" fmla="*/ 10655 h 15"/>
                    <a:gd name="T6" fmla="*/ 2960 w 12"/>
                    <a:gd name="T7" fmla="*/ 17758 h 15"/>
                    <a:gd name="T8" fmla="*/ 8879 w 12"/>
                    <a:gd name="T9" fmla="*/ 0 h 15"/>
                    <a:gd name="T10" fmla="*/ 2960 w 12"/>
                    <a:gd name="T11" fmla="*/ 0 h 1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"/>
                    <a:gd name="T19" fmla="*/ 0 h 15"/>
                    <a:gd name="T20" fmla="*/ 12 w 12"/>
                    <a:gd name="T21" fmla="*/ 15 h 1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" h="15">
                      <a:moveTo>
                        <a:pt x="4" y="0"/>
                      </a:moveTo>
                      <a:lnTo>
                        <a:pt x="2" y="5"/>
                      </a:lnTo>
                      <a:lnTo>
                        <a:pt x="0" y="9"/>
                      </a:lnTo>
                      <a:lnTo>
                        <a:pt x="4" y="15"/>
                      </a:lnTo>
                      <a:lnTo>
                        <a:pt x="12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7" name="Freeform 467"/>
                <p:cNvSpPr>
                  <a:spLocks/>
                </p:cNvSpPr>
                <p:nvPr/>
              </p:nvSpPr>
              <p:spPr bwMode="auto">
                <a:xfrm>
                  <a:off x="4230564" y="1795587"/>
                  <a:ext cx="7103" cy="5327"/>
                </a:xfrm>
                <a:custGeom>
                  <a:avLst/>
                  <a:gdLst>
                    <a:gd name="T0" fmla="*/ 1015 w 14"/>
                    <a:gd name="T1" fmla="*/ 5327 h 8"/>
                    <a:gd name="T2" fmla="*/ 7103 w 14"/>
                    <a:gd name="T3" fmla="*/ 1332 h 8"/>
                    <a:gd name="T4" fmla="*/ 0 w 14"/>
                    <a:gd name="T5" fmla="*/ 0 h 8"/>
                    <a:gd name="T6" fmla="*/ 1015 w 14"/>
                    <a:gd name="T7" fmla="*/ 532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8"/>
                    <a:gd name="T14" fmla="*/ 14 w 14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8">
                      <a:moveTo>
                        <a:pt x="2" y="8"/>
                      </a:moveTo>
                      <a:lnTo>
                        <a:pt x="14" y="2"/>
                      </a:lnTo>
                      <a:lnTo>
                        <a:pt x="0" y="0"/>
                      </a:lnTo>
                      <a:lnTo>
                        <a:pt x="2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8" name="Freeform 468"/>
                <p:cNvSpPr>
                  <a:spLocks/>
                </p:cNvSpPr>
                <p:nvPr/>
              </p:nvSpPr>
              <p:spPr bwMode="auto">
                <a:xfrm>
                  <a:off x="4266079" y="1879047"/>
                  <a:ext cx="7103" cy="10655"/>
                </a:xfrm>
                <a:custGeom>
                  <a:avLst/>
                  <a:gdLst>
                    <a:gd name="T0" fmla="*/ 7103 w 10"/>
                    <a:gd name="T1" fmla="*/ 5919 h 9"/>
                    <a:gd name="T2" fmla="*/ 0 w 10"/>
                    <a:gd name="T3" fmla="*/ 0 h 9"/>
                    <a:gd name="T4" fmla="*/ 0 w 10"/>
                    <a:gd name="T5" fmla="*/ 10655 h 9"/>
                    <a:gd name="T6" fmla="*/ 7103 w 10"/>
                    <a:gd name="T7" fmla="*/ 5919 h 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9"/>
                    <a:gd name="T14" fmla="*/ 10 w 10"/>
                    <a:gd name="T15" fmla="*/ 9 h 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9">
                      <a:moveTo>
                        <a:pt x="10" y="5"/>
                      </a:move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1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79" name="Freeform 469"/>
                <p:cNvSpPr>
                  <a:spLocks/>
                </p:cNvSpPr>
                <p:nvPr/>
              </p:nvSpPr>
              <p:spPr bwMode="auto">
                <a:xfrm>
                  <a:off x="4395709" y="2180926"/>
                  <a:ext cx="7103" cy="5327"/>
                </a:xfrm>
                <a:custGeom>
                  <a:avLst/>
                  <a:gdLst>
                    <a:gd name="T0" fmla="*/ 7103 w 9"/>
                    <a:gd name="T1" fmla="*/ 0 h 6"/>
                    <a:gd name="T2" fmla="*/ 0 w 9"/>
                    <a:gd name="T3" fmla="*/ 1776 h 6"/>
                    <a:gd name="T4" fmla="*/ 1578 w 9"/>
                    <a:gd name="T5" fmla="*/ 3551 h 6"/>
                    <a:gd name="T6" fmla="*/ 7103 w 9"/>
                    <a:gd name="T7" fmla="*/ 5327 h 6"/>
                    <a:gd name="T8" fmla="*/ 7103 w 9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6"/>
                    <a:gd name="T17" fmla="*/ 9 w 9"/>
                    <a:gd name="T18" fmla="*/ 6 h 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6">
                      <a:moveTo>
                        <a:pt x="9" y="0"/>
                      </a:moveTo>
                      <a:lnTo>
                        <a:pt x="0" y="2"/>
                      </a:lnTo>
                      <a:lnTo>
                        <a:pt x="2" y="4"/>
                      </a:lnTo>
                      <a:lnTo>
                        <a:pt x="9" y="6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0" name="Freeform 470"/>
                <p:cNvSpPr>
                  <a:spLocks/>
                </p:cNvSpPr>
                <p:nvPr/>
              </p:nvSpPr>
              <p:spPr bwMode="auto">
                <a:xfrm>
                  <a:off x="3731578" y="2310556"/>
                  <a:ext cx="14206" cy="5327"/>
                </a:xfrm>
                <a:custGeom>
                  <a:avLst/>
                  <a:gdLst>
                    <a:gd name="T0" fmla="*/ 2706 w 21"/>
                    <a:gd name="T1" fmla="*/ 5327 h 8"/>
                    <a:gd name="T2" fmla="*/ 0 w 21"/>
                    <a:gd name="T3" fmla="*/ 0 h 8"/>
                    <a:gd name="T4" fmla="*/ 14206 w 21"/>
                    <a:gd name="T5" fmla="*/ 2664 h 8"/>
                    <a:gd name="T6" fmla="*/ 2706 w 21"/>
                    <a:gd name="T7" fmla="*/ 5327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"/>
                    <a:gd name="T13" fmla="*/ 0 h 8"/>
                    <a:gd name="T14" fmla="*/ 21 w 21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" h="8">
                      <a:moveTo>
                        <a:pt x="4" y="8"/>
                      </a:moveTo>
                      <a:lnTo>
                        <a:pt x="0" y="0"/>
                      </a:lnTo>
                      <a:lnTo>
                        <a:pt x="21" y="4"/>
                      </a:lnTo>
                      <a:lnTo>
                        <a:pt x="4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1" name="Freeform 471"/>
                <p:cNvSpPr>
                  <a:spLocks/>
                </p:cNvSpPr>
                <p:nvPr/>
              </p:nvSpPr>
              <p:spPr bwMode="auto">
                <a:xfrm>
                  <a:off x="3665875" y="2292798"/>
                  <a:ext cx="15982" cy="5327"/>
                </a:xfrm>
                <a:custGeom>
                  <a:avLst/>
                  <a:gdLst>
                    <a:gd name="T0" fmla="*/ 3996 w 16"/>
                    <a:gd name="T1" fmla="*/ 0 h 4"/>
                    <a:gd name="T2" fmla="*/ 0 w 16"/>
                    <a:gd name="T3" fmla="*/ 2664 h 4"/>
                    <a:gd name="T4" fmla="*/ 15982 w 16"/>
                    <a:gd name="T5" fmla="*/ 5327 h 4"/>
                    <a:gd name="T6" fmla="*/ 3996 w 16"/>
                    <a:gd name="T7" fmla="*/ 0 h 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4"/>
                    <a:gd name="T14" fmla="*/ 16 w 16"/>
                    <a:gd name="T15" fmla="*/ 4 h 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4">
                      <a:moveTo>
                        <a:pt x="4" y="0"/>
                      </a:moveTo>
                      <a:lnTo>
                        <a:pt x="0" y="2"/>
                      </a:lnTo>
                      <a:lnTo>
                        <a:pt x="16" y="4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2" name="Freeform 472"/>
                <p:cNvSpPr>
                  <a:spLocks/>
                </p:cNvSpPr>
                <p:nvPr/>
              </p:nvSpPr>
              <p:spPr bwMode="auto">
                <a:xfrm>
                  <a:off x="3696063" y="2287471"/>
                  <a:ext cx="7103" cy="5327"/>
                </a:xfrm>
                <a:custGeom>
                  <a:avLst/>
                  <a:gdLst>
                    <a:gd name="T0" fmla="*/ 7103 w 12"/>
                    <a:gd name="T1" fmla="*/ 5327 h 3"/>
                    <a:gd name="T2" fmla="*/ 0 w 12"/>
                    <a:gd name="T3" fmla="*/ 5327 h 3"/>
                    <a:gd name="T4" fmla="*/ 2368 w 12"/>
                    <a:gd name="T5" fmla="*/ 0 h 3"/>
                    <a:gd name="T6" fmla="*/ 7103 w 12"/>
                    <a:gd name="T7" fmla="*/ 5327 h 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2"/>
                    <a:gd name="T13" fmla="*/ 0 h 3"/>
                    <a:gd name="T14" fmla="*/ 12 w 12"/>
                    <a:gd name="T15" fmla="*/ 3 h 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2" h="3">
                      <a:moveTo>
                        <a:pt x="12" y="3"/>
                      </a:moveTo>
                      <a:lnTo>
                        <a:pt x="0" y="3"/>
                      </a:lnTo>
                      <a:lnTo>
                        <a:pt x="4" y="0"/>
                      </a:lnTo>
                      <a:lnTo>
                        <a:pt x="12" y="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3" name="Freeform 473"/>
                <p:cNvSpPr>
                  <a:spLocks/>
                </p:cNvSpPr>
                <p:nvPr/>
              </p:nvSpPr>
              <p:spPr bwMode="auto">
                <a:xfrm>
                  <a:off x="2742484" y="2470374"/>
                  <a:ext cx="0" cy="5327"/>
                </a:xfrm>
                <a:custGeom>
                  <a:avLst/>
                  <a:gdLst>
                    <a:gd name="T0" fmla="*/ 0 w 8"/>
                    <a:gd name="T1" fmla="*/ 0 h 6"/>
                    <a:gd name="T2" fmla="*/ 0 w 8"/>
                    <a:gd name="T3" fmla="*/ 0 h 6"/>
                    <a:gd name="T4" fmla="*/ 0 w 8"/>
                    <a:gd name="T5" fmla="*/ 3551 h 6"/>
                    <a:gd name="T6" fmla="*/ 0 w 8"/>
                    <a:gd name="T7" fmla="*/ 3551 h 6"/>
                    <a:gd name="T8" fmla="*/ 0 w 8"/>
                    <a:gd name="T9" fmla="*/ 5327 h 6"/>
                    <a:gd name="T10" fmla="*/ 0 w 8"/>
                    <a:gd name="T11" fmla="*/ 5327 h 6"/>
                    <a:gd name="T12" fmla="*/ 0 w 8"/>
                    <a:gd name="T13" fmla="*/ 3551 h 6"/>
                    <a:gd name="T14" fmla="*/ 0 w 8"/>
                    <a:gd name="T15" fmla="*/ 1776 h 6"/>
                    <a:gd name="T16" fmla="*/ 0 w 8"/>
                    <a:gd name="T17" fmla="*/ 0 h 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"/>
                    <a:gd name="T28" fmla="*/ 0 h 6"/>
                    <a:gd name="T29" fmla="*/ 0 w 8"/>
                    <a:gd name="T30" fmla="*/ 6 h 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" h="6">
                      <a:moveTo>
                        <a:pt x="8" y="0"/>
                      </a:moveTo>
                      <a:lnTo>
                        <a:pt x="6" y="0"/>
                      </a:lnTo>
                      <a:lnTo>
                        <a:pt x="4" y="4"/>
                      </a:lnTo>
                      <a:lnTo>
                        <a:pt x="2" y="4"/>
                      </a:ln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4" y="4"/>
                      </a:lnTo>
                      <a:lnTo>
                        <a:pt x="6" y="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4" name="Freeform 474"/>
                <p:cNvSpPr>
                  <a:spLocks/>
                </p:cNvSpPr>
                <p:nvPr/>
              </p:nvSpPr>
              <p:spPr bwMode="auto">
                <a:xfrm>
                  <a:off x="4136449" y="2198683"/>
                  <a:ext cx="78133" cy="134957"/>
                </a:xfrm>
                <a:custGeom>
                  <a:avLst/>
                  <a:gdLst>
                    <a:gd name="T0" fmla="*/ 35653 w 103"/>
                    <a:gd name="T1" fmla="*/ 0 h 188"/>
                    <a:gd name="T2" fmla="*/ 21999 w 103"/>
                    <a:gd name="T3" fmla="*/ 1436 h 188"/>
                    <a:gd name="T4" fmla="*/ 21999 w 103"/>
                    <a:gd name="T5" fmla="*/ 33739 h 188"/>
                    <a:gd name="T6" fmla="*/ 13654 w 103"/>
                    <a:gd name="T7" fmla="*/ 51686 h 188"/>
                    <a:gd name="T8" fmla="*/ 4551 w 103"/>
                    <a:gd name="T9" fmla="*/ 71068 h 188"/>
                    <a:gd name="T10" fmla="*/ 0 w 103"/>
                    <a:gd name="T11" fmla="*/ 89014 h 188"/>
                    <a:gd name="T12" fmla="*/ 12137 w 103"/>
                    <a:gd name="T13" fmla="*/ 96193 h 188"/>
                    <a:gd name="T14" fmla="*/ 16689 w 103"/>
                    <a:gd name="T15" fmla="*/ 97628 h 188"/>
                    <a:gd name="T16" fmla="*/ 15171 w 103"/>
                    <a:gd name="T17" fmla="*/ 134957 h 188"/>
                    <a:gd name="T18" fmla="*/ 48549 w 103"/>
                    <a:gd name="T19" fmla="*/ 131368 h 188"/>
                    <a:gd name="T20" fmla="*/ 47032 w 103"/>
                    <a:gd name="T21" fmla="*/ 124189 h 188"/>
                    <a:gd name="T22" fmla="*/ 56134 w 103"/>
                    <a:gd name="T23" fmla="*/ 107678 h 188"/>
                    <a:gd name="T24" fmla="*/ 54617 w 103"/>
                    <a:gd name="T25" fmla="*/ 101936 h 188"/>
                    <a:gd name="T26" fmla="*/ 57652 w 103"/>
                    <a:gd name="T27" fmla="*/ 86861 h 188"/>
                    <a:gd name="T28" fmla="*/ 48549 w 103"/>
                    <a:gd name="T29" fmla="*/ 65325 h 188"/>
                    <a:gd name="T30" fmla="*/ 56134 w 103"/>
                    <a:gd name="T31" fmla="*/ 64607 h 188"/>
                    <a:gd name="T32" fmla="*/ 65237 w 103"/>
                    <a:gd name="T33" fmla="*/ 30868 h 188"/>
                    <a:gd name="T34" fmla="*/ 78133 w 103"/>
                    <a:gd name="T35" fmla="*/ 17229 h 188"/>
                    <a:gd name="T36" fmla="*/ 73582 w 103"/>
                    <a:gd name="T37" fmla="*/ 4307 h 188"/>
                    <a:gd name="T38" fmla="*/ 43239 w 103"/>
                    <a:gd name="T39" fmla="*/ 2871 h 188"/>
                    <a:gd name="T40" fmla="*/ 35653 w 103"/>
                    <a:gd name="T41" fmla="*/ 0 h 18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3"/>
                    <a:gd name="T64" fmla="*/ 0 h 188"/>
                    <a:gd name="T65" fmla="*/ 103 w 103"/>
                    <a:gd name="T66" fmla="*/ 188 h 18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3" h="188">
                      <a:moveTo>
                        <a:pt x="47" y="0"/>
                      </a:moveTo>
                      <a:lnTo>
                        <a:pt x="29" y="2"/>
                      </a:lnTo>
                      <a:lnTo>
                        <a:pt x="29" y="47"/>
                      </a:lnTo>
                      <a:lnTo>
                        <a:pt x="18" y="72"/>
                      </a:lnTo>
                      <a:lnTo>
                        <a:pt x="6" y="99"/>
                      </a:lnTo>
                      <a:lnTo>
                        <a:pt x="0" y="124"/>
                      </a:lnTo>
                      <a:lnTo>
                        <a:pt x="16" y="134"/>
                      </a:lnTo>
                      <a:lnTo>
                        <a:pt x="22" y="136"/>
                      </a:lnTo>
                      <a:lnTo>
                        <a:pt x="20" y="188"/>
                      </a:lnTo>
                      <a:lnTo>
                        <a:pt x="64" y="183"/>
                      </a:lnTo>
                      <a:lnTo>
                        <a:pt x="62" y="173"/>
                      </a:lnTo>
                      <a:lnTo>
                        <a:pt x="74" y="150"/>
                      </a:lnTo>
                      <a:lnTo>
                        <a:pt x="72" y="142"/>
                      </a:lnTo>
                      <a:lnTo>
                        <a:pt x="76" y="121"/>
                      </a:lnTo>
                      <a:lnTo>
                        <a:pt x="64" y="91"/>
                      </a:lnTo>
                      <a:lnTo>
                        <a:pt x="74" y="90"/>
                      </a:lnTo>
                      <a:lnTo>
                        <a:pt x="86" y="43"/>
                      </a:lnTo>
                      <a:lnTo>
                        <a:pt x="103" y="24"/>
                      </a:lnTo>
                      <a:lnTo>
                        <a:pt x="97" y="6"/>
                      </a:lnTo>
                      <a:lnTo>
                        <a:pt x="57" y="4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5" name="Freeform 475"/>
                <p:cNvSpPr>
                  <a:spLocks/>
                </p:cNvSpPr>
                <p:nvPr/>
              </p:nvSpPr>
              <p:spPr bwMode="auto">
                <a:xfrm>
                  <a:off x="4150655" y="2150738"/>
                  <a:ext cx="287672" cy="207763"/>
                </a:xfrm>
                <a:custGeom>
                  <a:avLst/>
                  <a:gdLst>
                    <a:gd name="T0" fmla="*/ 57688 w 374"/>
                    <a:gd name="T1" fmla="*/ 51030 h 285"/>
                    <a:gd name="T2" fmla="*/ 26921 w 374"/>
                    <a:gd name="T3" fmla="*/ 49572 h 285"/>
                    <a:gd name="T4" fmla="*/ 19229 w 374"/>
                    <a:gd name="T5" fmla="*/ 46656 h 285"/>
                    <a:gd name="T6" fmla="*/ 5384 w 374"/>
                    <a:gd name="T7" fmla="*/ 48114 h 285"/>
                    <a:gd name="T8" fmla="*/ 4615 w 374"/>
                    <a:gd name="T9" fmla="*/ 40095 h 285"/>
                    <a:gd name="T10" fmla="*/ 3077 w 374"/>
                    <a:gd name="T11" fmla="*/ 34263 h 285"/>
                    <a:gd name="T12" fmla="*/ 3077 w 374"/>
                    <a:gd name="T13" fmla="*/ 31347 h 285"/>
                    <a:gd name="T14" fmla="*/ 0 w 374"/>
                    <a:gd name="T15" fmla="*/ 25515 h 285"/>
                    <a:gd name="T16" fmla="*/ 0 w 374"/>
                    <a:gd name="T17" fmla="*/ 14580 h 285"/>
                    <a:gd name="T18" fmla="*/ 35382 w 374"/>
                    <a:gd name="T19" fmla="*/ 0 h 285"/>
                    <a:gd name="T20" fmla="*/ 63842 w 374"/>
                    <a:gd name="T21" fmla="*/ 2916 h 285"/>
                    <a:gd name="T22" fmla="*/ 90763 w 374"/>
                    <a:gd name="T23" fmla="*/ 4374 h 285"/>
                    <a:gd name="T24" fmla="*/ 117684 w 374"/>
                    <a:gd name="T25" fmla="*/ 5832 h 285"/>
                    <a:gd name="T26" fmla="*/ 144605 w 374"/>
                    <a:gd name="T27" fmla="*/ 7290 h 285"/>
                    <a:gd name="T28" fmla="*/ 169988 w 374"/>
                    <a:gd name="T29" fmla="*/ 8748 h 285"/>
                    <a:gd name="T30" fmla="*/ 181526 w 374"/>
                    <a:gd name="T31" fmla="*/ 17496 h 285"/>
                    <a:gd name="T32" fmla="*/ 246136 w 374"/>
                    <a:gd name="T33" fmla="*/ 31347 h 285"/>
                    <a:gd name="T34" fmla="*/ 247675 w 374"/>
                    <a:gd name="T35" fmla="*/ 32805 h 285"/>
                    <a:gd name="T36" fmla="*/ 253059 w 374"/>
                    <a:gd name="T37" fmla="*/ 34263 h 285"/>
                    <a:gd name="T38" fmla="*/ 287672 w 374"/>
                    <a:gd name="T39" fmla="*/ 35721 h 285"/>
                    <a:gd name="T40" fmla="*/ 281519 w 374"/>
                    <a:gd name="T41" fmla="*/ 53945 h 285"/>
                    <a:gd name="T42" fmla="*/ 256136 w 374"/>
                    <a:gd name="T43" fmla="*/ 67067 h 285"/>
                    <a:gd name="T44" fmla="*/ 230753 w 374"/>
                    <a:gd name="T45" fmla="*/ 80918 h 285"/>
                    <a:gd name="T46" fmla="*/ 217677 w 374"/>
                    <a:gd name="T47" fmla="*/ 99143 h 285"/>
                    <a:gd name="T48" fmla="*/ 203832 w 374"/>
                    <a:gd name="T49" fmla="*/ 118826 h 285"/>
                    <a:gd name="T50" fmla="*/ 213062 w 374"/>
                    <a:gd name="T51" fmla="*/ 139967 h 285"/>
                    <a:gd name="T52" fmla="*/ 193832 w 374"/>
                    <a:gd name="T53" fmla="*/ 161107 h 285"/>
                    <a:gd name="T54" fmla="*/ 187679 w 374"/>
                    <a:gd name="T55" fmla="*/ 168397 h 285"/>
                    <a:gd name="T56" fmla="*/ 168450 w 374"/>
                    <a:gd name="T57" fmla="*/ 180061 h 285"/>
                    <a:gd name="T58" fmla="*/ 156143 w 374"/>
                    <a:gd name="T59" fmla="*/ 190996 h 285"/>
                    <a:gd name="T60" fmla="*/ 127683 w 374"/>
                    <a:gd name="T61" fmla="*/ 193912 h 285"/>
                    <a:gd name="T62" fmla="*/ 99993 w 374"/>
                    <a:gd name="T63" fmla="*/ 196828 h 285"/>
                    <a:gd name="T64" fmla="*/ 81533 w 374"/>
                    <a:gd name="T65" fmla="*/ 207763 h 285"/>
                    <a:gd name="T66" fmla="*/ 79994 w 374"/>
                    <a:gd name="T67" fmla="*/ 207763 h 285"/>
                    <a:gd name="T68" fmla="*/ 65380 w 374"/>
                    <a:gd name="T69" fmla="*/ 207763 h 285"/>
                    <a:gd name="T70" fmla="*/ 59227 w 374"/>
                    <a:gd name="T71" fmla="*/ 188080 h 285"/>
                    <a:gd name="T72" fmla="*/ 39997 w 374"/>
                    <a:gd name="T73" fmla="*/ 180061 h 285"/>
                    <a:gd name="T74" fmla="*/ 32305 w 374"/>
                    <a:gd name="T75" fmla="*/ 180061 h 285"/>
                    <a:gd name="T76" fmla="*/ 30767 w 374"/>
                    <a:gd name="T77" fmla="*/ 172771 h 285"/>
                    <a:gd name="T78" fmla="*/ 39997 w 374"/>
                    <a:gd name="T79" fmla="*/ 156004 h 285"/>
                    <a:gd name="T80" fmla="*/ 38459 w 374"/>
                    <a:gd name="T81" fmla="*/ 150173 h 285"/>
                    <a:gd name="T82" fmla="*/ 41536 w 374"/>
                    <a:gd name="T83" fmla="*/ 134864 h 285"/>
                    <a:gd name="T84" fmla="*/ 32305 w 374"/>
                    <a:gd name="T85" fmla="*/ 112994 h 285"/>
                    <a:gd name="T86" fmla="*/ 39997 w 374"/>
                    <a:gd name="T87" fmla="*/ 112265 h 285"/>
                    <a:gd name="T88" fmla="*/ 49227 w 374"/>
                    <a:gd name="T89" fmla="*/ 78002 h 285"/>
                    <a:gd name="T90" fmla="*/ 62303 w 374"/>
                    <a:gd name="T91" fmla="*/ 64151 h 285"/>
                    <a:gd name="T92" fmla="*/ 57688 w 374"/>
                    <a:gd name="T93" fmla="*/ 51030 h 285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374"/>
                    <a:gd name="T142" fmla="*/ 0 h 285"/>
                    <a:gd name="T143" fmla="*/ 374 w 374"/>
                    <a:gd name="T144" fmla="*/ 285 h 285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374" h="285">
                      <a:moveTo>
                        <a:pt x="75" y="70"/>
                      </a:moveTo>
                      <a:lnTo>
                        <a:pt x="35" y="68"/>
                      </a:lnTo>
                      <a:lnTo>
                        <a:pt x="25" y="64"/>
                      </a:lnTo>
                      <a:lnTo>
                        <a:pt x="7" y="66"/>
                      </a:lnTo>
                      <a:lnTo>
                        <a:pt x="6" y="55"/>
                      </a:lnTo>
                      <a:lnTo>
                        <a:pt x="4" y="47"/>
                      </a:lnTo>
                      <a:lnTo>
                        <a:pt x="4" y="43"/>
                      </a:lnTo>
                      <a:lnTo>
                        <a:pt x="0" y="35"/>
                      </a:lnTo>
                      <a:lnTo>
                        <a:pt x="0" y="20"/>
                      </a:lnTo>
                      <a:lnTo>
                        <a:pt x="46" y="0"/>
                      </a:lnTo>
                      <a:lnTo>
                        <a:pt x="83" y="4"/>
                      </a:lnTo>
                      <a:lnTo>
                        <a:pt x="118" y="6"/>
                      </a:lnTo>
                      <a:lnTo>
                        <a:pt x="153" y="8"/>
                      </a:lnTo>
                      <a:lnTo>
                        <a:pt x="188" y="10"/>
                      </a:lnTo>
                      <a:lnTo>
                        <a:pt x="221" y="12"/>
                      </a:lnTo>
                      <a:lnTo>
                        <a:pt x="236" y="24"/>
                      </a:lnTo>
                      <a:lnTo>
                        <a:pt x="320" y="43"/>
                      </a:lnTo>
                      <a:lnTo>
                        <a:pt x="322" y="45"/>
                      </a:lnTo>
                      <a:lnTo>
                        <a:pt x="329" y="47"/>
                      </a:lnTo>
                      <a:lnTo>
                        <a:pt x="374" y="49"/>
                      </a:lnTo>
                      <a:lnTo>
                        <a:pt x="366" y="74"/>
                      </a:lnTo>
                      <a:lnTo>
                        <a:pt x="333" y="92"/>
                      </a:lnTo>
                      <a:lnTo>
                        <a:pt x="300" y="111"/>
                      </a:lnTo>
                      <a:lnTo>
                        <a:pt x="283" y="136"/>
                      </a:lnTo>
                      <a:lnTo>
                        <a:pt x="265" y="163"/>
                      </a:lnTo>
                      <a:lnTo>
                        <a:pt x="277" y="192"/>
                      </a:lnTo>
                      <a:lnTo>
                        <a:pt x="252" y="221"/>
                      </a:lnTo>
                      <a:lnTo>
                        <a:pt x="244" y="231"/>
                      </a:lnTo>
                      <a:lnTo>
                        <a:pt x="219" y="247"/>
                      </a:lnTo>
                      <a:lnTo>
                        <a:pt x="203" y="262"/>
                      </a:lnTo>
                      <a:lnTo>
                        <a:pt x="166" y="266"/>
                      </a:lnTo>
                      <a:lnTo>
                        <a:pt x="130" y="270"/>
                      </a:lnTo>
                      <a:lnTo>
                        <a:pt x="106" y="285"/>
                      </a:lnTo>
                      <a:lnTo>
                        <a:pt x="104" y="285"/>
                      </a:lnTo>
                      <a:lnTo>
                        <a:pt x="85" y="285"/>
                      </a:lnTo>
                      <a:lnTo>
                        <a:pt x="77" y="258"/>
                      </a:lnTo>
                      <a:lnTo>
                        <a:pt x="52" y="247"/>
                      </a:lnTo>
                      <a:lnTo>
                        <a:pt x="42" y="247"/>
                      </a:lnTo>
                      <a:lnTo>
                        <a:pt x="40" y="237"/>
                      </a:lnTo>
                      <a:lnTo>
                        <a:pt x="52" y="214"/>
                      </a:lnTo>
                      <a:lnTo>
                        <a:pt x="50" y="206"/>
                      </a:lnTo>
                      <a:lnTo>
                        <a:pt x="54" y="185"/>
                      </a:lnTo>
                      <a:lnTo>
                        <a:pt x="42" y="155"/>
                      </a:lnTo>
                      <a:lnTo>
                        <a:pt x="52" y="154"/>
                      </a:lnTo>
                      <a:lnTo>
                        <a:pt x="64" y="107"/>
                      </a:lnTo>
                      <a:lnTo>
                        <a:pt x="81" y="88"/>
                      </a:lnTo>
                      <a:lnTo>
                        <a:pt x="75" y="7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6" name="Freeform 476"/>
                <p:cNvSpPr>
                  <a:spLocks/>
                </p:cNvSpPr>
                <p:nvPr/>
              </p:nvSpPr>
              <p:spPr bwMode="auto">
                <a:xfrm>
                  <a:off x="4424121" y="2257283"/>
                  <a:ext cx="23085" cy="12430"/>
                </a:xfrm>
                <a:custGeom>
                  <a:avLst/>
                  <a:gdLst>
                    <a:gd name="T0" fmla="*/ 23085 w 31"/>
                    <a:gd name="T1" fmla="*/ 4387 h 17"/>
                    <a:gd name="T2" fmla="*/ 11170 w 31"/>
                    <a:gd name="T3" fmla="*/ 12430 h 17"/>
                    <a:gd name="T4" fmla="*/ 0 w 31"/>
                    <a:gd name="T5" fmla="*/ 5849 h 17"/>
                    <a:gd name="T6" fmla="*/ 14149 w 31"/>
                    <a:gd name="T7" fmla="*/ 0 h 17"/>
                    <a:gd name="T8" fmla="*/ 23085 w 31"/>
                    <a:gd name="T9" fmla="*/ 4387 h 1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1"/>
                    <a:gd name="T16" fmla="*/ 0 h 17"/>
                    <a:gd name="T17" fmla="*/ 31 w 31"/>
                    <a:gd name="T18" fmla="*/ 17 h 1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1" h="17">
                      <a:moveTo>
                        <a:pt x="31" y="6"/>
                      </a:moveTo>
                      <a:lnTo>
                        <a:pt x="15" y="17"/>
                      </a:lnTo>
                      <a:lnTo>
                        <a:pt x="0" y="8"/>
                      </a:lnTo>
                      <a:lnTo>
                        <a:pt x="19" y="0"/>
                      </a:lnTo>
                      <a:lnTo>
                        <a:pt x="31" y="6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7" name="Freeform 477"/>
                <p:cNvSpPr>
                  <a:spLocks/>
                </p:cNvSpPr>
                <p:nvPr/>
              </p:nvSpPr>
              <p:spPr bwMode="auto">
                <a:xfrm>
                  <a:off x="1357398" y="1990920"/>
                  <a:ext cx="1427704" cy="680114"/>
                </a:xfrm>
                <a:custGeom>
                  <a:avLst/>
                  <a:gdLst>
                    <a:gd name="T0" fmla="*/ 1412881 w 1830"/>
                    <a:gd name="T1" fmla="*/ 58104 h 913"/>
                    <a:gd name="T2" fmla="*/ 1337205 w 1830"/>
                    <a:gd name="T3" fmla="*/ 110993 h 913"/>
                    <a:gd name="T4" fmla="*/ 1181172 w 1830"/>
                    <a:gd name="T5" fmla="*/ 160158 h 913"/>
                    <a:gd name="T6" fmla="*/ 1071168 w 1830"/>
                    <a:gd name="T7" fmla="*/ 198149 h 913"/>
                    <a:gd name="T8" fmla="*/ 1054005 w 1830"/>
                    <a:gd name="T9" fmla="*/ 161648 h 913"/>
                    <a:gd name="T10" fmla="*/ 1040742 w 1830"/>
                    <a:gd name="T11" fmla="*/ 92370 h 913"/>
                    <a:gd name="T12" fmla="*/ 958824 w 1830"/>
                    <a:gd name="T13" fmla="*/ 32032 h 913"/>
                    <a:gd name="T14" fmla="*/ 826976 w 1830"/>
                    <a:gd name="T15" fmla="*/ 17133 h 913"/>
                    <a:gd name="T16" fmla="*/ 702150 w 1830"/>
                    <a:gd name="T17" fmla="*/ 11919 h 913"/>
                    <a:gd name="T18" fmla="*/ 503987 w 1830"/>
                    <a:gd name="T19" fmla="*/ 11919 h 913"/>
                    <a:gd name="T20" fmla="*/ 307385 w 1830"/>
                    <a:gd name="T21" fmla="*/ 11919 h 913"/>
                    <a:gd name="T22" fmla="*/ 167736 w 1830"/>
                    <a:gd name="T23" fmla="*/ 56614 h 913"/>
                    <a:gd name="T24" fmla="*/ 152913 w 1830"/>
                    <a:gd name="T25" fmla="*/ 55124 h 913"/>
                    <a:gd name="T26" fmla="*/ 124046 w 1830"/>
                    <a:gd name="T27" fmla="*/ 64808 h 913"/>
                    <a:gd name="T28" fmla="*/ 107663 w 1830"/>
                    <a:gd name="T29" fmla="*/ 86411 h 913"/>
                    <a:gd name="T30" fmla="*/ 43689 w 1830"/>
                    <a:gd name="T31" fmla="*/ 176547 h 913"/>
                    <a:gd name="T32" fmla="*/ 0 w 1830"/>
                    <a:gd name="T33" fmla="*/ 280091 h 913"/>
                    <a:gd name="T34" fmla="*/ 14043 w 1830"/>
                    <a:gd name="T35" fmla="*/ 318082 h 913"/>
                    <a:gd name="T36" fmla="*/ 14043 w 1830"/>
                    <a:gd name="T37" fmla="*/ 346389 h 913"/>
                    <a:gd name="T38" fmla="*/ 27306 w 1830"/>
                    <a:gd name="T39" fmla="*/ 417157 h 913"/>
                    <a:gd name="T40" fmla="*/ 138870 w 1830"/>
                    <a:gd name="T41" fmla="*/ 469301 h 913"/>
                    <a:gd name="T42" fmla="*/ 254334 w 1830"/>
                    <a:gd name="T43" fmla="*/ 507292 h 913"/>
                    <a:gd name="T44" fmla="*/ 365898 w 1830"/>
                    <a:gd name="T45" fmla="*/ 550498 h 913"/>
                    <a:gd name="T46" fmla="*/ 459518 w 1830"/>
                    <a:gd name="T47" fmla="*/ 581784 h 913"/>
                    <a:gd name="T48" fmla="*/ 526612 w 1830"/>
                    <a:gd name="T49" fmla="*/ 627225 h 913"/>
                    <a:gd name="T50" fmla="*/ 541435 w 1830"/>
                    <a:gd name="T51" fmla="*/ 601152 h 913"/>
                    <a:gd name="T52" fmla="*/ 568741 w 1830"/>
                    <a:gd name="T53" fmla="*/ 587744 h 913"/>
                    <a:gd name="T54" fmla="*/ 617111 w 1830"/>
                    <a:gd name="T55" fmla="*/ 557202 h 913"/>
                    <a:gd name="T56" fmla="*/ 678745 w 1830"/>
                    <a:gd name="T57" fmla="*/ 553477 h 913"/>
                    <a:gd name="T58" fmla="*/ 727115 w 1830"/>
                    <a:gd name="T59" fmla="*/ 557202 h 913"/>
                    <a:gd name="T60" fmla="*/ 748959 w 1830"/>
                    <a:gd name="T61" fmla="*/ 547518 h 913"/>
                    <a:gd name="T62" fmla="*/ 783287 w 1830"/>
                    <a:gd name="T63" fmla="*/ 535599 h 913"/>
                    <a:gd name="T64" fmla="*/ 807472 w 1830"/>
                    <a:gd name="T65" fmla="*/ 534109 h 913"/>
                    <a:gd name="T66" fmla="*/ 850381 w 1830"/>
                    <a:gd name="T67" fmla="*/ 544538 h 913"/>
                    <a:gd name="T68" fmla="*/ 912014 w 1830"/>
                    <a:gd name="T69" fmla="*/ 579550 h 913"/>
                    <a:gd name="T70" fmla="*/ 907333 w 1830"/>
                    <a:gd name="T71" fmla="*/ 621265 h 913"/>
                    <a:gd name="T72" fmla="*/ 919816 w 1830"/>
                    <a:gd name="T73" fmla="*/ 644358 h 913"/>
                    <a:gd name="T74" fmla="*/ 968186 w 1830"/>
                    <a:gd name="T75" fmla="*/ 630949 h 913"/>
                    <a:gd name="T76" fmla="*/ 958824 w 1830"/>
                    <a:gd name="T77" fmla="*/ 558692 h 913"/>
                    <a:gd name="T78" fmla="*/ 975208 w 1830"/>
                    <a:gd name="T79" fmla="*/ 490904 h 913"/>
                    <a:gd name="T80" fmla="*/ 1029819 w 1830"/>
                    <a:gd name="T81" fmla="*/ 450678 h 913"/>
                    <a:gd name="T82" fmla="*/ 1096133 w 1830"/>
                    <a:gd name="T83" fmla="*/ 398533 h 913"/>
                    <a:gd name="T84" fmla="*/ 1134362 w 1830"/>
                    <a:gd name="T85" fmla="*/ 376931 h 913"/>
                    <a:gd name="T86" fmla="*/ 1123439 w 1830"/>
                    <a:gd name="T87" fmla="*/ 370971 h 913"/>
                    <a:gd name="T88" fmla="*/ 1131241 w 1830"/>
                    <a:gd name="T89" fmla="*/ 346389 h 913"/>
                    <a:gd name="T90" fmla="*/ 1134362 w 1830"/>
                    <a:gd name="T91" fmla="*/ 338195 h 913"/>
                    <a:gd name="T92" fmla="*/ 1128120 w 1830"/>
                    <a:gd name="T93" fmla="*/ 296479 h 913"/>
                    <a:gd name="T94" fmla="*/ 1145284 w 1830"/>
                    <a:gd name="T95" fmla="*/ 283070 h 913"/>
                    <a:gd name="T96" fmla="*/ 1153866 w 1830"/>
                    <a:gd name="T97" fmla="*/ 312122 h 913"/>
                    <a:gd name="T98" fmla="*/ 1171810 w 1830"/>
                    <a:gd name="T99" fmla="*/ 306163 h 913"/>
                    <a:gd name="T100" fmla="*/ 1179611 w 1830"/>
                    <a:gd name="T101" fmla="*/ 292010 h 913"/>
                    <a:gd name="T102" fmla="*/ 1221740 w 1830"/>
                    <a:gd name="T103" fmla="*/ 236885 h 913"/>
                    <a:gd name="T104" fmla="*/ 1294296 w 1830"/>
                    <a:gd name="T105" fmla="*/ 215283 h 913"/>
                    <a:gd name="T106" fmla="*/ 1326282 w 1830"/>
                    <a:gd name="T107" fmla="*/ 210813 h 913"/>
                    <a:gd name="T108" fmla="*/ 1350468 w 1830"/>
                    <a:gd name="T109" fmla="*/ 151964 h 913"/>
                    <a:gd name="T110" fmla="*/ 1395717 w 1830"/>
                    <a:gd name="T111" fmla="*/ 140045 h 913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1830"/>
                    <a:gd name="T169" fmla="*/ 0 h 913"/>
                    <a:gd name="T170" fmla="*/ 1830 w 1830"/>
                    <a:gd name="T171" fmla="*/ 913 h 913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1830" h="913">
                      <a:moveTo>
                        <a:pt x="1826" y="169"/>
                      </a:moveTo>
                      <a:lnTo>
                        <a:pt x="1824" y="157"/>
                      </a:lnTo>
                      <a:lnTo>
                        <a:pt x="1816" y="132"/>
                      </a:lnTo>
                      <a:lnTo>
                        <a:pt x="1830" y="87"/>
                      </a:lnTo>
                      <a:lnTo>
                        <a:pt x="1811" y="78"/>
                      </a:lnTo>
                      <a:lnTo>
                        <a:pt x="1795" y="80"/>
                      </a:lnTo>
                      <a:lnTo>
                        <a:pt x="1793" y="72"/>
                      </a:lnTo>
                      <a:lnTo>
                        <a:pt x="1766" y="99"/>
                      </a:lnTo>
                      <a:lnTo>
                        <a:pt x="1741" y="126"/>
                      </a:lnTo>
                      <a:lnTo>
                        <a:pt x="1714" y="149"/>
                      </a:lnTo>
                      <a:lnTo>
                        <a:pt x="1692" y="163"/>
                      </a:lnTo>
                      <a:lnTo>
                        <a:pt x="1634" y="167"/>
                      </a:lnTo>
                      <a:lnTo>
                        <a:pt x="1574" y="169"/>
                      </a:lnTo>
                      <a:lnTo>
                        <a:pt x="1545" y="192"/>
                      </a:lnTo>
                      <a:lnTo>
                        <a:pt x="1514" y="215"/>
                      </a:lnTo>
                      <a:lnTo>
                        <a:pt x="1477" y="217"/>
                      </a:lnTo>
                      <a:lnTo>
                        <a:pt x="1440" y="221"/>
                      </a:lnTo>
                      <a:lnTo>
                        <a:pt x="1436" y="244"/>
                      </a:lnTo>
                      <a:lnTo>
                        <a:pt x="1405" y="256"/>
                      </a:lnTo>
                      <a:lnTo>
                        <a:pt x="1373" y="266"/>
                      </a:lnTo>
                      <a:lnTo>
                        <a:pt x="1340" y="277"/>
                      </a:lnTo>
                      <a:lnTo>
                        <a:pt x="1309" y="287"/>
                      </a:lnTo>
                      <a:lnTo>
                        <a:pt x="1299" y="273"/>
                      </a:lnTo>
                      <a:lnTo>
                        <a:pt x="1336" y="239"/>
                      </a:lnTo>
                      <a:lnTo>
                        <a:pt x="1351" y="217"/>
                      </a:lnTo>
                      <a:lnTo>
                        <a:pt x="1357" y="182"/>
                      </a:lnTo>
                      <a:lnTo>
                        <a:pt x="1365" y="149"/>
                      </a:lnTo>
                      <a:lnTo>
                        <a:pt x="1342" y="132"/>
                      </a:lnTo>
                      <a:lnTo>
                        <a:pt x="1343" y="122"/>
                      </a:lnTo>
                      <a:lnTo>
                        <a:pt x="1334" y="124"/>
                      </a:lnTo>
                      <a:lnTo>
                        <a:pt x="1332" y="107"/>
                      </a:lnTo>
                      <a:lnTo>
                        <a:pt x="1305" y="91"/>
                      </a:lnTo>
                      <a:lnTo>
                        <a:pt x="1279" y="76"/>
                      </a:lnTo>
                      <a:lnTo>
                        <a:pt x="1254" y="58"/>
                      </a:lnTo>
                      <a:lnTo>
                        <a:pt x="1229" y="43"/>
                      </a:lnTo>
                      <a:lnTo>
                        <a:pt x="1188" y="52"/>
                      </a:lnTo>
                      <a:lnTo>
                        <a:pt x="1165" y="43"/>
                      </a:lnTo>
                      <a:lnTo>
                        <a:pt x="1138" y="47"/>
                      </a:lnTo>
                      <a:lnTo>
                        <a:pt x="1095" y="29"/>
                      </a:lnTo>
                      <a:lnTo>
                        <a:pt x="1060" y="23"/>
                      </a:lnTo>
                      <a:lnTo>
                        <a:pt x="1064" y="0"/>
                      </a:lnTo>
                      <a:lnTo>
                        <a:pt x="1053" y="14"/>
                      </a:lnTo>
                      <a:lnTo>
                        <a:pt x="1000" y="16"/>
                      </a:lnTo>
                      <a:lnTo>
                        <a:pt x="950" y="16"/>
                      </a:lnTo>
                      <a:lnTo>
                        <a:pt x="900" y="16"/>
                      </a:lnTo>
                      <a:lnTo>
                        <a:pt x="849" y="16"/>
                      </a:lnTo>
                      <a:lnTo>
                        <a:pt x="799" y="16"/>
                      </a:lnTo>
                      <a:lnTo>
                        <a:pt x="748" y="16"/>
                      </a:lnTo>
                      <a:lnTo>
                        <a:pt x="698" y="16"/>
                      </a:lnTo>
                      <a:lnTo>
                        <a:pt x="646" y="16"/>
                      </a:lnTo>
                      <a:lnTo>
                        <a:pt x="595" y="16"/>
                      </a:lnTo>
                      <a:lnTo>
                        <a:pt x="545" y="16"/>
                      </a:lnTo>
                      <a:lnTo>
                        <a:pt x="494" y="16"/>
                      </a:lnTo>
                      <a:lnTo>
                        <a:pt x="444" y="16"/>
                      </a:lnTo>
                      <a:lnTo>
                        <a:pt x="394" y="16"/>
                      </a:lnTo>
                      <a:lnTo>
                        <a:pt x="343" y="16"/>
                      </a:lnTo>
                      <a:lnTo>
                        <a:pt x="291" y="16"/>
                      </a:lnTo>
                      <a:lnTo>
                        <a:pt x="240" y="16"/>
                      </a:lnTo>
                      <a:lnTo>
                        <a:pt x="231" y="45"/>
                      </a:lnTo>
                      <a:lnTo>
                        <a:pt x="215" y="76"/>
                      </a:lnTo>
                      <a:lnTo>
                        <a:pt x="192" y="87"/>
                      </a:lnTo>
                      <a:lnTo>
                        <a:pt x="196" y="78"/>
                      </a:lnTo>
                      <a:lnTo>
                        <a:pt x="200" y="81"/>
                      </a:lnTo>
                      <a:lnTo>
                        <a:pt x="223" y="54"/>
                      </a:lnTo>
                      <a:lnTo>
                        <a:pt x="196" y="74"/>
                      </a:lnTo>
                      <a:lnTo>
                        <a:pt x="192" y="76"/>
                      </a:lnTo>
                      <a:lnTo>
                        <a:pt x="209" y="60"/>
                      </a:lnTo>
                      <a:lnTo>
                        <a:pt x="219" y="47"/>
                      </a:lnTo>
                      <a:lnTo>
                        <a:pt x="173" y="37"/>
                      </a:lnTo>
                      <a:lnTo>
                        <a:pt x="159" y="87"/>
                      </a:lnTo>
                      <a:lnTo>
                        <a:pt x="155" y="93"/>
                      </a:lnTo>
                      <a:lnTo>
                        <a:pt x="153" y="99"/>
                      </a:lnTo>
                      <a:lnTo>
                        <a:pt x="149" y="107"/>
                      </a:lnTo>
                      <a:lnTo>
                        <a:pt x="147" y="103"/>
                      </a:lnTo>
                      <a:lnTo>
                        <a:pt x="138" y="116"/>
                      </a:lnTo>
                      <a:lnTo>
                        <a:pt x="159" y="120"/>
                      </a:lnTo>
                      <a:lnTo>
                        <a:pt x="144" y="120"/>
                      </a:lnTo>
                      <a:lnTo>
                        <a:pt x="128" y="138"/>
                      </a:lnTo>
                      <a:lnTo>
                        <a:pt x="91" y="188"/>
                      </a:lnTo>
                      <a:lnTo>
                        <a:pt x="56" y="237"/>
                      </a:lnTo>
                      <a:lnTo>
                        <a:pt x="45" y="268"/>
                      </a:lnTo>
                      <a:lnTo>
                        <a:pt x="33" y="299"/>
                      </a:lnTo>
                      <a:lnTo>
                        <a:pt x="2" y="334"/>
                      </a:lnTo>
                      <a:lnTo>
                        <a:pt x="4" y="347"/>
                      </a:lnTo>
                      <a:lnTo>
                        <a:pt x="0" y="376"/>
                      </a:lnTo>
                      <a:lnTo>
                        <a:pt x="4" y="399"/>
                      </a:lnTo>
                      <a:lnTo>
                        <a:pt x="8" y="425"/>
                      </a:lnTo>
                      <a:lnTo>
                        <a:pt x="6" y="419"/>
                      </a:lnTo>
                      <a:lnTo>
                        <a:pt x="2" y="425"/>
                      </a:lnTo>
                      <a:lnTo>
                        <a:pt x="18" y="427"/>
                      </a:lnTo>
                      <a:lnTo>
                        <a:pt x="25" y="427"/>
                      </a:lnTo>
                      <a:lnTo>
                        <a:pt x="21" y="446"/>
                      </a:lnTo>
                      <a:lnTo>
                        <a:pt x="14" y="440"/>
                      </a:lnTo>
                      <a:lnTo>
                        <a:pt x="8" y="446"/>
                      </a:lnTo>
                      <a:lnTo>
                        <a:pt x="18" y="465"/>
                      </a:lnTo>
                      <a:lnTo>
                        <a:pt x="10" y="481"/>
                      </a:lnTo>
                      <a:lnTo>
                        <a:pt x="16" y="502"/>
                      </a:lnTo>
                      <a:lnTo>
                        <a:pt x="23" y="525"/>
                      </a:lnTo>
                      <a:lnTo>
                        <a:pt x="18" y="556"/>
                      </a:lnTo>
                      <a:lnTo>
                        <a:pt x="35" y="560"/>
                      </a:lnTo>
                      <a:lnTo>
                        <a:pt x="68" y="578"/>
                      </a:lnTo>
                      <a:lnTo>
                        <a:pt x="101" y="603"/>
                      </a:lnTo>
                      <a:lnTo>
                        <a:pt x="101" y="634"/>
                      </a:lnTo>
                      <a:lnTo>
                        <a:pt x="140" y="632"/>
                      </a:lnTo>
                      <a:lnTo>
                        <a:pt x="178" y="630"/>
                      </a:lnTo>
                      <a:lnTo>
                        <a:pt x="204" y="644"/>
                      </a:lnTo>
                      <a:lnTo>
                        <a:pt x="229" y="655"/>
                      </a:lnTo>
                      <a:lnTo>
                        <a:pt x="254" y="667"/>
                      </a:lnTo>
                      <a:lnTo>
                        <a:pt x="279" y="681"/>
                      </a:lnTo>
                      <a:lnTo>
                        <a:pt x="326" y="681"/>
                      </a:lnTo>
                      <a:lnTo>
                        <a:pt x="370" y="681"/>
                      </a:lnTo>
                      <a:lnTo>
                        <a:pt x="376" y="663"/>
                      </a:lnTo>
                      <a:lnTo>
                        <a:pt x="430" y="663"/>
                      </a:lnTo>
                      <a:lnTo>
                        <a:pt x="458" y="700"/>
                      </a:lnTo>
                      <a:lnTo>
                        <a:pt x="469" y="739"/>
                      </a:lnTo>
                      <a:lnTo>
                        <a:pt x="489" y="754"/>
                      </a:lnTo>
                      <a:lnTo>
                        <a:pt x="508" y="770"/>
                      </a:lnTo>
                      <a:lnTo>
                        <a:pt x="531" y="741"/>
                      </a:lnTo>
                      <a:lnTo>
                        <a:pt x="576" y="747"/>
                      </a:lnTo>
                      <a:lnTo>
                        <a:pt x="589" y="781"/>
                      </a:lnTo>
                      <a:lnTo>
                        <a:pt x="605" y="816"/>
                      </a:lnTo>
                      <a:lnTo>
                        <a:pt x="617" y="861"/>
                      </a:lnTo>
                      <a:lnTo>
                        <a:pt x="638" y="878"/>
                      </a:lnTo>
                      <a:lnTo>
                        <a:pt x="677" y="884"/>
                      </a:lnTo>
                      <a:lnTo>
                        <a:pt x="675" y="842"/>
                      </a:lnTo>
                      <a:lnTo>
                        <a:pt x="673" y="836"/>
                      </a:lnTo>
                      <a:lnTo>
                        <a:pt x="669" y="828"/>
                      </a:lnTo>
                      <a:lnTo>
                        <a:pt x="680" y="832"/>
                      </a:lnTo>
                      <a:lnTo>
                        <a:pt x="684" y="814"/>
                      </a:lnTo>
                      <a:lnTo>
                        <a:pt x="694" y="807"/>
                      </a:lnTo>
                      <a:lnTo>
                        <a:pt x="712" y="795"/>
                      </a:lnTo>
                      <a:lnTo>
                        <a:pt x="719" y="787"/>
                      </a:lnTo>
                      <a:lnTo>
                        <a:pt x="721" y="783"/>
                      </a:lnTo>
                      <a:lnTo>
                        <a:pt x="737" y="783"/>
                      </a:lnTo>
                      <a:lnTo>
                        <a:pt x="729" y="789"/>
                      </a:lnTo>
                      <a:lnTo>
                        <a:pt x="746" y="779"/>
                      </a:lnTo>
                      <a:lnTo>
                        <a:pt x="739" y="781"/>
                      </a:lnTo>
                      <a:lnTo>
                        <a:pt x="777" y="754"/>
                      </a:lnTo>
                      <a:lnTo>
                        <a:pt x="781" y="743"/>
                      </a:lnTo>
                      <a:lnTo>
                        <a:pt x="791" y="748"/>
                      </a:lnTo>
                      <a:lnTo>
                        <a:pt x="787" y="752"/>
                      </a:lnTo>
                      <a:lnTo>
                        <a:pt x="812" y="737"/>
                      </a:lnTo>
                      <a:lnTo>
                        <a:pt x="818" y="737"/>
                      </a:lnTo>
                      <a:lnTo>
                        <a:pt x="843" y="741"/>
                      </a:lnTo>
                      <a:lnTo>
                        <a:pt x="870" y="743"/>
                      </a:lnTo>
                      <a:lnTo>
                        <a:pt x="888" y="741"/>
                      </a:lnTo>
                      <a:lnTo>
                        <a:pt x="898" y="754"/>
                      </a:lnTo>
                      <a:lnTo>
                        <a:pt x="917" y="760"/>
                      </a:lnTo>
                      <a:lnTo>
                        <a:pt x="934" y="762"/>
                      </a:lnTo>
                      <a:lnTo>
                        <a:pt x="932" y="748"/>
                      </a:lnTo>
                      <a:lnTo>
                        <a:pt x="958" y="764"/>
                      </a:lnTo>
                      <a:lnTo>
                        <a:pt x="952" y="772"/>
                      </a:lnTo>
                      <a:lnTo>
                        <a:pt x="964" y="760"/>
                      </a:lnTo>
                      <a:lnTo>
                        <a:pt x="948" y="743"/>
                      </a:lnTo>
                      <a:lnTo>
                        <a:pt x="960" y="735"/>
                      </a:lnTo>
                      <a:lnTo>
                        <a:pt x="956" y="733"/>
                      </a:lnTo>
                      <a:lnTo>
                        <a:pt x="952" y="729"/>
                      </a:lnTo>
                      <a:lnTo>
                        <a:pt x="931" y="723"/>
                      </a:lnTo>
                      <a:lnTo>
                        <a:pt x="952" y="723"/>
                      </a:lnTo>
                      <a:lnTo>
                        <a:pt x="1004" y="719"/>
                      </a:lnTo>
                      <a:lnTo>
                        <a:pt x="1014" y="704"/>
                      </a:lnTo>
                      <a:lnTo>
                        <a:pt x="1012" y="721"/>
                      </a:lnTo>
                      <a:lnTo>
                        <a:pt x="1027" y="719"/>
                      </a:lnTo>
                      <a:lnTo>
                        <a:pt x="1043" y="712"/>
                      </a:lnTo>
                      <a:lnTo>
                        <a:pt x="1035" y="717"/>
                      </a:lnTo>
                      <a:lnTo>
                        <a:pt x="1066" y="715"/>
                      </a:lnTo>
                      <a:lnTo>
                        <a:pt x="1058" y="715"/>
                      </a:lnTo>
                      <a:lnTo>
                        <a:pt x="1078" y="721"/>
                      </a:lnTo>
                      <a:lnTo>
                        <a:pt x="1084" y="721"/>
                      </a:lnTo>
                      <a:lnTo>
                        <a:pt x="1090" y="731"/>
                      </a:lnTo>
                      <a:lnTo>
                        <a:pt x="1084" y="727"/>
                      </a:lnTo>
                      <a:lnTo>
                        <a:pt x="1090" y="743"/>
                      </a:lnTo>
                      <a:lnTo>
                        <a:pt x="1136" y="727"/>
                      </a:lnTo>
                      <a:lnTo>
                        <a:pt x="1152" y="752"/>
                      </a:lnTo>
                      <a:lnTo>
                        <a:pt x="1169" y="778"/>
                      </a:lnTo>
                      <a:lnTo>
                        <a:pt x="1159" y="820"/>
                      </a:lnTo>
                      <a:lnTo>
                        <a:pt x="1157" y="814"/>
                      </a:lnTo>
                      <a:lnTo>
                        <a:pt x="1161" y="820"/>
                      </a:lnTo>
                      <a:lnTo>
                        <a:pt x="1167" y="810"/>
                      </a:lnTo>
                      <a:lnTo>
                        <a:pt x="1163" y="834"/>
                      </a:lnTo>
                      <a:lnTo>
                        <a:pt x="1171" y="847"/>
                      </a:lnTo>
                      <a:lnTo>
                        <a:pt x="1175" y="851"/>
                      </a:lnTo>
                      <a:lnTo>
                        <a:pt x="1177" y="863"/>
                      </a:lnTo>
                      <a:lnTo>
                        <a:pt x="1183" y="857"/>
                      </a:lnTo>
                      <a:lnTo>
                        <a:pt x="1179" y="865"/>
                      </a:lnTo>
                      <a:lnTo>
                        <a:pt x="1184" y="888"/>
                      </a:lnTo>
                      <a:lnTo>
                        <a:pt x="1198" y="913"/>
                      </a:lnTo>
                      <a:lnTo>
                        <a:pt x="1219" y="909"/>
                      </a:lnTo>
                      <a:lnTo>
                        <a:pt x="1231" y="878"/>
                      </a:lnTo>
                      <a:lnTo>
                        <a:pt x="1241" y="847"/>
                      </a:lnTo>
                      <a:lnTo>
                        <a:pt x="1235" y="814"/>
                      </a:lnTo>
                      <a:lnTo>
                        <a:pt x="1229" y="783"/>
                      </a:lnTo>
                      <a:lnTo>
                        <a:pt x="1235" y="812"/>
                      </a:lnTo>
                      <a:lnTo>
                        <a:pt x="1231" y="781"/>
                      </a:lnTo>
                      <a:lnTo>
                        <a:pt x="1229" y="750"/>
                      </a:lnTo>
                      <a:lnTo>
                        <a:pt x="1227" y="721"/>
                      </a:lnTo>
                      <a:lnTo>
                        <a:pt x="1225" y="690"/>
                      </a:lnTo>
                      <a:lnTo>
                        <a:pt x="1235" y="683"/>
                      </a:lnTo>
                      <a:lnTo>
                        <a:pt x="1237" y="679"/>
                      </a:lnTo>
                      <a:lnTo>
                        <a:pt x="1250" y="659"/>
                      </a:lnTo>
                      <a:lnTo>
                        <a:pt x="1260" y="644"/>
                      </a:lnTo>
                      <a:lnTo>
                        <a:pt x="1262" y="640"/>
                      </a:lnTo>
                      <a:lnTo>
                        <a:pt x="1272" y="638"/>
                      </a:lnTo>
                      <a:lnTo>
                        <a:pt x="1316" y="607"/>
                      </a:lnTo>
                      <a:lnTo>
                        <a:pt x="1320" y="605"/>
                      </a:lnTo>
                      <a:lnTo>
                        <a:pt x="1353" y="584"/>
                      </a:lnTo>
                      <a:lnTo>
                        <a:pt x="1367" y="578"/>
                      </a:lnTo>
                      <a:lnTo>
                        <a:pt x="1390" y="556"/>
                      </a:lnTo>
                      <a:lnTo>
                        <a:pt x="1429" y="543"/>
                      </a:lnTo>
                      <a:lnTo>
                        <a:pt x="1405" y="535"/>
                      </a:lnTo>
                      <a:lnTo>
                        <a:pt x="1421" y="537"/>
                      </a:lnTo>
                      <a:lnTo>
                        <a:pt x="1425" y="529"/>
                      </a:lnTo>
                      <a:lnTo>
                        <a:pt x="1409" y="522"/>
                      </a:lnTo>
                      <a:lnTo>
                        <a:pt x="1444" y="522"/>
                      </a:lnTo>
                      <a:lnTo>
                        <a:pt x="1454" y="506"/>
                      </a:lnTo>
                      <a:lnTo>
                        <a:pt x="1444" y="512"/>
                      </a:lnTo>
                      <a:lnTo>
                        <a:pt x="1436" y="504"/>
                      </a:lnTo>
                      <a:lnTo>
                        <a:pt x="1425" y="498"/>
                      </a:lnTo>
                      <a:lnTo>
                        <a:pt x="1427" y="496"/>
                      </a:lnTo>
                      <a:lnTo>
                        <a:pt x="1440" y="498"/>
                      </a:lnTo>
                      <a:lnTo>
                        <a:pt x="1450" y="496"/>
                      </a:lnTo>
                      <a:lnTo>
                        <a:pt x="1456" y="500"/>
                      </a:lnTo>
                      <a:lnTo>
                        <a:pt x="1458" y="475"/>
                      </a:lnTo>
                      <a:lnTo>
                        <a:pt x="1462" y="512"/>
                      </a:lnTo>
                      <a:lnTo>
                        <a:pt x="1450" y="465"/>
                      </a:lnTo>
                      <a:lnTo>
                        <a:pt x="1438" y="463"/>
                      </a:lnTo>
                      <a:lnTo>
                        <a:pt x="1429" y="452"/>
                      </a:lnTo>
                      <a:lnTo>
                        <a:pt x="1450" y="461"/>
                      </a:lnTo>
                      <a:lnTo>
                        <a:pt x="1440" y="444"/>
                      </a:lnTo>
                      <a:lnTo>
                        <a:pt x="1454" y="454"/>
                      </a:lnTo>
                      <a:lnTo>
                        <a:pt x="1438" y="423"/>
                      </a:lnTo>
                      <a:lnTo>
                        <a:pt x="1458" y="436"/>
                      </a:lnTo>
                      <a:lnTo>
                        <a:pt x="1442" y="411"/>
                      </a:lnTo>
                      <a:lnTo>
                        <a:pt x="1435" y="411"/>
                      </a:lnTo>
                      <a:lnTo>
                        <a:pt x="1446" y="398"/>
                      </a:lnTo>
                      <a:lnTo>
                        <a:pt x="1442" y="411"/>
                      </a:lnTo>
                      <a:lnTo>
                        <a:pt x="1462" y="421"/>
                      </a:lnTo>
                      <a:lnTo>
                        <a:pt x="1456" y="401"/>
                      </a:lnTo>
                      <a:lnTo>
                        <a:pt x="1462" y="413"/>
                      </a:lnTo>
                      <a:lnTo>
                        <a:pt x="1468" y="380"/>
                      </a:lnTo>
                      <a:lnTo>
                        <a:pt x="1489" y="372"/>
                      </a:lnTo>
                      <a:lnTo>
                        <a:pt x="1475" y="392"/>
                      </a:lnTo>
                      <a:lnTo>
                        <a:pt x="1471" y="403"/>
                      </a:lnTo>
                      <a:lnTo>
                        <a:pt x="1468" y="413"/>
                      </a:lnTo>
                      <a:lnTo>
                        <a:pt x="1479" y="419"/>
                      </a:lnTo>
                      <a:lnTo>
                        <a:pt x="1473" y="429"/>
                      </a:lnTo>
                      <a:lnTo>
                        <a:pt x="1475" y="436"/>
                      </a:lnTo>
                      <a:lnTo>
                        <a:pt x="1469" y="442"/>
                      </a:lnTo>
                      <a:lnTo>
                        <a:pt x="1462" y="456"/>
                      </a:lnTo>
                      <a:lnTo>
                        <a:pt x="1502" y="411"/>
                      </a:lnTo>
                      <a:lnTo>
                        <a:pt x="1499" y="372"/>
                      </a:lnTo>
                      <a:lnTo>
                        <a:pt x="1516" y="355"/>
                      </a:lnTo>
                      <a:lnTo>
                        <a:pt x="1500" y="366"/>
                      </a:lnTo>
                      <a:lnTo>
                        <a:pt x="1514" y="380"/>
                      </a:lnTo>
                      <a:lnTo>
                        <a:pt x="1512" y="392"/>
                      </a:lnTo>
                      <a:lnTo>
                        <a:pt x="1551" y="355"/>
                      </a:lnTo>
                      <a:lnTo>
                        <a:pt x="1549" y="359"/>
                      </a:lnTo>
                      <a:lnTo>
                        <a:pt x="1557" y="334"/>
                      </a:lnTo>
                      <a:lnTo>
                        <a:pt x="1570" y="308"/>
                      </a:lnTo>
                      <a:lnTo>
                        <a:pt x="1566" y="318"/>
                      </a:lnTo>
                      <a:lnTo>
                        <a:pt x="1578" y="312"/>
                      </a:lnTo>
                      <a:lnTo>
                        <a:pt x="1613" y="306"/>
                      </a:lnTo>
                      <a:lnTo>
                        <a:pt x="1646" y="299"/>
                      </a:lnTo>
                      <a:lnTo>
                        <a:pt x="1654" y="287"/>
                      </a:lnTo>
                      <a:lnTo>
                        <a:pt x="1659" y="289"/>
                      </a:lnTo>
                      <a:lnTo>
                        <a:pt x="1673" y="297"/>
                      </a:lnTo>
                      <a:lnTo>
                        <a:pt x="1681" y="299"/>
                      </a:lnTo>
                      <a:lnTo>
                        <a:pt x="1700" y="289"/>
                      </a:lnTo>
                      <a:lnTo>
                        <a:pt x="1698" y="273"/>
                      </a:lnTo>
                      <a:lnTo>
                        <a:pt x="1700" y="283"/>
                      </a:lnTo>
                      <a:lnTo>
                        <a:pt x="1681" y="277"/>
                      </a:lnTo>
                      <a:lnTo>
                        <a:pt x="1685" y="254"/>
                      </a:lnTo>
                      <a:lnTo>
                        <a:pt x="1687" y="248"/>
                      </a:lnTo>
                      <a:lnTo>
                        <a:pt x="1721" y="209"/>
                      </a:lnTo>
                      <a:lnTo>
                        <a:pt x="1731" y="204"/>
                      </a:lnTo>
                      <a:lnTo>
                        <a:pt x="1737" y="206"/>
                      </a:lnTo>
                      <a:lnTo>
                        <a:pt x="1766" y="182"/>
                      </a:lnTo>
                      <a:lnTo>
                        <a:pt x="1766" y="186"/>
                      </a:lnTo>
                      <a:lnTo>
                        <a:pt x="1774" y="184"/>
                      </a:lnTo>
                      <a:lnTo>
                        <a:pt x="1789" y="188"/>
                      </a:lnTo>
                      <a:lnTo>
                        <a:pt x="1826" y="169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8" name="Freeform 478"/>
                <p:cNvSpPr>
                  <a:spLocks/>
                </p:cNvSpPr>
                <p:nvPr/>
              </p:nvSpPr>
              <p:spPr bwMode="auto">
                <a:xfrm>
                  <a:off x="778503" y="1428006"/>
                  <a:ext cx="910961" cy="415527"/>
                </a:xfrm>
                <a:custGeom>
                  <a:avLst/>
                  <a:gdLst>
                    <a:gd name="T0" fmla="*/ 731896 w 1165"/>
                    <a:gd name="T1" fmla="*/ 361166 h 558"/>
                    <a:gd name="T2" fmla="*/ 706092 w 1165"/>
                    <a:gd name="T3" fmla="*/ 292656 h 558"/>
                    <a:gd name="T4" fmla="*/ 665432 w 1165"/>
                    <a:gd name="T5" fmla="*/ 277018 h 558"/>
                    <a:gd name="T6" fmla="*/ 699837 w 1165"/>
                    <a:gd name="T7" fmla="*/ 212232 h 558"/>
                    <a:gd name="T8" fmla="*/ 839022 w 1165"/>
                    <a:gd name="T9" fmla="*/ 95318 h 558"/>
                    <a:gd name="T10" fmla="*/ 825729 w 1165"/>
                    <a:gd name="T11" fmla="*/ 24574 h 558"/>
                    <a:gd name="T12" fmla="*/ 709220 w 1165"/>
                    <a:gd name="T13" fmla="*/ 9681 h 558"/>
                    <a:gd name="T14" fmla="*/ 684980 w 1165"/>
                    <a:gd name="T15" fmla="*/ 1489 h 558"/>
                    <a:gd name="T16" fmla="*/ 588019 w 1165"/>
                    <a:gd name="T17" fmla="*/ 15638 h 558"/>
                    <a:gd name="T18" fmla="*/ 536411 w 1165"/>
                    <a:gd name="T19" fmla="*/ 24574 h 558"/>
                    <a:gd name="T20" fmla="*/ 380023 w 1165"/>
                    <a:gd name="T21" fmla="*/ 69254 h 558"/>
                    <a:gd name="T22" fmla="*/ 413647 w 1165"/>
                    <a:gd name="T23" fmla="*/ 113935 h 558"/>
                    <a:gd name="T24" fmla="*/ 398008 w 1165"/>
                    <a:gd name="T25" fmla="*/ 118403 h 558"/>
                    <a:gd name="T26" fmla="*/ 368294 w 1165"/>
                    <a:gd name="T27" fmla="*/ 112445 h 558"/>
                    <a:gd name="T28" fmla="*/ 257259 w 1165"/>
                    <a:gd name="T29" fmla="*/ 147445 h 558"/>
                    <a:gd name="T30" fmla="*/ 363602 w 1165"/>
                    <a:gd name="T31" fmla="*/ 152658 h 558"/>
                    <a:gd name="T32" fmla="*/ 297919 w 1165"/>
                    <a:gd name="T33" fmla="*/ 190636 h 558"/>
                    <a:gd name="T34" fmla="*/ 213470 w 1165"/>
                    <a:gd name="T35" fmla="*/ 212232 h 558"/>
                    <a:gd name="T36" fmla="*/ 158734 w 1165"/>
                    <a:gd name="T37" fmla="*/ 232338 h 558"/>
                    <a:gd name="T38" fmla="*/ 178282 w 1165"/>
                    <a:gd name="T39" fmla="*/ 239784 h 558"/>
                    <a:gd name="T40" fmla="*/ 172809 w 1165"/>
                    <a:gd name="T41" fmla="*/ 256912 h 558"/>
                    <a:gd name="T42" fmla="*/ 132930 w 1165"/>
                    <a:gd name="T43" fmla="*/ 265848 h 558"/>
                    <a:gd name="T44" fmla="*/ 179846 w 1165"/>
                    <a:gd name="T45" fmla="*/ 278507 h 558"/>
                    <a:gd name="T46" fmla="*/ 145441 w 1165"/>
                    <a:gd name="T47" fmla="*/ 314996 h 558"/>
                    <a:gd name="T48" fmla="*/ 226763 w 1165"/>
                    <a:gd name="T49" fmla="*/ 304571 h 558"/>
                    <a:gd name="T50" fmla="*/ 261950 w 1165"/>
                    <a:gd name="T51" fmla="*/ 304571 h 558"/>
                    <a:gd name="T52" fmla="*/ 204087 w 1165"/>
                    <a:gd name="T53" fmla="*/ 341804 h 558"/>
                    <a:gd name="T54" fmla="*/ 93833 w 1165"/>
                    <a:gd name="T55" fmla="*/ 387974 h 558"/>
                    <a:gd name="T56" fmla="*/ 60209 w 1165"/>
                    <a:gd name="T57" fmla="*/ 386485 h 558"/>
                    <a:gd name="T58" fmla="*/ 21112 w 1165"/>
                    <a:gd name="T59" fmla="*/ 405846 h 558"/>
                    <a:gd name="T60" fmla="*/ 55518 w 1165"/>
                    <a:gd name="T61" fmla="*/ 398400 h 558"/>
                    <a:gd name="T62" fmla="*/ 132930 w 1165"/>
                    <a:gd name="T63" fmla="*/ 384251 h 558"/>
                    <a:gd name="T64" fmla="*/ 276807 w 1165"/>
                    <a:gd name="T65" fmla="*/ 330634 h 558"/>
                    <a:gd name="T66" fmla="*/ 376895 w 1165"/>
                    <a:gd name="T67" fmla="*/ 281486 h 558"/>
                    <a:gd name="T68" fmla="*/ 491059 w 1165"/>
                    <a:gd name="T69" fmla="*/ 241274 h 558"/>
                    <a:gd name="T70" fmla="*/ 428504 w 1165"/>
                    <a:gd name="T71" fmla="*/ 259891 h 558"/>
                    <a:gd name="T72" fmla="*/ 394098 w 1165"/>
                    <a:gd name="T73" fmla="*/ 298613 h 558"/>
                    <a:gd name="T74" fmla="*/ 430067 w 1165"/>
                    <a:gd name="T75" fmla="*/ 287443 h 558"/>
                    <a:gd name="T76" fmla="*/ 462127 w 1165"/>
                    <a:gd name="T77" fmla="*/ 279997 h 558"/>
                    <a:gd name="T78" fmla="*/ 487931 w 1165"/>
                    <a:gd name="T79" fmla="*/ 259891 h 558"/>
                    <a:gd name="T80" fmla="*/ 516863 w 1165"/>
                    <a:gd name="T81" fmla="*/ 252444 h 558"/>
                    <a:gd name="T82" fmla="*/ 536411 w 1165"/>
                    <a:gd name="T83" fmla="*/ 256912 h 558"/>
                    <a:gd name="T84" fmla="*/ 534847 w 1165"/>
                    <a:gd name="T85" fmla="*/ 267337 h 558"/>
                    <a:gd name="T86" fmla="*/ 562215 w 1165"/>
                    <a:gd name="T87" fmla="*/ 274039 h 558"/>
                    <a:gd name="T88" fmla="*/ 649793 w 1165"/>
                    <a:gd name="T89" fmla="*/ 279997 h 558"/>
                    <a:gd name="T90" fmla="*/ 643537 w 1165"/>
                    <a:gd name="T91" fmla="*/ 288933 h 558"/>
                    <a:gd name="T92" fmla="*/ 680288 w 1165"/>
                    <a:gd name="T93" fmla="*/ 307550 h 558"/>
                    <a:gd name="T94" fmla="*/ 695145 w 1165"/>
                    <a:gd name="T95" fmla="*/ 315741 h 558"/>
                    <a:gd name="T96" fmla="*/ 717822 w 1165"/>
                    <a:gd name="T97" fmla="*/ 314996 h 558"/>
                    <a:gd name="T98" fmla="*/ 722513 w 1165"/>
                    <a:gd name="T99" fmla="*/ 333613 h 558"/>
                    <a:gd name="T100" fmla="*/ 720949 w 1165"/>
                    <a:gd name="T101" fmla="*/ 339570 h 558"/>
                    <a:gd name="T102" fmla="*/ 719385 w 1165"/>
                    <a:gd name="T103" fmla="*/ 364889 h 558"/>
                    <a:gd name="T104" fmla="*/ 707656 w 1165"/>
                    <a:gd name="T105" fmla="*/ 390953 h 558"/>
                    <a:gd name="T106" fmla="*/ 728769 w 1165"/>
                    <a:gd name="T107" fmla="*/ 401378 h 558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165"/>
                    <a:gd name="T163" fmla="*/ 0 h 558"/>
                    <a:gd name="T164" fmla="*/ 1165 w 1165"/>
                    <a:gd name="T165" fmla="*/ 558 h 558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165" h="558">
                      <a:moveTo>
                        <a:pt x="944" y="541"/>
                      </a:moveTo>
                      <a:lnTo>
                        <a:pt x="965" y="519"/>
                      </a:lnTo>
                      <a:lnTo>
                        <a:pt x="949" y="502"/>
                      </a:lnTo>
                      <a:lnTo>
                        <a:pt x="936" y="485"/>
                      </a:lnTo>
                      <a:lnTo>
                        <a:pt x="944" y="452"/>
                      </a:lnTo>
                      <a:lnTo>
                        <a:pt x="949" y="419"/>
                      </a:lnTo>
                      <a:lnTo>
                        <a:pt x="942" y="382"/>
                      </a:lnTo>
                      <a:lnTo>
                        <a:pt x="903" y="393"/>
                      </a:lnTo>
                      <a:lnTo>
                        <a:pt x="882" y="405"/>
                      </a:lnTo>
                      <a:lnTo>
                        <a:pt x="856" y="413"/>
                      </a:lnTo>
                      <a:lnTo>
                        <a:pt x="858" y="378"/>
                      </a:lnTo>
                      <a:lnTo>
                        <a:pt x="851" y="372"/>
                      </a:lnTo>
                      <a:lnTo>
                        <a:pt x="864" y="362"/>
                      </a:lnTo>
                      <a:lnTo>
                        <a:pt x="810" y="364"/>
                      </a:lnTo>
                      <a:lnTo>
                        <a:pt x="852" y="324"/>
                      </a:lnTo>
                      <a:lnTo>
                        <a:pt x="895" y="285"/>
                      </a:lnTo>
                      <a:lnTo>
                        <a:pt x="940" y="244"/>
                      </a:lnTo>
                      <a:lnTo>
                        <a:pt x="982" y="203"/>
                      </a:lnTo>
                      <a:lnTo>
                        <a:pt x="1027" y="167"/>
                      </a:lnTo>
                      <a:lnTo>
                        <a:pt x="1073" y="128"/>
                      </a:lnTo>
                      <a:lnTo>
                        <a:pt x="1118" y="89"/>
                      </a:lnTo>
                      <a:lnTo>
                        <a:pt x="1165" y="52"/>
                      </a:lnTo>
                      <a:lnTo>
                        <a:pt x="1108" y="37"/>
                      </a:lnTo>
                      <a:lnTo>
                        <a:pt x="1056" y="33"/>
                      </a:lnTo>
                      <a:lnTo>
                        <a:pt x="1004" y="27"/>
                      </a:lnTo>
                      <a:lnTo>
                        <a:pt x="936" y="23"/>
                      </a:lnTo>
                      <a:lnTo>
                        <a:pt x="932" y="19"/>
                      </a:lnTo>
                      <a:lnTo>
                        <a:pt x="907" y="13"/>
                      </a:lnTo>
                      <a:lnTo>
                        <a:pt x="891" y="12"/>
                      </a:lnTo>
                      <a:lnTo>
                        <a:pt x="883" y="8"/>
                      </a:lnTo>
                      <a:lnTo>
                        <a:pt x="858" y="12"/>
                      </a:lnTo>
                      <a:lnTo>
                        <a:pt x="876" y="2"/>
                      </a:lnTo>
                      <a:lnTo>
                        <a:pt x="858" y="0"/>
                      </a:lnTo>
                      <a:lnTo>
                        <a:pt x="788" y="15"/>
                      </a:lnTo>
                      <a:lnTo>
                        <a:pt x="775" y="13"/>
                      </a:lnTo>
                      <a:lnTo>
                        <a:pt x="752" y="21"/>
                      </a:lnTo>
                      <a:lnTo>
                        <a:pt x="750" y="25"/>
                      </a:lnTo>
                      <a:lnTo>
                        <a:pt x="734" y="35"/>
                      </a:lnTo>
                      <a:lnTo>
                        <a:pt x="744" y="21"/>
                      </a:lnTo>
                      <a:lnTo>
                        <a:pt x="686" y="33"/>
                      </a:lnTo>
                      <a:lnTo>
                        <a:pt x="626" y="54"/>
                      </a:lnTo>
                      <a:lnTo>
                        <a:pt x="566" y="75"/>
                      </a:lnTo>
                      <a:lnTo>
                        <a:pt x="517" y="77"/>
                      </a:lnTo>
                      <a:lnTo>
                        <a:pt x="486" y="93"/>
                      </a:lnTo>
                      <a:lnTo>
                        <a:pt x="507" y="126"/>
                      </a:lnTo>
                      <a:lnTo>
                        <a:pt x="498" y="134"/>
                      </a:lnTo>
                      <a:lnTo>
                        <a:pt x="540" y="141"/>
                      </a:lnTo>
                      <a:lnTo>
                        <a:pt x="529" y="153"/>
                      </a:lnTo>
                      <a:lnTo>
                        <a:pt x="560" y="153"/>
                      </a:lnTo>
                      <a:lnTo>
                        <a:pt x="519" y="153"/>
                      </a:lnTo>
                      <a:lnTo>
                        <a:pt x="515" y="141"/>
                      </a:lnTo>
                      <a:lnTo>
                        <a:pt x="509" y="159"/>
                      </a:lnTo>
                      <a:lnTo>
                        <a:pt x="521" y="167"/>
                      </a:lnTo>
                      <a:lnTo>
                        <a:pt x="502" y="169"/>
                      </a:lnTo>
                      <a:lnTo>
                        <a:pt x="445" y="165"/>
                      </a:lnTo>
                      <a:lnTo>
                        <a:pt x="471" y="151"/>
                      </a:lnTo>
                      <a:lnTo>
                        <a:pt x="403" y="163"/>
                      </a:lnTo>
                      <a:lnTo>
                        <a:pt x="319" y="184"/>
                      </a:lnTo>
                      <a:lnTo>
                        <a:pt x="348" y="194"/>
                      </a:lnTo>
                      <a:lnTo>
                        <a:pt x="329" y="198"/>
                      </a:lnTo>
                      <a:lnTo>
                        <a:pt x="323" y="219"/>
                      </a:lnTo>
                      <a:lnTo>
                        <a:pt x="395" y="219"/>
                      </a:lnTo>
                      <a:lnTo>
                        <a:pt x="405" y="225"/>
                      </a:lnTo>
                      <a:lnTo>
                        <a:pt x="465" y="205"/>
                      </a:lnTo>
                      <a:lnTo>
                        <a:pt x="451" y="219"/>
                      </a:lnTo>
                      <a:lnTo>
                        <a:pt x="442" y="225"/>
                      </a:lnTo>
                      <a:lnTo>
                        <a:pt x="428" y="244"/>
                      </a:lnTo>
                      <a:lnTo>
                        <a:pt x="381" y="256"/>
                      </a:lnTo>
                      <a:lnTo>
                        <a:pt x="316" y="271"/>
                      </a:lnTo>
                      <a:lnTo>
                        <a:pt x="327" y="264"/>
                      </a:lnTo>
                      <a:lnTo>
                        <a:pt x="304" y="269"/>
                      </a:lnTo>
                      <a:lnTo>
                        <a:pt x="273" y="285"/>
                      </a:lnTo>
                      <a:lnTo>
                        <a:pt x="277" y="285"/>
                      </a:lnTo>
                      <a:lnTo>
                        <a:pt x="265" y="291"/>
                      </a:lnTo>
                      <a:lnTo>
                        <a:pt x="219" y="308"/>
                      </a:lnTo>
                      <a:lnTo>
                        <a:pt x="203" y="312"/>
                      </a:lnTo>
                      <a:lnTo>
                        <a:pt x="207" y="316"/>
                      </a:lnTo>
                      <a:lnTo>
                        <a:pt x="190" y="322"/>
                      </a:lnTo>
                      <a:lnTo>
                        <a:pt x="195" y="333"/>
                      </a:lnTo>
                      <a:lnTo>
                        <a:pt x="228" y="322"/>
                      </a:lnTo>
                      <a:lnTo>
                        <a:pt x="199" y="335"/>
                      </a:lnTo>
                      <a:lnTo>
                        <a:pt x="199" y="339"/>
                      </a:lnTo>
                      <a:lnTo>
                        <a:pt x="232" y="345"/>
                      </a:lnTo>
                      <a:lnTo>
                        <a:pt x="221" y="345"/>
                      </a:lnTo>
                      <a:lnTo>
                        <a:pt x="226" y="351"/>
                      </a:lnTo>
                      <a:lnTo>
                        <a:pt x="205" y="351"/>
                      </a:lnTo>
                      <a:lnTo>
                        <a:pt x="193" y="345"/>
                      </a:lnTo>
                      <a:lnTo>
                        <a:pt x="170" y="357"/>
                      </a:lnTo>
                      <a:lnTo>
                        <a:pt x="182" y="382"/>
                      </a:lnTo>
                      <a:lnTo>
                        <a:pt x="230" y="368"/>
                      </a:lnTo>
                      <a:lnTo>
                        <a:pt x="261" y="353"/>
                      </a:lnTo>
                      <a:lnTo>
                        <a:pt x="230" y="374"/>
                      </a:lnTo>
                      <a:lnTo>
                        <a:pt x="213" y="395"/>
                      </a:lnTo>
                      <a:lnTo>
                        <a:pt x="201" y="407"/>
                      </a:lnTo>
                      <a:lnTo>
                        <a:pt x="203" y="407"/>
                      </a:lnTo>
                      <a:lnTo>
                        <a:pt x="186" y="423"/>
                      </a:lnTo>
                      <a:lnTo>
                        <a:pt x="242" y="413"/>
                      </a:lnTo>
                      <a:lnTo>
                        <a:pt x="255" y="415"/>
                      </a:lnTo>
                      <a:lnTo>
                        <a:pt x="257" y="430"/>
                      </a:lnTo>
                      <a:lnTo>
                        <a:pt x="290" y="409"/>
                      </a:lnTo>
                      <a:lnTo>
                        <a:pt x="300" y="409"/>
                      </a:lnTo>
                      <a:lnTo>
                        <a:pt x="281" y="417"/>
                      </a:lnTo>
                      <a:lnTo>
                        <a:pt x="283" y="424"/>
                      </a:lnTo>
                      <a:lnTo>
                        <a:pt x="335" y="409"/>
                      </a:lnTo>
                      <a:lnTo>
                        <a:pt x="288" y="438"/>
                      </a:lnTo>
                      <a:lnTo>
                        <a:pt x="296" y="438"/>
                      </a:lnTo>
                      <a:lnTo>
                        <a:pt x="288" y="438"/>
                      </a:lnTo>
                      <a:lnTo>
                        <a:pt x="261" y="459"/>
                      </a:lnTo>
                      <a:lnTo>
                        <a:pt x="246" y="463"/>
                      </a:lnTo>
                      <a:lnTo>
                        <a:pt x="199" y="488"/>
                      </a:lnTo>
                      <a:lnTo>
                        <a:pt x="126" y="510"/>
                      </a:lnTo>
                      <a:lnTo>
                        <a:pt x="120" y="521"/>
                      </a:lnTo>
                      <a:lnTo>
                        <a:pt x="108" y="521"/>
                      </a:lnTo>
                      <a:lnTo>
                        <a:pt x="102" y="527"/>
                      </a:lnTo>
                      <a:lnTo>
                        <a:pt x="102" y="519"/>
                      </a:lnTo>
                      <a:lnTo>
                        <a:pt x="77" y="519"/>
                      </a:lnTo>
                      <a:lnTo>
                        <a:pt x="0" y="552"/>
                      </a:lnTo>
                      <a:lnTo>
                        <a:pt x="3" y="551"/>
                      </a:lnTo>
                      <a:lnTo>
                        <a:pt x="9" y="554"/>
                      </a:lnTo>
                      <a:lnTo>
                        <a:pt x="27" y="545"/>
                      </a:lnTo>
                      <a:lnTo>
                        <a:pt x="31" y="549"/>
                      </a:lnTo>
                      <a:lnTo>
                        <a:pt x="65" y="533"/>
                      </a:lnTo>
                      <a:lnTo>
                        <a:pt x="83" y="533"/>
                      </a:lnTo>
                      <a:lnTo>
                        <a:pt x="71" y="535"/>
                      </a:lnTo>
                      <a:lnTo>
                        <a:pt x="106" y="529"/>
                      </a:lnTo>
                      <a:lnTo>
                        <a:pt x="131" y="527"/>
                      </a:lnTo>
                      <a:lnTo>
                        <a:pt x="137" y="523"/>
                      </a:lnTo>
                      <a:lnTo>
                        <a:pt x="170" y="516"/>
                      </a:lnTo>
                      <a:lnTo>
                        <a:pt x="180" y="514"/>
                      </a:lnTo>
                      <a:lnTo>
                        <a:pt x="188" y="506"/>
                      </a:lnTo>
                      <a:lnTo>
                        <a:pt x="277" y="473"/>
                      </a:lnTo>
                      <a:lnTo>
                        <a:pt x="354" y="444"/>
                      </a:lnTo>
                      <a:lnTo>
                        <a:pt x="424" y="415"/>
                      </a:lnTo>
                      <a:lnTo>
                        <a:pt x="410" y="405"/>
                      </a:lnTo>
                      <a:lnTo>
                        <a:pt x="469" y="380"/>
                      </a:lnTo>
                      <a:lnTo>
                        <a:pt x="482" y="378"/>
                      </a:lnTo>
                      <a:lnTo>
                        <a:pt x="492" y="366"/>
                      </a:lnTo>
                      <a:lnTo>
                        <a:pt x="542" y="345"/>
                      </a:lnTo>
                      <a:lnTo>
                        <a:pt x="593" y="329"/>
                      </a:lnTo>
                      <a:lnTo>
                        <a:pt x="628" y="324"/>
                      </a:lnTo>
                      <a:lnTo>
                        <a:pt x="606" y="333"/>
                      </a:lnTo>
                      <a:lnTo>
                        <a:pt x="612" y="343"/>
                      </a:lnTo>
                      <a:lnTo>
                        <a:pt x="600" y="341"/>
                      </a:lnTo>
                      <a:lnTo>
                        <a:pt x="548" y="349"/>
                      </a:lnTo>
                      <a:lnTo>
                        <a:pt x="498" y="386"/>
                      </a:lnTo>
                      <a:lnTo>
                        <a:pt x="523" y="382"/>
                      </a:lnTo>
                      <a:lnTo>
                        <a:pt x="484" y="397"/>
                      </a:lnTo>
                      <a:lnTo>
                        <a:pt x="504" y="401"/>
                      </a:lnTo>
                      <a:lnTo>
                        <a:pt x="540" y="384"/>
                      </a:lnTo>
                      <a:lnTo>
                        <a:pt x="531" y="392"/>
                      </a:lnTo>
                      <a:lnTo>
                        <a:pt x="542" y="386"/>
                      </a:lnTo>
                      <a:lnTo>
                        <a:pt x="550" y="386"/>
                      </a:lnTo>
                      <a:lnTo>
                        <a:pt x="556" y="380"/>
                      </a:lnTo>
                      <a:lnTo>
                        <a:pt x="558" y="384"/>
                      </a:lnTo>
                      <a:lnTo>
                        <a:pt x="575" y="374"/>
                      </a:lnTo>
                      <a:lnTo>
                        <a:pt x="591" y="376"/>
                      </a:lnTo>
                      <a:lnTo>
                        <a:pt x="626" y="361"/>
                      </a:lnTo>
                      <a:lnTo>
                        <a:pt x="620" y="357"/>
                      </a:lnTo>
                      <a:lnTo>
                        <a:pt x="630" y="353"/>
                      </a:lnTo>
                      <a:lnTo>
                        <a:pt x="624" y="349"/>
                      </a:lnTo>
                      <a:lnTo>
                        <a:pt x="639" y="343"/>
                      </a:lnTo>
                      <a:lnTo>
                        <a:pt x="668" y="329"/>
                      </a:lnTo>
                      <a:lnTo>
                        <a:pt x="647" y="341"/>
                      </a:lnTo>
                      <a:lnTo>
                        <a:pt x="661" y="339"/>
                      </a:lnTo>
                      <a:lnTo>
                        <a:pt x="659" y="343"/>
                      </a:lnTo>
                      <a:lnTo>
                        <a:pt x="699" y="335"/>
                      </a:lnTo>
                      <a:lnTo>
                        <a:pt x="688" y="337"/>
                      </a:lnTo>
                      <a:lnTo>
                        <a:pt x="686" y="345"/>
                      </a:lnTo>
                      <a:lnTo>
                        <a:pt x="680" y="349"/>
                      </a:lnTo>
                      <a:lnTo>
                        <a:pt x="692" y="349"/>
                      </a:lnTo>
                      <a:lnTo>
                        <a:pt x="694" y="351"/>
                      </a:lnTo>
                      <a:lnTo>
                        <a:pt x="684" y="359"/>
                      </a:lnTo>
                      <a:lnTo>
                        <a:pt x="694" y="362"/>
                      </a:lnTo>
                      <a:lnTo>
                        <a:pt x="723" y="353"/>
                      </a:lnTo>
                      <a:lnTo>
                        <a:pt x="711" y="361"/>
                      </a:lnTo>
                      <a:lnTo>
                        <a:pt x="719" y="368"/>
                      </a:lnTo>
                      <a:lnTo>
                        <a:pt x="756" y="372"/>
                      </a:lnTo>
                      <a:lnTo>
                        <a:pt x="792" y="374"/>
                      </a:lnTo>
                      <a:lnTo>
                        <a:pt x="794" y="384"/>
                      </a:lnTo>
                      <a:lnTo>
                        <a:pt x="831" y="376"/>
                      </a:lnTo>
                      <a:lnTo>
                        <a:pt x="847" y="380"/>
                      </a:lnTo>
                      <a:lnTo>
                        <a:pt x="833" y="386"/>
                      </a:lnTo>
                      <a:lnTo>
                        <a:pt x="841" y="376"/>
                      </a:lnTo>
                      <a:lnTo>
                        <a:pt x="823" y="388"/>
                      </a:lnTo>
                      <a:lnTo>
                        <a:pt x="841" y="411"/>
                      </a:lnTo>
                      <a:lnTo>
                        <a:pt x="860" y="436"/>
                      </a:lnTo>
                      <a:lnTo>
                        <a:pt x="876" y="434"/>
                      </a:lnTo>
                      <a:lnTo>
                        <a:pt x="870" y="413"/>
                      </a:lnTo>
                      <a:lnTo>
                        <a:pt x="882" y="415"/>
                      </a:lnTo>
                      <a:lnTo>
                        <a:pt x="895" y="413"/>
                      </a:lnTo>
                      <a:lnTo>
                        <a:pt x="899" y="413"/>
                      </a:lnTo>
                      <a:lnTo>
                        <a:pt x="889" y="424"/>
                      </a:lnTo>
                      <a:lnTo>
                        <a:pt x="891" y="430"/>
                      </a:lnTo>
                      <a:lnTo>
                        <a:pt x="893" y="436"/>
                      </a:lnTo>
                      <a:lnTo>
                        <a:pt x="922" y="403"/>
                      </a:lnTo>
                      <a:lnTo>
                        <a:pt x="918" y="423"/>
                      </a:lnTo>
                      <a:lnTo>
                        <a:pt x="924" y="438"/>
                      </a:lnTo>
                      <a:lnTo>
                        <a:pt x="930" y="434"/>
                      </a:lnTo>
                      <a:lnTo>
                        <a:pt x="932" y="442"/>
                      </a:lnTo>
                      <a:lnTo>
                        <a:pt x="924" y="448"/>
                      </a:lnTo>
                      <a:lnTo>
                        <a:pt x="940" y="448"/>
                      </a:lnTo>
                      <a:lnTo>
                        <a:pt x="930" y="448"/>
                      </a:lnTo>
                      <a:lnTo>
                        <a:pt x="930" y="459"/>
                      </a:lnTo>
                      <a:lnTo>
                        <a:pt x="922" y="456"/>
                      </a:lnTo>
                      <a:lnTo>
                        <a:pt x="924" y="469"/>
                      </a:lnTo>
                      <a:lnTo>
                        <a:pt x="913" y="471"/>
                      </a:lnTo>
                      <a:lnTo>
                        <a:pt x="914" y="475"/>
                      </a:lnTo>
                      <a:lnTo>
                        <a:pt x="920" y="490"/>
                      </a:lnTo>
                      <a:lnTo>
                        <a:pt x="932" y="508"/>
                      </a:lnTo>
                      <a:lnTo>
                        <a:pt x="920" y="510"/>
                      </a:lnTo>
                      <a:lnTo>
                        <a:pt x="893" y="531"/>
                      </a:lnTo>
                      <a:lnTo>
                        <a:pt x="905" y="525"/>
                      </a:lnTo>
                      <a:lnTo>
                        <a:pt x="942" y="512"/>
                      </a:lnTo>
                      <a:lnTo>
                        <a:pt x="920" y="541"/>
                      </a:lnTo>
                      <a:lnTo>
                        <a:pt x="911" y="545"/>
                      </a:lnTo>
                      <a:lnTo>
                        <a:pt x="932" y="539"/>
                      </a:lnTo>
                      <a:lnTo>
                        <a:pt x="918" y="549"/>
                      </a:lnTo>
                      <a:lnTo>
                        <a:pt x="911" y="558"/>
                      </a:lnTo>
                      <a:lnTo>
                        <a:pt x="944" y="54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89" name="Freeform 479"/>
                <p:cNvSpPr>
                  <a:spLocks/>
                </p:cNvSpPr>
                <p:nvPr/>
              </p:nvSpPr>
              <p:spPr bwMode="auto">
                <a:xfrm>
                  <a:off x="1032436" y="1760072"/>
                  <a:ext cx="63927" cy="30188"/>
                </a:xfrm>
                <a:custGeom>
                  <a:avLst/>
                  <a:gdLst>
                    <a:gd name="T0" fmla="*/ 63927 w 83"/>
                    <a:gd name="T1" fmla="*/ 7547 h 44"/>
                    <a:gd name="T2" fmla="*/ 58536 w 83"/>
                    <a:gd name="T3" fmla="*/ 6861 h 44"/>
                    <a:gd name="T4" fmla="*/ 61616 w 83"/>
                    <a:gd name="T5" fmla="*/ 2744 h 44"/>
                    <a:gd name="T6" fmla="*/ 58536 w 83"/>
                    <a:gd name="T7" fmla="*/ 1372 h 44"/>
                    <a:gd name="T8" fmla="*/ 50834 w 83"/>
                    <a:gd name="T9" fmla="*/ 0 h 44"/>
                    <a:gd name="T10" fmla="*/ 46212 w 83"/>
                    <a:gd name="T11" fmla="*/ 5489 h 44"/>
                    <a:gd name="T12" fmla="*/ 40051 w 83"/>
                    <a:gd name="T13" fmla="*/ 4117 h 44"/>
                    <a:gd name="T14" fmla="*/ 30038 w 83"/>
                    <a:gd name="T15" fmla="*/ 6861 h 44"/>
                    <a:gd name="T16" fmla="*/ 20796 w 83"/>
                    <a:gd name="T17" fmla="*/ 15780 h 44"/>
                    <a:gd name="T18" fmla="*/ 20796 w 83"/>
                    <a:gd name="T19" fmla="*/ 7547 h 44"/>
                    <a:gd name="T20" fmla="*/ 3081 w 83"/>
                    <a:gd name="T21" fmla="*/ 17152 h 44"/>
                    <a:gd name="T22" fmla="*/ 1540 w 83"/>
                    <a:gd name="T23" fmla="*/ 25385 h 44"/>
                    <a:gd name="T24" fmla="*/ 4621 w 83"/>
                    <a:gd name="T25" fmla="*/ 21269 h 44"/>
                    <a:gd name="T26" fmla="*/ 12323 w 83"/>
                    <a:gd name="T27" fmla="*/ 22641 h 44"/>
                    <a:gd name="T28" fmla="*/ 0 w 83"/>
                    <a:gd name="T29" fmla="*/ 30188 h 44"/>
                    <a:gd name="T30" fmla="*/ 13864 w 83"/>
                    <a:gd name="T31" fmla="*/ 22641 h 44"/>
                    <a:gd name="T32" fmla="*/ 41591 w 83"/>
                    <a:gd name="T33" fmla="*/ 15780 h 44"/>
                    <a:gd name="T34" fmla="*/ 46212 w 83"/>
                    <a:gd name="T35" fmla="*/ 11664 h 44"/>
                    <a:gd name="T36" fmla="*/ 63927 w 83"/>
                    <a:gd name="T37" fmla="*/ 7547 h 4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83"/>
                    <a:gd name="T58" fmla="*/ 0 h 44"/>
                    <a:gd name="T59" fmla="*/ 83 w 83"/>
                    <a:gd name="T60" fmla="*/ 44 h 4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83" h="44">
                      <a:moveTo>
                        <a:pt x="83" y="11"/>
                      </a:moveTo>
                      <a:lnTo>
                        <a:pt x="76" y="10"/>
                      </a:lnTo>
                      <a:lnTo>
                        <a:pt x="80" y="4"/>
                      </a:lnTo>
                      <a:lnTo>
                        <a:pt x="76" y="2"/>
                      </a:lnTo>
                      <a:lnTo>
                        <a:pt x="66" y="0"/>
                      </a:lnTo>
                      <a:lnTo>
                        <a:pt x="60" y="8"/>
                      </a:lnTo>
                      <a:lnTo>
                        <a:pt x="52" y="6"/>
                      </a:lnTo>
                      <a:lnTo>
                        <a:pt x="39" y="10"/>
                      </a:lnTo>
                      <a:lnTo>
                        <a:pt x="27" y="23"/>
                      </a:lnTo>
                      <a:lnTo>
                        <a:pt x="27" y="11"/>
                      </a:lnTo>
                      <a:lnTo>
                        <a:pt x="4" y="25"/>
                      </a:lnTo>
                      <a:lnTo>
                        <a:pt x="2" y="37"/>
                      </a:lnTo>
                      <a:lnTo>
                        <a:pt x="6" y="31"/>
                      </a:lnTo>
                      <a:lnTo>
                        <a:pt x="16" y="33"/>
                      </a:lnTo>
                      <a:lnTo>
                        <a:pt x="0" y="44"/>
                      </a:lnTo>
                      <a:lnTo>
                        <a:pt x="18" y="33"/>
                      </a:lnTo>
                      <a:lnTo>
                        <a:pt x="54" y="23"/>
                      </a:lnTo>
                      <a:lnTo>
                        <a:pt x="60" y="17"/>
                      </a:lnTo>
                      <a:lnTo>
                        <a:pt x="83" y="11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0" name="Freeform 480"/>
                <p:cNvSpPr>
                  <a:spLocks/>
                </p:cNvSpPr>
                <p:nvPr/>
              </p:nvSpPr>
              <p:spPr bwMode="auto">
                <a:xfrm>
                  <a:off x="331014" y="2813094"/>
                  <a:ext cx="30188" cy="35515"/>
                </a:xfrm>
                <a:custGeom>
                  <a:avLst/>
                  <a:gdLst>
                    <a:gd name="T0" fmla="*/ 30188 w 38"/>
                    <a:gd name="T1" fmla="*/ 21914 h 47"/>
                    <a:gd name="T2" fmla="*/ 8739 w 38"/>
                    <a:gd name="T3" fmla="*/ 35515 h 47"/>
                    <a:gd name="T4" fmla="*/ 0 w 38"/>
                    <a:gd name="T5" fmla="*/ 30981 h 47"/>
                    <a:gd name="T6" fmla="*/ 8739 w 38"/>
                    <a:gd name="T7" fmla="*/ 0 h 47"/>
                    <a:gd name="T8" fmla="*/ 30188 w 38"/>
                    <a:gd name="T9" fmla="*/ 21914 h 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"/>
                    <a:gd name="T16" fmla="*/ 0 h 47"/>
                    <a:gd name="T17" fmla="*/ 38 w 38"/>
                    <a:gd name="T18" fmla="*/ 47 h 4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" h="47">
                      <a:moveTo>
                        <a:pt x="38" y="29"/>
                      </a:moveTo>
                      <a:lnTo>
                        <a:pt x="11" y="47"/>
                      </a:lnTo>
                      <a:lnTo>
                        <a:pt x="0" y="41"/>
                      </a:lnTo>
                      <a:lnTo>
                        <a:pt x="11" y="0"/>
                      </a:lnTo>
                      <a:lnTo>
                        <a:pt x="38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1" name="Freeform 481"/>
                <p:cNvSpPr>
                  <a:spLocks/>
                </p:cNvSpPr>
                <p:nvPr/>
              </p:nvSpPr>
              <p:spPr bwMode="auto">
                <a:xfrm>
                  <a:off x="879721" y="1612684"/>
                  <a:ext cx="58600" cy="17758"/>
                </a:xfrm>
                <a:custGeom>
                  <a:avLst/>
                  <a:gdLst>
                    <a:gd name="T0" fmla="*/ 58600 w 72"/>
                    <a:gd name="T1" fmla="*/ 9944 h 25"/>
                    <a:gd name="T2" fmla="*/ 28486 w 72"/>
                    <a:gd name="T3" fmla="*/ 17758 h 25"/>
                    <a:gd name="T4" fmla="*/ 19533 w 72"/>
                    <a:gd name="T5" fmla="*/ 7103 h 25"/>
                    <a:gd name="T6" fmla="*/ 22789 w 72"/>
                    <a:gd name="T7" fmla="*/ 11365 h 25"/>
                    <a:gd name="T8" fmla="*/ 0 w 72"/>
                    <a:gd name="T9" fmla="*/ 9944 h 25"/>
                    <a:gd name="T10" fmla="*/ 8139 w 72"/>
                    <a:gd name="T11" fmla="*/ 0 h 25"/>
                    <a:gd name="T12" fmla="*/ 31742 w 72"/>
                    <a:gd name="T13" fmla="*/ 0 h 25"/>
                    <a:gd name="T14" fmla="*/ 58600 w 72"/>
                    <a:gd name="T15" fmla="*/ 9944 h 2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72"/>
                    <a:gd name="T25" fmla="*/ 0 h 25"/>
                    <a:gd name="T26" fmla="*/ 72 w 72"/>
                    <a:gd name="T27" fmla="*/ 25 h 2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72" h="25">
                      <a:moveTo>
                        <a:pt x="72" y="14"/>
                      </a:moveTo>
                      <a:lnTo>
                        <a:pt x="35" y="25"/>
                      </a:lnTo>
                      <a:lnTo>
                        <a:pt x="24" y="10"/>
                      </a:lnTo>
                      <a:lnTo>
                        <a:pt x="28" y="16"/>
                      </a:lnTo>
                      <a:lnTo>
                        <a:pt x="0" y="14"/>
                      </a:lnTo>
                      <a:lnTo>
                        <a:pt x="10" y="0"/>
                      </a:lnTo>
                      <a:lnTo>
                        <a:pt x="39" y="0"/>
                      </a:lnTo>
                      <a:lnTo>
                        <a:pt x="72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2" name="Freeform 482"/>
                <p:cNvSpPr>
                  <a:spLocks/>
                </p:cNvSpPr>
                <p:nvPr/>
              </p:nvSpPr>
              <p:spPr bwMode="auto">
                <a:xfrm>
                  <a:off x="1442634" y="1800914"/>
                  <a:ext cx="30188" cy="47945"/>
                </a:xfrm>
                <a:custGeom>
                  <a:avLst/>
                  <a:gdLst>
                    <a:gd name="T0" fmla="*/ 18975 w 35"/>
                    <a:gd name="T1" fmla="*/ 44638 h 58"/>
                    <a:gd name="T2" fmla="*/ 13800 w 35"/>
                    <a:gd name="T3" fmla="*/ 47945 h 58"/>
                    <a:gd name="T4" fmla="*/ 12075 w 35"/>
                    <a:gd name="T5" fmla="*/ 38852 h 58"/>
                    <a:gd name="T6" fmla="*/ 0 w 35"/>
                    <a:gd name="T7" fmla="*/ 32239 h 58"/>
                    <a:gd name="T8" fmla="*/ 10350 w 35"/>
                    <a:gd name="T9" fmla="*/ 28932 h 58"/>
                    <a:gd name="T10" fmla="*/ 17250 w 35"/>
                    <a:gd name="T11" fmla="*/ 20666 h 58"/>
                    <a:gd name="T12" fmla="*/ 6900 w 35"/>
                    <a:gd name="T13" fmla="*/ 22319 h 58"/>
                    <a:gd name="T14" fmla="*/ 18975 w 35"/>
                    <a:gd name="T15" fmla="*/ 12400 h 58"/>
                    <a:gd name="T16" fmla="*/ 17250 w 35"/>
                    <a:gd name="T17" fmla="*/ 4960 h 58"/>
                    <a:gd name="T18" fmla="*/ 26738 w 35"/>
                    <a:gd name="T19" fmla="*/ 0 h 58"/>
                    <a:gd name="T20" fmla="*/ 30188 w 35"/>
                    <a:gd name="T21" fmla="*/ 23973 h 58"/>
                    <a:gd name="T22" fmla="*/ 25013 w 35"/>
                    <a:gd name="T23" fmla="*/ 20666 h 58"/>
                    <a:gd name="T24" fmla="*/ 24150 w 35"/>
                    <a:gd name="T25" fmla="*/ 27279 h 58"/>
                    <a:gd name="T26" fmla="*/ 18975 w 35"/>
                    <a:gd name="T27" fmla="*/ 44638 h 5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5"/>
                    <a:gd name="T43" fmla="*/ 0 h 58"/>
                    <a:gd name="T44" fmla="*/ 35 w 35"/>
                    <a:gd name="T45" fmla="*/ 58 h 5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5" h="58">
                      <a:moveTo>
                        <a:pt x="22" y="54"/>
                      </a:moveTo>
                      <a:lnTo>
                        <a:pt x="16" y="58"/>
                      </a:lnTo>
                      <a:lnTo>
                        <a:pt x="14" y="47"/>
                      </a:lnTo>
                      <a:lnTo>
                        <a:pt x="0" y="39"/>
                      </a:lnTo>
                      <a:lnTo>
                        <a:pt x="12" y="35"/>
                      </a:lnTo>
                      <a:lnTo>
                        <a:pt x="20" y="25"/>
                      </a:lnTo>
                      <a:lnTo>
                        <a:pt x="8" y="27"/>
                      </a:lnTo>
                      <a:lnTo>
                        <a:pt x="22" y="15"/>
                      </a:lnTo>
                      <a:lnTo>
                        <a:pt x="20" y="6"/>
                      </a:lnTo>
                      <a:lnTo>
                        <a:pt x="31" y="0"/>
                      </a:lnTo>
                      <a:lnTo>
                        <a:pt x="35" y="29"/>
                      </a:lnTo>
                      <a:lnTo>
                        <a:pt x="29" y="25"/>
                      </a:lnTo>
                      <a:lnTo>
                        <a:pt x="28" y="33"/>
                      </a:lnTo>
                      <a:lnTo>
                        <a:pt x="22" y="54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3" name="Freeform 483"/>
                <p:cNvSpPr>
                  <a:spLocks/>
                </p:cNvSpPr>
                <p:nvPr/>
              </p:nvSpPr>
              <p:spPr bwMode="auto">
                <a:xfrm>
                  <a:off x="1465719" y="1754745"/>
                  <a:ext cx="28412" cy="28412"/>
                </a:xfrm>
                <a:custGeom>
                  <a:avLst/>
                  <a:gdLst>
                    <a:gd name="T0" fmla="*/ 27664 w 38"/>
                    <a:gd name="T1" fmla="*/ 15197 h 43"/>
                    <a:gd name="T2" fmla="*/ 20187 w 38"/>
                    <a:gd name="T3" fmla="*/ 17840 h 43"/>
                    <a:gd name="T4" fmla="*/ 0 w 38"/>
                    <a:gd name="T5" fmla="*/ 28412 h 43"/>
                    <a:gd name="T6" fmla="*/ 5234 w 38"/>
                    <a:gd name="T7" fmla="*/ 21805 h 43"/>
                    <a:gd name="T8" fmla="*/ 21683 w 38"/>
                    <a:gd name="T9" fmla="*/ 0 h 43"/>
                    <a:gd name="T10" fmla="*/ 28412 w 38"/>
                    <a:gd name="T11" fmla="*/ 1321 h 43"/>
                    <a:gd name="T12" fmla="*/ 27664 w 38"/>
                    <a:gd name="T13" fmla="*/ 15197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8"/>
                    <a:gd name="T22" fmla="*/ 0 h 43"/>
                    <a:gd name="T23" fmla="*/ 38 w 38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8" h="43">
                      <a:moveTo>
                        <a:pt x="37" y="23"/>
                      </a:moveTo>
                      <a:lnTo>
                        <a:pt x="27" y="27"/>
                      </a:lnTo>
                      <a:lnTo>
                        <a:pt x="0" y="43"/>
                      </a:lnTo>
                      <a:lnTo>
                        <a:pt x="7" y="33"/>
                      </a:lnTo>
                      <a:lnTo>
                        <a:pt x="29" y="0"/>
                      </a:lnTo>
                      <a:lnTo>
                        <a:pt x="38" y="2"/>
                      </a:lnTo>
                      <a:lnTo>
                        <a:pt x="37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4" name="Freeform 484"/>
                <p:cNvSpPr>
                  <a:spLocks/>
                </p:cNvSpPr>
                <p:nvPr/>
              </p:nvSpPr>
              <p:spPr bwMode="auto">
                <a:xfrm>
                  <a:off x="728782" y="1836429"/>
                  <a:ext cx="42618" cy="12430"/>
                </a:xfrm>
                <a:custGeom>
                  <a:avLst/>
                  <a:gdLst>
                    <a:gd name="T0" fmla="*/ 42618 w 57"/>
                    <a:gd name="T1" fmla="*/ 8505 h 19"/>
                    <a:gd name="T2" fmla="*/ 33646 w 57"/>
                    <a:gd name="T3" fmla="*/ 0 h 19"/>
                    <a:gd name="T4" fmla="*/ 0 w 57"/>
                    <a:gd name="T5" fmla="*/ 9813 h 19"/>
                    <a:gd name="T6" fmla="*/ 10468 w 57"/>
                    <a:gd name="T7" fmla="*/ 12430 h 19"/>
                    <a:gd name="T8" fmla="*/ 42618 w 57"/>
                    <a:gd name="T9" fmla="*/ 8505 h 1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"/>
                    <a:gd name="T16" fmla="*/ 0 h 19"/>
                    <a:gd name="T17" fmla="*/ 57 w 57"/>
                    <a:gd name="T18" fmla="*/ 19 h 1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" h="19">
                      <a:moveTo>
                        <a:pt x="57" y="13"/>
                      </a:moveTo>
                      <a:lnTo>
                        <a:pt x="45" y="0"/>
                      </a:lnTo>
                      <a:lnTo>
                        <a:pt x="0" y="15"/>
                      </a:lnTo>
                      <a:lnTo>
                        <a:pt x="14" y="19"/>
                      </a:lnTo>
                      <a:lnTo>
                        <a:pt x="57" y="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5" name="Freeform 485"/>
                <p:cNvSpPr>
                  <a:spLocks/>
                </p:cNvSpPr>
                <p:nvPr/>
              </p:nvSpPr>
              <p:spPr bwMode="auto">
                <a:xfrm>
                  <a:off x="858412" y="1694369"/>
                  <a:ext cx="28412" cy="17758"/>
                </a:xfrm>
                <a:custGeom>
                  <a:avLst/>
                  <a:gdLst>
                    <a:gd name="T0" fmla="*/ 27091 w 43"/>
                    <a:gd name="T1" fmla="*/ 12150 h 19"/>
                    <a:gd name="T2" fmla="*/ 17179 w 43"/>
                    <a:gd name="T3" fmla="*/ 17758 h 19"/>
                    <a:gd name="T4" fmla="*/ 0 w 43"/>
                    <a:gd name="T5" fmla="*/ 10281 h 19"/>
                    <a:gd name="T6" fmla="*/ 28412 w 43"/>
                    <a:gd name="T7" fmla="*/ 0 h 19"/>
                    <a:gd name="T8" fmla="*/ 27091 w 43"/>
                    <a:gd name="T9" fmla="*/ 12150 h 1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19"/>
                    <a:gd name="T17" fmla="*/ 43 w 43"/>
                    <a:gd name="T18" fmla="*/ 19 h 1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19">
                      <a:moveTo>
                        <a:pt x="41" y="13"/>
                      </a:moveTo>
                      <a:lnTo>
                        <a:pt x="26" y="19"/>
                      </a:lnTo>
                      <a:lnTo>
                        <a:pt x="0" y="11"/>
                      </a:lnTo>
                      <a:lnTo>
                        <a:pt x="43" y="0"/>
                      </a:lnTo>
                      <a:lnTo>
                        <a:pt x="41" y="13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6" name="Freeform 486"/>
                <p:cNvSpPr>
                  <a:spLocks/>
                </p:cNvSpPr>
                <p:nvPr/>
              </p:nvSpPr>
              <p:spPr bwMode="auto">
                <a:xfrm>
                  <a:off x="1442634" y="1754745"/>
                  <a:ext cx="30188" cy="17758"/>
                </a:xfrm>
                <a:custGeom>
                  <a:avLst/>
                  <a:gdLst>
                    <a:gd name="T0" fmla="*/ 24627 w 38"/>
                    <a:gd name="T1" fmla="*/ 16533 h 29"/>
                    <a:gd name="T2" fmla="*/ 21449 w 38"/>
                    <a:gd name="T3" fmla="*/ 12247 h 29"/>
                    <a:gd name="T4" fmla="*/ 15094 w 38"/>
                    <a:gd name="T5" fmla="*/ 6123 h 29"/>
                    <a:gd name="T6" fmla="*/ 30188 w 38"/>
                    <a:gd name="T7" fmla="*/ 9798 h 29"/>
                    <a:gd name="T8" fmla="*/ 28599 w 38"/>
                    <a:gd name="T9" fmla="*/ 7348 h 29"/>
                    <a:gd name="T10" fmla="*/ 19861 w 38"/>
                    <a:gd name="T11" fmla="*/ 6123 h 29"/>
                    <a:gd name="T12" fmla="*/ 24627 w 38"/>
                    <a:gd name="T13" fmla="*/ 0 h 29"/>
                    <a:gd name="T14" fmla="*/ 10327 w 38"/>
                    <a:gd name="T15" fmla="*/ 3674 h 29"/>
                    <a:gd name="T16" fmla="*/ 7150 w 38"/>
                    <a:gd name="T17" fmla="*/ 8573 h 29"/>
                    <a:gd name="T18" fmla="*/ 0 w 38"/>
                    <a:gd name="T19" fmla="*/ 9798 h 29"/>
                    <a:gd name="T20" fmla="*/ 5561 w 38"/>
                    <a:gd name="T21" fmla="*/ 17758 h 29"/>
                    <a:gd name="T22" fmla="*/ 10327 w 38"/>
                    <a:gd name="T23" fmla="*/ 11022 h 29"/>
                    <a:gd name="T24" fmla="*/ 24627 w 38"/>
                    <a:gd name="T25" fmla="*/ 16533 h 2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8"/>
                    <a:gd name="T40" fmla="*/ 0 h 29"/>
                    <a:gd name="T41" fmla="*/ 38 w 38"/>
                    <a:gd name="T42" fmla="*/ 29 h 2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8" h="29">
                      <a:moveTo>
                        <a:pt x="31" y="27"/>
                      </a:moveTo>
                      <a:lnTo>
                        <a:pt x="27" y="20"/>
                      </a:lnTo>
                      <a:lnTo>
                        <a:pt x="19" y="10"/>
                      </a:lnTo>
                      <a:lnTo>
                        <a:pt x="38" y="16"/>
                      </a:lnTo>
                      <a:lnTo>
                        <a:pt x="36" y="12"/>
                      </a:lnTo>
                      <a:lnTo>
                        <a:pt x="25" y="10"/>
                      </a:lnTo>
                      <a:lnTo>
                        <a:pt x="31" y="0"/>
                      </a:lnTo>
                      <a:lnTo>
                        <a:pt x="13" y="6"/>
                      </a:lnTo>
                      <a:lnTo>
                        <a:pt x="9" y="14"/>
                      </a:lnTo>
                      <a:lnTo>
                        <a:pt x="0" y="16"/>
                      </a:lnTo>
                      <a:lnTo>
                        <a:pt x="7" y="29"/>
                      </a:lnTo>
                      <a:lnTo>
                        <a:pt x="13" y="18"/>
                      </a:lnTo>
                      <a:lnTo>
                        <a:pt x="31" y="2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7" name="Freeform 487"/>
                <p:cNvSpPr>
                  <a:spLocks/>
                </p:cNvSpPr>
                <p:nvPr/>
              </p:nvSpPr>
              <p:spPr bwMode="auto">
                <a:xfrm>
                  <a:off x="1442634" y="1772502"/>
                  <a:ext cx="14206" cy="35515"/>
                </a:xfrm>
                <a:custGeom>
                  <a:avLst/>
                  <a:gdLst>
                    <a:gd name="T0" fmla="*/ 0 w 25"/>
                    <a:gd name="T1" fmla="*/ 35515 h 45"/>
                    <a:gd name="T2" fmla="*/ 14206 w 25"/>
                    <a:gd name="T3" fmla="*/ 0 h 45"/>
                    <a:gd name="T4" fmla="*/ 3978 w 25"/>
                    <a:gd name="T5" fmla="*/ 6314 h 45"/>
                    <a:gd name="T6" fmla="*/ 0 w 25"/>
                    <a:gd name="T7" fmla="*/ 35515 h 4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5"/>
                    <a:gd name="T13" fmla="*/ 0 h 45"/>
                    <a:gd name="T14" fmla="*/ 25 w 25"/>
                    <a:gd name="T15" fmla="*/ 45 h 4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5" h="45">
                      <a:moveTo>
                        <a:pt x="0" y="45"/>
                      </a:moveTo>
                      <a:lnTo>
                        <a:pt x="25" y="0"/>
                      </a:lnTo>
                      <a:lnTo>
                        <a:pt x="7" y="8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8" name="Freeform 488"/>
                <p:cNvSpPr>
                  <a:spLocks/>
                </p:cNvSpPr>
                <p:nvPr/>
              </p:nvSpPr>
              <p:spPr bwMode="auto">
                <a:xfrm>
                  <a:off x="1472822" y="1783157"/>
                  <a:ext cx="14206" cy="12430"/>
                </a:xfrm>
                <a:custGeom>
                  <a:avLst/>
                  <a:gdLst>
                    <a:gd name="T0" fmla="*/ 12020 w 26"/>
                    <a:gd name="T1" fmla="*/ 8107 h 23"/>
                    <a:gd name="T2" fmla="*/ 14206 w 26"/>
                    <a:gd name="T3" fmla="*/ 5404 h 23"/>
                    <a:gd name="T4" fmla="*/ 5464 w 26"/>
                    <a:gd name="T5" fmla="*/ 0 h 23"/>
                    <a:gd name="T6" fmla="*/ 0 w 26"/>
                    <a:gd name="T7" fmla="*/ 9187 h 23"/>
                    <a:gd name="T8" fmla="*/ 4371 w 26"/>
                    <a:gd name="T9" fmla="*/ 12430 h 23"/>
                    <a:gd name="T10" fmla="*/ 8742 w 26"/>
                    <a:gd name="T11" fmla="*/ 7026 h 23"/>
                    <a:gd name="T12" fmla="*/ 12020 w 26"/>
                    <a:gd name="T13" fmla="*/ 8107 h 2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23"/>
                    <a:gd name="T23" fmla="*/ 26 w 26"/>
                    <a:gd name="T24" fmla="*/ 23 h 2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23">
                      <a:moveTo>
                        <a:pt x="22" y="15"/>
                      </a:moveTo>
                      <a:lnTo>
                        <a:pt x="26" y="10"/>
                      </a:lnTo>
                      <a:lnTo>
                        <a:pt x="10" y="0"/>
                      </a:lnTo>
                      <a:lnTo>
                        <a:pt x="0" y="17"/>
                      </a:lnTo>
                      <a:lnTo>
                        <a:pt x="8" y="23"/>
                      </a:lnTo>
                      <a:lnTo>
                        <a:pt x="16" y="13"/>
                      </a:lnTo>
                      <a:lnTo>
                        <a:pt x="22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499" name="Freeform 489"/>
                <p:cNvSpPr>
                  <a:spLocks/>
                </p:cNvSpPr>
                <p:nvPr/>
              </p:nvSpPr>
              <p:spPr bwMode="auto">
                <a:xfrm>
                  <a:off x="1449737" y="1790260"/>
                  <a:ext cx="23085" cy="17758"/>
                </a:xfrm>
                <a:custGeom>
                  <a:avLst/>
                  <a:gdLst>
                    <a:gd name="T0" fmla="*/ 23085 w 25"/>
                    <a:gd name="T1" fmla="*/ 5405 h 23"/>
                    <a:gd name="T2" fmla="*/ 0 w 25"/>
                    <a:gd name="T3" fmla="*/ 17758 h 23"/>
                    <a:gd name="T4" fmla="*/ 12928 w 25"/>
                    <a:gd name="T5" fmla="*/ 0 h 23"/>
                    <a:gd name="T6" fmla="*/ 23085 w 25"/>
                    <a:gd name="T7" fmla="*/ 5405 h 2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5"/>
                    <a:gd name="T13" fmla="*/ 0 h 23"/>
                    <a:gd name="T14" fmla="*/ 25 w 25"/>
                    <a:gd name="T15" fmla="*/ 23 h 2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5" h="23">
                      <a:moveTo>
                        <a:pt x="25" y="7"/>
                      </a:moveTo>
                      <a:lnTo>
                        <a:pt x="0" y="23"/>
                      </a:lnTo>
                      <a:lnTo>
                        <a:pt x="14" y="0"/>
                      </a:lnTo>
                      <a:lnTo>
                        <a:pt x="25" y="7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00" name="Freeform 490"/>
                <p:cNvSpPr>
                  <a:spLocks/>
                </p:cNvSpPr>
                <p:nvPr/>
              </p:nvSpPr>
              <p:spPr bwMode="auto">
                <a:xfrm>
                  <a:off x="323911" y="2790009"/>
                  <a:ext cx="14206" cy="12430"/>
                </a:xfrm>
                <a:custGeom>
                  <a:avLst/>
                  <a:gdLst>
                    <a:gd name="T0" fmla="*/ 14206 w 15"/>
                    <a:gd name="T1" fmla="*/ 8287 h 18"/>
                    <a:gd name="T2" fmla="*/ 1894 w 15"/>
                    <a:gd name="T3" fmla="*/ 12430 h 18"/>
                    <a:gd name="T4" fmla="*/ 0 w 15"/>
                    <a:gd name="T5" fmla="*/ 0 h 18"/>
                    <a:gd name="T6" fmla="*/ 14206 w 15"/>
                    <a:gd name="T7" fmla="*/ 8287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"/>
                    <a:gd name="T13" fmla="*/ 0 h 18"/>
                    <a:gd name="T14" fmla="*/ 15 w 15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" h="18">
                      <a:moveTo>
                        <a:pt x="15" y="12"/>
                      </a:moveTo>
                      <a:lnTo>
                        <a:pt x="2" y="18"/>
                      </a:lnTo>
                      <a:lnTo>
                        <a:pt x="0" y="0"/>
                      </a:lnTo>
                      <a:lnTo>
                        <a:pt x="15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01" name="Freeform 491"/>
                <p:cNvSpPr>
                  <a:spLocks/>
                </p:cNvSpPr>
                <p:nvPr/>
              </p:nvSpPr>
              <p:spPr bwMode="auto">
                <a:xfrm>
                  <a:off x="2577340" y="2221768"/>
                  <a:ext cx="56824" cy="17758"/>
                </a:xfrm>
                <a:custGeom>
                  <a:avLst/>
                  <a:gdLst>
                    <a:gd name="T0" fmla="*/ 56824 w 71"/>
                    <a:gd name="T1" fmla="*/ 0 h 18"/>
                    <a:gd name="T2" fmla="*/ 41618 w 71"/>
                    <a:gd name="T3" fmla="*/ 5919 h 18"/>
                    <a:gd name="T4" fmla="*/ 44819 w 71"/>
                    <a:gd name="T5" fmla="*/ 0 h 18"/>
                    <a:gd name="T6" fmla="*/ 0 w 71"/>
                    <a:gd name="T7" fmla="*/ 17758 h 18"/>
                    <a:gd name="T8" fmla="*/ 28812 w 71"/>
                    <a:gd name="T9" fmla="*/ 9866 h 18"/>
                    <a:gd name="T10" fmla="*/ 56824 w 71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1"/>
                    <a:gd name="T19" fmla="*/ 0 h 18"/>
                    <a:gd name="T20" fmla="*/ 71 w 71"/>
                    <a:gd name="T21" fmla="*/ 18 h 1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1" h="18">
                      <a:moveTo>
                        <a:pt x="71" y="0"/>
                      </a:moveTo>
                      <a:lnTo>
                        <a:pt x="52" y="6"/>
                      </a:lnTo>
                      <a:lnTo>
                        <a:pt x="56" y="0"/>
                      </a:lnTo>
                      <a:lnTo>
                        <a:pt x="0" y="18"/>
                      </a:lnTo>
                      <a:lnTo>
                        <a:pt x="36" y="10"/>
                      </a:lnTo>
                      <a:lnTo>
                        <a:pt x="71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02" name="Freeform 492"/>
                <p:cNvSpPr>
                  <a:spLocks/>
                </p:cNvSpPr>
                <p:nvPr/>
              </p:nvSpPr>
              <p:spPr bwMode="auto">
                <a:xfrm>
                  <a:off x="252881" y="2759822"/>
                  <a:ext cx="14206" cy="12430"/>
                </a:xfrm>
                <a:custGeom>
                  <a:avLst/>
                  <a:gdLst>
                    <a:gd name="T0" fmla="*/ 14206 w 13"/>
                    <a:gd name="T1" fmla="*/ 2260 h 11"/>
                    <a:gd name="T2" fmla="*/ 6557 w 13"/>
                    <a:gd name="T3" fmla="*/ 12430 h 11"/>
                    <a:gd name="T4" fmla="*/ 0 w 13"/>
                    <a:gd name="T5" fmla="*/ 0 h 11"/>
                    <a:gd name="T6" fmla="*/ 14206 w 13"/>
                    <a:gd name="T7" fmla="*/ 2260 h 1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"/>
                    <a:gd name="T13" fmla="*/ 0 h 11"/>
                    <a:gd name="T14" fmla="*/ 13 w 13"/>
                    <a:gd name="T15" fmla="*/ 11 h 1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" h="11">
                      <a:moveTo>
                        <a:pt x="13" y="2"/>
                      </a:moveTo>
                      <a:lnTo>
                        <a:pt x="6" y="11"/>
                      </a:lnTo>
                      <a:lnTo>
                        <a:pt x="0" y="0"/>
                      </a:lnTo>
                      <a:lnTo>
                        <a:pt x="13" y="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  <p:sp>
              <p:nvSpPr>
                <p:cNvPr id="503" name="Freeform 493"/>
                <p:cNvSpPr>
                  <a:spLocks/>
                </p:cNvSpPr>
                <p:nvPr/>
              </p:nvSpPr>
              <p:spPr bwMode="auto">
                <a:xfrm>
                  <a:off x="295499" y="2777579"/>
                  <a:ext cx="7103" cy="7103"/>
                </a:xfrm>
                <a:custGeom>
                  <a:avLst/>
                  <a:gdLst>
                    <a:gd name="T0" fmla="*/ 7103 w 14"/>
                    <a:gd name="T1" fmla="*/ 7103 h 12"/>
                    <a:gd name="T2" fmla="*/ 3044 w 14"/>
                    <a:gd name="T3" fmla="*/ 7103 h 12"/>
                    <a:gd name="T4" fmla="*/ 0 w 14"/>
                    <a:gd name="T5" fmla="*/ 0 h 12"/>
                    <a:gd name="T6" fmla="*/ 7103 w 14"/>
                    <a:gd name="T7" fmla="*/ 7103 h 1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"/>
                    <a:gd name="T13" fmla="*/ 0 h 12"/>
                    <a:gd name="T14" fmla="*/ 14 w 14"/>
                    <a:gd name="T15" fmla="*/ 12 h 1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" h="12">
                      <a:moveTo>
                        <a:pt x="14" y="12"/>
                      </a:moveTo>
                      <a:lnTo>
                        <a:pt x="6" y="12"/>
                      </a:lnTo>
                      <a:lnTo>
                        <a:pt x="0" y="0"/>
                      </a:lnTo>
                      <a:lnTo>
                        <a:pt x="14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ES" sz="2159"/>
                </a:p>
              </p:txBody>
            </p:sp>
          </p:grpSp>
        </p:grpSp>
        <p:sp>
          <p:nvSpPr>
            <p:cNvPr id="8" name="7 Elipse"/>
            <p:cNvSpPr/>
            <p:nvPr/>
          </p:nvSpPr>
          <p:spPr>
            <a:xfrm>
              <a:off x="8414662" y="5193804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159"/>
            </a:p>
          </p:txBody>
        </p:sp>
        <p:sp>
          <p:nvSpPr>
            <p:cNvPr id="9" name="8 Elipse"/>
            <p:cNvSpPr/>
            <p:nvPr/>
          </p:nvSpPr>
          <p:spPr>
            <a:xfrm>
              <a:off x="8414662" y="5369650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159"/>
            </a:p>
          </p:txBody>
        </p:sp>
        <p:sp>
          <p:nvSpPr>
            <p:cNvPr id="10" name="9 Elipse"/>
            <p:cNvSpPr/>
            <p:nvPr/>
          </p:nvSpPr>
          <p:spPr>
            <a:xfrm>
              <a:off x="4602618" y="2220442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159"/>
            </a:p>
          </p:txBody>
        </p:sp>
        <p:sp>
          <p:nvSpPr>
            <p:cNvPr id="11" name="10 Elipse"/>
            <p:cNvSpPr/>
            <p:nvPr/>
          </p:nvSpPr>
          <p:spPr>
            <a:xfrm>
              <a:off x="4457732" y="1984747"/>
              <a:ext cx="108000" cy="108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2159"/>
            </a:p>
          </p:txBody>
        </p:sp>
        <p:sp>
          <p:nvSpPr>
            <p:cNvPr id="12" name="11 CuadroTexto"/>
            <p:cNvSpPr txBox="1"/>
            <p:nvPr/>
          </p:nvSpPr>
          <p:spPr>
            <a:xfrm>
              <a:off x="8484563" y="5108333"/>
              <a:ext cx="738560" cy="4547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s-ES" sz="863" dirty="0"/>
                <a:t>Bolas 1</a:t>
              </a:r>
            </a:p>
            <a:p>
              <a:pPr>
                <a:lnSpc>
                  <a:spcPct val="150000"/>
                </a:lnSpc>
              </a:pPr>
              <a:r>
                <a:rPr lang="es-ES" sz="863" dirty="0"/>
                <a:t>Bolas 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438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5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3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16" name="Espaço Reservado para Texto 1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612386" name="Group 34"/>
          <p:cNvGraphicFramePr>
            <a:graphicFrameLocks noGrp="1"/>
          </p:cNvGraphicFramePr>
          <p:nvPr/>
        </p:nvGraphicFramePr>
        <p:xfrm>
          <a:off x="411224" y="1290222"/>
          <a:ext cx="9879646" cy="4565786"/>
        </p:xfrm>
        <a:graphic>
          <a:graphicData uri="http://schemas.openxmlformats.org/drawingml/2006/table">
            <a:tbl>
              <a:tblPr/>
              <a:tblGrid>
                <a:gridCol w="2534166"/>
                <a:gridCol w="2448493"/>
                <a:gridCol w="2450207"/>
                <a:gridCol w="2446780"/>
              </a:tblGrid>
              <a:tr h="442065"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an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v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r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23721">
                <a:tc>
                  <a:txBody>
                    <a:bodyPr/>
                    <a:lstStyle/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</a:p>
                  </a:txBody>
                  <a:tcPr marL="82245" marR="82245" marT="123367" marB="123367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7338" marR="0" lvl="0" indent="-287338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12373" name="AutoShape 21"/>
          <p:cNvSpPr>
            <a:spLocks noChangeArrowheads="1"/>
          </p:cNvSpPr>
          <p:nvPr/>
        </p:nvSpPr>
        <p:spPr bwMode="black">
          <a:xfrm>
            <a:off x="7755232" y="5462427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612375" name="Line 23"/>
          <p:cNvSpPr>
            <a:spLocks noChangeShapeType="1"/>
          </p:cNvSpPr>
          <p:nvPr/>
        </p:nvSpPr>
        <p:spPr bwMode="auto">
          <a:xfrm>
            <a:off x="2962523" y="1969999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612376" name="Line 24"/>
          <p:cNvSpPr>
            <a:spLocks noChangeShapeType="1"/>
          </p:cNvSpPr>
          <p:nvPr/>
        </p:nvSpPr>
        <p:spPr bwMode="auto">
          <a:xfrm>
            <a:off x="2962523" y="2203159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612379" name="Line 27"/>
          <p:cNvSpPr>
            <a:spLocks noChangeShapeType="1"/>
          </p:cNvSpPr>
          <p:nvPr/>
        </p:nvSpPr>
        <p:spPr bwMode="auto">
          <a:xfrm>
            <a:off x="5405877" y="1969999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5" name="14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Line 24"/>
          <p:cNvSpPr>
            <a:spLocks noChangeShapeType="1"/>
          </p:cNvSpPr>
          <p:nvPr/>
        </p:nvSpPr>
        <p:spPr bwMode="auto">
          <a:xfrm>
            <a:off x="2962523" y="2436320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423626" y="2203159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405877" y="2902641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423626" y="313580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5298147" y="5462427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17045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3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6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14" name="Espaço Reservado para Texto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3593" name="Group 57"/>
          <p:cNvGraphicFramePr>
            <a:graphicFrameLocks noGrp="1"/>
          </p:cNvGraphicFramePr>
          <p:nvPr/>
        </p:nvGraphicFramePr>
        <p:xfrm>
          <a:off x="411224" y="1290222"/>
          <a:ext cx="9869365" cy="4565786"/>
        </p:xfrm>
        <a:graphic>
          <a:graphicData uri="http://schemas.openxmlformats.org/drawingml/2006/table">
            <a:tbl>
              <a:tblPr/>
              <a:tblGrid>
                <a:gridCol w="2537593"/>
                <a:gridCol w="1221676"/>
                <a:gridCol w="1221677"/>
                <a:gridCol w="1221676"/>
                <a:gridCol w="1223390"/>
                <a:gridCol w="1223390"/>
                <a:gridCol w="1219963"/>
              </a:tblGrid>
              <a:tr h="442065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an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b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r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pr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y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un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23721">
                <a:tc>
                  <a:txBody>
                    <a:bodyPr/>
                    <a:lstStyle/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</a:p>
                  </a:txBody>
                  <a:tcPr marL="82245" marR="82245" marT="123367" marB="123367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33556" name="AutoShape 20"/>
          <p:cNvSpPr>
            <a:spLocks noChangeArrowheads="1"/>
          </p:cNvSpPr>
          <p:nvPr/>
        </p:nvSpPr>
        <p:spPr bwMode="black">
          <a:xfrm>
            <a:off x="10197352" y="5462427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Line 23"/>
          <p:cNvSpPr>
            <a:spLocks noChangeShapeType="1"/>
          </p:cNvSpPr>
          <p:nvPr/>
        </p:nvSpPr>
        <p:spPr bwMode="auto">
          <a:xfrm>
            <a:off x="2962523" y="2155964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19" name="Line 24"/>
          <p:cNvSpPr>
            <a:spLocks noChangeShapeType="1"/>
          </p:cNvSpPr>
          <p:nvPr/>
        </p:nvSpPr>
        <p:spPr bwMode="auto">
          <a:xfrm>
            <a:off x="2962523" y="2409474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7"/>
          <p:cNvSpPr>
            <a:spLocks noChangeShapeType="1"/>
          </p:cNvSpPr>
          <p:nvPr/>
        </p:nvSpPr>
        <p:spPr bwMode="auto">
          <a:xfrm>
            <a:off x="5405877" y="2155964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4"/>
          <p:cNvSpPr>
            <a:spLocks noChangeShapeType="1"/>
          </p:cNvSpPr>
          <p:nvPr/>
        </p:nvSpPr>
        <p:spPr bwMode="auto">
          <a:xfrm>
            <a:off x="5423626" y="2409474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7"/>
          <p:cNvSpPr>
            <a:spLocks noChangeShapeType="1"/>
          </p:cNvSpPr>
          <p:nvPr/>
        </p:nvSpPr>
        <p:spPr bwMode="auto">
          <a:xfrm>
            <a:off x="5405877" y="3058081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4"/>
          <p:cNvSpPr>
            <a:spLocks noChangeShapeType="1"/>
          </p:cNvSpPr>
          <p:nvPr/>
        </p:nvSpPr>
        <p:spPr bwMode="auto">
          <a:xfrm>
            <a:off x="5423626" y="3291242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AutoShape 21"/>
          <p:cNvSpPr>
            <a:spLocks noChangeArrowheads="1"/>
          </p:cNvSpPr>
          <p:nvPr/>
        </p:nvSpPr>
        <p:spPr bwMode="black">
          <a:xfrm>
            <a:off x="5298147" y="5462427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257780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45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9 </a:t>
            </a:r>
            <a:r>
              <a:rPr lang="pt-BR" dirty="0" err="1" smtClean="0"/>
              <a:t>months</a:t>
            </a:r>
            <a:endParaRPr lang="pt-BR" dirty="0"/>
          </a:p>
        </p:txBody>
      </p:sp>
      <p:sp>
        <p:nvSpPr>
          <p:cNvPr id="26" name="Espaço Reservado para Texto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 dirty="0"/>
          </a:p>
        </p:txBody>
      </p:sp>
      <p:graphicFrame>
        <p:nvGraphicFramePr>
          <p:cNvPr id="834620" name="Group 60"/>
          <p:cNvGraphicFramePr>
            <a:graphicFrameLocks noGrp="1"/>
          </p:cNvGraphicFramePr>
          <p:nvPr/>
        </p:nvGraphicFramePr>
        <p:xfrm>
          <a:off x="411224" y="1290222"/>
          <a:ext cx="9869362" cy="4585490"/>
        </p:xfrm>
        <a:graphic>
          <a:graphicData uri="http://schemas.openxmlformats.org/drawingml/2006/table">
            <a:tbl>
              <a:tblPr/>
              <a:tblGrid>
                <a:gridCol w="2534166"/>
                <a:gridCol w="813879"/>
                <a:gridCol w="813880"/>
                <a:gridCol w="815593"/>
                <a:gridCol w="815593"/>
                <a:gridCol w="815593"/>
                <a:gridCol w="815593"/>
                <a:gridCol w="815593"/>
                <a:gridCol w="815593"/>
                <a:gridCol w="813879"/>
              </a:tblGrid>
              <a:tr h="442065"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exto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an</a:t>
                      </a: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Feb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pt-BR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r</a:t>
                      </a: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pr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y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un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Jul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ug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ep</a:t>
                      </a: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43425">
                <a:tc>
                  <a:txBody>
                    <a:bodyPr/>
                    <a:lstStyle/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190500" marR="0" lvl="0" indent="-19050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1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b-</a:t>
                      </a: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ea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2</a:t>
                      </a:r>
                    </a:p>
                    <a:p>
                      <a:pPr marL="477838" marR="0" lvl="1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20638" marR="0" lvl="0" indent="-96838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US" sz="13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unión</a:t>
                      </a:r>
                      <a:r>
                        <a:rPr kumimoji="0" lang="en-US" sz="13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, etc.</a:t>
                      </a: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123367" marB="123367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421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latin typeface="Arial" charset="0"/>
                      </a:endParaRPr>
                    </a:p>
                  </a:txBody>
                  <a:tcPr marL="82245" marR="82245" marT="0" marB="0" anchor="ctr" horzOverflow="overflow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1071297" y="7085046"/>
            <a:ext cx="4441214" cy="39580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8856" tIns="38856" rIns="38856" bIns="38856" anchor="b"/>
          <a:lstStyle/>
          <a:p>
            <a:pPr marL="188473" indent="-188473" eaLnBrk="0" hangingPunct="0">
              <a:defRPr/>
            </a:pPr>
            <a:r>
              <a:rPr lang="pt-BR" sz="863" baseline="30000" dirty="0">
                <a:cs typeface="Arial" charset="0"/>
              </a:rPr>
              <a:t>(1</a:t>
            </a:r>
            <a:r>
              <a:rPr lang="pt-BR" sz="863" baseline="30000">
                <a:cs typeface="Arial" charset="0"/>
              </a:rPr>
              <a:t>)</a:t>
            </a:r>
            <a:r>
              <a:rPr lang="pt-BR" sz="863">
                <a:cs typeface="Arial" charset="0"/>
              </a:rPr>
              <a:t> xxxxxxxxxxxxxxxxxxx</a:t>
            </a:r>
            <a:endParaRPr lang="pt-BR" sz="863" dirty="0">
              <a:cs typeface="Arial" charset="0"/>
            </a:endParaRP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Nota: </a:t>
            </a:r>
          </a:p>
          <a:p>
            <a:pPr marL="188473" indent="-188473" eaLnBrk="0" hangingPunct="0">
              <a:defRPr/>
            </a:pPr>
            <a:r>
              <a:rPr lang="pt-BR" sz="863" dirty="0">
                <a:cs typeface="Arial" charset="0"/>
              </a:rPr>
              <a:t>Fuente: 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-1" y="6344603"/>
            <a:ext cx="10691813" cy="6191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11" dirty="0">
                <a:solidFill>
                  <a:schemeClr val="bg1"/>
                </a:solidFill>
              </a:rPr>
              <a:t>El </a:t>
            </a:r>
            <a:r>
              <a:rPr lang="pt-BR" sz="1511" dirty="0" err="1">
                <a:solidFill>
                  <a:schemeClr val="bg1"/>
                </a:solidFill>
              </a:rPr>
              <a:t>kicker</a:t>
            </a:r>
            <a:r>
              <a:rPr lang="pt-BR" sz="1511" dirty="0">
                <a:solidFill>
                  <a:schemeClr val="bg1"/>
                </a:solidFill>
              </a:rPr>
              <a:t> ocupa todo </a:t>
            </a:r>
            <a:r>
              <a:rPr lang="pt-BR" sz="1511" dirty="0" err="1">
                <a:solidFill>
                  <a:schemeClr val="bg1"/>
                </a:solidFill>
              </a:rPr>
              <a:t>el</a:t>
            </a:r>
            <a:r>
              <a:rPr lang="pt-BR" sz="1511" dirty="0">
                <a:solidFill>
                  <a:schemeClr val="bg1"/>
                </a:solidFill>
              </a:rPr>
              <a:t> ancho de </a:t>
            </a:r>
            <a:r>
              <a:rPr lang="pt-BR" sz="1511" dirty="0" err="1">
                <a:solidFill>
                  <a:schemeClr val="bg1"/>
                </a:solidFill>
              </a:rPr>
              <a:t>la</a:t>
            </a:r>
            <a:r>
              <a:rPr lang="pt-BR" sz="1511" dirty="0">
                <a:solidFill>
                  <a:schemeClr val="bg1"/>
                </a:solidFill>
              </a:rPr>
              <a:t> página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black">
          <a:xfrm>
            <a:off x="10197352" y="5462427"/>
            <a:ext cx="190190" cy="167916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  <p:sp>
        <p:nvSpPr>
          <p:cNvPr id="19" name="Line 23"/>
          <p:cNvSpPr>
            <a:spLocks noChangeShapeType="1"/>
          </p:cNvSpPr>
          <p:nvPr/>
        </p:nvSpPr>
        <p:spPr bwMode="auto">
          <a:xfrm>
            <a:off x="2962523" y="2164941"/>
            <a:ext cx="2431359" cy="0"/>
          </a:xfrm>
          <a:prstGeom prst="line">
            <a:avLst/>
          </a:prstGeom>
          <a:noFill/>
          <a:ln w="57150">
            <a:solidFill>
              <a:schemeClr val="accent4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0" name="Line 24"/>
          <p:cNvSpPr>
            <a:spLocks noChangeShapeType="1"/>
          </p:cNvSpPr>
          <p:nvPr/>
        </p:nvSpPr>
        <p:spPr bwMode="auto">
          <a:xfrm>
            <a:off x="2962523" y="2418451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1" name="Line 27"/>
          <p:cNvSpPr>
            <a:spLocks noChangeShapeType="1"/>
          </p:cNvSpPr>
          <p:nvPr/>
        </p:nvSpPr>
        <p:spPr bwMode="auto">
          <a:xfrm>
            <a:off x="5405877" y="2164941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>
            <a:off x="5423626" y="2418451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3" name="Line 27"/>
          <p:cNvSpPr>
            <a:spLocks noChangeShapeType="1"/>
          </p:cNvSpPr>
          <p:nvPr/>
        </p:nvSpPr>
        <p:spPr bwMode="auto">
          <a:xfrm>
            <a:off x="5405877" y="3067058"/>
            <a:ext cx="2438212" cy="0"/>
          </a:xfrm>
          <a:prstGeom prst="line">
            <a:avLst/>
          </a:prstGeom>
          <a:noFill/>
          <a:ln w="57150">
            <a:solidFill>
              <a:schemeClr val="accent4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>
            <a:off x="5423626" y="3300219"/>
            <a:ext cx="2431359" cy="0"/>
          </a:xfrm>
          <a:prstGeom prst="line">
            <a:avLst/>
          </a:prstGeom>
          <a:noFill/>
          <a:ln w="57150">
            <a:solidFill>
              <a:schemeClr val="accent6"/>
            </a:solidFill>
            <a:prstDash val="sysDot"/>
            <a:round/>
            <a:headEnd/>
            <a:tailEnd type="triangle" w="med" len="sm"/>
          </a:ln>
          <a:effectLst/>
        </p:spPr>
        <p:txBody>
          <a:bodyPr lIns="0" tIns="0" rIns="0" bIns="0" anchor="ctr"/>
          <a:lstStyle/>
          <a:p>
            <a:endParaRPr lang="pt-BR" sz="2159" dirty="0"/>
          </a:p>
        </p:txBody>
      </p:sp>
      <p:sp>
        <p:nvSpPr>
          <p:cNvPr id="25" name="AutoShape 21"/>
          <p:cNvSpPr>
            <a:spLocks noChangeArrowheads="1"/>
          </p:cNvSpPr>
          <p:nvPr/>
        </p:nvSpPr>
        <p:spPr bwMode="black">
          <a:xfrm>
            <a:off x="5298147" y="5462427"/>
            <a:ext cx="190190" cy="167916"/>
          </a:xfrm>
          <a:prstGeom prst="diamond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none" lIns="105493" tIns="52747" rIns="105493" bIns="52747" anchor="ctr"/>
          <a:lstStyle/>
          <a:p>
            <a:pPr defTabSz="1055447"/>
            <a:endParaRPr lang="pt-BR" sz="1835" dirty="0"/>
          </a:p>
        </p:txBody>
      </p:sp>
    </p:spTree>
    <p:extLst>
      <p:ext uri="{BB962C8B-B14F-4D97-AF65-F5344CB8AC3E}">
        <p14:creationId xmlns:p14="http://schemas.microsoft.com/office/powerpoint/2010/main" val="208552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rqOxe5fUSuDl1am9ojw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8qYapq.0.bPOkcwbnP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S78qBwy0SOsmr.Ve1da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sWVzQsXU2vK8aIKZO4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jFdc1990mLPlR5AfEb9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ooGMWg20yh6xh1gV13m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cyoYMwEkm4S6JSaAS1K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H7yFVIAkeF7UpuIz_wP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p6sscS8E6eVlz5Ade7g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WlI1Gua0yxRAp263hn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u.5tH8a0e8OOPowuFQ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9hhU7WZUqXlw5AviJGO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3qru9CP0uLz72DlJji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FqvwI30.pPcDvOIJEt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coqMKy0kWwf_xqF9EZu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9A92olQkWUxOGpKWFD8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IbiCxEBkmPz2aQhj7Q2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WTIVUs0kGbWd1O95zun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mVGqJogkCIryGxNuwNA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MDVvpTQEyyj5eldk_U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qz8KL7UajOIm5yONc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6LmEoqSkGt0PvcEGtT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Jbfobh4ESWyTzbUlhc5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2QM97CSk.qYks6b3kzZ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pheIuCwUqTH70RHcyxD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E6tcPENkaGVbiwqyVHd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eZ8tFgkEOMN1EZSer4c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0lxDj9YUKcCF33uC7jV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Jn_vjdNkeBERvZ.N5N9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DdKcYVE0u66MPgghyy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r94_ZxR0SUHVEuhC4O1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.iZvw68ka5mjIM9q31S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NxYKdEEq_D5z0NhxzQ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2QM97CSk.qYks6b3kzZ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pheIuCwUqTH70RHcyxD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0lxDj9YUKcCF33uC7j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Jn_vjdNkeBERvZ.N5N9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JJp6C1eEKCOhj1CnMha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KmnfXb9UOGyWxV9mG7U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yCJt.nvkqNYGkCrGou6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8W9xfrDE2zy43zmL4MI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W8bmq5OkewtiyoHUU2v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VQoCgI9EqRROuOKOqg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i_wVrRY0SnmqyyUDax9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C6RFCPRUmCcicFjIRT1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C56DugsESgp1ewB6UzO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1E4foMW0u4G5tf5ySen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Wapan6wUOF.oZngo8d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LTiKNKp0i17CuVH4_Dh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.tcwei8E2nuDg07sp9d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3Dgqi7Pkqzi.SgnBcC1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ueQ7AhPUel8A8B4cm3V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b8oUtiki3WMw2CzHM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BF7jLXUO7EAKjZfT3A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CJcsTKMkO1zpTypn3_I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Gpp1Ec3EK_Z01PsBJTL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oOSml5fE.qrQ864aMkL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VOmqsoH0SW8vL5N85B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xwUhMIqkuuqr.XFhMv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UX5302t0iw4_fE47yEm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77XygpiU.4Eo6zI7cw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BzxUhLakakB7p0hMTa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c_G8Wzk67FqCrn9NZQ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_N4jBl10eW0Np4qRxG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_yepmdDk23klzJtZiMf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99vYkoPkqGvGyXjez84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YfRX.r50WVyVkXKsQyf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hQSaVckGumATRLsjs6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_gjTByxEGnbpeCaua8G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5MFmRC06wqi8Zu_YEF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lqYKjEbUWHJtP1vCH9M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D8hWq6fEqUaSgBUN6_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qv3WsLiESL.GHXGWYy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UJp55O80yI2Ckl46Gy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T_pItfwkCqCDdhaVk7M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JxKlhasEG.fGosHo3Q.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aCp5wxrUmkv2NMHV3C6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XeF9X0hUip5TAj0J.ly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8.JpMeMESRkcijmSrO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yQ4vd3FUW2V.nCYwqv0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Fk6UqtyUSQP.Ly8lbKW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SkEK0wiUCq2JzlynF5V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8XiCWEDka.p0pZHv.4H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ZLCm6rT06ROO_CYwAP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jscg9k2lYW4Unutse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VaPeaGUkC91rHVpwovF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0Ekua1e0C5X3Dpqbu42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UQ1t5IY0GXwxM8AYWGw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gKyi.yf0StJg9h8LfY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HOKm2fkm0T2qYvCh_4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L4dQCXOUa3mUsqqrocl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KO1M1dLU6XE2KSGWrSq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Bbs8WUekCj.FGwAylYP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UlF.QspEmzeEZrrnFEv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xEJnxqSEWAXFtbuaSW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hveC9j.Ueipg2SlNA0c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wyhKHGWkm7wQmsxiZ4O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uAJZD2XESflHFZiBcn7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8R6SGeAkCqIKvjnJrJ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W7DhyZWkKN1V0Fyvj84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Zm1opSWEi2As83VIqdT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IhhZMJ2EuGD7xcG42cs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DW218pMU6Ji3lExBDaj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fjQan4GEOAyCM1ZthFA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VrxRyM30.ZMD1BlTi1d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OvBlwTUkKdJf8FuE0e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_T_pItfwkCqCDdhaVk7M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LCIerRPEqPmUOpmG4Kf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97kBja5UycjSKC8CgN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Fd5Ldq0OJ..5_WyfJ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bOT.EpcE.ynUdsuPEmn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RwuJrNiUeSy1klQkMI6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7wRtWskuwygF18gLT8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VH4cZsDEuTv0ognQ0Vy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bC6Uu2uEiY9JC60LZQO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mi.KXXbki2dPyAALM9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jscg9k2lYW4Unutse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NM1xf2PEmN0nqnpWLaL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N2YEcjkuHgLBtCX.Di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SyWkTElkWRqAPsFzGzl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upQ5rHLkKBZsxA0fEHl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KLsHMNOESaZkiFDpMS9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HjW8px.0qFq.NVHny.F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MTVxbia0m1eeZpsD1f2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WZGiokn0qQPDOH3e8WK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bA6T5_NUGqVvL_dRLdu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jOIua_BkG1XSYRfjPe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3lu3eQEiBosMXeJNoI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o.VI_xGkyotmEewTGLV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n1AbzL5kGe3N9RgNeGR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D8kNzZ4EmxEBTcQ7qGJ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yx1dRmkUyeaYh7IOOy9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hiVH6Rt0.7BTnpzt05B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URq6WUu5oZBb76m1O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6POdKxG0qGNQKzfmSt4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dt3ITE3UmMbTrDmbT2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_.miHe0EuEve30okw00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ln4gIKS0mgZr3Gvlggv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3swmpRikKqKXvEDt396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yGTL.smk2JEfmx.77Mo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iIqbG4ZEKaonpW1GoM2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ETW6ArpE.PG.3OCE6oM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YuhEUoESgOouC6h8yR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PFOLNiEO9vEkKeBllM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VHYLlrDEuhufJd3yvKF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kMnGmQUEGojo56xqG1b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ZRNHzHhUCnpbP0d4ovn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3lu3eQEiBosMXeJNoI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bbJc5XAEiqfRGGaNA5u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0nVFbDKUG587KP.Xf1A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bZAtH.AEuz6ZdJg1vFX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sylzM0UE.0kflyILYNJ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ksR.OJlUyrH7.dXbEcD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z90kDWkSfVwLCEi2p1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kfKt9VOUuLodNUJG9oQ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QFRSh46EyeCMfGsvtL2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qVY1TWUSN_DzJS4ea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_.miHe0EuEve30okw00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sM49ovv0OP6g8xUSVrw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U8KIzsEmQ5Mpc6emdj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Z3Q.IkU.ImyruxrEzn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KuyfpeTEWA1oMpuycQP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QFRSh46EyeCMfGsvtL2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qVY1TWUSN_DzJS4ea9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sM49ovv0OP6g8xUSVr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U8KIzsEmQ5Mpc6emdj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iU8KIzsEmQ5Mpc6emdj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281.875"/>
  <p:tag name="ORIGTOP" val="237.125"/>
  <p:tag name="ORIGHEIGHT" val="178.125"/>
  <p:tag name="ORIGWIDTH" val="26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sAl0YmpUa3Twa4i6E0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hTiedTu0uc1kPPvkx7N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iNHTUwA0W2gYbNdilCx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Arvexpt0qqgR6urx7Cm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wdaLdlz0GlVr3vfK7au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K3LjZk20Kk6huzvdEPB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0XBrPp1U2s84hvkHXzU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3MShYQnEiDiIYBCY2dn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cNvNLdZkOg6swF2h.3a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xb.HkMVUyQEJH7MSa2P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1_6fBpi0qmw.pPKGE56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LUwkeZUEeP3adKpDBXn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CfsSMxKUC_0.GOL9ufk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ly7UJ3kkCKbb5MtWUMY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o8MZdxJECKl55ewr3xl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YHgV.YiEysTV7TbCc3d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NKDHVUBEuqYMmWpC7q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nKpZJUF0qcWJQSaSYw6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.6lPB2vES4YNhUCjCru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_BfIr4XkaAgM0ivTMib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.bCeltU0OBMd4an_L9D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ET7cY0XUejajrV8PaRA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XXaPvTSEOyqSGYx6KZs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012rL08kGP8aDMZrPZy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L67NIPJkmOoc4YuLlL3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.MSmy56k2saJKHCr81u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bQa60cGkSDhiuSOe2_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UYn2UT0EKuWl0T_bCZo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DeqG9rEiE5PgttDF1R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A3PIQ2H0CcOMNbumSju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.VBEqrCU2PV_iNFs6Cz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47.25"/>
  <p:tag name="LTOP" val=" 408.5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500.375"/>
  <p:tag name="LLEFT" val=" 147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47.25"/>
  <p:tag name="LTOP" val=" 380.5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459.625"/>
  <p:tag name="LLEFT" val=" 147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47.25"/>
  <p:tag name="LTOP" val=" 352.5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421.125"/>
  <p:tag name="LLEFT" val=" 14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53"/>
  <p:tag name="LTOP" val=" 311.37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314.125"/>
  <p:tag name="LLEFT" val=" 627.125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25"/>
  <p:tag name="LTOP" val=" 273.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75.875"/>
  <p:tag name="LLEFT" val=" 627.12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97"/>
  <p:tag name="LTOP" val=" 231.75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4.375"/>
  <p:tag name="LLEFT" val=" 627.125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HKKGBRVE.TB_WqnQ5H2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eCeh4L6UOq6tXaUT6Mk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KoQL07h02SzdjefyQa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Wq7o5sCECkoRxoZfHsC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B9Tz_HLkmvupaJ75bEH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AtFtshxEy4V4Ocaojld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kq1OUFI0ixGBrhYpJXZ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GeOr8TKEqIzNfhrXO8.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dOitJHtk6OeRZyfdUI5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UWZEtIDkScu.VyjGJbG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_2WDl5k0OvDmrDIRc7O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Hp1WVJ0qYsHE3hOrs2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hdKH70oky_fxR_Soxg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EjLExlWEGeSNPXsrHL.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IDeqG9rEiE5PgttDF1R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A3PIQ2H0CcOMNbumSju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.VBEqrCU2PV_iNFs6Cz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u.ua.hEOqZ0oMOwWif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sfj5hf0kuRmz_AJYYyC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yTgirYEku9GqSkDVtL5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6YyVGThUi8ykxSBjtUE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QjevqS1EKigQQPkXaxB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ZRaeihmkGhdM4hNl6H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3eM5CDqEGA7ZVbAA02R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gmpLdz8UiGsL4yn9e7C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Ripsw9PU2XGNWVZIdg3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1_GAdIEydu5ATb11wb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NXrCeoMEG9myR_avviT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NXrCeoMEG9myR_avvi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27O5jYzEihLisHC_5R.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WUeBhiBUyENyEk_arol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mWOCSiR0ueOfYA9Gd3b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37.875"/>
  <p:tag name="LTOP" val=" 35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435.875"/>
  <p:tag name="LTOP" val=" 353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318.875"/>
  <p:tag name="LLEFT" val=" 410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41.875"/>
  <p:tag name="LLEFT" val=" 409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"/>
  <p:tag name="LLEFT" val=" 277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331"/>
  <p:tag name="LLEFT" val=" 231.625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527.625"/>
  <p:tag name="LTOP" val=" 440.87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6"/>
  <p:tag name="LTOP" val=" 380.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3.25"/>
  <p:tag name="LLEFT" val=" 213.2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3.25"/>
  <p:tag name="LTOP" val=" 233.2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41"/>
  <p:tag name="LLEFT" val=" 221.62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41"/>
  <p:tag name="LLEFT" val=" 221.625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3.25"/>
  <p:tag name="LLEFT" val=" 213.25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13.25"/>
  <p:tag name="LTOP" val=" 233.2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7DP949UOabEld1uCmE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221.625"/>
  <p:tag name="LTOP" val=" 241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U4irtmhUKXjXfIPqWh4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pl4rnFSUiqYGQ6FnwDF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 143.875"/>
  <p:tag name="TOP" val=" 207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dGIyiK3k66DcdrrX0D9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NWE_4MHUSY72Y71nUnB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LM504ETkCPAm3E21A1h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ABEa5VqUS2JI2Q.szbO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B3iElknk.8nmU5j_Uc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J5FxLGUam9akzrrpwA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23fOxgyEizYdEZg_Rzo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nZ6UK0v0qfauvRbzjiC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WtRO6pQECP2k2wHL2WG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SRQCisjk.aoSHG4W5DX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evLg_1XEy3.KX1FBveL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gbsLu5x0uuVwAfjLo79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6iHgYnUU20ZkFxyilgY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MXzR_RkGXGcqZmHePn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.OP_ujdEyYFu2JYKNc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Rx5PjlVE.rX5Fq0EeHC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4SazE19EOF0t_vouE0o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70.K34.EmY6f4cRW54k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LV7KeockKm.U6lX.Akp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kOtu8gD0uZGWxD5uVna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bWgKXFS0mjJgJ4FzeSO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vDOGe80GtfOgam.2w0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E2tH.sykOJAXB29mvjH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JZiA_vMESfm.S19m3te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pXrI1wxUKP6G4joV2o_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.1Wrkm1UW7x5Q82J1ll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nAYc_xAEKlMUMYin5Km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KVsnRxrkuUElWPppefU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Z0uWCksEquP7ZxlDOi7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Z0uWCksEquP7ZxlDOi7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hgwgIod0mWew.6_Smh3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IPN5L3ukqF9lNDtow1C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zyK.n_DkSTO3EHllqIx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75ey6cUEOg_zuUIfCoL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MMvZ6kNkOfWakZAEdc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tjJpxtEe3G2_.JVK4D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pVaJCGREiV8oSiSyFNg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QJv7awx0KAyVYeDoMKT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eoOzKl.UmHBGunEQNS6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Q4VcyipkK_x.aVrgCbA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5_xJvoy0233_SBMVURj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iiqSluN0S7pFs8qNLm8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XYAu9sH0qZ5i5ePD7dA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TivW4MWEyShDyKUDoDG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iuPY6HQU.C8eqQw6_1i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nroHBBhUKDg6d63MjZ7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jrqIEPUUyZmyae7z4la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99U9mVI0W3.dk0wCupb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99U9mVI0W3.dk0wCupb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..01uQ1kmJEovhdDOEp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2DUA6Mo0mBDiAiGKswn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bUX79MlUazQuv3egAqt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3hVl1Etke1ArkcNmR.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z_YFqSQ0egGa6AlSlU1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LJlt59P02TlB10hLUxG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1Yq_0YyEqiJnIRvJp8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f9Ki0250W4i1VKOYZPe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k7mI5UNE.tH_1hNtseN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4o5qOJMUeAnGOmWZWwN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ZcCcqsaUGIix1Wa_rou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jvwtq1cEun6c4FVdK91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84.875"/>
  <p:tag name="LTOP" val=" 317.25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351.375"/>
  <p:tag name="LTOP" val=" 280.5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517.875"/>
  <p:tag name="LTOP" val=" 23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zeBbOgC0S8b2hI5ZWxp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66"/>
  <p:tag name="LTOP" val=" 238.7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r.0_lM5kGjCXjXx87Tt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FFFGktGU6w9WgnNt7w7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ssNktbWkS088BFrcZMC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2.hRGEQ0ab7SvtKYKv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UNlY4vzEqtrdSJevZUV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unqcWpiEyYYnrp1hlA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H4W6dfSEmdKqPPBdgV.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3af_AnQEigPw5CnLNyo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1TA4r3dfk.OZW_t2tjwX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3UpBa9PUqKDICfMvivU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4.QOMqUkG63ORcFJTEH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p3rZCFHkGHwbXvMMoaY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FBGAcUwkCjXoiUMK7J9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k75pOvdkOKMX3ygApR8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fFvJSF2UK7YvxloitHG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fvDNx3S0KGLarn6tTTu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SE5BWXUKOD8sRXkTGV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WIDTH" val="22.375"/>
  <p:tag name="ORIGHEIGHT" val="22.875"/>
  <p:tag name="ORIGTOP" val="108"/>
  <p:tag name="ORIGLEFT" val="5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WIDTH" val="22.375"/>
  <p:tag name="ORIGHEIGHT" val="22.875"/>
  <p:tag name="ORIGTOP" val="108"/>
  <p:tag name="ORIGLEFT" val="54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WIDTH" val="22.375"/>
  <p:tag name="ORIGHEIGHT" val="22.875"/>
  <p:tag name="ORIGTOP" val="108"/>
  <p:tag name="ORIGLEFT" val="54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WIDTH" val="22.375"/>
  <p:tag name="ORIGHEIGHT" val="22.875"/>
  <p:tag name="ORIGTOP" val="108"/>
  <p:tag name="ORIGLEFT" val="54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97.375"/>
  <p:tag name="LLEFT" val=" 8.75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phcYy3N0O9hB7jJzVYV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bdFViwX06wRlRRVPysJ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wSQfVKzEug1U20qly7X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oeur1Lck2Je7iLPG_Eq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3__8Jg.kOu.srkULucr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3EdlsGe0OTKzdbCRzTx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lgA0wopkWEjfP3KO5jD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nBFvaankiDs.WZhv_3U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BiHllwDUegVt0eres5w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hfP22llkq9YBbTRutUE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jczqvZR0.R48nnp3CL1w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Ge6YrFXUWabSYJ9RFxf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aR3dvI0K38ZqPmrt7W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lQGn2UZUyW9rEILLGyl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KbQTxgSEGJDvlWXboml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yg.efeV0yN6nlaXDiM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u.5tH8a0e8OOPowuFQw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9hhU7WZUqXlw5AviJGO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3qru9CP0uLz72DlJjiZ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XFqvwI30.pPcDvOIJEt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coqMKy0kWwf_xqF9EZuw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9A92olQkWUxOGpKWFD8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IbiCxEBkmPz2aQhj7Q2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WTIVUs0kGbWd1O95zun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mVGqJogkCIryGxNuwNA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MDVvpTQEyyj5eldk_U0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Dqz8KL7UajOIm5yONca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6LmEoqSkGt0PvcEGtTo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Jbfobh4ESWyTzbUlhc5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2QM97CSk.qYks6b3kzZ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pheIuCwUqTH70RHcyxD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E6tcPENkaGVbiwqyVHd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eZ8tFgkEOMN1EZSer4c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0lxDj9YUKcCF33uC7jVw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Jn_vjdNkeBERvZ.N5N9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DdKcYVE0u66MPgghyy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r94_ZxR0SUHVEuhC4O1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.iZvw68ka5mjIM9q31S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uNxYKdEEq_D5z0NhxzQ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2QM97CSk.qYks6b3kzZ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pheIuCwUqTH70RHcyxD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0lxDj9YUKcCF33uC7jV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Jn_vjdNkeBERvZ.N5N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pVaJCGREiV8oSiSyFN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QJv7awx0KAyVYeDoMK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GNkv0FgE6caVC5nIV2x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GGX6BCFkWBo_Fl_X7y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tUMPj0ZU.zp.lqiC75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VndDg5EUWF5RI04670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4iXk3j3UK47HvpuK1j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wEbmMW7US2wmOaSDwS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8CSCfdjUerKev.P1wt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Yu0ztoTUK3UKbYsroW4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sqFQ52O0ylGRas6xYOQ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Yu0ztoTUK3UKbYsroW4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sqFQ52O0ylGRas6xYO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Yu0ztoTUK3UKbYsroW4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sqFQ52O0ylGRas6xYO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Yu0ztoTUK3UKbYsroW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sqFQ52O0ylGRas6xYOQ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ozM3R3wE2m4ks5BASqnA"/>
</p:tagLst>
</file>

<file path=ppt/theme/theme1.xml><?xml version="1.0" encoding="utf-8"?>
<a:theme xmlns:a="http://schemas.openxmlformats.org/drawingml/2006/main" name="SimonKucher_theme_A4">
  <a:themeElements>
    <a:clrScheme name="skp-ibc">
      <a:dk1>
        <a:srgbClr val="39322B"/>
      </a:dk1>
      <a:lt1>
        <a:srgbClr val="FFFFFF"/>
      </a:lt1>
      <a:dk2>
        <a:srgbClr val="EBE6D1"/>
      </a:dk2>
      <a:lt2>
        <a:srgbClr val="D4C896"/>
      </a:lt2>
      <a:accent1>
        <a:srgbClr val="95374B"/>
      </a:accent1>
      <a:accent2>
        <a:srgbClr val="395571"/>
      </a:accent2>
      <a:accent3>
        <a:srgbClr val="C0C0C0"/>
      </a:accent3>
      <a:accent4>
        <a:srgbClr val="A5BBD1"/>
      </a:accent4>
      <a:accent5>
        <a:srgbClr val="8A7A6C"/>
      </a:accent5>
      <a:accent6>
        <a:srgbClr val="C0C0C0"/>
      </a:accent6>
      <a:hlink>
        <a:srgbClr val="95374B"/>
      </a:hlink>
      <a:folHlink>
        <a:srgbClr val="C0C0C0"/>
      </a:folHlink>
    </a:clrScheme>
    <a:fontScheme name="SimonKucher">
      <a:majorFont>
        <a:latin typeface="SimonKucher"/>
        <a:ea typeface=""/>
        <a:cs typeface=""/>
      </a:majorFont>
      <a:minorFont>
        <a:latin typeface="SimonKucher"/>
        <a:ea typeface=""/>
        <a:cs typeface=""/>
      </a:minorFont>
    </a:fontScheme>
    <a:fmtScheme name="Simon-Kucher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6D6E6A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9388" indent="-179388">
          <a:spcBef>
            <a:spcPts val="600"/>
          </a:spcBef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Simon-Kucher Red">
      <a:srgbClr val="95374B"/>
    </a:custClr>
    <a:custClr name="Simon-Kucher Grey">
      <a:srgbClr val="6D6E6A"/>
    </a:custClr>
    <a:custClr name="Red">
      <a:srgbClr val="FF0000"/>
    </a:custClr>
    <a:custClr name="Orange">
      <a:srgbClr val="FFC000"/>
    </a:custClr>
    <a:custClr name="Green">
      <a:srgbClr val="00B050"/>
    </a:custClr>
  </a:custClrLst>
  <a:extLst>
    <a:ext uri="{05A4C25C-085E-4340-85A3-A5531E510DB2}">
      <thm15:themeFamily xmlns:thm15="http://schemas.microsoft.com/office/thememl/2012/main" name="Template_A4_São Paulo.potm" id="{AB6A1BEC-6DFD-4E6B-968F-A21AB67FFAF1}" vid="{0AC26C19-DD91-4D89-853B-4006EAE38990}"/>
    </a:ext>
  </a:extLst>
</a:theme>
</file>

<file path=ppt/theme/theme2.xml><?xml version="1.0" encoding="utf-8"?>
<a:theme xmlns:a="http://schemas.openxmlformats.org/drawingml/2006/main" name="Office Theme">
  <a:themeElements>
    <a:clrScheme name="Simon-Kucher">
      <a:dk1>
        <a:srgbClr val="39322B"/>
      </a:dk1>
      <a:lt1>
        <a:srgbClr val="FFFFFF"/>
      </a:lt1>
      <a:dk2>
        <a:srgbClr val="EBE6D1"/>
      </a:dk2>
      <a:lt2>
        <a:srgbClr val="D4C896"/>
      </a:lt2>
      <a:accent1>
        <a:srgbClr val="C0C0C0"/>
      </a:accent1>
      <a:accent2>
        <a:srgbClr val="95374B"/>
      </a:accent2>
      <a:accent3>
        <a:srgbClr val="395571"/>
      </a:accent3>
      <a:accent4>
        <a:srgbClr val="A5BBD1"/>
      </a:accent4>
      <a:accent5>
        <a:srgbClr val="8A7A6C"/>
      </a:accent5>
      <a:accent6>
        <a:srgbClr val="EEE767"/>
      </a:accent6>
      <a:hlink>
        <a:srgbClr val="95374B"/>
      </a:hlink>
      <a:folHlink>
        <a:srgbClr val="C0C0C0"/>
      </a:folHlink>
    </a:clrScheme>
    <a:fontScheme name="SimonKucher">
      <a:majorFont>
        <a:latin typeface="SimonKucher"/>
        <a:ea typeface=""/>
        <a:cs typeface=""/>
      </a:majorFont>
      <a:minorFont>
        <a:latin typeface="SimonKuch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mon-Kucher">
      <a:dk1>
        <a:srgbClr val="39322B"/>
      </a:dk1>
      <a:lt1>
        <a:srgbClr val="FFFFFF"/>
      </a:lt1>
      <a:dk2>
        <a:srgbClr val="EBE6D1"/>
      </a:dk2>
      <a:lt2>
        <a:srgbClr val="D4C896"/>
      </a:lt2>
      <a:accent1>
        <a:srgbClr val="C0C0C0"/>
      </a:accent1>
      <a:accent2>
        <a:srgbClr val="95374B"/>
      </a:accent2>
      <a:accent3>
        <a:srgbClr val="395571"/>
      </a:accent3>
      <a:accent4>
        <a:srgbClr val="A5BBD1"/>
      </a:accent4>
      <a:accent5>
        <a:srgbClr val="8A7A6C"/>
      </a:accent5>
      <a:accent6>
        <a:srgbClr val="EEE767"/>
      </a:accent6>
      <a:hlink>
        <a:srgbClr val="95374B"/>
      </a:hlink>
      <a:folHlink>
        <a:srgbClr val="C0C0C0"/>
      </a:folHlink>
    </a:clrScheme>
    <a:fontScheme name="SimonKucher">
      <a:majorFont>
        <a:latin typeface="SimonKucher"/>
        <a:ea typeface=""/>
        <a:cs typeface=""/>
      </a:majorFont>
      <a:minorFont>
        <a:latin typeface="SimonKuch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4_São_Paulo</Template>
  <TotalTime>38</TotalTime>
  <Words>5609</Words>
  <Application>Microsoft Office PowerPoint</Application>
  <PresentationFormat>Custom</PresentationFormat>
  <Paragraphs>3144</Paragraphs>
  <Slides>216</Slides>
  <Notes>5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6</vt:i4>
      </vt:variant>
    </vt:vector>
  </HeadingPairs>
  <TitlesOfParts>
    <vt:vector size="231" baseType="lpstr">
      <vt:lpstr>Calibri</vt:lpstr>
      <vt:lpstr>SimonKucher</vt:lpstr>
      <vt:lpstr>Gulim</vt:lpstr>
      <vt:lpstr>Arial</vt:lpstr>
      <vt:lpstr>Times New Roman</vt:lpstr>
      <vt:lpstr>MS PGothic</vt:lpstr>
      <vt:lpstr>Tahoma</vt:lpstr>
      <vt:lpstr>ZapfDingbats</vt:lpstr>
      <vt:lpstr>Wingdings</vt:lpstr>
      <vt:lpstr>Verdana</vt:lpstr>
      <vt:lpstr>宋体</vt:lpstr>
      <vt:lpstr>Symbol</vt:lpstr>
      <vt:lpstr>SimonKucher_theme_A4</vt:lpstr>
      <vt:lpstr>think-cell Slide</vt:lpstr>
      <vt:lpstr>Imagen</vt:lpstr>
      <vt:lpstr>Deck de slides para referência</vt:lpstr>
      <vt:lpstr>PowerPoint Presentation</vt:lpstr>
      <vt:lpstr>Simples relação de 2 temas</vt:lpstr>
      <vt:lpstr>Composição/segmentação de 2 temas</vt:lpstr>
      <vt:lpstr>Descrição de 3 temas</vt:lpstr>
      <vt:lpstr>Slide padrão de apresentação de 3 ou mais temas principais</vt:lpstr>
      <vt:lpstr>Apresentação de temas vs. situações/cenários</vt:lpstr>
      <vt:lpstr>Ilustrativo de temas vs. situações/cenários (matriz)</vt:lpstr>
      <vt:lpstr>Slide de agrupamento de temas e sub-temas, com descrição</vt:lpstr>
      <vt:lpstr>Relação entre 2 situações</vt:lpstr>
      <vt:lpstr>Análise cruzada entre 2 agrupamentos e conclusão</vt:lpstr>
      <vt:lpstr>Descrição de etapas/divisões ordenadas</vt:lpstr>
      <vt:lpstr>Detalhamento de um tema em 3 pilares</vt:lpstr>
      <vt:lpstr>Descritivo de várias áreas e divisões internas</vt:lpstr>
      <vt:lpstr>Pestañas</vt:lpstr>
      <vt:lpstr>PowerPoint Presentation</vt:lpstr>
      <vt:lpstr>Colunas 2x1</vt:lpstr>
      <vt:lpstr>Columnas Apiladas</vt:lpstr>
      <vt:lpstr>Waterfall 10 Colunas</vt:lpstr>
      <vt:lpstr>Linhas com 2 Eixos</vt:lpstr>
      <vt:lpstr>Combinado – Barras Agrupadas x Apiladas</vt:lpstr>
      <vt:lpstr>Radar</vt:lpstr>
      <vt:lpstr>Bolas</vt:lpstr>
      <vt:lpstr>Mekko chart</vt:lpstr>
      <vt:lpstr>PowerPoint Presentation</vt:lpstr>
      <vt:lpstr>Flechas de bloque con cuadros de Texto debajo</vt:lpstr>
      <vt:lpstr>Issue tree – desenho de cenários e alternativas</vt:lpstr>
      <vt:lpstr>Organigrama</vt:lpstr>
      <vt:lpstr>Cronograma</vt:lpstr>
      <vt:lpstr>Abordagem</vt:lpstr>
      <vt:lpstr>Texto col 02</vt:lpstr>
      <vt:lpstr>Texto col 03</vt:lpstr>
      <vt:lpstr>Los grises y el azul se pueden usar de varias maneras; las formas son rectángulos. Sólo las llamadas tienen las esquinas redondeadas</vt:lpstr>
      <vt:lpstr>Flechas de bloque con cuadros de Texto debajo</vt:lpstr>
      <vt:lpstr>Flechas de bloque: opciones con y sin degradado</vt:lpstr>
      <vt:lpstr>PowerPoint Presentation</vt:lpstr>
      <vt:lpstr>Flow Vertical 2</vt:lpstr>
      <vt:lpstr>Flow Vertical 3</vt:lpstr>
      <vt:lpstr>Flow Vertical 4</vt:lpstr>
      <vt:lpstr>Flow Vertical 5</vt:lpstr>
      <vt:lpstr>Flow Vertical 6</vt:lpstr>
      <vt:lpstr>Flow Vertical 7</vt:lpstr>
      <vt:lpstr>Flow Bar 2</vt:lpstr>
      <vt:lpstr>Flow Bar 3</vt:lpstr>
      <vt:lpstr>Flow Bar 4</vt:lpstr>
      <vt:lpstr>Flow Bar 5</vt:lpstr>
      <vt:lpstr>Flow Bar 6</vt:lpstr>
      <vt:lpstr>Flow Bar 7</vt:lpstr>
      <vt:lpstr>Flow Horizontal 2</vt:lpstr>
      <vt:lpstr>1 Box Title</vt:lpstr>
      <vt:lpstr>2 Boxes Title</vt:lpstr>
      <vt:lpstr>3 Boxes Title</vt:lpstr>
      <vt:lpstr>Flow Vertical 1</vt:lpstr>
      <vt:lpstr>Flow Vertical 2</vt:lpstr>
      <vt:lpstr>Flow Vertical 3</vt:lpstr>
      <vt:lpstr>Flow Vertical 4</vt:lpstr>
      <vt:lpstr>Flow Vertical 5</vt:lpstr>
      <vt:lpstr>Flow Vertical 6</vt:lpstr>
      <vt:lpstr>Flow Horizontal 2 Title</vt:lpstr>
      <vt:lpstr>Flow Horizontal 3</vt:lpstr>
      <vt:lpstr>Flow Horizontal 3 Title</vt:lpstr>
      <vt:lpstr>Flow Horizontal 4 Title</vt:lpstr>
      <vt:lpstr>Flow Horizontal 4</vt:lpstr>
      <vt:lpstr>Tablas: color contraste + grises</vt:lpstr>
      <vt:lpstr>Tablas</vt:lpstr>
      <vt:lpstr>Gráficos: mejor siempre insertar uno nuevo</vt:lpstr>
      <vt:lpstr>PowerPoint Presentation</vt:lpstr>
      <vt:lpstr>Calendario: ejemplo de uso del degradado de color</vt:lpstr>
      <vt:lpstr>Organigram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 formas, el color de contraste sirve para remarcar partes importantes, entre otros en una mosca</vt:lpstr>
      <vt:lpstr>Edificio pilares</vt:lpstr>
      <vt:lpstr>Báscula</vt:lpstr>
      <vt:lpstr>Pestañas</vt:lpstr>
      <vt:lpstr>Cubo</vt:lpstr>
      <vt:lpstr>PowerPoint Presentation</vt:lpstr>
      <vt:lpstr>PowerPoint Presentation</vt:lpstr>
      <vt:lpstr>PowerPoint Presentation</vt:lpstr>
      <vt:lpstr>Flechas</vt:lpstr>
      <vt:lpstr>PowerPoint Presentation</vt:lpstr>
      <vt:lpstr>Mapas</vt:lpstr>
      <vt:lpstr>3 months</vt:lpstr>
      <vt:lpstr>6 months</vt:lpstr>
      <vt:lpstr>9 months</vt:lpstr>
      <vt:lpstr>12 months</vt:lpstr>
      <vt:lpstr>1 month</vt:lpstr>
      <vt:lpstr>2 months</vt:lpstr>
      <vt:lpstr>3 months</vt:lpstr>
      <vt:lpstr>4 months</vt:lpstr>
      <vt:lpstr>5 months</vt:lpstr>
      <vt:lpstr>6 months</vt:lpstr>
      <vt:lpstr>Seta 1</vt:lpstr>
      <vt:lpstr>Seta 2</vt:lpstr>
      <vt:lpstr>Seta 3</vt:lpstr>
      <vt:lpstr>Seta 4</vt:lpstr>
      <vt:lpstr>Seta 5</vt:lpstr>
      <vt:lpstr>Seta 7</vt:lpstr>
      <vt:lpstr>Clips</vt:lpstr>
      <vt:lpstr>Triângulo de Flows</vt:lpstr>
      <vt:lpstr>Loops</vt:lpstr>
      <vt:lpstr>Árvore Horizontal</vt:lpstr>
      <vt:lpstr>Cruz</vt:lpstr>
      <vt:lpstr>PowerPoint Presentation</vt:lpstr>
      <vt:lpstr>Força 1</vt:lpstr>
      <vt:lpstr>PowerPoint Presentation</vt:lpstr>
      <vt:lpstr>PowerPoint Presentation</vt:lpstr>
      <vt:lpstr>Força 2</vt:lpstr>
      <vt:lpstr>Força 3</vt:lpstr>
      <vt:lpstr>Força 4</vt:lpstr>
      <vt:lpstr>Força 9</vt:lpstr>
      <vt:lpstr>Força 10</vt:lpstr>
      <vt:lpstr>Força 11</vt:lpstr>
      <vt:lpstr>Força 12</vt:lpstr>
      <vt:lpstr>Força 13</vt:lpstr>
      <vt:lpstr>Força 14</vt:lpstr>
      <vt:lpstr>Força 15</vt:lpstr>
      <vt:lpstr>Força 16</vt:lpstr>
      <vt:lpstr>Força 17</vt:lpstr>
      <vt:lpstr>Força 18</vt:lpstr>
      <vt:lpstr>Força 19</vt:lpstr>
      <vt:lpstr>Força 20</vt:lpstr>
      <vt:lpstr>Força 21</vt:lpstr>
      <vt:lpstr>Corrente</vt:lpstr>
      <vt:lpstr>Filter</vt:lpstr>
      <vt:lpstr>Level 1</vt:lpstr>
      <vt:lpstr>Level 2</vt:lpstr>
      <vt:lpstr>Level 3</vt:lpstr>
      <vt:lpstr>Level 4</vt:lpstr>
      <vt:lpstr>Level 5</vt:lpstr>
      <vt:lpstr>Box 1</vt:lpstr>
      <vt:lpstr>Box 2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coming</vt:lpstr>
      <vt:lpstr>Incoming gear</vt:lpstr>
      <vt:lpstr>PowerPoint Presentation</vt:lpstr>
      <vt:lpstr>Split Donut</vt:lpstr>
      <vt:lpstr>Columnas</vt:lpstr>
      <vt:lpstr>Colunas 2x1</vt:lpstr>
      <vt:lpstr>Columnas 3x1</vt:lpstr>
      <vt:lpstr>Columnas 4x1</vt:lpstr>
      <vt:lpstr>Colunas Agrupadas</vt:lpstr>
      <vt:lpstr>Colunas Agrupadas 2x1</vt:lpstr>
      <vt:lpstr>Columnas Agrupadas 3x1</vt:lpstr>
      <vt:lpstr>Columnas Agrupadas 4x1</vt:lpstr>
      <vt:lpstr>Columnas Apiladas sin Totales</vt:lpstr>
      <vt:lpstr>Columnas Apiladas con Totales </vt:lpstr>
      <vt:lpstr>Columnas Apiladas con Totales  2x1</vt:lpstr>
      <vt:lpstr>Columnas Apiladas con Totales 3x1</vt:lpstr>
      <vt:lpstr>Columnas Apiladas con Totales 4x1</vt:lpstr>
      <vt:lpstr>Apilado 100%</vt:lpstr>
      <vt:lpstr>Mix de Columnas Agrupadas x Apiladas</vt:lpstr>
      <vt:lpstr>Waterfall 5 Colunas</vt:lpstr>
      <vt:lpstr>Waterfall 10 Colunas</vt:lpstr>
      <vt:lpstr>Pie</vt:lpstr>
      <vt:lpstr>Pie 2x1</vt:lpstr>
      <vt:lpstr>Pie 3x1</vt:lpstr>
      <vt:lpstr>Pie 4x1</vt:lpstr>
      <vt:lpstr>Barras</vt:lpstr>
      <vt:lpstr>Barras 2x1</vt:lpstr>
      <vt:lpstr>Barras 3x1</vt:lpstr>
      <vt:lpstr>Barras 4x1</vt:lpstr>
      <vt:lpstr>Combinado – Barras Agrupadas x Apiladas</vt:lpstr>
      <vt:lpstr>Barras Apiladas 100%</vt:lpstr>
      <vt:lpstr>Barras Pareadas</vt:lpstr>
      <vt:lpstr>Barras pareadas con Valor Negativo</vt:lpstr>
      <vt:lpstr>Barras (ganancias y pérdidas)</vt:lpstr>
      <vt:lpstr>Barras  </vt:lpstr>
      <vt:lpstr>Barras Apiladas</vt:lpstr>
      <vt:lpstr>Barras – Range</vt:lpstr>
      <vt:lpstr>Barras Agrupadas</vt:lpstr>
      <vt:lpstr>Barras Agrupadas 2x1</vt:lpstr>
      <vt:lpstr>Barras Agrupadas 3x1</vt:lpstr>
      <vt:lpstr>Barras Agrupadas 4x1</vt:lpstr>
      <vt:lpstr>Waterfall Barras</vt:lpstr>
      <vt:lpstr>Linhas</vt:lpstr>
      <vt:lpstr>Linhas</vt:lpstr>
      <vt:lpstr>Linhas com 2 Eixos</vt:lpstr>
      <vt:lpstr>Linhas com 2 Eixos</vt:lpstr>
      <vt:lpstr>Gráfico XY</vt:lpstr>
      <vt:lpstr>Gráfico XY con Línea de Tendencia</vt:lpstr>
      <vt:lpstr>Bolas</vt:lpstr>
      <vt:lpstr>Curva de Custo</vt:lpstr>
      <vt:lpstr>Altas-Baixas-Médias</vt:lpstr>
      <vt:lpstr>PowerPoint Presentation</vt:lpstr>
      <vt:lpstr>Área</vt:lpstr>
      <vt:lpstr>Combinado Columna - Línea</vt:lpstr>
      <vt:lpstr>Combinado Columnas - Líneas</vt:lpstr>
      <vt:lpstr>Diferencia entre columnas</vt:lpstr>
      <vt:lpstr>Combinado Pie - Columna Apila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itos</vt:lpstr>
      <vt:lpstr>Procesos</vt:lpstr>
      <vt:lpstr>PowerPoint Presentation</vt:lpstr>
    </vt:vector>
  </TitlesOfParts>
  <Manager>Simon-Kucher &amp; Partners</Manager>
  <Company>Simon - Kucher &amp; Partn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ck de slides para referência</dc:title>
  <dc:creator>Mauro Fukunaga</dc:creator>
  <cp:lastModifiedBy>Mauro Fukunaga</cp:lastModifiedBy>
  <cp:revision>6</cp:revision>
  <cp:lastPrinted>2013-12-04T11:36:07Z</cp:lastPrinted>
  <dcterms:created xsi:type="dcterms:W3CDTF">2016-07-11T18:06:55Z</dcterms:created>
  <dcterms:modified xsi:type="dcterms:W3CDTF">2017-11-10T01:02:57Z</dcterms:modified>
</cp:coreProperties>
</file>